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tiff" ContentType="image/tiff"/>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ags/tag1.xml" ContentType="application/vnd.openxmlformats-officedocument.presentationml.tags+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845" r:id="rId4"/>
    <p:sldMasterId id="2147483907" r:id="rId5"/>
  </p:sldMasterIdLst>
  <p:notesMasterIdLst>
    <p:notesMasterId r:id="rId47"/>
  </p:notesMasterIdLst>
  <p:sldIdLst>
    <p:sldId id="397" r:id="rId6"/>
    <p:sldId id="2134096530" r:id="rId7"/>
    <p:sldId id="2134096537" r:id="rId8"/>
    <p:sldId id="351" r:id="rId9"/>
    <p:sldId id="294" r:id="rId10"/>
    <p:sldId id="292" r:id="rId11"/>
    <p:sldId id="2134096539" r:id="rId12"/>
    <p:sldId id="2134096532" r:id="rId13"/>
    <p:sldId id="477" r:id="rId14"/>
    <p:sldId id="2134096540" r:id="rId15"/>
    <p:sldId id="482" r:id="rId16"/>
    <p:sldId id="2134096538" r:id="rId17"/>
    <p:sldId id="259" r:id="rId18"/>
    <p:sldId id="265" r:id="rId19"/>
    <p:sldId id="583" r:id="rId20"/>
    <p:sldId id="2134096541" r:id="rId21"/>
    <p:sldId id="2134096542" r:id="rId22"/>
    <p:sldId id="2134096531" r:id="rId23"/>
    <p:sldId id="2134096533" r:id="rId24"/>
    <p:sldId id="2134096534" r:id="rId25"/>
    <p:sldId id="2134096535" r:id="rId26"/>
    <p:sldId id="2134096536" r:id="rId27"/>
    <p:sldId id="592" r:id="rId28"/>
    <p:sldId id="559" r:id="rId29"/>
    <p:sldId id="595" r:id="rId30"/>
    <p:sldId id="577" r:id="rId31"/>
    <p:sldId id="557" r:id="rId32"/>
    <p:sldId id="474" r:id="rId33"/>
    <p:sldId id="596" r:id="rId34"/>
    <p:sldId id="2134096528" r:id="rId35"/>
    <p:sldId id="461" r:id="rId36"/>
    <p:sldId id="400" r:id="rId37"/>
    <p:sldId id="338" r:id="rId38"/>
    <p:sldId id="339" r:id="rId39"/>
    <p:sldId id="403" r:id="rId40"/>
    <p:sldId id="549" r:id="rId41"/>
    <p:sldId id="606" r:id="rId42"/>
    <p:sldId id="582" r:id="rId43"/>
    <p:sldId id="287" r:id="rId44"/>
    <p:sldId id="601" r:id="rId45"/>
    <p:sldId id="458" r:id="rId46"/>
  </p:sldIdLst>
  <p:sldSz cx="17881600" cy="10058400"/>
  <p:notesSz cx="6858000" cy="9144000"/>
  <p:defaultTextStyle>
    <a:defPPr>
      <a:defRPr lang="en-US"/>
    </a:defPPr>
    <a:lvl1pPr marL="0" algn="l" defTabSz="1228954" rtl="0" eaLnBrk="1" latinLnBrk="0" hangingPunct="1">
      <a:defRPr sz="2419" kern="1200">
        <a:solidFill>
          <a:schemeClr val="tx1"/>
        </a:solidFill>
        <a:latin typeface="+mn-lt"/>
        <a:ea typeface="+mn-ea"/>
        <a:cs typeface="+mn-cs"/>
      </a:defRPr>
    </a:lvl1pPr>
    <a:lvl2pPr marL="614477" algn="l" defTabSz="1228954" rtl="0" eaLnBrk="1" latinLnBrk="0" hangingPunct="1">
      <a:defRPr sz="2419" kern="1200">
        <a:solidFill>
          <a:schemeClr val="tx1"/>
        </a:solidFill>
        <a:latin typeface="+mn-lt"/>
        <a:ea typeface="+mn-ea"/>
        <a:cs typeface="+mn-cs"/>
      </a:defRPr>
    </a:lvl2pPr>
    <a:lvl3pPr marL="1228954" algn="l" defTabSz="1228954" rtl="0" eaLnBrk="1" latinLnBrk="0" hangingPunct="1">
      <a:defRPr sz="2419" kern="1200">
        <a:solidFill>
          <a:schemeClr val="tx1"/>
        </a:solidFill>
        <a:latin typeface="+mn-lt"/>
        <a:ea typeface="+mn-ea"/>
        <a:cs typeface="+mn-cs"/>
      </a:defRPr>
    </a:lvl3pPr>
    <a:lvl4pPr marL="1843430" algn="l" defTabSz="1228954" rtl="0" eaLnBrk="1" latinLnBrk="0" hangingPunct="1">
      <a:defRPr sz="2419" kern="1200">
        <a:solidFill>
          <a:schemeClr val="tx1"/>
        </a:solidFill>
        <a:latin typeface="+mn-lt"/>
        <a:ea typeface="+mn-ea"/>
        <a:cs typeface="+mn-cs"/>
      </a:defRPr>
    </a:lvl4pPr>
    <a:lvl5pPr marL="2457907" algn="l" defTabSz="1228954" rtl="0" eaLnBrk="1" latinLnBrk="0" hangingPunct="1">
      <a:defRPr sz="2419" kern="1200">
        <a:solidFill>
          <a:schemeClr val="tx1"/>
        </a:solidFill>
        <a:latin typeface="+mn-lt"/>
        <a:ea typeface="+mn-ea"/>
        <a:cs typeface="+mn-cs"/>
      </a:defRPr>
    </a:lvl5pPr>
    <a:lvl6pPr marL="3072384" algn="l" defTabSz="1228954" rtl="0" eaLnBrk="1" latinLnBrk="0" hangingPunct="1">
      <a:defRPr sz="2419" kern="1200">
        <a:solidFill>
          <a:schemeClr val="tx1"/>
        </a:solidFill>
        <a:latin typeface="+mn-lt"/>
        <a:ea typeface="+mn-ea"/>
        <a:cs typeface="+mn-cs"/>
      </a:defRPr>
    </a:lvl6pPr>
    <a:lvl7pPr marL="3686861" algn="l" defTabSz="1228954" rtl="0" eaLnBrk="1" latinLnBrk="0" hangingPunct="1">
      <a:defRPr sz="2419" kern="1200">
        <a:solidFill>
          <a:schemeClr val="tx1"/>
        </a:solidFill>
        <a:latin typeface="+mn-lt"/>
        <a:ea typeface="+mn-ea"/>
        <a:cs typeface="+mn-cs"/>
      </a:defRPr>
    </a:lvl7pPr>
    <a:lvl8pPr marL="4301338" algn="l" defTabSz="1228954" rtl="0" eaLnBrk="1" latinLnBrk="0" hangingPunct="1">
      <a:defRPr sz="2419" kern="1200">
        <a:solidFill>
          <a:schemeClr val="tx1"/>
        </a:solidFill>
        <a:latin typeface="+mn-lt"/>
        <a:ea typeface="+mn-ea"/>
        <a:cs typeface="+mn-cs"/>
      </a:defRPr>
    </a:lvl8pPr>
    <a:lvl9pPr marL="4915814" algn="l" defTabSz="1228954" rtl="0" eaLnBrk="1" latinLnBrk="0" hangingPunct="1">
      <a:defRPr sz="2419"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3168" userDrawn="1">
          <p15:clr>
            <a:srgbClr val="A4A3A4"/>
          </p15:clr>
        </p15:guide>
        <p15:guide id="2" pos="5632"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73FEFF"/>
    <a:srgbClr val="4472C4"/>
    <a:srgbClr val="008770"/>
    <a:srgbClr val="55565A"/>
    <a:srgbClr val="FFC000"/>
    <a:srgbClr val="000000"/>
    <a:srgbClr val="C3E3E8"/>
    <a:srgbClr val="F2B411"/>
    <a:srgbClr val="D0D0CE"/>
    <a:srgbClr val="B1B3B3"/>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FD0F851-EC5A-4D38-B0AD-8093EC10F338}">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1FECB4D8-DB02-4DC6-A0A2-4F2EBAE1DC90}" styleName="Medium Style 1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E8034E78-7F5D-4C2E-B375-FC64B27BC917}" styleName="Dark Styl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8EC20E35-A176-4012-BC5E-935CFFF8708E}" styleName="Medium Styl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2149" autoAdjust="0"/>
    <p:restoredTop sz="95808" autoAdjust="0"/>
  </p:normalViewPr>
  <p:slideViewPr>
    <p:cSldViewPr snapToGrid="0">
      <p:cViewPr varScale="1">
        <p:scale>
          <a:sx n="89" d="100"/>
          <a:sy n="89" d="100"/>
        </p:scale>
        <p:origin x="208" y="288"/>
      </p:cViewPr>
      <p:guideLst>
        <p:guide orient="horz" pos="3168"/>
        <p:guide pos="5632"/>
      </p:guideLst>
    </p:cSldViewPr>
  </p:slideViewPr>
  <p:notesTextViewPr>
    <p:cViewPr>
      <p:scale>
        <a:sx n="1" d="1"/>
        <a:sy n="1" d="1"/>
      </p:scale>
      <p:origin x="0" y="0"/>
    </p:cViewPr>
  </p:notesTextViewPr>
  <p:sorterViewPr>
    <p:cViewPr>
      <p:scale>
        <a:sx n="100" d="100"/>
        <a:sy n="100" d="100"/>
      </p:scale>
      <p:origin x="0" y="-12304"/>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slide" Target="slides/slide37.xml"/><Relationship Id="rId47" Type="http://schemas.openxmlformats.org/officeDocument/2006/relationships/notesMaster" Target="notesMasters/notesMaster1.xml"/><Relationship Id="rId50" Type="http://schemas.openxmlformats.org/officeDocument/2006/relationships/theme" Target="theme/theme1.xml"/><Relationship Id="rId7" Type="http://schemas.openxmlformats.org/officeDocument/2006/relationships/slide" Target="slides/slide2.xml"/><Relationship Id="rId2" Type="http://schemas.openxmlformats.org/officeDocument/2006/relationships/customXml" Target="../customXml/item2.xml"/><Relationship Id="rId16" Type="http://schemas.openxmlformats.org/officeDocument/2006/relationships/slide" Target="slides/slide11.xml"/><Relationship Id="rId29" Type="http://schemas.openxmlformats.org/officeDocument/2006/relationships/slide" Target="slides/slide24.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slide" Target="slides/slide40.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viewProps" Target="viewProps.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slide" Target="slides/slide39.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presProps" Target="presProps.xml"/><Relationship Id="rId8" Type="http://schemas.openxmlformats.org/officeDocument/2006/relationships/slide" Target="slides/slide3.xml"/><Relationship Id="rId51" Type="http://schemas.openxmlformats.org/officeDocument/2006/relationships/tableStyles" Target="tableStyles.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slide" Target="slides/slide41.xml"/><Relationship Id="rId20" Type="http://schemas.openxmlformats.org/officeDocument/2006/relationships/slide" Target="slides/slide15.xml"/><Relationship Id="rId41" Type="http://schemas.openxmlformats.org/officeDocument/2006/relationships/slide" Target="slides/slide36.xml"/><Relationship Id="rId1" Type="http://schemas.openxmlformats.org/officeDocument/2006/relationships/customXml" Target="../customXml/item1.xml"/><Relationship Id="rId6" Type="http://schemas.openxmlformats.org/officeDocument/2006/relationships/slide" Target="slides/slid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3.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A1059E1-8A92-412E-9FFC-46DC2A12AD11}" type="datetimeFigureOut">
              <a:rPr lang="en-US" smtClean="0"/>
              <a:t>4/21/21</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1B1AA27-3892-4360-B986-D6B124C223BF}" type="slidenum">
              <a:rPr lang="en-US" smtClean="0"/>
              <a:t>‹#›</a:t>
            </a:fld>
            <a:endParaRPr lang="en-US"/>
          </a:p>
        </p:txBody>
      </p:sp>
    </p:spTree>
    <p:extLst>
      <p:ext uri="{BB962C8B-B14F-4D97-AF65-F5344CB8AC3E}">
        <p14:creationId xmlns:p14="http://schemas.microsoft.com/office/powerpoint/2010/main" val="2744088249"/>
      </p:ext>
    </p:extLst>
  </p:cSld>
  <p:clrMap bg1="lt1" tx1="dk1" bg2="lt2" tx2="dk2" accent1="accent1" accent2="accent2" accent3="accent3" accent4="accent4" accent5="accent5" accent6="accent6" hlink="hlink" folHlink="folHlink"/>
  <p:notesStyle>
    <a:lvl1pPr marL="0" algn="l" defTabSz="1228954" rtl="0" eaLnBrk="1" latinLnBrk="0" hangingPunct="1">
      <a:defRPr sz="1613" kern="1200">
        <a:solidFill>
          <a:schemeClr val="tx1"/>
        </a:solidFill>
        <a:latin typeface="+mn-lt"/>
        <a:ea typeface="+mn-ea"/>
        <a:cs typeface="+mn-cs"/>
      </a:defRPr>
    </a:lvl1pPr>
    <a:lvl2pPr marL="614477" algn="l" defTabSz="1228954" rtl="0" eaLnBrk="1" latinLnBrk="0" hangingPunct="1">
      <a:defRPr sz="1613" kern="1200">
        <a:solidFill>
          <a:schemeClr val="tx1"/>
        </a:solidFill>
        <a:latin typeface="+mn-lt"/>
        <a:ea typeface="+mn-ea"/>
        <a:cs typeface="+mn-cs"/>
      </a:defRPr>
    </a:lvl2pPr>
    <a:lvl3pPr marL="1228954" algn="l" defTabSz="1228954" rtl="0" eaLnBrk="1" latinLnBrk="0" hangingPunct="1">
      <a:defRPr sz="1613" kern="1200">
        <a:solidFill>
          <a:schemeClr val="tx1"/>
        </a:solidFill>
        <a:latin typeface="+mn-lt"/>
        <a:ea typeface="+mn-ea"/>
        <a:cs typeface="+mn-cs"/>
      </a:defRPr>
    </a:lvl3pPr>
    <a:lvl4pPr marL="1843430" algn="l" defTabSz="1228954" rtl="0" eaLnBrk="1" latinLnBrk="0" hangingPunct="1">
      <a:defRPr sz="1613" kern="1200">
        <a:solidFill>
          <a:schemeClr val="tx1"/>
        </a:solidFill>
        <a:latin typeface="+mn-lt"/>
        <a:ea typeface="+mn-ea"/>
        <a:cs typeface="+mn-cs"/>
      </a:defRPr>
    </a:lvl4pPr>
    <a:lvl5pPr marL="2457907" algn="l" defTabSz="1228954" rtl="0" eaLnBrk="1" latinLnBrk="0" hangingPunct="1">
      <a:defRPr sz="1613" kern="1200">
        <a:solidFill>
          <a:schemeClr val="tx1"/>
        </a:solidFill>
        <a:latin typeface="+mn-lt"/>
        <a:ea typeface="+mn-ea"/>
        <a:cs typeface="+mn-cs"/>
      </a:defRPr>
    </a:lvl5pPr>
    <a:lvl6pPr marL="3072384" algn="l" defTabSz="1228954" rtl="0" eaLnBrk="1" latinLnBrk="0" hangingPunct="1">
      <a:defRPr sz="1613" kern="1200">
        <a:solidFill>
          <a:schemeClr val="tx1"/>
        </a:solidFill>
        <a:latin typeface="+mn-lt"/>
        <a:ea typeface="+mn-ea"/>
        <a:cs typeface="+mn-cs"/>
      </a:defRPr>
    </a:lvl6pPr>
    <a:lvl7pPr marL="3686861" algn="l" defTabSz="1228954" rtl="0" eaLnBrk="1" latinLnBrk="0" hangingPunct="1">
      <a:defRPr sz="1613" kern="1200">
        <a:solidFill>
          <a:schemeClr val="tx1"/>
        </a:solidFill>
        <a:latin typeface="+mn-lt"/>
        <a:ea typeface="+mn-ea"/>
        <a:cs typeface="+mn-cs"/>
      </a:defRPr>
    </a:lvl7pPr>
    <a:lvl8pPr marL="4301338" algn="l" defTabSz="1228954" rtl="0" eaLnBrk="1" latinLnBrk="0" hangingPunct="1">
      <a:defRPr sz="1613" kern="1200">
        <a:solidFill>
          <a:schemeClr val="tx1"/>
        </a:solidFill>
        <a:latin typeface="+mn-lt"/>
        <a:ea typeface="+mn-ea"/>
        <a:cs typeface="+mn-cs"/>
      </a:defRPr>
    </a:lvl8pPr>
    <a:lvl9pPr marL="4915814" algn="l" defTabSz="1228954" rtl="0" eaLnBrk="1" latinLnBrk="0" hangingPunct="1">
      <a:defRPr sz="1613"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1228954" rtl="0" eaLnBrk="1" fontAlgn="auto" latinLnBrk="0" hangingPunct="1">
              <a:lnSpc>
                <a:spcPct val="100000"/>
              </a:lnSpc>
              <a:spcBef>
                <a:spcPts val="0"/>
              </a:spcBef>
              <a:spcAft>
                <a:spcPts val="0"/>
              </a:spcAft>
              <a:buClrTx/>
              <a:buSzTx/>
              <a:buFontTx/>
              <a:buNone/>
              <a:tabLst/>
              <a:defRPr/>
            </a:pPr>
            <a:r>
              <a:rPr lang="en-US" sz="1800" dirty="0"/>
              <a:t>Hi – my name is Dan McCreary.  I am a Distinguished Engineer working in the Advanced Technology Collaborative.  I am leading the graph technologies initiative within the Advanced Technology Collaborative. Our goal is to build a collaborative community the use graph technology to lower the cost of healthcare and give Optum a competitive advantage in the marketplace.</a:t>
            </a:r>
          </a:p>
        </p:txBody>
      </p:sp>
      <p:sp>
        <p:nvSpPr>
          <p:cNvPr id="4" name="Slide Number Placeholder 3"/>
          <p:cNvSpPr>
            <a:spLocks noGrp="1"/>
          </p:cNvSpPr>
          <p:nvPr>
            <p:ph type="sldNum" sz="quarter" idx="10"/>
          </p:nvPr>
        </p:nvSpPr>
        <p:spPr/>
        <p:txBody>
          <a:bodyPr/>
          <a:lstStyle/>
          <a:p>
            <a:fld id="{436492AF-BC2A-4188-B06F-754C36A745CF}" type="slidenum">
              <a:rPr lang="en-US" smtClean="0"/>
              <a:t>1</a:t>
            </a:fld>
            <a:endParaRPr lang="en-US"/>
          </a:p>
        </p:txBody>
      </p:sp>
    </p:spTree>
    <p:extLst>
      <p:ext uri="{BB962C8B-B14F-4D97-AF65-F5344CB8AC3E}">
        <p14:creationId xmlns:p14="http://schemas.microsoft.com/office/powerpoint/2010/main" val="151605650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I has had many advances in the areas of image, and speech recognition.  These processes represent their data in the form of a matrix of values, where almost all the values of a cell are non-zero.  We call this a dense matrix representation.  However, in healthcare we can’t use these same dense representations.  If we put all our patients in a matrix with one column for each ICD-10 diagnostic code – and there are over 100K codes – we would then be able to turn a cell to 1 only if that patient has that diagnosis.  Since a patient might only have a few diagnosis codes, 99.999 percent of these values will be zeros.  We call this a sparse matrix.  GPUs are very inefficient at processing this data since the information density is very low.  Instead we need graph representation of our patients.</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A603680-73B5-CA47-9E59-7F3BF82D21B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7051896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an</a:t>
            </a:r>
          </a:p>
        </p:txBody>
      </p:sp>
      <p:sp>
        <p:nvSpPr>
          <p:cNvPr id="4" name="Slide Number Placeholder 3"/>
          <p:cNvSpPr>
            <a:spLocks noGrp="1"/>
          </p:cNvSpPr>
          <p:nvPr>
            <p:ph type="sldNum" sz="quarter" idx="10"/>
          </p:nvPr>
        </p:nvSpPr>
        <p:spPr/>
        <p:txBody>
          <a:bodyPr/>
          <a:lstStyle/>
          <a:p>
            <a:fld id="{71B1AA27-3892-4360-B986-D6B124C223BF}" type="slidenum">
              <a:rPr lang="en-US" smtClean="0"/>
              <a:t>32</a:t>
            </a:fld>
            <a:endParaRPr lang="en-US"/>
          </a:p>
        </p:txBody>
      </p:sp>
    </p:spTree>
    <p:extLst>
      <p:ext uri="{BB962C8B-B14F-4D97-AF65-F5344CB8AC3E}">
        <p14:creationId xmlns:p14="http://schemas.microsoft.com/office/powerpoint/2010/main" val="63861301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ow lets take a look into some of the reasons that organizations are moving toward knowledge graphs as ways to connect and reuse data.  The structure we used to describe this system is called the Knowledge Triangle or sometimes the DIKW Pyramid.  It is a triangle with Data at the bottom, Information at one level up, connected Knowledge (in the form of a graph) at the third level and Wisdom at the top.</a:t>
            </a:r>
          </a:p>
          <a:p>
            <a:endParaRPr lang="en-US" dirty="0"/>
          </a:p>
          <a:p>
            <a:r>
              <a:rPr lang="en-US" dirty="0"/>
              <a:t>In most systems, </a:t>
            </a:r>
            <a:r>
              <a:rPr lang="en-US" b="1" dirty="0"/>
              <a:t>Data</a:t>
            </a:r>
            <a:r>
              <a:rPr lang="en-US" dirty="0"/>
              <a:t> comes from external sources the form if low-level binary and numeric codes.  For example this might be a table-by-table dump from a RDBMS system into a set of CSV files.  However, the metadata that describes these codes is often not transmitted with the data.  So it is difficult to figure out what the codes mean.  At the Data level it is expensive and time consuming to find the meaning of data.  We call this semantically poor data.</a:t>
            </a:r>
          </a:p>
          <a:p>
            <a:endParaRPr lang="en-US" dirty="0"/>
          </a:p>
          <a:p>
            <a:r>
              <a:rPr lang="en-US" dirty="0"/>
              <a:t>Some information might be stored at a higher level – we call this the </a:t>
            </a:r>
            <a:r>
              <a:rPr lang="en-US" b="1" dirty="0"/>
              <a:t>Information</a:t>
            </a:r>
            <a:r>
              <a:rPr lang="en-US" dirty="0"/>
              <a:t> level.  At this level we clearly identify the nouns in the data.  We find the people, places and things.  But these things may not be connected together.</a:t>
            </a:r>
          </a:p>
          <a:p>
            <a:r>
              <a:rPr lang="en-US" dirty="0"/>
              <a:t>JSON and XML files are good choices to transmit information because they send labels with the data. </a:t>
            </a:r>
          </a:p>
          <a:p>
            <a:endParaRPr lang="en-US" dirty="0"/>
          </a:p>
          <a:p>
            <a:r>
              <a:rPr lang="en-US" dirty="0"/>
              <a:t>The next higher level is the </a:t>
            </a:r>
            <a:r>
              <a:rPr lang="en-US" b="1" dirty="0"/>
              <a:t>Knowledge</a:t>
            </a:r>
            <a:r>
              <a:rPr lang="en-US" dirty="0"/>
              <a:t> level.  Knowledge is Information that is put in the right context – it is connected to other concepts.  The Knowledge level allows us to focus on large patterns that stretch across multiple domains.  We can move between Providers, Claims, Services and Members by doing queries over our graph.</a:t>
            </a:r>
          </a:p>
          <a:p>
            <a:endParaRPr lang="en-US" dirty="0"/>
          </a:p>
          <a:p>
            <a:r>
              <a:rPr lang="en-US" dirty="0"/>
              <a:t>The Wisdom is the layer most strongly associated with AI.  When we think of going to the top of the mountain and we ask the Gurus for advice, we are asking them to apply their knowledge to our specific problem.  We are asking them to transfer knowledge to our context.</a:t>
            </a:r>
          </a:p>
        </p:txBody>
      </p:sp>
      <p:sp>
        <p:nvSpPr>
          <p:cNvPr id="4" name="Slide Number Placeholder 3"/>
          <p:cNvSpPr>
            <a:spLocks noGrp="1"/>
          </p:cNvSpPr>
          <p:nvPr>
            <p:ph type="sldNum" sz="quarter" idx="10"/>
          </p:nvPr>
        </p:nvSpPr>
        <p:spPr/>
        <p:txBody>
          <a:bodyPr/>
          <a:lstStyle/>
          <a:p>
            <a:fld id="{71B1AA27-3892-4360-B986-D6B124C223BF}" type="slidenum">
              <a:rPr lang="en-US" smtClean="0"/>
              <a:t>33</a:t>
            </a:fld>
            <a:endParaRPr lang="en-US"/>
          </a:p>
        </p:txBody>
      </p:sp>
    </p:spTree>
    <p:extLst>
      <p:ext uri="{BB962C8B-B14F-4D97-AF65-F5344CB8AC3E}">
        <p14:creationId xmlns:p14="http://schemas.microsoft.com/office/powerpoint/2010/main" val="416625352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is picture follows this same knowledge triangle pattern.  However, we want to invoke the idea of raw binary </a:t>
            </a:r>
            <a:r>
              <a:rPr lang="en-US" b="1" dirty="0"/>
              <a:t>Data Lake </a:t>
            </a:r>
            <a:r>
              <a:rPr lang="en-US" dirty="0"/>
              <a:t>at the bottom with binary symbols that have little meaning without context.</a:t>
            </a:r>
          </a:p>
          <a:p>
            <a:endParaRPr lang="en-US" dirty="0"/>
          </a:p>
          <a:p>
            <a:r>
              <a:rPr lang="en-US" dirty="0"/>
              <a:t>The second layer is where we identify the nouns in our documents for data.  We look for people, places and things in the byte stream.  This is where we can understand isolated data – know the types, the definitions of the types and be able to validate if the 1s and 0s make sense within a narrow context.  At this layer we are bringing together data and the metadata that describes that data.  We are also checking the format of our data and making it consistent.</a:t>
            </a:r>
          </a:p>
          <a:p>
            <a:endParaRPr lang="en-US" dirty="0"/>
          </a:p>
          <a:p>
            <a:r>
              <a:rPr lang="en-US" dirty="0"/>
              <a:t>The third layer is where we start to tie our Nouns together in a graph.  It is where we build relationship links between things.  It is where we might look for duplicated data (Master Data Management), where we check for consistency and we verify the patterns of connections are consistent.  The graph layer is where we can perform complex graph analytics algorithms.</a:t>
            </a:r>
          </a:p>
          <a:p>
            <a:endParaRPr lang="en-US" dirty="0"/>
          </a:p>
          <a:p>
            <a:r>
              <a:rPr lang="en-US" dirty="0"/>
              <a:t>The highest level is where we restructure our graph so that it comes in sub-graphs that are reusable across multiple applications.  We can provide consistent APIs that pull data in consistent ways and these interfaces are reusable across many domains.</a:t>
            </a:r>
          </a:p>
          <a:p>
            <a:endParaRPr lang="en-US" dirty="0"/>
          </a:p>
          <a:p>
            <a:r>
              <a:rPr lang="en-US" dirty="0"/>
              <a:t>Central to this pyramid is the concept of continuous enrichment cycles.  As we discover new things at a higher level, we sometimes provide feedback to lower levels.</a:t>
            </a:r>
          </a:p>
          <a:p>
            <a:endParaRPr lang="en-US" dirty="0"/>
          </a:p>
        </p:txBody>
      </p:sp>
      <p:sp>
        <p:nvSpPr>
          <p:cNvPr id="4" name="Slide Number Placeholder 3"/>
          <p:cNvSpPr>
            <a:spLocks noGrp="1"/>
          </p:cNvSpPr>
          <p:nvPr>
            <p:ph type="sldNum" sz="quarter" idx="10"/>
          </p:nvPr>
        </p:nvSpPr>
        <p:spPr/>
        <p:txBody>
          <a:bodyPr/>
          <a:lstStyle/>
          <a:p>
            <a:fld id="{71B1AA27-3892-4360-B986-D6B124C223BF}" type="slidenum">
              <a:rPr lang="en-US" smtClean="0"/>
              <a:t>34</a:t>
            </a:fld>
            <a:endParaRPr lang="en-US"/>
          </a:p>
        </p:txBody>
      </p:sp>
    </p:spTree>
    <p:extLst>
      <p:ext uri="{BB962C8B-B14F-4D97-AF65-F5344CB8AC3E}">
        <p14:creationId xmlns:p14="http://schemas.microsoft.com/office/powerpoint/2010/main" val="363910696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B1AA27-3892-4360-B986-D6B124C223BF}" type="slidenum">
              <a:rPr lang="en-US" smtClean="0"/>
              <a:t>36</a:t>
            </a:fld>
            <a:endParaRPr lang="en-US"/>
          </a:p>
        </p:txBody>
      </p:sp>
    </p:spTree>
    <p:extLst>
      <p:ext uri="{BB962C8B-B14F-4D97-AF65-F5344CB8AC3E}">
        <p14:creationId xmlns:p14="http://schemas.microsoft.com/office/powerpoint/2010/main" val="181436471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71B1AA27-3892-4360-B986-D6B124C223BF}" type="slidenum">
              <a:rPr lang="en-US" smtClean="0"/>
              <a:t>38</a:t>
            </a:fld>
            <a:endParaRPr lang="en-US"/>
          </a:p>
        </p:txBody>
      </p:sp>
    </p:spTree>
    <p:extLst>
      <p:ext uri="{BB962C8B-B14F-4D97-AF65-F5344CB8AC3E}">
        <p14:creationId xmlns:p14="http://schemas.microsoft.com/office/powerpoint/2010/main" val="167342996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25613" y="630238"/>
            <a:ext cx="3559175" cy="2003425"/>
          </a:xfrm>
        </p:spPr>
      </p:sp>
      <p:sp>
        <p:nvSpPr>
          <p:cNvPr id="3" name="Notes Placeholder 2"/>
          <p:cNvSpPr>
            <a:spLocks noGrp="1"/>
          </p:cNvSpPr>
          <p:nvPr>
            <p:ph type="body" idx="1"/>
          </p:nvPr>
        </p:nvSpPr>
        <p:spPr/>
        <p:txBody>
          <a:bodyPr>
            <a:normAutofit/>
          </a:bodyPr>
          <a:lstStyle/>
          <a:p>
            <a:pPr marL="0" indent="0">
              <a:buFontTx/>
              <a:buNone/>
            </a:pPr>
            <a:r>
              <a:rPr lang="en-US" dirty="0"/>
              <a:t>My background is a solution architect.  I have spent most of the last 20 years understanding how to objectively match business problems to the appropriate technologies.  My focus has been on the fast-evolving area of NoSQL databases.  I have also had a strong interest in AI, semantics, natural language process and search.  I have been working on challenges problems in C360 and Benefit Search for over four years within Optum.</a:t>
            </a:r>
          </a:p>
        </p:txBody>
      </p:sp>
      <p:sp>
        <p:nvSpPr>
          <p:cNvPr id="4" name="Slide Number Placeholder 3"/>
          <p:cNvSpPr>
            <a:spLocks noGrp="1"/>
          </p:cNvSpPr>
          <p:nvPr>
            <p:ph type="sldNum" sz="quarter" idx="10"/>
          </p:nvPr>
        </p:nvSpPr>
        <p:spPr/>
        <p:txBody>
          <a:bodyPr/>
          <a:lstStyle/>
          <a:p>
            <a:fld id="{708EA56A-F1B3-4F1F-ACD0-DEC49C4A85DD}" type="slidenum">
              <a:rPr lang="en-US" smtClean="0"/>
              <a:pPr/>
              <a:t>3</a:t>
            </a:fld>
            <a:endParaRPr lang="en-US" dirty="0"/>
          </a:p>
        </p:txBody>
      </p:sp>
    </p:spTree>
    <p:extLst>
      <p:ext uri="{BB962C8B-B14F-4D97-AF65-F5344CB8AC3E}">
        <p14:creationId xmlns:p14="http://schemas.microsoft.com/office/powerpoint/2010/main" val="193430316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is chart shows the relative change in popularity of graph databases compared to other technologies according to DB Engines.  DB Engines has web crawlers that regularly harvest an classify data related to databases.  You can see that Graph Database popularity is the fasting growing database technology.  This trend started in 2013 and it is continuing strong in 2018.  Note that is is not absolute popularity.  This is the change is popularity.  Popularity also does not imply suitability.  However, with these disclaimers aside you can clearly see a sustainable trend.  Let’s see what other evidence we have about the rise of graph technologies.</a:t>
            </a:r>
          </a:p>
        </p:txBody>
      </p:sp>
      <p:sp>
        <p:nvSpPr>
          <p:cNvPr id="4" name="Slide Number Placeholder 3"/>
          <p:cNvSpPr>
            <a:spLocks noGrp="1"/>
          </p:cNvSpPr>
          <p:nvPr>
            <p:ph type="sldNum" sz="quarter" idx="10"/>
          </p:nvPr>
        </p:nvSpPr>
        <p:spPr/>
        <p:txBody>
          <a:bodyPr/>
          <a:lstStyle/>
          <a:p>
            <a:fld id="{71B1AA27-3892-4360-B986-D6B124C223BF}" type="slidenum">
              <a:rPr lang="en-US" smtClean="0"/>
              <a:t>4</a:t>
            </a:fld>
            <a:endParaRPr lang="en-US"/>
          </a:p>
        </p:txBody>
      </p:sp>
    </p:spTree>
    <p:extLst>
      <p:ext uri="{BB962C8B-B14F-4D97-AF65-F5344CB8AC3E}">
        <p14:creationId xmlns:p14="http://schemas.microsoft.com/office/powerpoint/2010/main" val="224959079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US" dirty="0"/>
              <a:t>OK, now lets take a step back and take a more structure look at where these tools fit into our business processes at Optum.</a:t>
            </a:r>
          </a:p>
          <a:p>
            <a:endParaRPr lang="en-US" dirty="0"/>
          </a:p>
          <a:p>
            <a:r>
              <a:rPr lang="en-US" dirty="0"/>
              <a:t>There are six</a:t>
            </a:r>
            <a:r>
              <a:rPr lang="en-US" baseline="0" dirty="0"/>
              <a:t> main database architecture patterns we use when we think of a business problem.</a:t>
            </a:r>
          </a:p>
          <a:p>
            <a:endParaRPr lang="en-US" baseline="0" dirty="0"/>
          </a:p>
          <a:p>
            <a:r>
              <a:rPr lang="en-US" baseline="0" dirty="0"/>
              <a:t>Relational or row-stores</a:t>
            </a:r>
          </a:p>
          <a:p>
            <a:r>
              <a:rPr lang="en-US" baseline="0" dirty="0"/>
              <a:t>Analytical or OLAP</a:t>
            </a:r>
          </a:p>
          <a:p>
            <a:r>
              <a:rPr lang="en-US" baseline="0" dirty="0"/>
              <a:t>Key-Value stores – one of the simplest but most extensible data architectures</a:t>
            </a:r>
          </a:p>
          <a:p>
            <a:r>
              <a:rPr lang="en-US" baseline="0" dirty="0"/>
              <a:t>Column-family stores</a:t>
            </a:r>
          </a:p>
          <a:p>
            <a:r>
              <a:rPr lang="en-US" baseline="0" dirty="0"/>
              <a:t>Graph stores</a:t>
            </a:r>
          </a:p>
          <a:p>
            <a:r>
              <a:rPr lang="en-US" baseline="0" dirty="0"/>
              <a:t>and Document stores</a:t>
            </a:r>
          </a:p>
          <a:p>
            <a:endParaRPr lang="en-US" baseline="0" dirty="0"/>
          </a:p>
          <a:p>
            <a:endParaRPr lang="en-US" baseline="0" dirty="0"/>
          </a:p>
          <a:p>
            <a:r>
              <a:rPr lang="en-US" baseline="0" dirty="0"/>
              <a:t>Graph is just one of these six.  Graph stores are often most closely related to document stores.  Both Graph and document stores have the ability for new data to be added to structures without needing to remodel the data.  We call these systems schema-free or schema agnostic.  They are a key driver for highly agile systems.</a:t>
            </a:r>
          </a:p>
          <a:p>
            <a:endParaRPr lang="en-US" baseline="0" dirty="0"/>
          </a:p>
          <a:p>
            <a:r>
              <a:rPr lang="en-US" baseline="0" dirty="0"/>
              <a:t>Your systems may often draw on two or more of these systems.  Databases that support multiple data models are called multi-model databases.  They prevent us from having to store the same data over in multiple systems for transactions, search and analytics.  Multi-modal systems that integrate graph technologies are also an emerging trend.</a:t>
            </a:r>
          </a:p>
        </p:txBody>
      </p:sp>
      <p:sp>
        <p:nvSpPr>
          <p:cNvPr id="4" name="Slide Number Placeholder 3"/>
          <p:cNvSpPr>
            <a:spLocks noGrp="1"/>
          </p:cNvSpPr>
          <p:nvPr>
            <p:ph type="sldNum" sz="quarter" idx="10"/>
          </p:nvPr>
        </p:nvSpPr>
        <p:spPr/>
        <p:txBody>
          <a:bodyPr/>
          <a:lstStyle/>
          <a:p>
            <a:fld id="{71B1AA27-3892-4360-B986-D6B124C223BF}" type="slidenum">
              <a:rPr lang="en-US" smtClean="0"/>
              <a:t>5</a:t>
            </a:fld>
            <a:endParaRPr lang="en-US"/>
          </a:p>
        </p:txBody>
      </p:sp>
    </p:spTree>
    <p:extLst>
      <p:ext uri="{BB962C8B-B14F-4D97-AF65-F5344CB8AC3E}">
        <p14:creationId xmlns:p14="http://schemas.microsoft.com/office/powerpoint/2010/main" val="92016486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ow lets do a side-by-side comparison of both the traditional Relational row-store and compare some key facts.  With a row store, the atomic unit of work is adding a single row at a time to a table.  The key is that all the datatypes in each column must be the same.  If there are dates in the third column and decimals in the fourth column all your data must conform to this standard.  The table column structures and datatypes are fixed when you design your database.  Once you have a million rows loaded into each table and 10,000 reports created it becomes challenging to modify the database.</a:t>
            </a:r>
          </a:p>
          <a:p>
            <a:endParaRPr lang="en-US" dirty="0"/>
          </a:p>
          <a:p>
            <a:r>
              <a:rPr lang="en-US" dirty="0"/>
              <a:t>Relational database also use the SQL language and they use join operations to dynamically calculate relationships each time the query is run.  These calculations are based on binary search algorithms that run in log(N) time where N is the number of rows in each table.  As the table grows the searches sale as the log of the number of rows.</a:t>
            </a:r>
          </a:p>
          <a:p>
            <a:endParaRPr lang="en-US" dirty="0"/>
          </a:p>
          <a:p>
            <a:r>
              <a:rPr lang="en-US" dirty="0"/>
              <a:t>Graph databases on the other hand allow you to add any number of nodes and and relationships into your graph database.  Each node and relationship has it own properties but there are usually few overarching rules about what datatypes these structures can contain. </a:t>
            </a:r>
            <a:br>
              <a:rPr lang="en-US" dirty="0"/>
            </a:br>
            <a:br>
              <a:rPr lang="en-US" dirty="0"/>
            </a:br>
            <a:r>
              <a:rPr lang="en-US" dirty="0"/>
              <a:t>Graph databases also used fixed memory pointers to store relationships between each node.  As a result the queries over relationships are fast and there is no slow-down as the number of verticies gets bigger.</a:t>
            </a:r>
          </a:p>
        </p:txBody>
      </p:sp>
      <p:sp>
        <p:nvSpPr>
          <p:cNvPr id="4" name="Slide Number Placeholder 3"/>
          <p:cNvSpPr>
            <a:spLocks noGrp="1"/>
          </p:cNvSpPr>
          <p:nvPr>
            <p:ph type="sldNum" sz="quarter" idx="10"/>
          </p:nvPr>
        </p:nvSpPr>
        <p:spPr/>
        <p:txBody>
          <a:bodyPr/>
          <a:lstStyle/>
          <a:p>
            <a:fld id="{71B1AA27-3892-4360-B986-D6B124C223BF}" type="slidenum">
              <a:rPr lang="en-US" smtClean="0"/>
              <a:t>6</a:t>
            </a:fld>
            <a:endParaRPr lang="en-US"/>
          </a:p>
        </p:txBody>
      </p:sp>
    </p:spTree>
    <p:extLst>
      <p:ext uri="{BB962C8B-B14F-4D97-AF65-F5344CB8AC3E}">
        <p14:creationId xmlns:p14="http://schemas.microsoft.com/office/powerpoint/2010/main" val="125962895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a:t>
            </a:r>
            <a:r>
              <a:rPr lang="en-US" dirty="0" err="1"/>
              <a:t>www.reddit.com</a:t>
            </a:r>
            <a:r>
              <a:rPr lang="en-US" dirty="0"/>
              <a:t>/r/pics/comments/67utku/</a:t>
            </a:r>
            <a:r>
              <a:rPr lang="en-US" dirty="0" err="1"/>
              <a:t>this_nanoscale_photograph_of_an_intel_xeon</a:t>
            </a:r>
            <a:r>
              <a:rPr lang="en-US" dirty="0"/>
              <a:t>/</a:t>
            </a:r>
          </a:p>
        </p:txBody>
      </p:sp>
      <p:sp>
        <p:nvSpPr>
          <p:cNvPr id="4" name="Slide Number Placeholder 3"/>
          <p:cNvSpPr>
            <a:spLocks noGrp="1"/>
          </p:cNvSpPr>
          <p:nvPr>
            <p:ph type="sldNum" sz="quarter" idx="5"/>
          </p:nvPr>
        </p:nvSpPr>
        <p:spPr/>
        <p:txBody>
          <a:bodyPr/>
          <a:lstStyle/>
          <a:p>
            <a:fld id="{71B1AA27-3892-4360-B986-D6B124C223BF}" type="slidenum">
              <a:rPr lang="en-US" smtClean="0"/>
              <a:t>12</a:t>
            </a:fld>
            <a:endParaRPr lang="en-US"/>
          </a:p>
        </p:txBody>
      </p:sp>
    </p:spTree>
    <p:extLst>
      <p:ext uri="{BB962C8B-B14F-4D97-AF65-F5344CB8AC3E}">
        <p14:creationId xmlns:p14="http://schemas.microsoft.com/office/powerpoint/2010/main" val="10919296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81715296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I has had many advances in the areas of image, and speech recognition.  These processes represent their data in the form of a matrix of values, where almost all the values of a cell are non-zero.  We call this a dense matrix representation.  However, in healthcare we can’t use these same dense representations.  If we put all our patients in a matrix with one column for each ICD-10 diagnostic code – and there are over 100K codes – we would then be able to turn a cell to 1 only if that patient has that diagnosis.  Since a patient might only have a few diagnosis codes, 99.999 percent of these values will be zeros.  We call this a sparse matrix.  GPUs are very inefficient at processing this data since the information density is very low.  Instead we need graph representation of our patients.</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A603680-73B5-CA47-9E59-7F3BF82D21B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7051896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Finally, lets mention the role of intelligent agents to this process.  Agents will be able to access all of these graphs to perform specific tasks for our community of users.  Agents will be able to quickly generate specific graph queries that gather just the information they need to perform a task.</a:t>
            </a:r>
          </a:p>
        </p:txBody>
      </p:sp>
      <p:sp>
        <p:nvSpPr>
          <p:cNvPr id="4" name="Slide Number Placeholder 3"/>
          <p:cNvSpPr>
            <a:spLocks noGrp="1"/>
          </p:cNvSpPr>
          <p:nvPr>
            <p:ph type="sldNum" sz="quarter" idx="10"/>
          </p:nvPr>
        </p:nvSpPr>
        <p:spPr/>
        <p:txBody>
          <a:bodyPr/>
          <a:lstStyle/>
          <a:p>
            <a:fld id="{71B1AA27-3892-4360-B986-D6B124C223BF}" type="slidenum">
              <a:rPr lang="en-US" smtClean="0"/>
              <a:t>26</a:t>
            </a:fld>
            <a:endParaRPr lang="en-US"/>
          </a:p>
        </p:txBody>
      </p:sp>
    </p:spTree>
    <p:extLst>
      <p:ext uri="{BB962C8B-B14F-4D97-AF65-F5344CB8AC3E}">
        <p14:creationId xmlns:p14="http://schemas.microsoft.com/office/powerpoint/2010/main" val="175299600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3.emf"/><Relationship Id="rId4" Type="http://schemas.openxmlformats.org/officeDocument/2006/relationships/oleObject" Target="../embeddings/oleObject1.bin"/></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jpe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8.jpe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9.jpe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Type insightful headline in sentence case | One line</a:t>
            </a:r>
          </a:p>
        </p:txBody>
      </p:sp>
      <p:sp>
        <p:nvSpPr>
          <p:cNvPr id="3" name="Content Placeholder 2"/>
          <p:cNvSpPr>
            <a:spLocks noGrp="1"/>
          </p:cNvSpPr>
          <p:nvPr>
            <p:ph idx="1" hasCustomPrompt="1"/>
          </p:nvPr>
        </p:nvSpPr>
        <p:spPr/>
        <p:txBody>
          <a:bodyPr/>
          <a:lstStyle>
            <a:lvl1pPr>
              <a:defRPr/>
            </a:lvl1pPr>
          </a:lstStyle>
          <a:p>
            <a:pPr lvl="0"/>
            <a:r>
              <a:rPr lang="en-US" dirty="0"/>
              <a:t>Click to type text. To change text formatting (approved color, size, bullets), place cursor at beginning of text/line and hit Tab or Shift Tab. Click icon for chart or tabl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p>
            <a:fld id="{F47D634C-B5A4-6A40-9F15-9A867C828214}" type="datetime1">
              <a:rPr lang="en-US" smtClean="0"/>
              <a:t>4/21/21</a:t>
            </a:fld>
            <a:endParaRPr lang="en-US"/>
          </a:p>
        </p:txBody>
      </p:sp>
      <p:sp>
        <p:nvSpPr>
          <p:cNvPr id="6" name="Slide Number Placeholder 5"/>
          <p:cNvSpPr>
            <a:spLocks noGrp="1"/>
          </p:cNvSpPr>
          <p:nvPr>
            <p:ph type="sldNum" sz="quarter" idx="12"/>
          </p:nvPr>
        </p:nvSpPr>
        <p:spPr/>
        <p:txBody>
          <a:bodyPr/>
          <a:lstStyle/>
          <a:p>
            <a:fld id="{3310D8EA-3107-4873-B9AB-DD7D3E79053A}" type="slidenum">
              <a:rPr lang="en-US" smtClean="0"/>
              <a:t>‹#›</a:t>
            </a:fld>
            <a:endParaRPr lang="en-US"/>
          </a:p>
        </p:txBody>
      </p:sp>
    </p:spTree>
    <p:extLst>
      <p:ext uri="{BB962C8B-B14F-4D97-AF65-F5344CB8AC3E}">
        <p14:creationId xmlns:p14="http://schemas.microsoft.com/office/powerpoint/2010/main" val="316272881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3 Photo w/Caption">
    <p:spTree>
      <p:nvGrpSpPr>
        <p:cNvPr id="1" name=""/>
        <p:cNvGrpSpPr/>
        <p:nvPr/>
      </p:nvGrpSpPr>
      <p:grpSpPr>
        <a:xfrm>
          <a:off x="0" y="0"/>
          <a:ext cx="0" cy="0"/>
          <a:chOff x="0" y="0"/>
          <a:chExt cx="0" cy="0"/>
        </a:xfrm>
      </p:grpSpPr>
      <p:sp>
        <p:nvSpPr>
          <p:cNvPr id="9" name="Picture Placeholder 8"/>
          <p:cNvSpPr>
            <a:spLocks noGrp="1"/>
          </p:cNvSpPr>
          <p:nvPr>
            <p:ph type="pic" sz="quarter" idx="22"/>
          </p:nvPr>
        </p:nvSpPr>
        <p:spPr>
          <a:xfrm>
            <a:off x="754381" y="2682240"/>
            <a:ext cx="5538826" cy="5979160"/>
          </a:xfrm>
          <a:solidFill>
            <a:schemeClr val="accent3">
              <a:lumMod val="20000"/>
              <a:lumOff val="80000"/>
            </a:schemeClr>
          </a:solidFill>
        </p:spPr>
        <p:txBody>
          <a:bodyPr/>
          <a:lstStyle>
            <a:lvl1pPr>
              <a:defRPr sz="2040">
                <a:solidFill>
                  <a:schemeClr val="tx1"/>
                </a:solidFill>
              </a:defRPr>
            </a:lvl1pPr>
          </a:lstStyle>
          <a:p>
            <a:r>
              <a:rPr lang="en-US"/>
              <a:t>Click icon to add picture</a:t>
            </a:r>
            <a:endParaRPr lang="en-US" dirty="0"/>
          </a:p>
        </p:txBody>
      </p:sp>
      <p:sp>
        <p:nvSpPr>
          <p:cNvPr id="2" name="Title 1"/>
          <p:cNvSpPr>
            <a:spLocks noGrp="1"/>
          </p:cNvSpPr>
          <p:nvPr>
            <p:ph type="title" hasCustomPrompt="1"/>
          </p:nvPr>
        </p:nvSpPr>
        <p:spPr/>
        <p:txBody>
          <a:bodyPr/>
          <a:lstStyle>
            <a:lvl1pPr>
              <a:defRPr/>
            </a:lvl1pPr>
          </a:lstStyle>
          <a:p>
            <a:r>
              <a:rPr lang="en-US" dirty="0"/>
              <a:t>3 Photo | Type insightful headline in sentence case | One line</a:t>
            </a:r>
          </a:p>
        </p:txBody>
      </p:sp>
      <p:sp>
        <p:nvSpPr>
          <p:cNvPr id="3" name="Date Placeholder 2"/>
          <p:cNvSpPr>
            <a:spLocks noGrp="1"/>
          </p:cNvSpPr>
          <p:nvPr>
            <p:ph type="dt" sz="half" idx="10"/>
          </p:nvPr>
        </p:nvSpPr>
        <p:spPr/>
        <p:txBody>
          <a:bodyPr/>
          <a:lstStyle/>
          <a:p>
            <a:fld id="{14895314-66DE-4042-9260-42534530A661}" type="datetime1">
              <a:rPr lang="en-US" smtClean="0"/>
              <a:t>4/21/21</a:t>
            </a:fld>
            <a:endParaRPr lang="en-US"/>
          </a:p>
        </p:txBody>
      </p:sp>
      <p:sp>
        <p:nvSpPr>
          <p:cNvPr id="5" name="Slide Number Placeholder 4"/>
          <p:cNvSpPr>
            <a:spLocks noGrp="1"/>
          </p:cNvSpPr>
          <p:nvPr>
            <p:ph type="sldNum" sz="quarter" idx="12"/>
          </p:nvPr>
        </p:nvSpPr>
        <p:spPr/>
        <p:txBody>
          <a:bodyPr/>
          <a:lstStyle/>
          <a:p>
            <a:fld id="{3310D8EA-3107-4873-B9AB-DD7D3E79053A}" type="slidenum">
              <a:rPr lang="en-US" smtClean="0"/>
              <a:t>‹#›</a:t>
            </a:fld>
            <a:endParaRPr lang="en-US"/>
          </a:p>
        </p:txBody>
      </p:sp>
      <p:sp>
        <p:nvSpPr>
          <p:cNvPr id="6" name="Text Placeholder 7"/>
          <p:cNvSpPr>
            <a:spLocks noGrp="1"/>
          </p:cNvSpPr>
          <p:nvPr>
            <p:ph type="body" sz="quarter" idx="13" hasCustomPrompt="1"/>
          </p:nvPr>
        </p:nvSpPr>
        <p:spPr>
          <a:xfrm>
            <a:off x="726439" y="1640149"/>
            <a:ext cx="16596361" cy="721783"/>
          </a:xfrm>
        </p:spPr>
        <p:txBody>
          <a:bodyPr/>
          <a:lstStyle>
            <a:lvl1pPr>
              <a:defRPr sz="3315">
                <a:solidFill>
                  <a:schemeClr val="accent4"/>
                </a:solidFill>
              </a:defRPr>
            </a:lvl1pPr>
          </a:lstStyle>
          <a:p>
            <a:pPr lvl="0"/>
            <a:r>
              <a:rPr lang="en-US" dirty="0"/>
              <a:t>Use this space for one line subhead if needed | One line</a:t>
            </a:r>
          </a:p>
        </p:txBody>
      </p:sp>
      <p:sp>
        <p:nvSpPr>
          <p:cNvPr id="8" name="Text Placeholder 7"/>
          <p:cNvSpPr>
            <a:spLocks noGrp="1"/>
          </p:cNvSpPr>
          <p:nvPr>
            <p:ph type="body" sz="quarter" idx="14" hasCustomPrompt="1"/>
          </p:nvPr>
        </p:nvSpPr>
        <p:spPr>
          <a:xfrm>
            <a:off x="3233006" y="5681462"/>
            <a:ext cx="3046791" cy="2979938"/>
          </a:xfrm>
          <a:solidFill>
            <a:schemeClr val="tx1"/>
          </a:solidFill>
        </p:spPr>
        <p:txBody>
          <a:bodyPr lIns="137160" tIns="137160" anchor="t"/>
          <a:lstStyle>
            <a:lvl1pPr algn="l">
              <a:lnSpc>
                <a:spcPct val="90000"/>
              </a:lnSpc>
              <a:spcBef>
                <a:spcPts val="0"/>
              </a:spcBef>
              <a:spcAft>
                <a:spcPts val="0"/>
              </a:spcAft>
              <a:defRPr sz="2040">
                <a:solidFill>
                  <a:schemeClr val="bg1"/>
                </a:solidFill>
              </a:defRPr>
            </a:lvl1pPr>
          </a:lstStyle>
          <a:p>
            <a:pPr lvl="0"/>
            <a:r>
              <a:rPr lang="en-US" dirty="0"/>
              <a:t>Type caption here | Remove if not needed</a:t>
            </a:r>
          </a:p>
        </p:txBody>
      </p:sp>
      <p:sp>
        <p:nvSpPr>
          <p:cNvPr id="15" name="Picture Placeholder 8"/>
          <p:cNvSpPr>
            <a:spLocks noGrp="1"/>
          </p:cNvSpPr>
          <p:nvPr>
            <p:ph type="pic" sz="quarter" idx="23"/>
          </p:nvPr>
        </p:nvSpPr>
        <p:spPr>
          <a:xfrm>
            <a:off x="6286716" y="2682240"/>
            <a:ext cx="5538826" cy="5979160"/>
          </a:xfrm>
          <a:solidFill>
            <a:schemeClr val="accent3">
              <a:lumMod val="20000"/>
              <a:lumOff val="80000"/>
            </a:schemeClr>
          </a:solidFill>
        </p:spPr>
        <p:txBody>
          <a:bodyPr/>
          <a:lstStyle>
            <a:lvl1pPr>
              <a:defRPr sz="2040">
                <a:solidFill>
                  <a:schemeClr val="tx1"/>
                </a:solidFill>
              </a:defRPr>
            </a:lvl1pPr>
          </a:lstStyle>
          <a:p>
            <a:r>
              <a:rPr lang="en-US"/>
              <a:t>Click icon to add picture</a:t>
            </a:r>
            <a:endParaRPr lang="en-US" dirty="0"/>
          </a:p>
        </p:txBody>
      </p:sp>
      <p:sp>
        <p:nvSpPr>
          <p:cNvPr id="16" name="Text Placeholder 7"/>
          <p:cNvSpPr>
            <a:spLocks noGrp="1"/>
          </p:cNvSpPr>
          <p:nvPr>
            <p:ph type="body" sz="quarter" idx="24" hasCustomPrompt="1"/>
          </p:nvPr>
        </p:nvSpPr>
        <p:spPr>
          <a:xfrm>
            <a:off x="8778752" y="5681462"/>
            <a:ext cx="3046791" cy="2979938"/>
          </a:xfrm>
          <a:solidFill>
            <a:schemeClr val="accent2"/>
          </a:solidFill>
        </p:spPr>
        <p:txBody>
          <a:bodyPr lIns="137160" tIns="137160" anchor="t"/>
          <a:lstStyle>
            <a:lvl1pPr algn="l">
              <a:lnSpc>
                <a:spcPct val="90000"/>
              </a:lnSpc>
              <a:spcBef>
                <a:spcPts val="0"/>
              </a:spcBef>
              <a:spcAft>
                <a:spcPts val="0"/>
              </a:spcAft>
              <a:defRPr sz="2040">
                <a:solidFill>
                  <a:schemeClr val="bg1"/>
                </a:solidFill>
              </a:defRPr>
            </a:lvl1pPr>
          </a:lstStyle>
          <a:p>
            <a:pPr lvl="0"/>
            <a:r>
              <a:rPr lang="en-US" dirty="0"/>
              <a:t>Type caption here | Remove if not needed</a:t>
            </a:r>
          </a:p>
        </p:txBody>
      </p:sp>
      <p:sp>
        <p:nvSpPr>
          <p:cNvPr id="17" name="Picture Placeholder 8"/>
          <p:cNvSpPr>
            <a:spLocks noGrp="1"/>
          </p:cNvSpPr>
          <p:nvPr>
            <p:ph type="pic" sz="quarter" idx="25"/>
          </p:nvPr>
        </p:nvSpPr>
        <p:spPr>
          <a:xfrm>
            <a:off x="11832193" y="2691882"/>
            <a:ext cx="5538826" cy="5979160"/>
          </a:xfrm>
          <a:solidFill>
            <a:schemeClr val="accent3">
              <a:lumMod val="20000"/>
              <a:lumOff val="80000"/>
            </a:schemeClr>
          </a:solidFill>
        </p:spPr>
        <p:txBody>
          <a:bodyPr/>
          <a:lstStyle>
            <a:lvl1pPr>
              <a:defRPr sz="2040">
                <a:solidFill>
                  <a:schemeClr val="tx1"/>
                </a:solidFill>
              </a:defRPr>
            </a:lvl1pPr>
          </a:lstStyle>
          <a:p>
            <a:r>
              <a:rPr lang="en-US"/>
              <a:t>Click icon to add picture</a:t>
            </a:r>
            <a:endParaRPr lang="en-US" dirty="0"/>
          </a:p>
        </p:txBody>
      </p:sp>
      <p:sp>
        <p:nvSpPr>
          <p:cNvPr id="18" name="Text Placeholder 7"/>
          <p:cNvSpPr>
            <a:spLocks noGrp="1"/>
          </p:cNvSpPr>
          <p:nvPr>
            <p:ph type="body" sz="quarter" idx="26" hasCustomPrompt="1"/>
          </p:nvPr>
        </p:nvSpPr>
        <p:spPr>
          <a:xfrm>
            <a:off x="14324229" y="5681462"/>
            <a:ext cx="3046791" cy="2979938"/>
          </a:xfrm>
          <a:solidFill>
            <a:schemeClr val="accent4"/>
          </a:solidFill>
        </p:spPr>
        <p:txBody>
          <a:bodyPr lIns="137160" tIns="137160" anchor="t"/>
          <a:lstStyle>
            <a:lvl1pPr algn="l">
              <a:lnSpc>
                <a:spcPct val="90000"/>
              </a:lnSpc>
              <a:spcBef>
                <a:spcPts val="0"/>
              </a:spcBef>
              <a:spcAft>
                <a:spcPts val="0"/>
              </a:spcAft>
              <a:defRPr sz="2040">
                <a:solidFill>
                  <a:schemeClr val="bg1"/>
                </a:solidFill>
              </a:defRPr>
            </a:lvl1pPr>
          </a:lstStyle>
          <a:p>
            <a:pPr lvl="0"/>
            <a:r>
              <a:rPr lang="en-US" dirty="0"/>
              <a:t>Type caption here | Remove if not needed</a:t>
            </a:r>
          </a:p>
        </p:txBody>
      </p:sp>
      <p:sp>
        <p:nvSpPr>
          <p:cNvPr id="13" name="Rectangle 12">
            <a:extLst>
              <a:ext uri="{FF2B5EF4-FFF2-40B4-BE49-F238E27FC236}">
                <a16:creationId xmlns:a16="http://schemas.microsoft.com/office/drawing/2014/main" id="{B42870C7-51DA-4C40-888B-8B285A0F75BB}"/>
              </a:ext>
            </a:extLst>
          </p:cNvPr>
          <p:cNvSpPr/>
          <p:nvPr userDrawn="1"/>
        </p:nvSpPr>
        <p:spPr bwMode="gray">
          <a:xfrm>
            <a:off x="17979576" y="-8643"/>
            <a:ext cx="3203788" cy="10058400"/>
          </a:xfrm>
          <a:prstGeom prst="rect">
            <a:avLst/>
          </a:prstGeom>
          <a:solidFill>
            <a:schemeClr val="accent3"/>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r>
              <a:rPr lang="en-US" sz="1785" dirty="0"/>
              <a:t>For Image / Photography options. navigate to https://hub.uhg.com/sites/hub/Optum/Resources/Brand/Documents/Photo%20Library%20Overview_June2017.docx</a:t>
            </a:r>
          </a:p>
        </p:txBody>
      </p:sp>
    </p:spTree>
    <p:extLst>
      <p:ext uri="{BB962C8B-B14F-4D97-AF65-F5344CB8AC3E}">
        <p14:creationId xmlns:p14="http://schemas.microsoft.com/office/powerpoint/2010/main" val="378141039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4 Photo w/Caption">
    <p:spTree>
      <p:nvGrpSpPr>
        <p:cNvPr id="1" name=""/>
        <p:cNvGrpSpPr/>
        <p:nvPr/>
      </p:nvGrpSpPr>
      <p:grpSpPr>
        <a:xfrm>
          <a:off x="0" y="0"/>
          <a:ext cx="0" cy="0"/>
          <a:chOff x="0" y="0"/>
          <a:chExt cx="0" cy="0"/>
        </a:xfrm>
      </p:grpSpPr>
      <p:sp>
        <p:nvSpPr>
          <p:cNvPr id="9" name="Picture Placeholder 8"/>
          <p:cNvSpPr>
            <a:spLocks noGrp="1"/>
          </p:cNvSpPr>
          <p:nvPr>
            <p:ph type="pic" sz="quarter" idx="22"/>
          </p:nvPr>
        </p:nvSpPr>
        <p:spPr>
          <a:xfrm>
            <a:off x="754380" y="2682241"/>
            <a:ext cx="4135120" cy="3789196"/>
          </a:xfrm>
          <a:solidFill>
            <a:schemeClr val="accent3">
              <a:lumMod val="20000"/>
              <a:lumOff val="80000"/>
            </a:schemeClr>
          </a:solidFill>
        </p:spPr>
        <p:txBody>
          <a:bodyPr/>
          <a:lstStyle>
            <a:lvl1pPr>
              <a:defRPr sz="2040">
                <a:solidFill>
                  <a:schemeClr val="tx1"/>
                </a:solidFill>
              </a:defRPr>
            </a:lvl1pPr>
          </a:lstStyle>
          <a:p>
            <a:r>
              <a:rPr lang="en-US"/>
              <a:t>Click icon to add picture</a:t>
            </a:r>
            <a:endParaRPr lang="en-US" dirty="0"/>
          </a:p>
        </p:txBody>
      </p:sp>
      <p:sp>
        <p:nvSpPr>
          <p:cNvPr id="2" name="Title 1"/>
          <p:cNvSpPr>
            <a:spLocks noGrp="1"/>
          </p:cNvSpPr>
          <p:nvPr>
            <p:ph type="title" hasCustomPrompt="1"/>
          </p:nvPr>
        </p:nvSpPr>
        <p:spPr/>
        <p:txBody>
          <a:bodyPr/>
          <a:lstStyle>
            <a:lvl1pPr>
              <a:defRPr/>
            </a:lvl1pPr>
          </a:lstStyle>
          <a:p>
            <a:r>
              <a:rPr lang="en-US" dirty="0"/>
              <a:t>4 Photo | Type insightful headline in sentence case | One line</a:t>
            </a:r>
          </a:p>
        </p:txBody>
      </p:sp>
      <p:sp>
        <p:nvSpPr>
          <p:cNvPr id="3" name="Date Placeholder 2"/>
          <p:cNvSpPr>
            <a:spLocks noGrp="1"/>
          </p:cNvSpPr>
          <p:nvPr>
            <p:ph type="dt" sz="half" idx="10"/>
          </p:nvPr>
        </p:nvSpPr>
        <p:spPr/>
        <p:txBody>
          <a:bodyPr/>
          <a:lstStyle/>
          <a:p>
            <a:fld id="{EFFF3C70-80BD-CA47-93A5-ACD28F064864}" type="datetime1">
              <a:rPr lang="en-US" smtClean="0"/>
              <a:t>4/21/21</a:t>
            </a:fld>
            <a:endParaRPr lang="en-US"/>
          </a:p>
        </p:txBody>
      </p:sp>
      <p:sp>
        <p:nvSpPr>
          <p:cNvPr id="5" name="Slide Number Placeholder 4"/>
          <p:cNvSpPr>
            <a:spLocks noGrp="1"/>
          </p:cNvSpPr>
          <p:nvPr>
            <p:ph type="sldNum" sz="quarter" idx="12"/>
          </p:nvPr>
        </p:nvSpPr>
        <p:spPr/>
        <p:txBody>
          <a:bodyPr/>
          <a:lstStyle/>
          <a:p>
            <a:fld id="{3310D8EA-3107-4873-B9AB-DD7D3E79053A}" type="slidenum">
              <a:rPr lang="en-US" smtClean="0"/>
              <a:t>‹#›</a:t>
            </a:fld>
            <a:endParaRPr lang="en-US"/>
          </a:p>
        </p:txBody>
      </p:sp>
      <p:sp>
        <p:nvSpPr>
          <p:cNvPr id="6" name="Text Placeholder 7"/>
          <p:cNvSpPr>
            <a:spLocks noGrp="1"/>
          </p:cNvSpPr>
          <p:nvPr>
            <p:ph type="body" sz="quarter" idx="13" hasCustomPrompt="1"/>
          </p:nvPr>
        </p:nvSpPr>
        <p:spPr>
          <a:xfrm>
            <a:off x="726439" y="1640149"/>
            <a:ext cx="16596361" cy="721783"/>
          </a:xfrm>
        </p:spPr>
        <p:txBody>
          <a:bodyPr/>
          <a:lstStyle>
            <a:lvl1pPr>
              <a:defRPr sz="3315">
                <a:solidFill>
                  <a:schemeClr val="accent4"/>
                </a:solidFill>
              </a:defRPr>
            </a:lvl1pPr>
          </a:lstStyle>
          <a:p>
            <a:pPr lvl="0"/>
            <a:r>
              <a:rPr lang="en-US" dirty="0"/>
              <a:t>Use this space for one line subhead if needed | One line</a:t>
            </a:r>
          </a:p>
        </p:txBody>
      </p:sp>
      <p:sp>
        <p:nvSpPr>
          <p:cNvPr id="15" name="Picture Placeholder 8"/>
          <p:cNvSpPr>
            <a:spLocks noGrp="1"/>
          </p:cNvSpPr>
          <p:nvPr>
            <p:ph type="pic" sz="quarter" idx="23"/>
          </p:nvPr>
        </p:nvSpPr>
        <p:spPr>
          <a:xfrm>
            <a:off x="4889501" y="2682241"/>
            <a:ext cx="4142105" cy="3789196"/>
          </a:xfrm>
          <a:solidFill>
            <a:schemeClr val="accent3">
              <a:lumMod val="20000"/>
              <a:lumOff val="80000"/>
            </a:schemeClr>
          </a:solidFill>
        </p:spPr>
        <p:txBody>
          <a:bodyPr/>
          <a:lstStyle>
            <a:lvl1pPr>
              <a:defRPr sz="2040">
                <a:solidFill>
                  <a:schemeClr val="tx1"/>
                </a:solidFill>
              </a:defRPr>
            </a:lvl1pPr>
          </a:lstStyle>
          <a:p>
            <a:r>
              <a:rPr lang="en-US"/>
              <a:t>Click icon to add picture</a:t>
            </a:r>
            <a:endParaRPr lang="en-US" dirty="0"/>
          </a:p>
        </p:txBody>
      </p:sp>
      <p:sp>
        <p:nvSpPr>
          <p:cNvPr id="17" name="Picture Placeholder 8"/>
          <p:cNvSpPr>
            <a:spLocks noGrp="1"/>
          </p:cNvSpPr>
          <p:nvPr>
            <p:ph type="pic" sz="quarter" idx="25"/>
          </p:nvPr>
        </p:nvSpPr>
        <p:spPr>
          <a:xfrm>
            <a:off x="9031605" y="2678912"/>
            <a:ext cx="4138612" cy="3789196"/>
          </a:xfrm>
          <a:solidFill>
            <a:schemeClr val="accent3">
              <a:lumMod val="20000"/>
              <a:lumOff val="80000"/>
            </a:schemeClr>
          </a:solidFill>
        </p:spPr>
        <p:txBody>
          <a:bodyPr/>
          <a:lstStyle>
            <a:lvl1pPr>
              <a:defRPr sz="2040">
                <a:solidFill>
                  <a:schemeClr val="tx1"/>
                </a:solidFill>
              </a:defRPr>
            </a:lvl1pPr>
          </a:lstStyle>
          <a:p>
            <a:r>
              <a:rPr lang="en-US"/>
              <a:t>Click icon to add picture</a:t>
            </a:r>
            <a:endParaRPr lang="en-US" dirty="0"/>
          </a:p>
        </p:txBody>
      </p:sp>
      <p:sp>
        <p:nvSpPr>
          <p:cNvPr id="13" name="Picture Placeholder 8"/>
          <p:cNvSpPr>
            <a:spLocks noGrp="1"/>
          </p:cNvSpPr>
          <p:nvPr>
            <p:ph type="pic" sz="quarter" idx="27"/>
          </p:nvPr>
        </p:nvSpPr>
        <p:spPr>
          <a:xfrm>
            <a:off x="13166725" y="2678912"/>
            <a:ext cx="4156076" cy="3789196"/>
          </a:xfrm>
          <a:solidFill>
            <a:schemeClr val="accent3">
              <a:lumMod val="20000"/>
              <a:lumOff val="80000"/>
            </a:schemeClr>
          </a:solidFill>
        </p:spPr>
        <p:txBody>
          <a:bodyPr/>
          <a:lstStyle>
            <a:lvl1pPr>
              <a:defRPr sz="2040">
                <a:solidFill>
                  <a:schemeClr val="tx1"/>
                </a:solidFill>
              </a:defRPr>
            </a:lvl1pPr>
          </a:lstStyle>
          <a:p>
            <a:r>
              <a:rPr lang="en-US"/>
              <a:t>Click icon to add picture</a:t>
            </a:r>
            <a:endParaRPr lang="en-US" dirty="0"/>
          </a:p>
        </p:txBody>
      </p:sp>
      <p:sp>
        <p:nvSpPr>
          <p:cNvPr id="8" name="Text Placeholder 7"/>
          <p:cNvSpPr>
            <a:spLocks noGrp="1"/>
          </p:cNvSpPr>
          <p:nvPr>
            <p:ph type="body" sz="quarter" idx="14" hasCustomPrompt="1"/>
          </p:nvPr>
        </p:nvSpPr>
        <p:spPr>
          <a:xfrm>
            <a:off x="2746103" y="4358640"/>
            <a:ext cx="2143397" cy="2111132"/>
          </a:xfrm>
          <a:solidFill>
            <a:schemeClr val="tx1"/>
          </a:solidFill>
        </p:spPr>
        <p:txBody>
          <a:bodyPr lIns="137160" tIns="137160" anchor="t"/>
          <a:lstStyle>
            <a:lvl1pPr algn="l">
              <a:lnSpc>
                <a:spcPct val="90000"/>
              </a:lnSpc>
              <a:spcBef>
                <a:spcPts val="0"/>
              </a:spcBef>
              <a:spcAft>
                <a:spcPts val="0"/>
              </a:spcAft>
              <a:defRPr sz="2040">
                <a:solidFill>
                  <a:schemeClr val="bg1"/>
                </a:solidFill>
              </a:defRPr>
            </a:lvl1pPr>
          </a:lstStyle>
          <a:p>
            <a:pPr lvl="0"/>
            <a:r>
              <a:rPr lang="en-US" dirty="0"/>
              <a:t>Type caption </a:t>
            </a:r>
            <a:r>
              <a:rPr lang="en-US" dirty="0" err="1"/>
              <a:t>here|Remove</a:t>
            </a:r>
            <a:r>
              <a:rPr lang="en-US" dirty="0"/>
              <a:t> if not needed</a:t>
            </a:r>
          </a:p>
        </p:txBody>
      </p:sp>
      <p:sp>
        <p:nvSpPr>
          <p:cNvPr id="16" name="Text Placeholder 7"/>
          <p:cNvSpPr>
            <a:spLocks noGrp="1"/>
          </p:cNvSpPr>
          <p:nvPr>
            <p:ph type="body" sz="quarter" idx="24" hasCustomPrompt="1"/>
          </p:nvPr>
        </p:nvSpPr>
        <p:spPr>
          <a:xfrm>
            <a:off x="6888207" y="4358640"/>
            <a:ext cx="2143397" cy="2111132"/>
          </a:xfrm>
          <a:solidFill>
            <a:schemeClr val="accent2"/>
          </a:solidFill>
        </p:spPr>
        <p:txBody>
          <a:bodyPr lIns="137160" tIns="137160" anchor="t"/>
          <a:lstStyle>
            <a:lvl1pPr algn="l">
              <a:lnSpc>
                <a:spcPct val="90000"/>
              </a:lnSpc>
              <a:spcBef>
                <a:spcPts val="0"/>
              </a:spcBef>
              <a:spcAft>
                <a:spcPts val="0"/>
              </a:spcAft>
              <a:defRPr sz="2040">
                <a:solidFill>
                  <a:schemeClr val="bg1"/>
                </a:solidFill>
              </a:defRPr>
            </a:lvl1pPr>
          </a:lstStyle>
          <a:p>
            <a:pPr lvl="0"/>
            <a:r>
              <a:rPr lang="en-US" dirty="0"/>
              <a:t>Type caption </a:t>
            </a:r>
            <a:r>
              <a:rPr lang="en-US" dirty="0" err="1"/>
              <a:t>here|Remove</a:t>
            </a:r>
            <a:r>
              <a:rPr lang="en-US" dirty="0"/>
              <a:t> if not needed</a:t>
            </a:r>
          </a:p>
        </p:txBody>
      </p:sp>
      <p:sp>
        <p:nvSpPr>
          <p:cNvPr id="18" name="Text Placeholder 7"/>
          <p:cNvSpPr>
            <a:spLocks noGrp="1"/>
          </p:cNvSpPr>
          <p:nvPr>
            <p:ph type="body" sz="quarter" idx="26" hasCustomPrompt="1"/>
          </p:nvPr>
        </p:nvSpPr>
        <p:spPr>
          <a:xfrm>
            <a:off x="11026819" y="4358640"/>
            <a:ext cx="2143397" cy="2111132"/>
          </a:xfrm>
          <a:solidFill>
            <a:schemeClr val="accent4"/>
          </a:solidFill>
        </p:spPr>
        <p:txBody>
          <a:bodyPr lIns="137160" tIns="137160" anchor="t"/>
          <a:lstStyle>
            <a:lvl1pPr algn="l">
              <a:lnSpc>
                <a:spcPct val="90000"/>
              </a:lnSpc>
              <a:spcBef>
                <a:spcPts val="0"/>
              </a:spcBef>
              <a:spcAft>
                <a:spcPts val="0"/>
              </a:spcAft>
              <a:defRPr sz="2040">
                <a:solidFill>
                  <a:schemeClr val="bg1"/>
                </a:solidFill>
              </a:defRPr>
            </a:lvl1pPr>
          </a:lstStyle>
          <a:p>
            <a:pPr lvl="0"/>
            <a:r>
              <a:rPr lang="en-US" dirty="0"/>
              <a:t>Type caption </a:t>
            </a:r>
            <a:r>
              <a:rPr lang="en-US" dirty="0" err="1"/>
              <a:t>here|Remove</a:t>
            </a:r>
            <a:r>
              <a:rPr lang="en-US" dirty="0"/>
              <a:t> if not needed</a:t>
            </a:r>
          </a:p>
        </p:txBody>
      </p:sp>
      <p:sp>
        <p:nvSpPr>
          <p:cNvPr id="14" name="Text Placeholder 7"/>
          <p:cNvSpPr>
            <a:spLocks noGrp="1"/>
          </p:cNvSpPr>
          <p:nvPr>
            <p:ph type="body" sz="quarter" idx="28" hasCustomPrompt="1"/>
          </p:nvPr>
        </p:nvSpPr>
        <p:spPr>
          <a:xfrm>
            <a:off x="15179404" y="4358640"/>
            <a:ext cx="2143397" cy="2111132"/>
          </a:xfrm>
          <a:solidFill>
            <a:srgbClr val="A22B38"/>
          </a:solidFill>
        </p:spPr>
        <p:txBody>
          <a:bodyPr lIns="137160" tIns="137160" anchor="t"/>
          <a:lstStyle>
            <a:lvl1pPr algn="l">
              <a:lnSpc>
                <a:spcPct val="90000"/>
              </a:lnSpc>
              <a:spcBef>
                <a:spcPts val="0"/>
              </a:spcBef>
              <a:spcAft>
                <a:spcPts val="0"/>
              </a:spcAft>
              <a:defRPr sz="2040">
                <a:solidFill>
                  <a:schemeClr val="bg1"/>
                </a:solidFill>
              </a:defRPr>
            </a:lvl1pPr>
          </a:lstStyle>
          <a:p>
            <a:pPr lvl="0"/>
            <a:r>
              <a:rPr lang="en-US" dirty="0"/>
              <a:t>Type caption </a:t>
            </a:r>
            <a:r>
              <a:rPr lang="en-US" dirty="0" err="1"/>
              <a:t>here|Remove</a:t>
            </a:r>
            <a:r>
              <a:rPr lang="en-US" dirty="0"/>
              <a:t> if not needed</a:t>
            </a:r>
          </a:p>
        </p:txBody>
      </p:sp>
      <p:sp>
        <p:nvSpPr>
          <p:cNvPr id="19" name="Rectangle 18">
            <a:extLst>
              <a:ext uri="{FF2B5EF4-FFF2-40B4-BE49-F238E27FC236}">
                <a16:creationId xmlns:a16="http://schemas.microsoft.com/office/drawing/2014/main" id="{788C153F-3CBA-4181-B037-6B310FABB909}"/>
              </a:ext>
            </a:extLst>
          </p:cNvPr>
          <p:cNvSpPr/>
          <p:nvPr userDrawn="1"/>
        </p:nvSpPr>
        <p:spPr bwMode="gray">
          <a:xfrm>
            <a:off x="17979576" y="-8643"/>
            <a:ext cx="3203788" cy="10058400"/>
          </a:xfrm>
          <a:prstGeom prst="rect">
            <a:avLst/>
          </a:prstGeom>
          <a:solidFill>
            <a:schemeClr val="accent3"/>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r>
              <a:rPr lang="en-US" sz="1785" dirty="0"/>
              <a:t>For Image / Photography options. navigate to https://hub.uhg.com/sites/hub/Optum/Resources/Brand/Documents/Photo%20Library%20Overview_June2017.docx</a:t>
            </a:r>
          </a:p>
        </p:txBody>
      </p:sp>
    </p:spTree>
    <p:extLst>
      <p:ext uri="{BB962C8B-B14F-4D97-AF65-F5344CB8AC3E}">
        <p14:creationId xmlns:p14="http://schemas.microsoft.com/office/powerpoint/2010/main" val="80645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5 Photo w/Caption">
    <p:spTree>
      <p:nvGrpSpPr>
        <p:cNvPr id="1" name=""/>
        <p:cNvGrpSpPr/>
        <p:nvPr/>
      </p:nvGrpSpPr>
      <p:grpSpPr>
        <a:xfrm>
          <a:off x="0" y="0"/>
          <a:ext cx="0" cy="0"/>
          <a:chOff x="0" y="0"/>
          <a:chExt cx="0" cy="0"/>
        </a:xfrm>
      </p:grpSpPr>
      <p:sp>
        <p:nvSpPr>
          <p:cNvPr id="9" name="Picture Placeholder 8"/>
          <p:cNvSpPr>
            <a:spLocks noGrp="1"/>
          </p:cNvSpPr>
          <p:nvPr>
            <p:ph type="pic" sz="quarter" idx="22"/>
          </p:nvPr>
        </p:nvSpPr>
        <p:spPr>
          <a:xfrm>
            <a:off x="754379" y="2678911"/>
            <a:ext cx="3285744" cy="2895408"/>
          </a:xfrm>
          <a:solidFill>
            <a:schemeClr val="accent3">
              <a:lumMod val="20000"/>
              <a:lumOff val="80000"/>
            </a:schemeClr>
          </a:solidFill>
        </p:spPr>
        <p:txBody>
          <a:bodyPr/>
          <a:lstStyle>
            <a:lvl1pPr>
              <a:defRPr sz="2040">
                <a:solidFill>
                  <a:schemeClr val="tx1"/>
                </a:solidFill>
              </a:defRPr>
            </a:lvl1pPr>
          </a:lstStyle>
          <a:p>
            <a:r>
              <a:rPr lang="en-US"/>
              <a:t>Click icon to add picture</a:t>
            </a:r>
            <a:endParaRPr lang="en-US" dirty="0"/>
          </a:p>
        </p:txBody>
      </p:sp>
      <p:sp>
        <p:nvSpPr>
          <p:cNvPr id="2" name="Title 1"/>
          <p:cNvSpPr>
            <a:spLocks noGrp="1"/>
          </p:cNvSpPr>
          <p:nvPr>
            <p:ph type="title" hasCustomPrompt="1"/>
          </p:nvPr>
        </p:nvSpPr>
        <p:spPr/>
        <p:txBody>
          <a:bodyPr/>
          <a:lstStyle>
            <a:lvl1pPr>
              <a:defRPr/>
            </a:lvl1pPr>
          </a:lstStyle>
          <a:p>
            <a:r>
              <a:rPr lang="en-US" dirty="0"/>
              <a:t>5 Photo | Type insightful headline in sentence case | One line</a:t>
            </a:r>
          </a:p>
        </p:txBody>
      </p:sp>
      <p:sp>
        <p:nvSpPr>
          <p:cNvPr id="3" name="Date Placeholder 2"/>
          <p:cNvSpPr>
            <a:spLocks noGrp="1"/>
          </p:cNvSpPr>
          <p:nvPr>
            <p:ph type="dt" sz="half" idx="10"/>
          </p:nvPr>
        </p:nvSpPr>
        <p:spPr/>
        <p:txBody>
          <a:bodyPr/>
          <a:lstStyle/>
          <a:p>
            <a:fld id="{1FFC01C0-F92E-DE45-AE53-7A70D1AC22F2}" type="datetime1">
              <a:rPr lang="en-US" smtClean="0"/>
              <a:t>4/21/21</a:t>
            </a:fld>
            <a:endParaRPr lang="en-US"/>
          </a:p>
        </p:txBody>
      </p:sp>
      <p:sp>
        <p:nvSpPr>
          <p:cNvPr id="5" name="Slide Number Placeholder 4"/>
          <p:cNvSpPr>
            <a:spLocks noGrp="1"/>
          </p:cNvSpPr>
          <p:nvPr>
            <p:ph type="sldNum" sz="quarter" idx="12"/>
          </p:nvPr>
        </p:nvSpPr>
        <p:spPr/>
        <p:txBody>
          <a:bodyPr/>
          <a:lstStyle/>
          <a:p>
            <a:fld id="{3310D8EA-3107-4873-B9AB-DD7D3E79053A}" type="slidenum">
              <a:rPr lang="en-US" smtClean="0"/>
              <a:t>‹#›</a:t>
            </a:fld>
            <a:endParaRPr lang="en-US"/>
          </a:p>
        </p:txBody>
      </p:sp>
      <p:sp>
        <p:nvSpPr>
          <p:cNvPr id="6" name="Text Placeholder 7"/>
          <p:cNvSpPr>
            <a:spLocks noGrp="1"/>
          </p:cNvSpPr>
          <p:nvPr>
            <p:ph type="body" sz="quarter" idx="13" hasCustomPrompt="1"/>
          </p:nvPr>
        </p:nvSpPr>
        <p:spPr>
          <a:xfrm>
            <a:off x="726439" y="1640149"/>
            <a:ext cx="16596361" cy="721783"/>
          </a:xfrm>
        </p:spPr>
        <p:txBody>
          <a:bodyPr/>
          <a:lstStyle>
            <a:lvl1pPr>
              <a:defRPr sz="3315">
                <a:solidFill>
                  <a:schemeClr val="accent4"/>
                </a:solidFill>
              </a:defRPr>
            </a:lvl1pPr>
          </a:lstStyle>
          <a:p>
            <a:pPr lvl="0"/>
            <a:r>
              <a:rPr lang="en-US" dirty="0"/>
              <a:t>Use this space for one line subhead if needed | One line</a:t>
            </a:r>
          </a:p>
        </p:txBody>
      </p:sp>
      <p:sp>
        <p:nvSpPr>
          <p:cNvPr id="15" name="Picture Placeholder 8"/>
          <p:cNvSpPr>
            <a:spLocks noGrp="1"/>
          </p:cNvSpPr>
          <p:nvPr>
            <p:ph type="pic" sz="quarter" idx="23"/>
          </p:nvPr>
        </p:nvSpPr>
        <p:spPr>
          <a:xfrm>
            <a:off x="4073113" y="2678911"/>
            <a:ext cx="3285744" cy="2895408"/>
          </a:xfrm>
          <a:solidFill>
            <a:schemeClr val="accent3">
              <a:lumMod val="20000"/>
              <a:lumOff val="80000"/>
            </a:schemeClr>
          </a:solidFill>
        </p:spPr>
        <p:txBody>
          <a:bodyPr/>
          <a:lstStyle>
            <a:lvl1pPr>
              <a:defRPr sz="2040">
                <a:solidFill>
                  <a:schemeClr val="tx1"/>
                </a:solidFill>
              </a:defRPr>
            </a:lvl1pPr>
          </a:lstStyle>
          <a:p>
            <a:r>
              <a:rPr lang="en-US"/>
              <a:t>Click icon to add picture</a:t>
            </a:r>
            <a:endParaRPr lang="en-US" dirty="0"/>
          </a:p>
        </p:txBody>
      </p:sp>
      <p:sp>
        <p:nvSpPr>
          <p:cNvPr id="17" name="Picture Placeholder 8"/>
          <p:cNvSpPr>
            <a:spLocks noGrp="1"/>
          </p:cNvSpPr>
          <p:nvPr>
            <p:ph type="pic" sz="quarter" idx="25"/>
          </p:nvPr>
        </p:nvSpPr>
        <p:spPr>
          <a:xfrm>
            <a:off x="7391846" y="2678914"/>
            <a:ext cx="3285744" cy="2895407"/>
          </a:xfrm>
          <a:solidFill>
            <a:schemeClr val="accent3">
              <a:lumMod val="20000"/>
              <a:lumOff val="80000"/>
            </a:schemeClr>
          </a:solidFill>
        </p:spPr>
        <p:txBody>
          <a:bodyPr/>
          <a:lstStyle>
            <a:lvl1pPr>
              <a:defRPr sz="2040">
                <a:solidFill>
                  <a:schemeClr val="tx1"/>
                </a:solidFill>
              </a:defRPr>
            </a:lvl1pPr>
          </a:lstStyle>
          <a:p>
            <a:r>
              <a:rPr lang="en-US"/>
              <a:t>Click icon to add picture</a:t>
            </a:r>
            <a:endParaRPr lang="en-US" dirty="0"/>
          </a:p>
        </p:txBody>
      </p:sp>
      <p:sp>
        <p:nvSpPr>
          <p:cNvPr id="13" name="Picture Placeholder 8"/>
          <p:cNvSpPr>
            <a:spLocks noGrp="1"/>
          </p:cNvSpPr>
          <p:nvPr>
            <p:ph type="pic" sz="quarter" idx="27"/>
          </p:nvPr>
        </p:nvSpPr>
        <p:spPr>
          <a:xfrm>
            <a:off x="10710581" y="2678911"/>
            <a:ext cx="3285744" cy="2895408"/>
          </a:xfrm>
          <a:solidFill>
            <a:schemeClr val="accent3">
              <a:lumMod val="20000"/>
              <a:lumOff val="80000"/>
            </a:schemeClr>
          </a:solidFill>
        </p:spPr>
        <p:txBody>
          <a:bodyPr/>
          <a:lstStyle>
            <a:lvl1pPr>
              <a:defRPr sz="2040">
                <a:solidFill>
                  <a:schemeClr val="tx1"/>
                </a:solidFill>
              </a:defRPr>
            </a:lvl1pPr>
          </a:lstStyle>
          <a:p>
            <a:r>
              <a:rPr lang="en-US"/>
              <a:t>Click icon to add picture</a:t>
            </a:r>
            <a:endParaRPr lang="en-US" dirty="0"/>
          </a:p>
        </p:txBody>
      </p:sp>
      <p:sp>
        <p:nvSpPr>
          <p:cNvPr id="19" name="Picture Placeholder 8"/>
          <p:cNvSpPr>
            <a:spLocks noGrp="1"/>
          </p:cNvSpPr>
          <p:nvPr>
            <p:ph type="pic" sz="quarter" idx="29"/>
          </p:nvPr>
        </p:nvSpPr>
        <p:spPr>
          <a:xfrm>
            <a:off x="14029314" y="2678911"/>
            <a:ext cx="3285744" cy="2895408"/>
          </a:xfrm>
          <a:solidFill>
            <a:schemeClr val="accent3">
              <a:lumMod val="20000"/>
              <a:lumOff val="80000"/>
            </a:schemeClr>
          </a:solidFill>
        </p:spPr>
        <p:txBody>
          <a:bodyPr/>
          <a:lstStyle>
            <a:lvl1pPr>
              <a:defRPr sz="2040">
                <a:solidFill>
                  <a:schemeClr val="tx1"/>
                </a:solidFill>
              </a:defRPr>
            </a:lvl1pPr>
          </a:lstStyle>
          <a:p>
            <a:r>
              <a:rPr lang="en-US"/>
              <a:t>Click icon to add picture</a:t>
            </a:r>
            <a:endParaRPr lang="en-US" dirty="0"/>
          </a:p>
        </p:txBody>
      </p:sp>
      <p:sp>
        <p:nvSpPr>
          <p:cNvPr id="8" name="Text Placeholder 7"/>
          <p:cNvSpPr>
            <a:spLocks noGrp="1"/>
          </p:cNvSpPr>
          <p:nvPr>
            <p:ph type="body" sz="quarter" idx="14" hasCustomPrompt="1"/>
          </p:nvPr>
        </p:nvSpPr>
        <p:spPr>
          <a:xfrm>
            <a:off x="2402307" y="3961158"/>
            <a:ext cx="1637817" cy="1613162"/>
          </a:xfrm>
          <a:solidFill>
            <a:schemeClr val="tx1"/>
          </a:solidFill>
        </p:spPr>
        <p:txBody>
          <a:bodyPr lIns="137160" tIns="45720" anchor="t"/>
          <a:lstStyle>
            <a:lvl1pPr algn="l">
              <a:lnSpc>
                <a:spcPct val="90000"/>
              </a:lnSpc>
              <a:spcBef>
                <a:spcPts val="0"/>
              </a:spcBef>
              <a:spcAft>
                <a:spcPts val="0"/>
              </a:spcAft>
              <a:defRPr sz="1785">
                <a:solidFill>
                  <a:schemeClr val="bg1"/>
                </a:solidFill>
              </a:defRPr>
            </a:lvl1pPr>
          </a:lstStyle>
          <a:p>
            <a:pPr lvl="0"/>
            <a:r>
              <a:rPr lang="en-US" dirty="0"/>
              <a:t>Type cap-</a:t>
            </a:r>
            <a:r>
              <a:rPr lang="en-US" dirty="0" err="1"/>
              <a:t>tion</a:t>
            </a:r>
            <a:r>
              <a:rPr lang="en-US" dirty="0"/>
              <a:t> here | Remove if not needed</a:t>
            </a:r>
          </a:p>
        </p:txBody>
      </p:sp>
      <p:sp>
        <p:nvSpPr>
          <p:cNvPr id="16" name="Text Placeholder 7"/>
          <p:cNvSpPr>
            <a:spLocks noGrp="1"/>
          </p:cNvSpPr>
          <p:nvPr>
            <p:ph type="body" sz="quarter" idx="24" hasCustomPrompt="1"/>
          </p:nvPr>
        </p:nvSpPr>
        <p:spPr>
          <a:xfrm>
            <a:off x="5721040" y="3961158"/>
            <a:ext cx="1637817" cy="1613162"/>
          </a:xfrm>
          <a:solidFill>
            <a:schemeClr val="accent2"/>
          </a:solidFill>
        </p:spPr>
        <p:txBody>
          <a:bodyPr lIns="137160" tIns="45720" anchor="t"/>
          <a:lstStyle>
            <a:lvl1pPr algn="l">
              <a:lnSpc>
                <a:spcPct val="90000"/>
              </a:lnSpc>
              <a:spcBef>
                <a:spcPts val="0"/>
              </a:spcBef>
              <a:spcAft>
                <a:spcPts val="0"/>
              </a:spcAft>
              <a:defRPr sz="1785">
                <a:solidFill>
                  <a:schemeClr val="bg1"/>
                </a:solidFill>
              </a:defRPr>
            </a:lvl1pPr>
          </a:lstStyle>
          <a:p>
            <a:pPr lvl="0"/>
            <a:r>
              <a:rPr lang="en-US" dirty="0"/>
              <a:t>Type cap-</a:t>
            </a:r>
            <a:r>
              <a:rPr lang="en-US" dirty="0" err="1"/>
              <a:t>tion</a:t>
            </a:r>
            <a:r>
              <a:rPr lang="en-US" dirty="0"/>
              <a:t> here | Remove if not needed</a:t>
            </a:r>
          </a:p>
        </p:txBody>
      </p:sp>
      <p:sp>
        <p:nvSpPr>
          <p:cNvPr id="18" name="Text Placeholder 7"/>
          <p:cNvSpPr>
            <a:spLocks noGrp="1"/>
          </p:cNvSpPr>
          <p:nvPr>
            <p:ph type="body" sz="quarter" idx="26" hasCustomPrompt="1"/>
          </p:nvPr>
        </p:nvSpPr>
        <p:spPr>
          <a:xfrm>
            <a:off x="9039774" y="3961158"/>
            <a:ext cx="1637817" cy="1613162"/>
          </a:xfrm>
          <a:solidFill>
            <a:schemeClr val="accent4"/>
          </a:solidFill>
        </p:spPr>
        <p:txBody>
          <a:bodyPr lIns="137160" tIns="45720" anchor="t"/>
          <a:lstStyle>
            <a:lvl1pPr algn="l">
              <a:lnSpc>
                <a:spcPct val="90000"/>
              </a:lnSpc>
              <a:spcBef>
                <a:spcPts val="0"/>
              </a:spcBef>
              <a:spcAft>
                <a:spcPts val="0"/>
              </a:spcAft>
              <a:defRPr sz="1785">
                <a:solidFill>
                  <a:schemeClr val="bg1"/>
                </a:solidFill>
              </a:defRPr>
            </a:lvl1pPr>
          </a:lstStyle>
          <a:p>
            <a:pPr lvl="0"/>
            <a:r>
              <a:rPr lang="en-US" dirty="0"/>
              <a:t>Type cap-</a:t>
            </a:r>
            <a:r>
              <a:rPr lang="en-US" dirty="0" err="1"/>
              <a:t>tion</a:t>
            </a:r>
            <a:r>
              <a:rPr lang="en-US" dirty="0"/>
              <a:t> here | Remove if not needed</a:t>
            </a:r>
          </a:p>
        </p:txBody>
      </p:sp>
      <p:sp>
        <p:nvSpPr>
          <p:cNvPr id="14" name="Text Placeholder 7"/>
          <p:cNvSpPr>
            <a:spLocks noGrp="1"/>
          </p:cNvSpPr>
          <p:nvPr>
            <p:ph type="body" sz="quarter" idx="28" hasCustomPrompt="1"/>
          </p:nvPr>
        </p:nvSpPr>
        <p:spPr>
          <a:xfrm>
            <a:off x="12358508" y="3961158"/>
            <a:ext cx="1637817" cy="1613162"/>
          </a:xfrm>
          <a:solidFill>
            <a:schemeClr val="accent1"/>
          </a:solidFill>
        </p:spPr>
        <p:txBody>
          <a:bodyPr lIns="137160" tIns="45720" anchor="t"/>
          <a:lstStyle>
            <a:lvl1pPr algn="l">
              <a:lnSpc>
                <a:spcPct val="90000"/>
              </a:lnSpc>
              <a:spcBef>
                <a:spcPts val="0"/>
              </a:spcBef>
              <a:spcAft>
                <a:spcPts val="0"/>
              </a:spcAft>
              <a:defRPr sz="1785">
                <a:solidFill>
                  <a:schemeClr val="bg1"/>
                </a:solidFill>
              </a:defRPr>
            </a:lvl1pPr>
          </a:lstStyle>
          <a:p>
            <a:pPr lvl="0"/>
            <a:r>
              <a:rPr lang="en-US" dirty="0"/>
              <a:t>Type cap-</a:t>
            </a:r>
            <a:r>
              <a:rPr lang="en-US" dirty="0" err="1"/>
              <a:t>tion</a:t>
            </a:r>
            <a:r>
              <a:rPr lang="en-US" dirty="0"/>
              <a:t> here | Remove if not needed</a:t>
            </a:r>
          </a:p>
        </p:txBody>
      </p:sp>
      <p:sp>
        <p:nvSpPr>
          <p:cNvPr id="20" name="Text Placeholder 7"/>
          <p:cNvSpPr>
            <a:spLocks noGrp="1"/>
          </p:cNvSpPr>
          <p:nvPr>
            <p:ph type="body" sz="quarter" idx="30" hasCustomPrompt="1"/>
          </p:nvPr>
        </p:nvSpPr>
        <p:spPr>
          <a:xfrm>
            <a:off x="15637752" y="3961158"/>
            <a:ext cx="1637817" cy="1613162"/>
          </a:xfrm>
          <a:solidFill>
            <a:srgbClr val="A22B38"/>
          </a:solidFill>
        </p:spPr>
        <p:txBody>
          <a:bodyPr lIns="137160" tIns="45720" anchor="t"/>
          <a:lstStyle>
            <a:lvl1pPr algn="l">
              <a:lnSpc>
                <a:spcPct val="90000"/>
              </a:lnSpc>
              <a:spcBef>
                <a:spcPts val="0"/>
              </a:spcBef>
              <a:spcAft>
                <a:spcPts val="0"/>
              </a:spcAft>
              <a:defRPr sz="1785">
                <a:solidFill>
                  <a:schemeClr val="bg1"/>
                </a:solidFill>
              </a:defRPr>
            </a:lvl1pPr>
          </a:lstStyle>
          <a:p>
            <a:pPr lvl="0"/>
            <a:r>
              <a:rPr lang="en-US" dirty="0"/>
              <a:t>Type cap-</a:t>
            </a:r>
            <a:r>
              <a:rPr lang="en-US" dirty="0" err="1"/>
              <a:t>tion</a:t>
            </a:r>
            <a:r>
              <a:rPr lang="en-US" dirty="0"/>
              <a:t> here | Remove if not needed</a:t>
            </a:r>
          </a:p>
        </p:txBody>
      </p:sp>
      <p:sp>
        <p:nvSpPr>
          <p:cNvPr id="21" name="Rectangle 20">
            <a:extLst>
              <a:ext uri="{FF2B5EF4-FFF2-40B4-BE49-F238E27FC236}">
                <a16:creationId xmlns:a16="http://schemas.microsoft.com/office/drawing/2014/main" id="{1F65E925-2FCB-43EF-8928-862B5DDB1D8D}"/>
              </a:ext>
            </a:extLst>
          </p:cNvPr>
          <p:cNvSpPr/>
          <p:nvPr userDrawn="1"/>
        </p:nvSpPr>
        <p:spPr bwMode="gray">
          <a:xfrm>
            <a:off x="17979576" y="-8643"/>
            <a:ext cx="3203788" cy="10058400"/>
          </a:xfrm>
          <a:prstGeom prst="rect">
            <a:avLst/>
          </a:prstGeom>
          <a:solidFill>
            <a:schemeClr val="accent3"/>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r>
              <a:rPr lang="en-US" sz="1785" dirty="0"/>
              <a:t>For Image / Photography options. navigate to https://hub.uhg.com/sites/hub/Optum/Resources/Brand/Documents/Photo%20Library%20Overview_June2017.docx</a:t>
            </a:r>
          </a:p>
        </p:txBody>
      </p:sp>
    </p:spTree>
    <p:extLst>
      <p:ext uri="{BB962C8B-B14F-4D97-AF65-F5344CB8AC3E}">
        <p14:creationId xmlns:p14="http://schemas.microsoft.com/office/powerpoint/2010/main" val="103911849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5 Column Ico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5 Column icon | Type insightful headline in sentence case | 1 line</a:t>
            </a:r>
          </a:p>
        </p:txBody>
      </p:sp>
      <p:sp>
        <p:nvSpPr>
          <p:cNvPr id="3" name="Date Placeholder 2"/>
          <p:cNvSpPr>
            <a:spLocks noGrp="1"/>
          </p:cNvSpPr>
          <p:nvPr>
            <p:ph type="dt" sz="half" idx="10"/>
          </p:nvPr>
        </p:nvSpPr>
        <p:spPr/>
        <p:txBody>
          <a:bodyPr/>
          <a:lstStyle/>
          <a:p>
            <a:fld id="{093DFCFF-5E23-514D-8BFB-2F69B08556C4}" type="datetime1">
              <a:rPr lang="en-US" smtClean="0"/>
              <a:t>4/21/21</a:t>
            </a:fld>
            <a:endParaRPr lang="en-US"/>
          </a:p>
        </p:txBody>
      </p:sp>
      <p:sp>
        <p:nvSpPr>
          <p:cNvPr id="5" name="Slide Number Placeholder 4"/>
          <p:cNvSpPr>
            <a:spLocks noGrp="1"/>
          </p:cNvSpPr>
          <p:nvPr>
            <p:ph type="sldNum" sz="quarter" idx="12"/>
          </p:nvPr>
        </p:nvSpPr>
        <p:spPr/>
        <p:txBody>
          <a:bodyPr/>
          <a:lstStyle/>
          <a:p>
            <a:fld id="{3310D8EA-3107-4873-B9AB-DD7D3E79053A}" type="slidenum">
              <a:rPr lang="en-US" smtClean="0"/>
              <a:t>‹#›</a:t>
            </a:fld>
            <a:endParaRPr lang="en-US"/>
          </a:p>
        </p:txBody>
      </p:sp>
      <p:sp>
        <p:nvSpPr>
          <p:cNvPr id="6" name="Text Placeholder 7"/>
          <p:cNvSpPr>
            <a:spLocks noGrp="1"/>
          </p:cNvSpPr>
          <p:nvPr>
            <p:ph type="body" sz="quarter" idx="13" hasCustomPrompt="1"/>
          </p:nvPr>
        </p:nvSpPr>
        <p:spPr>
          <a:xfrm>
            <a:off x="726439" y="1640149"/>
            <a:ext cx="16596361" cy="721783"/>
          </a:xfrm>
        </p:spPr>
        <p:txBody>
          <a:bodyPr/>
          <a:lstStyle>
            <a:lvl1pPr>
              <a:defRPr sz="3315">
                <a:solidFill>
                  <a:schemeClr val="accent4"/>
                </a:solidFill>
              </a:defRPr>
            </a:lvl1pPr>
          </a:lstStyle>
          <a:p>
            <a:pPr lvl="0"/>
            <a:r>
              <a:rPr lang="en-US" dirty="0"/>
              <a:t>Use this space for one line subhead if needed | One line</a:t>
            </a:r>
          </a:p>
        </p:txBody>
      </p:sp>
      <p:sp>
        <p:nvSpPr>
          <p:cNvPr id="8" name="Text Placeholder 7"/>
          <p:cNvSpPr>
            <a:spLocks noGrp="1"/>
          </p:cNvSpPr>
          <p:nvPr>
            <p:ph type="body" sz="quarter" idx="14" hasCustomPrompt="1"/>
          </p:nvPr>
        </p:nvSpPr>
        <p:spPr>
          <a:xfrm>
            <a:off x="726439" y="2682237"/>
            <a:ext cx="3218688" cy="2889797"/>
          </a:xfrm>
          <a:solidFill>
            <a:schemeClr val="tx2"/>
          </a:solidFill>
        </p:spPr>
        <p:txBody>
          <a:bodyPr lIns="137160" anchor="ctr"/>
          <a:lstStyle>
            <a:lvl1pPr algn="ctr">
              <a:lnSpc>
                <a:spcPct val="90000"/>
              </a:lnSpc>
              <a:spcBef>
                <a:spcPts val="0"/>
              </a:spcBef>
              <a:spcAft>
                <a:spcPts val="0"/>
              </a:spcAft>
              <a:defRPr sz="1530">
                <a:solidFill>
                  <a:schemeClr val="tx1">
                    <a:lumMod val="20000"/>
                    <a:lumOff val="80000"/>
                  </a:schemeClr>
                </a:solidFill>
              </a:defRPr>
            </a:lvl1pPr>
          </a:lstStyle>
          <a:p>
            <a:pPr lvl="0"/>
            <a:r>
              <a:rPr lang="en-US" dirty="0"/>
              <a:t>[Place icon here. To  remove text, place cursor then hit space bar.]</a:t>
            </a:r>
          </a:p>
        </p:txBody>
      </p:sp>
      <p:sp>
        <p:nvSpPr>
          <p:cNvPr id="27" name="Text Placeholder 7"/>
          <p:cNvSpPr>
            <a:spLocks noGrp="1"/>
          </p:cNvSpPr>
          <p:nvPr>
            <p:ph type="body" sz="quarter" idx="15" hasCustomPrompt="1"/>
          </p:nvPr>
        </p:nvSpPr>
        <p:spPr>
          <a:xfrm>
            <a:off x="4078576" y="2682238"/>
            <a:ext cx="3218688" cy="2889797"/>
          </a:xfrm>
          <a:solidFill>
            <a:schemeClr val="accent2"/>
          </a:solidFill>
        </p:spPr>
        <p:txBody>
          <a:bodyPr lIns="137160" anchor="ctr"/>
          <a:lstStyle>
            <a:lvl1pPr algn="ctr">
              <a:lnSpc>
                <a:spcPct val="90000"/>
              </a:lnSpc>
              <a:spcBef>
                <a:spcPts val="0"/>
              </a:spcBef>
              <a:spcAft>
                <a:spcPts val="0"/>
              </a:spcAft>
              <a:defRPr sz="1530">
                <a:solidFill>
                  <a:schemeClr val="tx1">
                    <a:lumMod val="20000"/>
                    <a:lumOff val="80000"/>
                  </a:schemeClr>
                </a:solidFill>
              </a:defRPr>
            </a:lvl1pPr>
          </a:lstStyle>
          <a:p>
            <a:pPr lvl="0"/>
            <a:r>
              <a:rPr lang="en-US" dirty="0"/>
              <a:t>[Place icon here. To  remove text, place cursor then hit space bar.]</a:t>
            </a:r>
          </a:p>
        </p:txBody>
      </p:sp>
      <p:sp>
        <p:nvSpPr>
          <p:cNvPr id="28" name="Text Placeholder 7"/>
          <p:cNvSpPr>
            <a:spLocks noGrp="1"/>
          </p:cNvSpPr>
          <p:nvPr>
            <p:ph type="body" sz="quarter" idx="16" hasCustomPrompt="1"/>
          </p:nvPr>
        </p:nvSpPr>
        <p:spPr>
          <a:xfrm>
            <a:off x="7430711" y="2682238"/>
            <a:ext cx="3218688" cy="2889797"/>
          </a:xfrm>
          <a:solidFill>
            <a:schemeClr val="accent4"/>
          </a:solidFill>
        </p:spPr>
        <p:txBody>
          <a:bodyPr lIns="137160" anchor="ctr"/>
          <a:lstStyle>
            <a:lvl1pPr algn="ctr">
              <a:lnSpc>
                <a:spcPct val="90000"/>
              </a:lnSpc>
              <a:spcBef>
                <a:spcPts val="0"/>
              </a:spcBef>
              <a:spcAft>
                <a:spcPts val="0"/>
              </a:spcAft>
              <a:defRPr sz="1530">
                <a:solidFill>
                  <a:schemeClr val="tx1">
                    <a:lumMod val="20000"/>
                    <a:lumOff val="80000"/>
                  </a:schemeClr>
                </a:solidFill>
              </a:defRPr>
            </a:lvl1pPr>
          </a:lstStyle>
          <a:p>
            <a:pPr lvl="0"/>
            <a:r>
              <a:rPr lang="en-US" dirty="0"/>
              <a:t>[Place icon here. To  remove text, place cursor then hit space bar.]</a:t>
            </a:r>
          </a:p>
        </p:txBody>
      </p:sp>
      <p:sp>
        <p:nvSpPr>
          <p:cNvPr id="29" name="Text Placeholder 7"/>
          <p:cNvSpPr>
            <a:spLocks noGrp="1"/>
          </p:cNvSpPr>
          <p:nvPr>
            <p:ph type="body" sz="quarter" idx="17" hasCustomPrompt="1"/>
          </p:nvPr>
        </p:nvSpPr>
        <p:spPr>
          <a:xfrm>
            <a:off x="10782847" y="2682238"/>
            <a:ext cx="3218688" cy="2889797"/>
          </a:xfrm>
          <a:solidFill>
            <a:schemeClr val="accent1"/>
          </a:solidFill>
        </p:spPr>
        <p:txBody>
          <a:bodyPr lIns="137160" anchor="ctr"/>
          <a:lstStyle>
            <a:lvl1pPr algn="ctr">
              <a:lnSpc>
                <a:spcPct val="90000"/>
              </a:lnSpc>
              <a:spcBef>
                <a:spcPts val="0"/>
              </a:spcBef>
              <a:spcAft>
                <a:spcPts val="0"/>
              </a:spcAft>
              <a:defRPr sz="1530">
                <a:solidFill>
                  <a:schemeClr val="tx1">
                    <a:lumMod val="20000"/>
                    <a:lumOff val="80000"/>
                  </a:schemeClr>
                </a:solidFill>
              </a:defRPr>
            </a:lvl1pPr>
          </a:lstStyle>
          <a:p>
            <a:pPr lvl="0"/>
            <a:r>
              <a:rPr lang="en-US" dirty="0"/>
              <a:t>[Place icon here. To  remove text, place cursor then hit space bar.]</a:t>
            </a:r>
          </a:p>
        </p:txBody>
      </p:sp>
      <p:sp>
        <p:nvSpPr>
          <p:cNvPr id="30" name="Text Placeholder 7"/>
          <p:cNvSpPr>
            <a:spLocks noGrp="1"/>
          </p:cNvSpPr>
          <p:nvPr>
            <p:ph type="body" sz="quarter" idx="18" hasCustomPrompt="1"/>
          </p:nvPr>
        </p:nvSpPr>
        <p:spPr>
          <a:xfrm>
            <a:off x="14134980" y="2682238"/>
            <a:ext cx="3218688" cy="2889797"/>
          </a:xfrm>
          <a:solidFill>
            <a:srgbClr val="A22B38"/>
          </a:solidFill>
        </p:spPr>
        <p:txBody>
          <a:bodyPr lIns="137160" anchor="ctr"/>
          <a:lstStyle>
            <a:lvl1pPr algn="ctr">
              <a:lnSpc>
                <a:spcPct val="90000"/>
              </a:lnSpc>
              <a:spcBef>
                <a:spcPts val="0"/>
              </a:spcBef>
              <a:spcAft>
                <a:spcPts val="0"/>
              </a:spcAft>
              <a:defRPr sz="1530">
                <a:solidFill>
                  <a:schemeClr val="tx1">
                    <a:lumMod val="20000"/>
                    <a:lumOff val="80000"/>
                  </a:schemeClr>
                </a:solidFill>
              </a:defRPr>
            </a:lvl1pPr>
          </a:lstStyle>
          <a:p>
            <a:pPr lvl="0"/>
            <a:r>
              <a:rPr lang="en-US" dirty="0"/>
              <a:t>[Place icon here. To  remove text, place cursor then hit space bar.]</a:t>
            </a:r>
          </a:p>
        </p:txBody>
      </p:sp>
      <p:sp>
        <p:nvSpPr>
          <p:cNvPr id="31" name="Text Placeholder 7"/>
          <p:cNvSpPr>
            <a:spLocks noGrp="1"/>
          </p:cNvSpPr>
          <p:nvPr>
            <p:ph type="body" sz="quarter" idx="19" hasCustomPrompt="1"/>
          </p:nvPr>
        </p:nvSpPr>
        <p:spPr>
          <a:xfrm>
            <a:off x="726439" y="5572034"/>
            <a:ext cx="3218688" cy="3089366"/>
          </a:xfrm>
          <a:solidFill>
            <a:schemeClr val="accent3">
              <a:lumMod val="20000"/>
              <a:lumOff val="80000"/>
            </a:schemeClr>
          </a:solidFill>
        </p:spPr>
        <p:txBody>
          <a:bodyPr lIns="137160" tIns="137160" anchor="t"/>
          <a:lstStyle>
            <a:lvl1pPr marL="0" indent="0" algn="l">
              <a:lnSpc>
                <a:spcPct val="90000"/>
              </a:lnSpc>
              <a:spcBef>
                <a:spcPts val="0"/>
              </a:spcBef>
              <a:spcAft>
                <a:spcPts val="1530"/>
              </a:spcAft>
              <a:buFont typeface="Arial" panose="020B0604020202020204" pitchFamily="34" charset="0"/>
              <a:buNone/>
              <a:defRPr sz="2295">
                <a:solidFill>
                  <a:schemeClr val="tx1"/>
                </a:solidFill>
              </a:defRPr>
            </a:lvl1pPr>
            <a:lvl2pPr>
              <a:defRPr sz="2040"/>
            </a:lvl2pPr>
          </a:lstStyle>
          <a:p>
            <a:pPr lvl="0"/>
            <a:r>
              <a:rPr lang="en-US" dirty="0"/>
              <a:t>Header</a:t>
            </a:r>
          </a:p>
          <a:p>
            <a:pPr lvl="1"/>
            <a:r>
              <a:rPr lang="en-US" dirty="0"/>
              <a:t>Text – add bullet if needed</a:t>
            </a:r>
          </a:p>
        </p:txBody>
      </p:sp>
      <p:sp>
        <p:nvSpPr>
          <p:cNvPr id="17" name="Text Placeholder 7"/>
          <p:cNvSpPr>
            <a:spLocks noGrp="1"/>
          </p:cNvSpPr>
          <p:nvPr>
            <p:ph type="body" sz="quarter" idx="20" hasCustomPrompt="1"/>
          </p:nvPr>
        </p:nvSpPr>
        <p:spPr>
          <a:xfrm>
            <a:off x="4078572" y="5572034"/>
            <a:ext cx="3218693" cy="3089366"/>
          </a:xfrm>
          <a:solidFill>
            <a:schemeClr val="accent3">
              <a:lumMod val="20000"/>
              <a:lumOff val="80000"/>
            </a:schemeClr>
          </a:solidFill>
        </p:spPr>
        <p:txBody>
          <a:bodyPr lIns="137160" tIns="137160" anchor="t"/>
          <a:lstStyle>
            <a:lvl1pPr marL="0" indent="0" algn="l">
              <a:lnSpc>
                <a:spcPct val="90000"/>
              </a:lnSpc>
              <a:spcBef>
                <a:spcPts val="0"/>
              </a:spcBef>
              <a:spcAft>
                <a:spcPts val="1530"/>
              </a:spcAft>
              <a:buFont typeface="Arial" panose="020B0604020202020204" pitchFamily="34" charset="0"/>
              <a:buNone/>
              <a:defRPr sz="2295">
                <a:solidFill>
                  <a:schemeClr val="tx1"/>
                </a:solidFill>
              </a:defRPr>
            </a:lvl1pPr>
            <a:lvl2pPr>
              <a:defRPr sz="2040"/>
            </a:lvl2pPr>
          </a:lstStyle>
          <a:p>
            <a:pPr lvl="0"/>
            <a:r>
              <a:rPr lang="en-US" dirty="0"/>
              <a:t>Header</a:t>
            </a:r>
          </a:p>
          <a:p>
            <a:pPr lvl="1"/>
            <a:r>
              <a:rPr lang="en-US" dirty="0"/>
              <a:t>Text – add bullet if needed</a:t>
            </a:r>
          </a:p>
        </p:txBody>
      </p:sp>
      <p:sp>
        <p:nvSpPr>
          <p:cNvPr id="18" name="Text Placeholder 7"/>
          <p:cNvSpPr>
            <a:spLocks noGrp="1"/>
          </p:cNvSpPr>
          <p:nvPr>
            <p:ph type="body" sz="quarter" idx="21" hasCustomPrompt="1"/>
          </p:nvPr>
        </p:nvSpPr>
        <p:spPr>
          <a:xfrm>
            <a:off x="7430711" y="5572034"/>
            <a:ext cx="3218688" cy="3089366"/>
          </a:xfrm>
          <a:solidFill>
            <a:schemeClr val="accent3">
              <a:lumMod val="20000"/>
              <a:lumOff val="80000"/>
            </a:schemeClr>
          </a:solidFill>
        </p:spPr>
        <p:txBody>
          <a:bodyPr lIns="137160" tIns="137160" anchor="t"/>
          <a:lstStyle>
            <a:lvl1pPr marL="0" indent="0" algn="l">
              <a:lnSpc>
                <a:spcPct val="90000"/>
              </a:lnSpc>
              <a:spcBef>
                <a:spcPts val="0"/>
              </a:spcBef>
              <a:spcAft>
                <a:spcPts val="1530"/>
              </a:spcAft>
              <a:buFont typeface="Arial" panose="020B0604020202020204" pitchFamily="34" charset="0"/>
              <a:buNone/>
              <a:defRPr sz="2295">
                <a:solidFill>
                  <a:schemeClr val="tx1"/>
                </a:solidFill>
              </a:defRPr>
            </a:lvl1pPr>
            <a:lvl2pPr>
              <a:defRPr sz="2040"/>
            </a:lvl2pPr>
          </a:lstStyle>
          <a:p>
            <a:pPr lvl="0"/>
            <a:r>
              <a:rPr lang="en-US" dirty="0"/>
              <a:t>Header</a:t>
            </a:r>
          </a:p>
          <a:p>
            <a:pPr lvl="1"/>
            <a:r>
              <a:rPr lang="en-US" dirty="0"/>
              <a:t>Text – add bullet if needed</a:t>
            </a:r>
          </a:p>
        </p:txBody>
      </p:sp>
      <p:sp>
        <p:nvSpPr>
          <p:cNvPr id="19" name="Text Placeholder 7"/>
          <p:cNvSpPr>
            <a:spLocks noGrp="1"/>
          </p:cNvSpPr>
          <p:nvPr>
            <p:ph type="body" sz="quarter" idx="22" hasCustomPrompt="1"/>
          </p:nvPr>
        </p:nvSpPr>
        <p:spPr>
          <a:xfrm>
            <a:off x="10782847" y="5572034"/>
            <a:ext cx="3218688" cy="3089366"/>
          </a:xfrm>
          <a:solidFill>
            <a:schemeClr val="accent3">
              <a:lumMod val="20000"/>
              <a:lumOff val="80000"/>
            </a:schemeClr>
          </a:solidFill>
        </p:spPr>
        <p:txBody>
          <a:bodyPr lIns="137160" tIns="137160" anchor="t"/>
          <a:lstStyle>
            <a:lvl1pPr marL="0" indent="0" algn="l">
              <a:lnSpc>
                <a:spcPct val="90000"/>
              </a:lnSpc>
              <a:spcBef>
                <a:spcPts val="0"/>
              </a:spcBef>
              <a:spcAft>
                <a:spcPts val="1530"/>
              </a:spcAft>
              <a:buFont typeface="Arial" panose="020B0604020202020204" pitchFamily="34" charset="0"/>
              <a:buNone/>
              <a:defRPr sz="2295">
                <a:solidFill>
                  <a:schemeClr val="tx1"/>
                </a:solidFill>
              </a:defRPr>
            </a:lvl1pPr>
            <a:lvl2pPr>
              <a:defRPr sz="2040"/>
            </a:lvl2pPr>
          </a:lstStyle>
          <a:p>
            <a:pPr lvl="0"/>
            <a:r>
              <a:rPr lang="en-US" dirty="0"/>
              <a:t>Header</a:t>
            </a:r>
          </a:p>
          <a:p>
            <a:pPr lvl="1"/>
            <a:r>
              <a:rPr lang="en-US" dirty="0"/>
              <a:t>Text – add bullet if needed</a:t>
            </a:r>
          </a:p>
        </p:txBody>
      </p:sp>
      <p:sp>
        <p:nvSpPr>
          <p:cNvPr id="20" name="Text Placeholder 7"/>
          <p:cNvSpPr>
            <a:spLocks noGrp="1"/>
          </p:cNvSpPr>
          <p:nvPr>
            <p:ph type="body" sz="quarter" idx="23" hasCustomPrompt="1"/>
          </p:nvPr>
        </p:nvSpPr>
        <p:spPr>
          <a:xfrm>
            <a:off x="14134980" y="5572034"/>
            <a:ext cx="3218688" cy="3089366"/>
          </a:xfrm>
          <a:solidFill>
            <a:schemeClr val="accent3">
              <a:lumMod val="20000"/>
              <a:lumOff val="80000"/>
            </a:schemeClr>
          </a:solidFill>
        </p:spPr>
        <p:txBody>
          <a:bodyPr lIns="137160" tIns="137160" anchor="t"/>
          <a:lstStyle>
            <a:lvl1pPr marL="0" indent="0" algn="l">
              <a:lnSpc>
                <a:spcPct val="90000"/>
              </a:lnSpc>
              <a:spcBef>
                <a:spcPts val="0"/>
              </a:spcBef>
              <a:spcAft>
                <a:spcPts val="1530"/>
              </a:spcAft>
              <a:buFont typeface="Arial" panose="020B0604020202020204" pitchFamily="34" charset="0"/>
              <a:buNone/>
              <a:defRPr sz="2295">
                <a:solidFill>
                  <a:schemeClr val="tx1"/>
                </a:solidFill>
              </a:defRPr>
            </a:lvl1pPr>
            <a:lvl2pPr>
              <a:defRPr sz="2040"/>
            </a:lvl2pPr>
          </a:lstStyle>
          <a:p>
            <a:pPr lvl="0"/>
            <a:r>
              <a:rPr lang="en-US" dirty="0"/>
              <a:t>Header</a:t>
            </a:r>
          </a:p>
          <a:p>
            <a:pPr lvl="1"/>
            <a:r>
              <a:rPr lang="en-US" dirty="0"/>
              <a:t>Text – add bullet if needed</a:t>
            </a:r>
          </a:p>
        </p:txBody>
      </p:sp>
    </p:spTree>
    <p:extLst>
      <p:ext uri="{BB962C8B-B14F-4D97-AF65-F5344CB8AC3E}">
        <p14:creationId xmlns:p14="http://schemas.microsoft.com/office/powerpoint/2010/main" val="313343991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3 Row Ico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3 row icon | Type insightful headline in sentence case | 1 line</a:t>
            </a:r>
          </a:p>
        </p:txBody>
      </p:sp>
      <p:sp>
        <p:nvSpPr>
          <p:cNvPr id="3" name="Date Placeholder 2"/>
          <p:cNvSpPr>
            <a:spLocks noGrp="1"/>
          </p:cNvSpPr>
          <p:nvPr>
            <p:ph type="dt" sz="half" idx="10"/>
          </p:nvPr>
        </p:nvSpPr>
        <p:spPr/>
        <p:txBody>
          <a:bodyPr/>
          <a:lstStyle/>
          <a:p>
            <a:fld id="{C4E4F385-C034-394D-9A67-4D38A23443AB}" type="datetime1">
              <a:rPr lang="en-US" smtClean="0"/>
              <a:t>4/21/21</a:t>
            </a:fld>
            <a:endParaRPr lang="en-US"/>
          </a:p>
        </p:txBody>
      </p:sp>
      <p:sp>
        <p:nvSpPr>
          <p:cNvPr id="5" name="Slide Number Placeholder 4"/>
          <p:cNvSpPr>
            <a:spLocks noGrp="1"/>
          </p:cNvSpPr>
          <p:nvPr>
            <p:ph type="sldNum" sz="quarter" idx="12"/>
          </p:nvPr>
        </p:nvSpPr>
        <p:spPr/>
        <p:txBody>
          <a:bodyPr/>
          <a:lstStyle/>
          <a:p>
            <a:fld id="{3310D8EA-3107-4873-B9AB-DD7D3E79053A}" type="slidenum">
              <a:rPr lang="en-US" smtClean="0"/>
              <a:t>‹#›</a:t>
            </a:fld>
            <a:endParaRPr lang="en-US"/>
          </a:p>
        </p:txBody>
      </p:sp>
      <p:sp>
        <p:nvSpPr>
          <p:cNvPr id="6" name="Text Placeholder 7"/>
          <p:cNvSpPr>
            <a:spLocks noGrp="1"/>
          </p:cNvSpPr>
          <p:nvPr>
            <p:ph type="body" sz="quarter" idx="13" hasCustomPrompt="1"/>
          </p:nvPr>
        </p:nvSpPr>
        <p:spPr>
          <a:xfrm>
            <a:off x="726439" y="1640149"/>
            <a:ext cx="16596361" cy="721783"/>
          </a:xfrm>
        </p:spPr>
        <p:txBody>
          <a:bodyPr/>
          <a:lstStyle>
            <a:lvl1pPr>
              <a:defRPr sz="3315">
                <a:solidFill>
                  <a:schemeClr val="accent4"/>
                </a:solidFill>
              </a:defRPr>
            </a:lvl1pPr>
          </a:lstStyle>
          <a:p>
            <a:pPr lvl="0"/>
            <a:r>
              <a:rPr lang="en-US" dirty="0"/>
              <a:t>Use this space for one line subhead if needed | One line</a:t>
            </a:r>
          </a:p>
        </p:txBody>
      </p:sp>
      <p:sp>
        <p:nvSpPr>
          <p:cNvPr id="8" name="Text Placeholder 7"/>
          <p:cNvSpPr>
            <a:spLocks noGrp="1"/>
          </p:cNvSpPr>
          <p:nvPr>
            <p:ph type="body" sz="quarter" idx="14" hasCustomPrompt="1"/>
          </p:nvPr>
        </p:nvSpPr>
        <p:spPr>
          <a:xfrm>
            <a:off x="726440" y="2730135"/>
            <a:ext cx="2489594" cy="1917802"/>
          </a:xfrm>
          <a:solidFill>
            <a:schemeClr val="tx2"/>
          </a:solidFill>
        </p:spPr>
        <p:txBody>
          <a:bodyPr lIns="137160" rIns="18288" anchor="ctr"/>
          <a:lstStyle>
            <a:lvl1pPr algn="l">
              <a:lnSpc>
                <a:spcPct val="90000"/>
              </a:lnSpc>
              <a:spcBef>
                <a:spcPts val="0"/>
              </a:spcBef>
              <a:spcAft>
                <a:spcPts val="0"/>
              </a:spcAft>
              <a:defRPr sz="1530">
                <a:solidFill>
                  <a:schemeClr val="tx1">
                    <a:lumMod val="20000"/>
                    <a:lumOff val="80000"/>
                  </a:schemeClr>
                </a:solidFill>
              </a:defRPr>
            </a:lvl1pPr>
          </a:lstStyle>
          <a:p>
            <a:pPr lvl="0"/>
            <a:r>
              <a:rPr lang="en-US" dirty="0"/>
              <a:t>[place icon here. To  remove text, place cursor then hit space bar]</a:t>
            </a:r>
          </a:p>
        </p:txBody>
      </p:sp>
      <p:sp>
        <p:nvSpPr>
          <p:cNvPr id="28" name="Text Placeholder 7"/>
          <p:cNvSpPr>
            <a:spLocks noGrp="1"/>
          </p:cNvSpPr>
          <p:nvPr>
            <p:ph type="body" sz="quarter" idx="16" hasCustomPrompt="1"/>
          </p:nvPr>
        </p:nvSpPr>
        <p:spPr>
          <a:xfrm>
            <a:off x="726440" y="4728178"/>
            <a:ext cx="2489594" cy="1917802"/>
          </a:xfrm>
          <a:solidFill>
            <a:schemeClr val="accent2"/>
          </a:solidFill>
        </p:spPr>
        <p:txBody>
          <a:bodyPr lIns="137160" rIns="18288" anchor="ctr"/>
          <a:lstStyle>
            <a:lvl1pPr algn="l">
              <a:lnSpc>
                <a:spcPct val="90000"/>
              </a:lnSpc>
              <a:spcBef>
                <a:spcPts val="0"/>
              </a:spcBef>
              <a:spcAft>
                <a:spcPts val="0"/>
              </a:spcAft>
              <a:defRPr sz="1530">
                <a:solidFill>
                  <a:schemeClr val="tx1">
                    <a:lumMod val="20000"/>
                    <a:lumOff val="80000"/>
                  </a:schemeClr>
                </a:solidFill>
              </a:defRPr>
            </a:lvl1pPr>
          </a:lstStyle>
          <a:p>
            <a:pPr lvl="0"/>
            <a:r>
              <a:rPr lang="en-US" dirty="0"/>
              <a:t>[place icon here. To  remove text, place cursor then hit space bar]</a:t>
            </a:r>
          </a:p>
        </p:txBody>
      </p:sp>
      <p:sp>
        <p:nvSpPr>
          <p:cNvPr id="29" name="Text Placeholder 7"/>
          <p:cNvSpPr>
            <a:spLocks noGrp="1"/>
          </p:cNvSpPr>
          <p:nvPr>
            <p:ph type="body" sz="quarter" idx="17" hasCustomPrompt="1"/>
          </p:nvPr>
        </p:nvSpPr>
        <p:spPr>
          <a:xfrm>
            <a:off x="726440" y="6726221"/>
            <a:ext cx="2489594" cy="1917802"/>
          </a:xfrm>
          <a:solidFill>
            <a:schemeClr val="accent4"/>
          </a:solidFill>
        </p:spPr>
        <p:txBody>
          <a:bodyPr lIns="137160" rIns="18288" anchor="ctr"/>
          <a:lstStyle>
            <a:lvl1pPr algn="l">
              <a:lnSpc>
                <a:spcPct val="90000"/>
              </a:lnSpc>
              <a:spcBef>
                <a:spcPts val="0"/>
              </a:spcBef>
              <a:spcAft>
                <a:spcPts val="0"/>
              </a:spcAft>
              <a:defRPr sz="1530">
                <a:solidFill>
                  <a:schemeClr val="tx1">
                    <a:lumMod val="20000"/>
                    <a:lumOff val="80000"/>
                  </a:schemeClr>
                </a:solidFill>
              </a:defRPr>
            </a:lvl1pPr>
          </a:lstStyle>
          <a:p>
            <a:pPr lvl="0"/>
            <a:r>
              <a:rPr lang="en-US" dirty="0"/>
              <a:t>[place icon here. To  remove text, place cursor then hit space bar]</a:t>
            </a:r>
          </a:p>
        </p:txBody>
      </p:sp>
      <p:sp>
        <p:nvSpPr>
          <p:cNvPr id="9" name="Text Placeholder 8"/>
          <p:cNvSpPr>
            <a:spLocks noGrp="1"/>
          </p:cNvSpPr>
          <p:nvPr>
            <p:ph type="body" sz="quarter" idx="18" hasCustomPrompt="1"/>
          </p:nvPr>
        </p:nvSpPr>
        <p:spPr>
          <a:xfrm>
            <a:off x="3400033" y="2730135"/>
            <a:ext cx="13917446" cy="1877568"/>
          </a:xfrm>
        </p:spPr>
        <p:txBody>
          <a:bodyPr/>
          <a:lstStyle>
            <a:lvl1pPr>
              <a:defRPr sz="2295"/>
            </a:lvl1pPr>
            <a:lvl2pPr>
              <a:defRPr sz="2040"/>
            </a:lvl2pPr>
          </a:lstStyle>
          <a:p>
            <a:pPr lvl="0"/>
            <a:r>
              <a:rPr lang="en-US" dirty="0"/>
              <a:t>Level 1 text is 18 pt, hit return then Tab to get to level 2 – 16 pt gray</a:t>
            </a:r>
          </a:p>
          <a:p>
            <a:pPr lvl="1"/>
            <a:r>
              <a:rPr lang="en-US" dirty="0"/>
              <a:t>Second level</a:t>
            </a:r>
          </a:p>
        </p:txBody>
      </p:sp>
      <p:sp>
        <p:nvSpPr>
          <p:cNvPr id="25" name="Text Placeholder 8"/>
          <p:cNvSpPr>
            <a:spLocks noGrp="1"/>
          </p:cNvSpPr>
          <p:nvPr>
            <p:ph type="body" sz="quarter" idx="19" hasCustomPrompt="1"/>
          </p:nvPr>
        </p:nvSpPr>
        <p:spPr>
          <a:xfrm>
            <a:off x="3400033" y="4756118"/>
            <a:ext cx="13917446" cy="1877568"/>
          </a:xfrm>
        </p:spPr>
        <p:txBody>
          <a:bodyPr/>
          <a:lstStyle>
            <a:lvl1pPr>
              <a:defRPr sz="2295"/>
            </a:lvl1pPr>
            <a:lvl2pPr>
              <a:defRPr sz="2040"/>
            </a:lvl2pPr>
          </a:lstStyle>
          <a:p>
            <a:pPr lvl="0"/>
            <a:r>
              <a:rPr lang="en-US" dirty="0"/>
              <a:t>Level 1 text is 18 pt, hit return then Tab to get to level 2 – 16 pt gray</a:t>
            </a:r>
          </a:p>
          <a:p>
            <a:pPr lvl="1"/>
            <a:r>
              <a:rPr lang="en-US" dirty="0"/>
              <a:t>Second level</a:t>
            </a:r>
          </a:p>
        </p:txBody>
      </p:sp>
      <p:sp>
        <p:nvSpPr>
          <p:cNvPr id="26" name="Text Placeholder 8"/>
          <p:cNvSpPr>
            <a:spLocks noGrp="1"/>
          </p:cNvSpPr>
          <p:nvPr>
            <p:ph type="body" sz="quarter" idx="20" hasCustomPrompt="1"/>
          </p:nvPr>
        </p:nvSpPr>
        <p:spPr>
          <a:xfrm>
            <a:off x="3400033" y="6782103"/>
            <a:ext cx="13917446" cy="1877568"/>
          </a:xfrm>
        </p:spPr>
        <p:txBody>
          <a:bodyPr/>
          <a:lstStyle>
            <a:lvl1pPr>
              <a:defRPr sz="2295"/>
            </a:lvl1pPr>
            <a:lvl2pPr>
              <a:defRPr sz="2040"/>
            </a:lvl2pPr>
          </a:lstStyle>
          <a:p>
            <a:pPr lvl="0"/>
            <a:r>
              <a:rPr lang="en-US" dirty="0"/>
              <a:t>Level 1 text is 18 pt, hit return then Tab to get to level 2 – 16 pt gray</a:t>
            </a:r>
          </a:p>
          <a:p>
            <a:pPr lvl="1"/>
            <a:r>
              <a:rPr lang="en-US" dirty="0"/>
              <a:t>Second level</a:t>
            </a:r>
          </a:p>
        </p:txBody>
      </p:sp>
    </p:spTree>
    <p:extLst>
      <p:ext uri="{BB962C8B-B14F-4D97-AF65-F5344CB8AC3E}">
        <p14:creationId xmlns:p14="http://schemas.microsoft.com/office/powerpoint/2010/main" val="112529150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4 Row Ico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4 row icon | Type insightful headline in sentence case | 1 line</a:t>
            </a:r>
          </a:p>
        </p:txBody>
      </p:sp>
      <p:sp>
        <p:nvSpPr>
          <p:cNvPr id="3" name="Date Placeholder 2"/>
          <p:cNvSpPr>
            <a:spLocks noGrp="1"/>
          </p:cNvSpPr>
          <p:nvPr>
            <p:ph type="dt" sz="half" idx="10"/>
          </p:nvPr>
        </p:nvSpPr>
        <p:spPr/>
        <p:txBody>
          <a:bodyPr/>
          <a:lstStyle/>
          <a:p>
            <a:fld id="{5257A41A-550D-9143-AC5B-71A754476C80}" type="datetime1">
              <a:rPr lang="en-US" smtClean="0"/>
              <a:t>4/21/21</a:t>
            </a:fld>
            <a:endParaRPr lang="en-US"/>
          </a:p>
        </p:txBody>
      </p:sp>
      <p:sp>
        <p:nvSpPr>
          <p:cNvPr id="5" name="Slide Number Placeholder 4"/>
          <p:cNvSpPr>
            <a:spLocks noGrp="1"/>
          </p:cNvSpPr>
          <p:nvPr>
            <p:ph type="sldNum" sz="quarter" idx="12"/>
          </p:nvPr>
        </p:nvSpPr>
        <p:spPr/>
        <p:txBody>
          <a:bodyPr/>
          <a:lstStyle/>
          <a:p>
            <a:fld id="{3310D8EA-3107-4873-B9AB-DD7D3E79053A}" type="slidenum">
              <a:rPr lang="en-US" smtClean="0"/>
              <a:t>‹#›</a:t>
            </a:fld>
            <a:endParaRPr lang="en-US"/>
          </a:p>
        </p:txBody>
      </p:sp>
      <p:sp>
        <p:nvSpPr>
          <p:cNvPr id="6" name="Text Placeholder 7"/>
          <p:cNvSpPr>
            <a:spLocks noGrp="1"/>
          </p:cNvSpPr>
          <p:nvPr>
            <p:ph type="body" sz="quarter" idx="13" hasCustomPrompt="1"/>
          </p:nvPr>
        </p:nvSpPr>
        <p:spPr>
          <a:xfrm>
            <a:off x="726439" y="1640149"/>
            <a:ext cx="16596361" cy="721783"/>
          </a:xfrm>
        </p:spPr>
        <p:txBody>
          <a:bodyPr/>
          <a:lstStyle>
            <a:lvl1pPr>
              <a:defRPr sz="3315">
                <a:solidFill>
                  <a:schemeClr val="accent4"/>
                </a:solidFill>
              </a:defRPr>
            </a:lvl1pPr>
          </a:lstStyle>
          <a:p>
            <a:pPr lvl="0"/>
            <a:r>
              <a:rPr lang="en-US" dirty="0"/>
              <a:t>Use this space for one line subhead if needed | One line</a:t>
            </a:r>
          </a:p>
        </p:txBody>
      </p:sp>
      <p:sp>
        <p:nvSpPr>
          <p:cNvPr id="8" name="Text Placeholder 7"/>
          <p:cNvSpPr>
            <a:spLocks noGrp="1"/>
          </p:cNvSpPr>
          <p:nvPr>
            <p:ph type="body" sz="quarter" idx="14" hasCustomPrompt="1"/>
          </p:nvPr>
        </p:nvSpPr>
        <p:spPr>
          <a:xfrm>
            <a:off x="726439" y="2730135"/>
            <a:ext cx="2494484" cy="1448410"/>
          </a:xfrm>
          <a:solidFill>
            <a:schemeClr val="tx2"/>
          </a:solidFill>
        </p:spPr>
        <p:txBody>
          <a:bodyPr lIns="137160" anchor="ctr"/>
          <a:lstStyle>
            <a:lvl1pPr algn="l">
              <a:lnSpc>
                <a:spcPct val="90000"/>
              </a:lnSpc>
              <a:spcBef>
                <a:spcPts val="0"/>
              </a:spcBef>
              <a:spcAft>
                <a:spcPts val="0"/>
              </a:spcAft>
              <a:defRPr sz="1403">
                <a:solidFill>
                  <a:schemeClr val="tx1">
                    <a:lumMod val="20000"/>
                    <a:lumOff val="80000"/>
                  </a:schemeClr>
                </a:solidFill>
              </a:defRPr>
            </a:lvl1pPr>
          </a:lstStyle>
          <a:p>
            <a:pPr lvl="0"/>
            <a:r>
              <a:rPr lang="en-US" dirty="0"/>
              <a:t>[place icon here. To  remove text, place cursor then hit space bar]</a:t>
            </a:r>
          </a:p>
        </p:txBody>
      </p:sp>
      <p:sp>
        <p:nvSpPr>
          <p:cNvPr id="28" name="Text Placeholder 7"/>
          <p:cNvSpPr>
            <a:spLocks noGrp="1"/>
          </p:cNvSpPr>
          <p:nvPr>
            <p:ph type="body" sz="quarter" idx="16" hasCustomPrompt="1"/>
          </p:nvPr>
        </p:nvSpPr>
        <p:spPr>
          <a:xfrm>
            <a:off x="726439" y="4235594"/>
            <a:ext cx="2494484" cy="1448410"/>
          </a:xfrm>
          <a:solidFill>
            <a:schemeClr val="accent2"/>
          </a:solidFill>
        </p:spPr>
        <p:txBody>
          <a:bodyPr lIns="137160" anchor="ctr"/>
          <a:lstStyle>
            <a:lvl1pPr algn="l">
              <a:lnSpc>
                <a:spcPct val="90000"/>
              </a:lnSpc>
              <a:spcBef>
                <a:spcPts val="0"/>
              </a:spcBef>
              <a:spcAft>
                <a:spcPts val="0"/>
              </a:spcAft>
              <a:defRPr sz="1403">
                <a:solidFill>
                  <a:schemeClr val="tx1">
                    <a:lumMod val="20000"/>
                    <a:lumOff val="80000"/>
                  </a:schemeClr>
                </a:solidFill>
              </a:defRPr>
            </a:lvl1pPr>
          </a:lstStyle>
          <a:p>
            <a:pPr lvl="0"/>
            <a:r>
              <a:rPr lang="en-US" dirty="0"/>
              <a:t>[place icon here. To  remove text, place cursor then hit space bar]</a:t>
            </a:r>
          </a:p>
        </p:txBody>
      </p:sp>
      <p:sp>
        <p:nvSpPr>
          <p:cNvPr id="29" name="Text Placeholder 7"/>
          <p:cNvSpPr>
            <a:spLocks noGrp="1"/>
          </p:cNvSpPr>
          <p:nvPr>
            <p:ph type="body" sz="quarter" idx="17" hasCustomPrompt="1"/>
          </p:nvPr>
        </p:nvSpPr>
        <p:spPr>
          <a:xfrm>
            <a:off x="726439" y="5741052"/>
            <a:ext cx="2494484" cy="1448410"/>
          </a:xfrm>
          <a:solidFill>
            <a:schemeClr val="accent4"/>
          </a:solidFill>
        </p:spPr>
        <p:txBody>
          <a:bodyPr lIns="137160" anchor="ctr"/>
          <a:lstStyle>
            <a:lvl1pPr algn="l">
              <a:lnSpc>
                <a:spcPct val="90000"/>
              </a:lnSpc>
              <a:spcBef>
                <a:spcPts val="0"/>
              </a:spcBef>
              <a:spcAft>
                <a:spcPts val="0"/>
              </a:spcAft>
              <a:defRPr sz="1403">
                <a:solidFill>
                  <a:schemeClr val="tx1">
                    <a:lumMod val="20000"/>
                    <a:lumOff val="80000"/>
                  </a:schemeClr>
                </a:solidFill>
              </a:defRPr>
            </a:lvl1pPr>
          </a:lstStyle>
          <a:p>
            <a:pPr lvl="0"/>
            <a:r>
              <a:rPr lang="en-US" dirty="0"/>
              <a:t>[place icon here. To  remove text, place cursor then hit space bar]</a:t>
            </a:r>
          </a:p>
        </p:txBody>
      </p:sp>
      <p:sp>
        <p:nvSpPr>
          <p:cNvPr id="9" name="Text Placeholder 8"/>
          <p:cNvSpPr>
            <a:spLocks noGrp="1"/>
          </p:cNvSpPr>
          <p:nvPr>
            <p:ph type="body" sz="quarter" idx="18" hasCustomPrompt="1"/>
          </p:nvPr>
        </p:nvSpPr>
        <p:spPr>
          <a:xfrm>
            <a:off x="3343487" y="2730135"/>
            <a:ext cx="13973993" cy="1448410"/>
          </a:xfrm>
        </p:spPr>
        <p:txBody>
          <a:bodyPr/>
          <a:lstStyle>
            <a:lvl1pPr>
              <a:defRPr sz="2295"/>
            </a:lvl1pPr>
            <a:lvl2pPr>
              <a:defRPr sz="2040"/>
            </a:lvl2pPr>
          </a:lstStyle>
          <a:p>
            <a:pPr lvl="0"/>
            <a:r>
              <a:rPr lang="en-US" dirty="0"/>
              <a:t>Level 1 text is 18 pt, hit return then Tab to get to level 2 – 16 pt gray</a:t>
            </a:r>
          </a:p>
          <a:p>
            <a:pPr lvl="1"/>
            <a:r>
              <a:rPr lang="en-US" dirty="0"/>
              <a:t>Second level</a:t>
            </a:r>
          </a:p>
        </p:txBody>
      </p:sp>
      <p:sp>
        <p:nvSpPr>
          <p:cNvPr id="25" name="Text Placeholder 8"/>
          <p:cNvSpPr>
            <a:spLocks noGrp="1"/>
          </p:cNvSpPr>
          <p:nvPr>
            <p:ph type="body" sz="quarter" idx="19" hasCustomPrompt="1"/>
          </p:nvPr>
        </p:nvSpPr>
        <p:spPr>
          <a:xfrm>
            <a:off x="3343487" y="4236176"/>
            <a:ext cx="13973993" cy="1448410"/>
          </a:xfrm>
        </p:spPr>
        <p:txBody>
          <a:bodyPr/>
          <a:lstStyle>
            <a:lvl1pPr>
              <a:defRPr sz="2295"/>
            </a:lvl1pPr>
            <a:lvl2pPr>
              <a:defRPr sz="2040"/>
            </a:lvl2pPr>
          </a:lstStyle>
          <a:p>
            <a:pPr lvl="0"/>
            <a:r>
              <a:rPr lang="en-US" dirty="0"/>
              <a:t>Level 1 text is 18 pt, hit return then Tab to get to level 2 – 16 pt gray</a:t>
            </a:r>
          </a:p>
          <a:p>
            <a:pPr lvl="1"/>
            <a:r>
              <a:rPr lang="en-US" dirty="0"/>
              <a:t>Second level</a:t>
            </a:r>
          </a:p>
        </p:txBody>
      </p:sp>
      <p:sp>
        <p:nvSpPr>
          <p:cNvPr id="26" name="Text Placeholder 8"/>
          <p:cNvSpPr>
            <a:spLocks noGrp="1"/>
          </p:cNvSpPr>
          <p:nvPr>
            <p:ph type="body" sz="quarter" idx="20" hasCustomPrompt="1"/>
          </p:nvPr>
        </p:nvSpPr>
        <p:spPr>
          <a:xfrm>
            <a:off x="3348807" y="5741052"/>
            <a:ext cx="13973993" cy="1448410"/>
          </a:xfrm>
        </p:spPr>
        <p:txBody>
          <a:bodyPr/>
          <a:lstStyle>
            <a:lvl1pPr>
              <a:defRPr sz="2295"/>
            </a:lvl1pPr>
            <a:lvl2pPr>
              <a:defRPr sz="2040"/>
            </a:lvl2pPr>
          </a:lstStyle>
          <a:p>
            <a:pPr lvl="0"/>
            <a:r>
              <a:rPr lang="en-US" dirty="0"/>
              <a:t>Level 1 text is 18 pt, hit return then Tab to get to level 2 – 16 pt gray</a:t>
            </a:r>
          </a:p>
          <a:p>
            <a:pPr lvl="1"/>
            <a:r>
              <a:rPr lang="en-US" dirty="0"/>
              <a:t>Second level</a:t>
            </a:r>
          </a:p>
        </p:txBody>
      </p:sp>
      <p:sp>
        <p:nvSpPr>
          <p:cNvPr id="13" name="Text Placeholder 7"/>
          <p:cNvSpPr>
            <a:spLocks noGrp="1"/>
          </p:cNvSpPr>
          <p:nvPr>
            <p:ph type="body" sz="quarter" idx="21" hasCustomPrompt="1"/>
          </p:nvPr>
        </p:nvSpPr>
        <p:spPr>
          <a:xfrm>
            <a:off x="726439" y="7246509"/>
            <a:ext cx="2494484" cy="1448410"/>
          </a:xfrm>
          <a:solidFill>
            <a:schemeClr val="accent1"/>
          </a:solidFill>
        </p:spPr>
        <p:txBody>
          <a:bodyPr lIns="137160" anchor="ctr"/>
          <a:lstStyle>
            <a:lvl1pPr algn="l">
              <a:lnSpc>
                <a:spcPct val="90000"/>
              </a:lnSpc>
              <a:spcBef>
                <a:spcPts val="0"/>
              </a:spcBef>
              <a:spcAft>
                <a:spcPts val="0"/>
              </a:spcAft>
              <a:defRPr sz="1403">
                <a:solidFill>
                  <a:schemeClr val="tx1">
                    <a:lumMod val="20000"/>
                    <a:lumOff val="80000"/>
                  </a:schemeClr>
                </a:solidFill>
              </a:defRPr>
            </a:lvl1pPr>
          </a:lstStyle>
          <a:p>
            <a:pPr lvl="0"/>
            <a:r>
              <a:rPr lang="en-US" dirty="0"/>
              <a:t>[place icon here. To  remove text, place cursor then hit space bar]</a:t>
            </a:r>
          </a:p>
        </p:txBody>
      </p:sp>
      <p:sp>
        <p:nvSpPr>
          <p:cNvPr id="14" name="Text Placeholder 8"/>
          <p:cNvSpPr>
            <a:spLocks noGrp="1"/>
          </p:cNvSpPr>
          <p:nvPr>
            <p:ph type="body" sz="quarter" idx="22" hasCustomPrompt="1"/>
          </p:nvPr>
        </p:nvSpPr>
        <p:spPr>
          <a:xfrm>
            <a:off x="3348807" y="7245929"/>
            <a:ext cx="13973993" cy="1448410"/>
          </a:xfrm>
        </p:spPr>
        <p:txBody>
          <a:bodyPr/>
          <a:lstStyle>
            <a:lvl1pPr>
              <a:defRPr sz="2295"/>
            </a:lvl1pPr>
            <a:lvl2pPr>
              <a:defRPr sz="2040"/>
            </a:lvl2pPr>
          </a:lstStyle>
          <a:p>
            <a:pPr lvl="0"/>
            <a:r>
              <a:rPr lang="en-US" dirty="0"/>
              <a:t>Level 1 text is 18 pt, hit return then Tab to get to level 2 – 16 pt gray</a:t>
            </a:r>
          </a:p>
          <a:p>
            <a:pPr lvl="1"/>
            <a:r>
              <a:rPr lang="en-US" dirty="0"/>
              <a:t>Second level</a:t>
            </a:r>
          </a:p>
        </p:txBody>
      </p:sp>
    </p:spTree>
    <p:extLst>
      <p:ext uri="{BB962C8B-B14F-4D97-AF65-F5344CB8AC3E}">
        <p14:creationId xmlns:p14="http://schemas.microsoft.com/office/powerpoint/2010/main" val="388134017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5 Row Ico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5 row icon | Type insightful headline in sentence case | 1 line</a:t>
            </a:r>
          </a:p>
        </p:txBody>
      </p:sp>
      <p:sp>
        <p:nvSpPr>
          <p:cNvPr id="3" name="Date Placeholder 2"/>
          <p:cNvSpPr>
            <a:spLocks noGrp="1"/>
          </p:cNvSpPr>
          <p:nvPr>
            <p:ph type="dt" sz="half" idx="10"/>
          </p:nvPr>
        </p:nvSpPr>
        <p:spPr/>
        <p:txBody>
          <a:bodyPr/>
          <a:lstStyle/>
          <a:p>
            <a:fld id="{A22DCA91-730A-AD41-8B76-A4CCC8327D42}" type="datetime1">
              <a:rPr lang="en-US" smtClean="0"/>
              <a:t>4/21/21</a:t>
            </a:fld>
            <a:endParaRPr lang="en-US"/>
          </a:p>
        </p:txBody>
      </p:sp>
      <p:sp>
        <p:nvSpPr>
          <p:cNvPr id="5" name="Slide Number Placeholder 4"/>
          <p:cNvSpPr>
            <a:spLocks noGrp="1"/>
          </p:cNvSpPr>
          <p:nvPr>
            <p:ph type="sldNum" sz="quarter" idx="12"/>
          </p:nvPr>
        </p:nvSpPr>
        <p:spPr/>
        <p:txBody>
          <a:bodyPr/>
          <a:lstStyle/>
          <a:p>
            <a:fld id="{3310D8EA-3107-4873-B9AB-DD7D3E79053A}" type="slidenum">
              <a:rPr lang="en-US" smtClean="0"/>
              <a:t>‹#›</a:t>
            </a:fld>
            <a:endParaRPr lang="en-US"/>
          </a:p>
        </p:txBody>
      </p:sp>
      <p:sp>
        <p:nvSpPr>
          <p:cNvPr id="6" name="Text Placeholder 7"/>
          <p:cNvSpPr>
            <a:spLocks noGrp="1"/>
          </p:cNvSpPr>
          <p:nvPr>
            <p:ph type="body" sz="quarter" idx="13" hasCustomPrompt="1"/>
          </p:nvPr>
        </p:nvSpPr>
        <p:spPr>
          <a:xfrm>
            <a:off x="726439" y="1640149"/>
            <a:ext cx="16596361" cy="721783"/>
          </a:xfrm>
        </p:spPr>
        <p:txBody>
          <a:bodyPr/>
          <a:lstStyle>
            <a:lvl1pPr>
              <a:defRPr sz="3315">
                <a:solidFill>
                  <a:schemeClr val="accent4"/>
                </a:solidFill>
              </a:defRPr>
            </a:lvl1pPr>
          </a:lstStyle>
          <a:p>
            <a:pPr lvl="0"/>
            <a:r>
              <a:rPr lang="en-US" dirty="0"/>
              <a:t>Use this space for one line subhead if needed | One line</a:t>
            </a:r>
          </a:p>
        </p:txBody>
      </p:sp>
      <p:sp>
        <p:nvSpPr>
          <p:cNvPr id="8" name="Text Placeholder 7"/>
          <p:cNvSpPr>
            <a:spLocks noGrp="1"/>
          </p:cNvSpPr>
          <p:nvPr>
            <p:ph type="body" sz="quarter" idx="14" hasCustomPrompt="1"/>
          </p:nvPr>
        </p:nvSpPr>
        <p:spPr>
          <a:xfrm>
            <a:off x="726441" y="2730136"/>
            <a:ext cx="1540691" cy="1126541"/>
          </a:xfrm>
          <a:solidFill>
            <a:schemeClr val="tx2"/>
          </a:solidFill>
        </p:spPr>
        <p:txBody>
          <a:bodyPr lIns="45720" rIns="18288" anchor="ctr"/>
          <a:lstStyle>
            <a:lvl1pPr algn="l">
              <a:lnSpc>
                <a:spcPct val="90000"/>
              </a:lnSpc>
              <a:spcBef>
                <a:spcPts val="0"/>
              </a:spcBef>
              <a:spcAft>
                <a:spcPts val="0"/>
              </a:spcAft>
              <a:defRPr sz="1148">
                <a:solidFill>
                  <a:schemeClr val="tx1">
                    <a:lumMod val="20000"/>
                    <a:lumOff val="80000"/>
                  </a:schemeClr>
                </a:solidFill>
              </a:defRPr>
            </a:lvl1pPr>
          </a:lstStyle>
          <a:p>
            <a:pPr lvl="0"/>
            <a:r>
              <a:rPr lang="en-US" dirty="0"/>
              <a:t>[place icon here. To  remove text, place cursor then hit space bar]</a:t>
            </a:r>
          </a:p>
        </p:txBody>
      </p:sp>
      <p:sp>
        <p:nvSpPr>
          <p:cNvPr id="28" name="Text Placeholder 7"/>
          <p:cNvSpPr>
            <a:spLocks noGrp="1"/>
          </p:cNvSpPr>
          <p:nvPr>
            <p:ph type="body" sz="quarter" idx="16" hasCustomPrompt="1"/>
          </p:nvPr>
        </p:nvSpPr>
        <p:spPr>
          <a:xfrm>
            <a:off x="726441" y="3933425"/>
            <a:ext cx="1540691" cy="1126541"/>
          </a:xfrm>
          <a:solidFill>
            <a:schemeClr val="accent2"/>
          </a:solidFill>
        </p:spPr>
        <p:txBody>
          <a:bodyPr lIns="45720" rIns="18288" anchor="ctr"/>
          <a:lstStyle>
            <a:lvl1pPr algn="l">
              <a:lnSpc>
                <a:spcPct val="90000"/>
              </a:lnSpc>
              <a:spcBef>
                <a:spcPts val="0"/>
              </a:spcBef>
              <a:spcAft>
                <a:spcPts val="0"/>
              </a:spcAft>
              <a:defRPr sz="1148">
                <a:solidFill>
                  <a:schemeClr val="tx1">
                    <a:lumMod val="20000"/>
                    <a:lumOff val="80000"/>
                  </a:schemeClr>
                </a:solidFill>
              </a:defRPr>
            </a:lvl1pPr>
          </a:lstStyle>
          <a:p>
            <a:pPr lvl="0"/>
            <a:r>
              <a:rPr lang="en-US" dirty="0"/>
              <a:t>[place icon here. To  remove text, place cursor then hit space bar]</a:t>
            </a:r>
          </a:p>
        </p:txBody>
      </p:sp>
      <p:sp>
        <p:nvSpPr>
          <p:cNvPr id="29" name="Text Placeholder 7"/>
          <p:cNvSpPr>
            <a:spLocks noGrp="1"/>
          </p:cNvSpPr>
          <p:nvPr>
            <p:ph type="body" sz="quarter" idx="17" hasCustomPrompt="1"/>
          </p:nvPr>
        </p:nvSpPr>
        <p:spPr>
          <a:xfrm>
            <a:off x="726441" y="5136713"/>
            <a:ext cx="1540691" cy="1126541"/>
          </a:xfrm>
          <a:solidFill>
            <a:schemeClr val="accent4"/>
          </a:solidFill>
        </p:spPr>
        <p:txBody>
          <a:bodyPr lIns="45720" rIns="18288" anchor="ctr"/>
          <a:lstStyle>
            <a:lvl1pPr algn="l">
              <a:lnSpc>
                <a:spcPct val="90000"/>
              </a:lnSpc>
              <a:spcBef>
                <a:spcPts val="0"/>
              </a:spcBef>
              <a:spcAft>
                <a:spcPts val="0"/>
              </a:spcAft>
              <a:defRPr sz="1148">
                <a:solidFill>
                  <a:schemeClr val="tx1">
                    <a:lumMod val="20000"/>
                    <a:lumOff val="80000"/>
                  </a:schemeClr>
                </a:solidFill>
              </a:defRPr>
            </a:lvl1pPr>
          </a:lstStyle>
          <a:p>
            <a:pPr lvl="0"/>
            <a:r>
              <a:rPr lang="en-US" dirty="0"/>
              <a:t>[place icon here. To  remove text, place cursor then hit space bar]</a:t>
            </a:r>
          </a:p>
        </p:txBody>
      </p:sp>
      <p:sp>
        <p:nvSpPr>
          <p:cNvPr id="9" name="Text Placeholder 8"/>
          <p:cNvSpPr>
            <a:spLocks noGrp="1"/>
          </p:cNvSpPr>
          <p:nvPr>
            <p:ph type="body" sz="quarter" idx="18" hasCustomPrompt="1"/>
          </p:nvPr>
        </p:nvSpPr>
        <p:spPr>
          <a:xfrm>
            <a:off x="2389537" y="2730136"/>
            <a:ext cx="14927943" cy="1126541"/>
          </a:xfrm>
        </p:spPr>
        <p:txBody>
          <a:bodyPr/>
          <a:lstStyle>
            <a:lvl1pPr>
              <a:defRPr sz="2295"/>
            </a:lvl1pPr>
            <a:lvl2pPr>
              <a:defRPr sz="2040"/>
            </a:lvl2pPr>
          </a:lstStyle>
          <a:p>
            <a:pPr lvl="0"/>
            <a:r>
              <a:rPr lang="en-US" dirty="0"/>
              <a:t>Level 1 text is 18 pt, hit return then Tab to get to level 2 – 16 pt gray</a:t>
            </a:r>
          </a:p>
          <a:p>
            <a:pPr lvl="1"/>
            <a:r>
              <a:rPr lang="en-US" dirty="0"/>
              <a:t>Second level</a:t>
            </a:r>
          </a:p>
        </p:txBody>
      </p:sp>
      <p:sp>
        <p:nvSpPr>
          <p:cNvPr id="25" name="Text Placeholder 8"/>
          <p:cNvSpPr>
            <a:spLocks noGrp="1"/>
          </p:cNvSpPr>
          <p:nvPr>
            <p:ph type="body" sz="quarter" idx="19" hasCustomPrompt="1"/>
          </p:nvPr>
        </p:nvSpPr>
        <p:spPr>
          <a:xfrm>
            <a:off x="2394857" y="3930034"/>
            <a:ext cx="14927943" cy="1126541"/>
          </a:xfrm>
        </p:spPr>
        <p:txBody>
          <a:bodyPr/>
          <a:lstStyle>
            <a:lvl1pPr>
              <a:defRPr sz="2295"/>
            </a:lvl1pPr>
            <a:lvl2pPr>
              <a:defRPr sz="2040"/>
            </a:lvl2pPr>
          </a:lstStyle>
          <a:p>
            <a:pPr lvl="0"/>
            <a:r>
              <a:rPr lang="en-US" dirty="0"/>
              <a:t>Level 1 text is 18 pt, hit return then Tab to get to level 2 – 16 pt gray</a:t>
            </a:r>
          </a:p>
          <a:p>
            <a:pPr lvl="1"/>
            <a:r>
              <a:rPr lang="en-US" dirty="0"/>
              <a:t>Second level</a:t>
            </a:r>
          </a:p>
        </p:txBody>
      </p:sp>
      <p:sp>
        <p:nvSpPr>
          <p:cNvPr id="26" name="Text Placeholder 8"/>
          <p:cNvSpPr>
            <a:spLocks noGrp="1"/>
          </p:cNvSpPr>
          <p:nvPr>
            <p:ph type="body" sz="quarter" idx="20" hasCustomPrompt="1"/>
          </p:nvPr>
        </p:nvSpPr>
        <p:spPr>
          <a:xfrm>
            <a:off x="2394857" y="5129932"/>
            <a:ext cx="14927943" cy="1126541"/>
          </a:xfrm>
        </p:spPr>
        <p:txBody>
          <a:bodyPr/>
          <a:lstStyle>
            <a:lvl1pPr>
              <a:defRPr sz="2295"/>
            </a:lvl1pPr>
            <a:lvl2pPr>
              <a:defRPr sz="2040"/>
            </a:lvl2pPr>
          </a:lstStyle>
          <a:p>
            <a:pPr lvl="0"/>
            <a:r>
              <a:rPr lang="en-US" dirty="0"/>
              <a:t>Level 1 text is 18 pt, hit return then Tab to get to level 2 – 16 pt gray</a:t>
            </a:r>
          </a:p>
          <a:p>
            <a:pPr lvl="1"/>
            <a:r>
              <a:rPr lang="en-US" dirty="0"/>
              <a:t>Second level</a:t>
            </a:r>
          </a:p>
        </p:txBody>
      </p:sp>
      <p:sp>
        <p:nvSpPr>
          <p:cNvPr id="13" name="Text Placeholder 7"/>
          <p:cNvSpPr>
            <a:spLocks noGrp="1"/>
          </p:cNvSpPr>
          <p:nvPr>
            <p:ph type="body" sz="quarter" idx="21" hasCustomPrompt="1"/>
          </p:nvPr>
        </p:nvSpPr>
        <p:spPr>
          <a:xfrm>
            <a:off x="726441" y="6340001"/>
            <a:ext cx="1540691" cy="1126541"/>
          </a:xfrm>
          <a:solidFill>
            <a:schemeClr val="accent1"/>
          </a:solidFill>
        </p:spPr>
        <p:txBody>
          <a:bodyPr lIns="45720" rIns="18288" anchor="ctr"/>
          <a:lstStyle>
            <a:lvl1pPr algn="l">
              <a:lnSpc>
                <a:spcPct val="90000"/>
              </a:lnSpc>
              <a:spcBef>
                <a:spcPts val="0"/>
              </a:spcBef>
              <a:spcAft>
                <a:spcPts val="0"/>
              </a:spcAft>
              <a:defRPr sz="1148">
                <a:solidFill>
                  <a:schemeClr val="tx1">
                    <a:lumMod val="20000"/>
                    <a:lumOff val="80000"/>
                  </a:schemeClr>
                </a:solidFill>
              </a:defRPr>
            </a:lvl1pPr>
          </a:lstStyle>
          <a:p>
            <a:pPr lvl="0"/>
            <a:r>
              <a:rPr lang="en-US" dirty="0"/>
              <a:t>[place icon here. To  remove text, place cursor then hit space bar]</a:t>
            </a:r>
          </a:p>
        </p:txBody>
      </p:sp>
      <p:sp>
        <p:nvSpPr>
          <p:cNvPr id="14" name="Text Placeholder 8"/>
          <p:cNvSpPr>
            <a:spLocks noGrp="1"/>
          </p:cNvSpPr>
          <p:nvPr>
            <p:ph type="body" sz="quarter" idx="22" hasCustomPrompt="1"/>
          </p:nvPr>
        </p:nvSpPr>
        <p:spPr>
          <a:xfrm>
            <a:off x="2389537" y="6329829"/>
            <a:ext cx="14927943" cy="1126541"/>
          </a:xfrm>
        </p:spPr>
        <p:txBody>
          <a:bodyPr/>
          <a:lstStyle>
            <a:lvl1pPr>
              <a:defRPr sz="2295"/>
            </a:lvl1pPr>
            <a:lvl2pPr>
              <a:defRPr sz="2040"/>
            </a:lvl2pPr>
          </a:lstStyle>
          <a:p>
            <a:pPr lvl="0"/>
            <a:r>
              <a:rPr lang="en-US" dirty="0"/>
              <a:t>Level 1 text is 18 pt, hit return then Tab to get to level 2 – 16 pt gray</a:t>
            </a:r>
          </a:p>
          <a:p>
            <a:pPr lvl="1"/>
            <a:r>
              <a:rPr lang="en-US" dirty="0"/>
              <a:t>Second level</a:t>
            </a:r>
          </a:p>
        </p:txBody>
      </p:sp>
      <p:sp>
        <p:nvSpPr>
          <p:cNvPr id="15" name="Text Placeholder 7"/>
          <p:cNvSpPr>
            <a:spLocks noGrp="1"/>
          </p:cNvSpPr>
          <p:nvPr>
            <p:ph type="body" sz="quarter" idx="23" hasCustomPrompt="1"/>
          </p:nvPr>
        </p:nvSpPr>
        <p:spPr>
          <a:xfrm>
            <a:off x="726441" y="7543288"/>
            <a:ext cx="1540691" cy="1126541"/>
          </a:xfrm>
          <a:solidFill>
            <a:srgbClr val="A22B38"/>
          </a:solidFill>
        </p:spPr>
        <p:txBody>
          <a:bodyPr lIns="45720" rIns="18288" anchor="ctr"/>
          <a:lstStyle>
            <a:lvl1pPr algn="l">
              <a:lnSpc>
                <a:spcPct val="90000"/>
              </a:lnSpc>
              <a:spcBef>
                <a:spcPts val="0"/>
              </a:spcBef>
              <a:spcAft>
                <a:spcPts val="0"/>
              </a:spcAft>
              <a:defRPr sz="1148">
                <a:solidFill>
                  <a:schemeClr val="tx1">
                    <a:lumMod val="20000"/>
                    <a:lumOff val="80000"/>
                  </a:schemeClr>
                </a:solidFill>
              </a:defRPr>
            </a:lvl1pPr>
          </a:lstStyle>
          <a:p>
            <a:pPr lvl="0"/>
            <a:r>
              <a:rPr lang="en-US" dirty="0"/>
              <a:t>[place icon here. To  remove text, place cursor then hit space bar]</a:t>
            </a:r>
          </a:p>
        </p:txBody>
      </p:sp>
      <p:sp>
        <p:nvSpPr>
          <p:cNvPr id="16" name="Text Placeholder 8"/>
          <p:cNvSpPr>
            <a:spLocks noGrp="1"/>
          </p:cNvSpPr>
          <p:nvPr>
            <p:ph type="body" sz="quarter" idx="24" hasCustomPrompt="1"/>
          </p:nvPr>
        </p:nvSpPr>
        <p:spPr>
          <a:xfrm>
            <a:off x="2394857" y="7529728"/>
            <a:ext cx="14927943" cy="1126541"/>
          </a:xfrm>
        </p:spPr>
        <p:txBody>
          <a:bodyPr/>
          <a:lstStyle>
            <a:lvl1pPr>
              <a:defRPr sz="2295"/>
            </a:lvl1pPr>
            <a:lvl2pPr>
              <a:defRPr sz="2040"/>
            </a:lvl2pPr>
          </a:lstStyle>
          <a:p>
            <a:pPr lvl="0"/>
            <a:r>
              <a:rPr lang="en-US" dirty="0"/>
              <a:t>Level 1 text is 18 pt, hit return then Tab to get to level 2 – 16 pt gray</a:t>
            </a:r>
          </a:p>
          <a:p>
            <a:pPr lvl="1"/>
            <a:r>
              <a:rPr lang="en-US" dirty="0"/>
              <a:t>Second level</a:t>
            </a:r>
          </a:p>
        </p:txBody>
      </p:sp>
    </p:spTree>
    <p:extLst>
      <p:ext uri="{BB962C8B-B14F-4D97-AF65-F5344CB8AC3E}">
        <p14:creationId xmlns:p14="http://schemas.microsoft.com/office/powerpoint/2010/main" val="56664642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bwMode="gray"/>
        <p:txBody>
          <a:bodyPr/>
          <a:lstStyle/>
          <a:p>
            <a:fld id="{51A3DC56-9734-8F45-A5DA-23BA3AC4A936}" type="datetime1">
              <a:rPr lang="en-US" smtClean="0"/>
              <a:t>4/21/21</a:t>
            </a:fld>
            <a:endParaRPr lang="en-US"/>
          </a:p>
        </p:txBody>
      </p:sp>
      <p:sp>
        <p:nvSpPr>
          <p:cNvPr id="4" name="Slide Number Placeholder 3"/>
          <p:cNvSpPr>
            <a:spLocks noGrp="1"/>
          </p:cNvSpPr>
          <p:nvPr>
            <p:ph type="sldNum" sz="quarter" idx="12"/>
          </p:nvPr>
        </p:nvSpPr>
        <p:spPr bwMode="gray"/>
        <p:txBody>
          <a:bodyPr/>
          <a:lstStyle/>
          <a:p>
            <a:fld id="{3310D8EA-3107-4873-B9AB-DD7D3E79053A}" type="slidenum">
              <a:rPr lang="en-US" smtClean="0"/>
              <a:t>‹#›</a:t>
            </a:fld>
            <a:endParaRPr lang="en-US"/>
          </a:p>
        </p:txBody>
      </p:sp>
      <p:sp>
        <p:nvSpPr>
          <p:cNvPr id="7" name="Text Placeholder 6"/>
          <p:cNvSpPr>
            <a:spLocks noGrp="1"/>
          </p:cNvSpPr>
          <p:nvPr>
            <p:ph type="body" sz="quarter" idx="13" hasCustomPrompt="1"/>
          </p:nvPr>
        </p:nvSpPr>
        <p:spPr bwMode="gray">
          <a:xfrm>
            <a:off x="6619453" y="4364296"/>
            <a:ext cx="4642697" cy="893747"/>
          </a:xfrm>
        </p:spPr>
        <p:txBody>
          <a:bodyPr anchor="ctr"/>
          <a:lstStyle>
            <a:lvl1pPr algn="ctr">
              <a:defRPr>
                <a:solidFill>
                  <a:schemeClr val="accent4"/>
                </a:solidFill>
              </a:defRPr>
            </a:lvl1pPr>
          </a:lstStyle>
          <a:p>
            <a:pPr lvl="0"/>
            <a:r>
              <a:rPr lang="en-US" dirty="0"/>
              <a:t>[blank]</a:t>
            </a:r>
          </a:p>
        </p:txBody>
      </p:sp>
      <p:pic>
        <p:nvPicPr>
          <p:cNvPr id="9" name="Picture 8">
            <a:extLst>
              <a:ext uri="{FF2B5EF4-FFF2-40B4-BE49-F238E27FC236}">
                <a16:creationId xmlns:a16="http://schemas.microsoft.com/office/drawing/2014/main" id="{7CA2E36E-0880-4ED1-941C-15199A0FA8E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7994" t="18631" r="7973" b="19012"/>
          <a:stretch/>
        </p:blipFill>
        <p:spPr>
          <a:xfrm>
            <a:off x="575833" y="9186271"/>
            <a:ext cx="2091110" cy="651982"/>
          </a:xfrm>
          <a:prstGeom prst="rect">
            <a:avLst/>
          </a:prstGeom>
        </p:spPr>
      </p:pic>
    </p:spTree>
    <p:extLst>
      <p:ext uri="{BB962C8B-B14F-4D97-AF65-F5344CB8AC3E}">
        <p14:creationId xmlns:p14="http://schemas.microsoft.com/office/powerpoint/2010/main" val="183281866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p:cSld name="Closing Slide">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9384CC8E-C163-4D27-8E8B-087072A6A50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950962" y="3352799"/>
            <a:ext cx="7979680" cy="3352807"/>
          </a:xfrm>
          <a:prstGeom prst="rect">
            <a:avLst/>
          </a:prstGeom>
        </p:spPr>
      </p:pic>
      <p:sp>
        <p:nvSpPr>
          <p:cNvPr id="2" name="Date Placeholder 1"/>
          <p:cNvSpPr>
            <a:spLocks noGrp="1"/>
          </p:cNvSpPr>
          <p:nvPr>
            <p:ph type="dt" sz="half" idx="10"/>
          </p:nvPr>
        </p:nvSpPr>
        <p:spPr bwMode="gray"/>
        <p:txBody>
          <a:bodyPr/>
          <a:lstStyle/>
          <a:p>
            <a:fld id="{F079C128-4385-F346-B9A2-B7516B5A986E}" type="datetime1">
              <a:rPr lang="en-US" smtClean="0"/>
              <a:t>4/21/21</a:t>
            </a:fld>
            <a:endParaRPr lang="en-US"/>
          </a:p>
        </p:txBody>
      </p:sp>
      <p:sp>
        <p:nvSpPr>
          <p:cNvPr id="4" name="Slide Number Placeholder 3"/>
          <p:cNvSpPr>
            <a:spLocks noGrp="1"/>
          </p:cNvSpPr>
          <p:nvPr>
            <p:ph type="sldNum" sz="quarter" idx="12"/>
          </p:nvPr>
        </p:nvSpPr>
        <p:spPr bwMode="gray"/>
        <p:txBody>
          <a:bodyPr/>
          <a:lstStyle/>
          <a:p>
            <a:fld id="{3310D8EA-3107-4873-B9AB-DD7D3E79053A}" type="slidenum">
              <a:rPr lang="en-US" smtClean="0"/>
              <a:t>‹#›</a:t>
            </a:fld>
            <a:endParaRPr lang="en-US"/>
          </a:p>
        </p:txBody>
      </p:sp>
    </p:spTree>
    <p:extLst>
      <p:ext uri="{BB962C8B-B14F-4D97-AF65-F5344CB8AC3E}">
        <p14:creationId xmlns:p14="http://schemas.microsoft.com/office/powerpoint/2010/main" val="384063826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Closing / Thank You">
    <p:spTree>
      <p:nvGrpSpPr>
        <p:cNvPr id="1" name=""/>
        <p:cNvGrpSpPr/>
        <p:nvPr/>
      </p:nvGrpSpPr>
      <p:grpSpPr>
        <a:xfrm>
          <a:off x="0" y="0"/>
          <a:ext cx="0" cy="0"/>
          <a:chOff x="0" y="0"/>
          <a:chExt cx="0" cy="0"/>
        </a:xfrm>
      </p:grpSpPr>
      <p:sp>
        <p:nvSpPr>
          <p:cNvPr id="4" name="TextBox 3"/>
          <p:cNvSpPr txBox="1"/>
          <p:nvPr/>
        </p:nvSpPr>
        <p:spPr bwMode="gray">
          <a:xfrm>
            <a:off x="726440" y="3718078"/>
            <a:ext cx="3880871" cy="941796"/>
          </a:xfrm>
          <a:prstGeom prst="rect">
            <a:avLst/>
          </a:prstGeom>
          <a:noFill/>
        </p:spPr>
        <p:txBody>
          <a:bodyPr wrap="none" lIns="0" tIns="0" rIns="0" bIns="0" rtlCol="0">
            <a:spAutoFit/>
          </a:bodyPr>
          <a:lstStyle/>
          <a:p>
            <a:r>
              <a:rPr lang="en-US" sz="6120" dirty="0"/>
              <a:t>Thank you.</a:t>
            </a:r>
          </a:p>
        </p:txBody>
      </p:sp>
      <p:sp>
        <p:nvSpPr>
          <p:cNvPr id="13" name="TextBox 12"/>
          <p:cNvSpPr txBox="1"/>
          <p:nvPr/>
        </p:nvSpPr>
        <p:spPr bwMode="gray">
          <a:xfrm>
            <a:off x="726440" y="3718078"/>
            <a:ext cx="3880871" cy="941796"/>
          </a:xfrm>
          <a:prstGeom prst="rect">
            <a:avLst/>
          </a:prstGeom>
          <a:noFill/>
        </p:spPr>
        <p:txBody>
          <a:bodyPr wrap="none" lIns="0" tIns="0" rIns="0" bIns="0" rtlCol="0">
            <a:spAutoFit/>
          </a:bodyPr>
          <a:lstStyle/>
          <a:p>
            <a:r>
              <a:rPr lang="en-US" sz="6120" dirty="0"/>
              <a:t>Thank you.</a:t>
            </a:r>
          </a:p>
        </p:txBody>
      </p:sp>
      <p:sp>
        <p:nvSpPr>
          <p:cNvPr id="15" name="TextBox 14"/>
          <p:cNvSpPr txBox="1"/>
          <p:nvPr/>
        </p:nvSpPr>
        <p:spPr bwMode="gray">
          <a:xfrm>
            <a:off x="726440" y="3718078"/>
            <a:ext cx="3880871" cy="941796"/>
          </a:xfrm>
          <a:prstGeom prst="rect">
            <a:avLst/>
          </a:prstGeom>
          <a:noFill/>
        </p:spPr>
        <p:txBody>
          <a:bodyPr wrap="none" lIns="0" tIns="0" rIns="0" bIns="0" rtlCol="0">
            <a:spAutoFit/>
          </a:bodyPr>
          <a:lstStyle/>
          <a:p>
            <a:r>
              <a:rPr lang="en-US" sz="6120" dirty="0"/>
              <a:t>Thank you!</a:t>
            </a:r>
          </a:p>
        </p:txBody>
      </p:sp>
      <p:sp>
        <p:nvSpPr>
          <p:cNvPr id="23" name="Rectangle 22">
            <a:extLst>
              <a:ext uri="{FF2B5EF4-FFF2-40B4-BE49-F238E27FC236}">
                <a16:creationId xmlns:a16="http://schemas.microsoft.com/office/drawing/2014/main" id="{ECF35A84-66E1-4F72-848D-DB6EF4825F09}"/>
              </a:ext>
            </a:extLst>
          </p:cNvPr>
          <p:cNvSpPr/>
          <p:nvPr/>
        </p:nvSpPr>
        <p:spPr bwMode="gray">
          <a:xfrm>
            <a:off x="11734801" y="0"/>
            <a:ext cx="6146800" cy="100584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28602" tIns="182881" rIns="228602" bIns="182881" numCol="1" spcCol="0" rtlCol="0" fromWordArt="0" anchor="t" anchorCtr="0" forceAA="0" compatLnSpc="1">
            <a:prstTxWarp prst="textNoShape">
              <a:avLst/>
            </a:prstTxWarp>
            <a:noAutofit/>
          </a:bodyPr>
          <a:lstStyle/>
          <a:p>
            <a:pPr algn="ctr" defTabSz="1165600" fontAlgn="base">
              <a:lnSpc>
                <a:spcPct val="90000"/>
              </a:lnSpc>
              <a:spcBef>
                <a:spcPct val="0"/>
              </a:spcBef>
              <a:spcAft>
                <a:spcPct val="0"/>
              </a:spcAft>
            </a:pPr>
            <a:endParaRPr lang="en-US" sz="3060" dirty="0" err="1">
              <a:gradFill>
                <a:gsLst>
                  <a:gs pos="0">
                    <a:srgbClr val="FFFFFF"/>
                  </a:gs>
                  <a:gs pos="100000">
                    <a:srgbClr val="FFFFFF"/>
                  </a:gs>
                </a:gsLst>
                <a:lin ang="5400000" scaled="0"/>
              </a:gradFill>
              <a:ea typeface="Segoe UI" pitchFamily="34" charset="0"/>
              <a:cs typeface="Arial" panose="020B0604020202020204" pitchFamily="34" charset="0"/>
            </a:endParaRPr>
          </a:p>
        </p:txBody>
      </p:sp>
      <p:sp>
        <p:nvSpPr>
          <p:cNvPr id="25" name="Rectangle 24">
            <a:extLst>
              <a:ext uri="{FF2B5EF4-FFF2-40B4-BE49-F238E27FC236}">
                <a16:creationId xmlns:a16="http://schemas.microsoft.com/office/drawing/2014/main" id="{C3AAB011-BE67-4CF8-9EF1-35D61D12B95A}"/>
              </a:ext>
            </a:extLst>
          </p:cNvPr>
          <p:cNvSpPr/>
          <p:nvPr userDrawn="1"/>
        </p:nvSpPr>
        <p:spPr bwMode="gray">
          <a:xfrm>
            <a:off x="11734801" y="0"/>
            <a:ext cx="6146800" cy="100584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28602" tIns="182881" rIns="228602" bIns="182881" numCol="1" spcCol="0" rtlCol="0" fromWordArt="0" anchor="t" anchorCtr="0" forceAA="0" compatLnSpc="1">
            <a:prstTxWarp prst="textNoShape">
              <a:avLst/>
            </a:prstTxWarp>
            <a:noAutofit/>
          </a:bodyPr>
          <a:lstStyle/>
          <a:p>
            <a:pPr algn="ctr" defTabSz="1165600" fontAlgn="base">
              <a:lnSpc>
                <a:spcPct val="90000"/>
              </a:lnSpc>
              <a:spcBef>
                <a:spcPct val="0"/>
              </a:spcBef>
              <a:spcAft>
                <a:spcPct val="0"/>
              </a:spcAft>
            </a:pPr>
            <a:endParaRPr lang="en-US" sz="3060" dirty="0" err="1">
              <a:gradFill>
                <a:gsLst>
                  <a:gs pos="0">
                    <a:srgbClr val="FFFFFF"/>
                  </a:gs>
                  <a:gs pos="100000">
                    <a:srgbClr val="FFFFFF"/>
                  </a:gs>
                </a:gsLst>
                <a:lin ang="5400000" scaled="0"/>
              </a:gradFill>
              <a:ea typeface="Segoe UI" pitchFamily="34" charset="0"/>
              <a:cs typeface="Arial" panose="020B0604020202020204" pitchFamily="34" charset="0"/>
            </a:endParaRPr>
          </a:p>
        </p:txBody>
      </p:sp>
      <p:pic>
        <p:nvPicPr>
          <p:cNvPr id="26" name="Picture 25">
            <a:extLst>
              <a:ext uri="{FF2B5EF4-FFF2-40B4-BE49-F238E27FC236}">
                <a16:creationId xmlns:a16="http://schemas.microsoft.com/office/drawing/2014/main" id="{575566DA-C2EA-4020-A279-586AEBF51D51}"/>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7994" t="18631" r="7973" b="19012"/>
          <a:stretch/>
        </p:blipFill>
        <p:spPr>
          <a:xfrm>
            <a:off x="575833" y="9186271"/>
            <a:ext cx="2091110" cy="651982"/>
          </a:xfrm>
          <a:prstGeom prst="rect">
            <a:avLst/>
          </a:prstGeom>
        </p:spPr>
      </p:pic>
    </p:spTree>
    <p:extLst>
      <p:ext uri="{BB962C8B-B14F-4D97-AF65-F5344CB8AC3E}">
        <p14:creationId xmlns:p14="http://schemas.microsoft.com/office/powerpoint/2010/main" val="180289488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wo Content, 2 subhead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Type insightful headline in sentence case | One line</a:t>
            </a:r>
          </a:p>
        </p:txBody>
      </p:sp>
      <p:sp>
        <p:nvSpPr>
          <p:cNvPr id="3" name="Content Placeholder 2"/>
          <p:cNvSpPr>
            <a:spLocks noGrp="1"/>
          </p:cNvSpPr>
          <p:nvPr>
            <p:ph sz="half" idx="1" hasCustomPrompt="1"/>
          </p:nvPr>
        </p:nvSpPr>
        <p:spPr>
          <a:xfrm>
            <a:off x="726439" y="2677585"/>
            <a:ext cx="8102601" cy="5983817"/>
          </a:xfrm>
        </p:spPr>
        <p:txBody>
          <a:bodyPr/>
          <a:lstStyle>
            <a:lvl1pPr>
              <a:defRPr/>
            </a:lvl1pPr>
          </a:lstStyle>
          <a:p>
            <a:pPr lvl="0"/>
            <a:r>
              <a:rPr lang="en-US" dirty="0"/>
              <a:t>Click to type text. To change text formatting (approved color, size, bullets), place cursor at beginning of text/line and hit Tab or Shift Tab. Click icon for chart or tabl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hasCustomPrompt="1"/>
          </p:nvPr>
        </p:nvSpPr>
        <p:spPr>
          <a:xfrm>
            <a:off x="9052561" y="2677585"/>
            <a:ext cx="8302172" cy="5983817"/>
          </a:xfrm>
        </p:spPr>
        <p:txBody>
          <a:bodyPr/>
          <a:lstStyle>
            <a:lvl1pPr>
              <a:defRPr/>
            </a:lvl1pPr>
          </a:lstStyle>
          <a:p>
            <a:pPr lvl="0"/>
            <a:r>
              <a:rPr lang="en-US" dirty="0"/>
              <a:t>Click to type text. To change text formatting (approved color, size, bullets), place cursor at beginning of text/line and hit Tab or Shift Tab. Click icon for chart or tabl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Date Placeholder 4"/>
          <p:cNvSpPr>
            <a:spLocks noGrp="1"/>
          </p:cNvSpPr>
          <p:nvPr>
            <p:ph type="dt" sz="half" idx="10"/>
          </p:nvPr>
        </p:nvSpPr>
        <p:spPr/>
        <p:txBody>
          <a:bodyPr/>
          <a:lstStyle/>
          <a:p>
            <a:fld id="{932E9F45-202C-9B49-8A22-BE127BEE04E2}" type="datetime1">
              <a:rPr lang="en-US" smtClean="0"/>
              <a:t>4/21/21</a:t>
            </a:fld>
            <a:endParaRPr lang="en-US"/>
          </a:p>
        </p:txBody>
      </p:sp>
      <p:sp>
        <p:nvSpPr>
          <p:cNvPr id="7" name="Slide Number Placeholder 6"/>
          <p:cNvSpPr>
            <a:spLocks noGrp="1"/>
          </p:cNvSpPr>
          <p:nvPr>
            <p:ph type="sldNum" sz="quarter" idx="12"/>
          </p:nvPr>
        </p:nvSpPr>
        <p:spPr/>
        <p:txBody>
          <a:bodyPr/>
          <a:lstStyle/>
          <a:p>
            <a:fld id="{3310D8EA-3107-4873-B9AB-DD7D3E79053A}" type="slidenum">
              <a:rPr lang="en-US" smtClean="0"/>
              <a:t>‹#›</a:t>
            </a:fld>
            <a:endParaRPr lang="en-US"/>
          </a:p>
        </p:txBody>
      </p:sp>
      <p:sp>
        <p:nvSpPr>
          <p:cNvPr id="9" name="Text Placeholder 2"/>
          <p:cNvSpPr>
            <a:spLocks noGrp="1"/>
          </p:cNvSpPr>
          <p:nvPr>
            <p:ph type="body" idx="13" hasCustomPrompt="1"/>
          </p:nvPr>
        </p:nvSpPr>
        <p:spPr>
          <a:xfrm>
            <a:off x="726441" y="1640149"/>
            <a:ext cx="8070004" cy="721783"/>
          </a:xfrm>
        </p:spPr>
        <p:txBody>
          <a:bodyPr anchor="t"/>
          <a:lstStyle>
            <a:lvl1pPr marL="0" indent="0">
              <a:buNone/>
              <a:defRPr sz="3315" b="0">
                <a:solidFill>
                  <a:schemeClr val="accent4"/>
                </a:solidFill>
              </a:defRPr>
            </a:lvl1pPr>
            <a:lvl2pPr marL="582930" indent="0">
              <a:buNone/>
              <a:defRPr sz="2550" b="1"/>
            </a:lvl2pPr>
            <a:lvl3pPr marL="1165860" indent="0">
              <a:buNone/>
              <a:defRPr sz="2295" b="1"/>
            </a:lvl3pPr>
            <a:lvl4pPr marL="1748790" indent="0">
              <a:buNone/>
              <a:defRPr sz="2040" b="1"/>
            </a:lvl4pPr>
            <a:lvl5pPr marL="2331720" indent="0">
              <a:buNone/>
              <a:defRPr sz="2040" b="1"/>
            </a:lvl5pPr>
            <a:lvl6pPr marL="2914650" indent="0">
              <a:buNone/>
              <a:defRPr sz="2040" b="1"/>
            </a:lvl6pPr>
            <a:lvl7pPr marL="3497580" indent="0">
              <a:buNone/>
              <a:defRPr sz="2040" b="1"/>
            </a:lvl7pPr>
            <a:lvl8pPr marL="4080510" indent="0">
              <a:buNone/>
              <a:defRPr sz="2040" b="1"/>
            </a:lvl8pPr>
            <a:lvl9pPr marL="4663440" indent="0">
              <a:buNone/>
              <a:defRPr sz="2040" b="1"/>
            </a:lvl9pPr>
          </a:lstStyle>
          <a:p>
            <a:pPr lvl="0"/>
            <a:r>
              <a:rPr lang="en-US" dirty="0"/>
              <a:t>Short subhead</a:t>
            </a:r>
          </a:p>
        </p:txBody>
      </p:sp>
      <p:sp>
        <p:nvSpPr>
          <p:cNvPr id="10" name="Text Placeholder 4"/>
          <p:cNvSpPr>
            <a:spLocks noGrp="1"/>
          </p:cNvSpPr>
          <p:nvPr>
            <p:ph type="body" sz="quarter" idx="3" hasCustomPrompt="1"/>
          </p:nvPr>
        </p:nvSpPr>
        <p:spPr>
          <a:xfrm>
            <a:off x="9052560" y="1640149"/>
            <a:ext cx="8270240" cy="721783"/>
          </a:xfrm>
        </p:spPr>
        <p:txBody>
          <a:bodyPr anchor="t"/>
          <a:lstStyle>
            <a:lvl1pPr marL="0" indent="0">
              <a:buNone/>
              <a:defRPr sz="3315" b="0">
                <a:solidFill>
                  <a:schemeClr val="accent4"/>
                </a:solidFill>
              </a:defRPr>
            </a:lvl1pPr>
            <a:lvl2pPr marL="582930" indent="0">
              <a:buNone/>
              <a:defRPr sz="2550" b="1"/>
            </a:lvl2pPr>
            <a:lvl3pPr marL="1165860" indent="0">
              <a:buNone/>
              <a:defRPr sz="2295" b="1"/>
            </a:lvl3pPr>
            <a:lvl4pPr marL="1748790" indent="0">
              <a:buNone/>
              <a:defRPr sz="2040" b="1"/>
            </a:lvl4pPr>
            <a:lvl5pPr marL="2331720" indent="0">
              <a:buNone/>
              <a:defRPr sz="2040" b="1"/>
            </a:lvl5pPr>
            <a:lvl6pPr marL="2914650" indent="0">
              <a:buNone/>
              <a:defRPr sz="2040" b="1"/>
            </a:lvl6pPr>
            <a:lvl7pPr marL="3497580" indent="0">
              <a:buNone/>
              <a:defRPr sz="2040" b="1"/>
            </a:lvl7pPr>
            <a:lvl8pPr marL="4080510" indent="0">
              <a:buNone/>
              <a:defRPr sz="2040" b="1"/>
            </a:lvl8pPr>
            <a:lvl9pPr marL="4663440" indent="0">
              <a:buNone/>
              <a:defRPr sz="2040" b="1"/>
            </a:lvl9pPr>
          </a:lstStyle>
          <a:p>
            <a:pPr lvl="0"/>
            <a:r>
              <a:rPr lang="en-US" dirty="0"/>
              <a:t>Short subhead</a:t>
            </a:r>
          </a:p>
        </p:txBody>
      </p:sp>
    </p:spTree>
    <p:extLst>
      <p:ext uri="{BB962C8B-B14F-4D97-AF65-F5344CB8AC3E}">
        <p14:creationId xmlns:p14="http://schemas.microsoft.com/office/powerpoint/2010/main" val="70746259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cSld name="Full Page - Blue">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BFB18392-0FDE-4A9D-8675-682554B980EC}"/>
              </a:ext>
            </a:extLst>
          </p:cNvPr>
          <p:cNvSpPr/>
          <p:nvPr userDrawn="1"/>
        </p:nvSpPr>
        <p:spPr>
          <a:xfrm>
            <a:off x="0" y="0"/>
            <a:ext cx="17881600" cy="201168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5484"/>
          </a:p>
        </p:txBody>
      </p:sp>
      <p:sp>
        <p:nvSpPr>
          <p:cNvPr id="2" name="Title 1">
            <a:extLst>
              <a:ext uri="{FF2B5EF4-FFF2-40B4-BE49-F238E27FC236}">
                <a16:creationId xmlns:a16="http://schemas.microsoft.com/office/drawing/2014/main" id="{927E40C9-7517-4B2D-AAB7-5F2E4A6EF518}"/>
              </a:ext>
            </a:extLst>
          </p:cNvPr>
          <p:cNvSpPr>
            <a:spLocks noGrp="1"/>
          </p:cNvSpPr>
          <p:nvPr>
            <p:ph type="title" hasCustomPrompt="1"/>
          </p:nvPr>
        </p:nvSpPr>
        <p:spPr/>
        <p:txBody>
          <a:bodyPr/>
          <a:lstStyle>
            <a:lvl1pPr>
              <a:defRPr/>
            </a:lvl1pPr>
          </a:lstStyle>
          <a:p>
            <a:r>
              <a:rPr lang="en-US" dirty="0"/>
              <a:t>Arial Bold 36pt</a:t>
            </a:r>
          </a:p>
        </p:txBody>
      </p:sp>
      <p:sp>
        <p:nvSpPr>
          <p:cNvPr id="4" name="Content Placeholder 3">
            <a:extLst>
              <a:ext uri="{FF2B5EF4-FFF2-40B4-BE49-F238E27FC236}">
                <a16:creationId xmlns:a16="http://schemas.microsoft.com/office/drawing/2014/main" id="{9636DBF8-2606-48AE-B144-B248B9B846AE}"/>
              </a:ext>
            </a:extLst>
          </p:cNvPr>
          <p:cNvSpPr>
            <a:spLocks noGrp="1"/>
          </p:cNvSpPr>
          <p:nvPr>
            <p:ph sz="quarter" idx="10" hasCustomPrompt="1"/>
          </p:nvPr>
        </p:nvSpPr>
        <p:spPr>
          <a:xfrm>
            <a:off x="1376884" y="2749296"/>
            <a:ext cx="15610636" cy="6415024"/>
          </a:xfrm>
        </p:spPr>
        <p:txBody>
          <a:bodyPr/>
          <a:lstStyle>
            <a:lvl1pPr>
              <a:defRPr/>
            </a:lvl1pPr>
            <a:lvl2pPr>
              <a:defRPr/>
            </a:lvl2pPr>
            <a:lvl3pPr>
              <a:defRPr/>
            </a:lvl3pPr>
            <a:lvl4pPr>
              <a:defRPr/>
            </a:lvl4pPr>
            <a:lvl5pPr>
              <a:defRPr/>
            </a:lvl5pPr>
          </a:lstStyle>
          <a:p>
            <a:pPr lvl="0"/>
            <a:r>
              <a:rPr lang="en-US" dirty="0"/>
              <a:t>Arial 24pt </a:t>
            </a:r>
          </a:p>
          <a:p>
            <a:pPr lvl="1"/>
            <a:r>
              <a:rPr lang="en-US" dirty="0"/>
              <a:t>Arial 24pt </a:t>
            </a:r>
          </a:p>
          <a:p>
            <a:pPr lvl="2"/>
            <a:r>
              <a:rPr lang="en-US" dirty="0"/>
              <a:t>Arial 20pt </a:t>
            </a:r>
          </a:p>
          <a:p>
            <a:pPr lvl="3"/>
            <a:r>
              <a:rPr lang="en-US" dirty="0"/>
              <a:t>Arial 20pt </a:t>
            </a:r>
          </a:p>
          <a:p>
            <a:pPr lvl="4"/>
            <a:r>
              <a:rPr lang="en-US" dirty="0"/>
              <a:t>Arial 20pt </a:t>
            </a:r>
          </a:p>
        </p:txBody>
      </p:sp>
      <p:sp>
        <p:nvSpPr>
          <p:cNvPr id="5" name="Slide Number Placeholder 4">
            <a:extLst>
              <a:ext uri="{FF2B5EF4-FFF2-40B4-BE49-F238E27FC236}">
                <a16:creationId xmlns:a16="http://schemas.microsoft.com/office/drawing/2014/main" id="{F838042B-8F0F-4283-A029-A5A4A27BE0DD}"/>
              </a:ext>
            </a:extLst>
          </p:cNvPr>
          <p:cNvSpPr>
            <a:spLocks noGrp="1"/>
          </p:cNvSpPr>
          <p:nvPr>
            <p:ph type="sldNum" sz="quarter" idx="11"/>
          </p:nvPr>
        </p:nvSpPr>
        <p:spPr/>
        <p:txBody>
          <a:bodyPr/>
          <a:lstStyle/>
          <a:p>
            <a:fld id="{6575370D-4E78-C44F-8DB3-41D140BF8DE9}" type="slidenum">
              <a:rPr lang="en-US" smtClean="0"/>
              <a:pPr/>
              <a:t>‹#›</a:t>
            </a:fld>
            <a:endParaRPr lang="en-US" dirty="0"/>
          </a:p>
        </p:txBody>
      </p:sp>
    </p:spTree>
    <p:extLst>
      <p:ext uri="{BB962C8B-B14F-4D97-AF65-F5344CB8AC3E}">
        <p14:creationId xmlns:p14="http://schemas.microsoft.com/office/powerpoint/2010/main" val="151629593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2 Column - Blue">
    <p:spTree>
      <p:nvGrpSpPr>
        <p:cNvPr id="1" name=""/>
        <p:cNvGrpSpPr/>
        <p:nvPr/>
      </p:nvGrpSpPr>
      <p:grpSpPr>
        <a:xfrm>
          <a:off x="0" y="0"/>
          <a:ext cx="0" cy="0"/>
          <a:chOff x="0" y="0"/>
          <a:chExt cx="0" cy="0"/>
        </a:xfrm>
      </p:grpSpPr>
      <p:sp>
        <p:nvSpPr>
          <p:cNvPr id="10" name="Content Placeholder 9">
            <a:extLst>
              <a:ext uri="{FF2B5EF4-FFF2-40B4-BE49-F238E27FC236}">
                <a16:creationId xmlns:a16="http://schemas.microsoft.com/office/drawing/2014/main" id="{DDB5CC5C-F030-4724-81FA-33C3B9159A30}"/>
              </a:ext>
            </a:extLst>
          </p:cNvPr>
          <p:cNvSpPr>
            <a:spLocks noGrp="1"/>
          </p:cNvSpPr>
          <p:nvPr>
            <p:ph sz="quarter" idx="13" hasCustomPrompt="1"/>
          </p:nvPr>
        </p:nvSpPr>
        <p:spPr>
          <a:xfrm>
            <a:off x="9471663" y="2738123"/>
            <a:ext cx="6935329" cy="6079279"/>
          </a:xfrm>
        </p:spPr>
        <p:txBody>
          <a:bodyPr/>
          <a:lstStyle>
            <a:lvl1pPr>
              <a:defRPr/>
            </a:lvl1pPr>
            <a:lvl2pPr>
              <a:defRPr/>
            </a:lvl2pPr>
            <a:lvl3pPr>
              <a:defRPr/>
            </a:lvl3pPr>
            <a:lvl4pPr>
              <a:defRPr/>
            </a:lvl4pPr>
            <a:lvl5pPr>
              <a:defRPr/>
            </a:lvl5pPr>
          </a:lstStyle>
          <a:p>
            <a:pPr lvl="0"/>
            <a:r>
              <a:rPr lang="en-US" dirty="0"/>
              <a:t>Arial 24pt </a:t>
            </a:r>
          </a:p>
          <a:p>
            <a:pPr lvl="1"/>
            <a:r>
              <a:rPr lang="en-US" dirty="0"/>
              <a:t>Arial 24pt </a:t>
            </a:r>
          </a:p>
          <a:p>
            <a:pPr lvl="2"/>
            <a:r>
              <a:rPr lang="en-US" dirty="0"/>
              <a:t>Arial 20pt </a:t>
            </a:r>
          </a:p>
          <a:p>
            <a:pPr lvl="3"/>
            <a:r>
              <a:rPr lang="en-US" dirty="0"/>
              <a:t>Arial 20pt </a:t>
            </a:r>
          </a:p>
          <a:p>
            <a:pPr lvl="4"/>
            <a:r>
              <a:rPr lang="en-US" dirty="0"/>
              <a:t>Arial 20pt </a:t>
            </a:r>
          </a:p>
        </p:txBody>
      </p:sp>
      <p:sp>
        <p:nvSpPr>
          <p:cNvPr id="14" name="Content Placeholder 9">
            <a:extLst>
              <a:ext uri="{FF2B5EF4-FFF2-40B4-BE49-F238E27FC236}">
                <a16:creationId xmlns:a16="http://schemas.microsoft.com/office/drawing/2014/main" id="{EB30387D-7E51-4F68-8F96-43BFBF86D0D5}"/>
              </a:ext>
            </a:extLst>
          </p:cNvPr>
          <p:cNvSpPr>
            <a:spLocks noGrp="1"/>
          </p:cNvSpPr>
          <p:nvPr>
            <p:ph sz="quarter" idx="14" hasCustomPrompt="1"/>
          </p:nvPr>
        </p:nvSpPr>
        <p:spPr>
          <a:xfrm>
            <a:off x="1341120" y="2738123"/>
            <a:ext cx="7604201" cy="6111864"/>
          </a:xfrm>
        </p:spPr>
        <p:txBody>
          <a:bodyPr/>
          <a:lstStyle>
            <a:lvl1pPr>
              <a:defRPr/>
            </a:lvl1pPr>
            <a:lvl2pPr>
              <a:defRPr/>
            </a:lvl2pPr>
            <a:lvl3pPr>
              <a:defRPr/>
            </a:lvl3pPr>
            <a:lvl4pPr>
              <a:defRPr/>
            </a:lvl4pPr>
            <a:lvl5pPr>
              <a:defRPr/>
            </a:lvl5pPr>
          </a:lstStyle>
          <a:p>
            <a:pPr lvl="0"/>
            <a:r>
              <a:rPr lang="en-US" dirty="0"/>
              <a:t>Arial 24pt </a:t>
            </a:r>
          </a:p>
          <a:p>
            <a:pPr lvl="1"/>
            <a:r>
              <a:rPr lang="en-US" dirty="0"/>
              <a:t>Arial 24pt </a:t>
            </a:r>
          </a:p>
          <a:p>
            <a:pPr lvl="2"/>
            <a:r>
              <a:rPr lang="en-US" dirty="0"/>
              <a:t>Arial 20pt </a:t>
            </a:r>
          </a:p>
          <a:p>
            <a:pPr lvl="3"/>
            <a:r>
              <a:rPr lang="en-US" dirty="0"/>
              <a:t>Arial 20pt </a:t>
            </a:r>
          </a:p>
          <a:p>
            <a:pPr lvl="4"/>
            <a:r>
              <a:rPr lang="en-US" dirty="0"/>
              <a:t>Arial 20pt </a:t>
            </a:r>
          </a:p>
        </p:txBody>
      </p:sp>
      <p:sp>
        <p:nvSpPr>
          <p:cNvPr id="7" name="Rectangle 6">
            <a:extLst>
              <a:ext uri="{FF2B5EF4-FFF2-40B4-BE49-F238E27FC236}">
                <a16:creationId xmlns:a16="http://schemas.microsoft.com/office/drawing/2014/main" id="{BD4E6F08-3FBF-486D-9237-EECD97B54844}"/>
              </a:ext>
            </a:extLst>
          </p:cNvPr>
          <p:cNvSpPr/>
          <p:nvPr userDrawn="1"/>
        </p:nvSpPr>
        <p:spPr>
          <a:xfrm>
            <a:off x="0" y="0"/>
            <a:ext cx="17881600" cy="201168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5484"/>
          </a:p>
        </p:txBody>
      </p:sp>
      <p:graphicFrame>
        <p:nvGraphicFramePr>
          <p:cNvPr id="11" name="Object 10" hidden="1">
            <a:extLst>
              <a:ext uri="{FF2B5EF4-FFF2-40B4-BE49-F238E27FC236}">
                <a16:creationId xmlns:a16="http://schemas.microsoft.com/office/drawing/2014/main" id="{45240704-9DD9-4D59-BBFF-411FC9AAEC40}"/>
              </a:ext>
            </a:extLst>
          </p:cNvPr>
          <p:cNvGraphicFramePr>
            <a:graphicFrameLocks noChangeAspect="1"/>
          </p:cNvGraphicFramePr>
          <p:nvPr>
            <p:custDataLst>
              <p:tags r:id="rId2"/>
            </p:custDataLst>
          </p:nvPr>
        </p:nvGraphicFramePr>
        <p:xfrm>
          <a:off x="3108" y="2332"/>
          <a:ext cx="3104" cy="2327"/>
        </p:xfrm>
        <a:graphic>
          <a:graphicData uri="http://schemas.openxmlformats.org/presentationml/2006/ole">
            <mc:AlternateContent xmlns:mc="http://schemas.openxmlformats.org/markup-compatibility/2006">
              <mc:Choice xmlns:v="urn:schemas-microsoft-com:vml" Requires="v">
                <p:oleObj spid="_x0000_s1478" name="think-cell Slide" r:id="rId4" imgW="408" imgH="408" progId="TCLayout.ActiveDocument.1">
                  <p:embed/>
                </p:oleObj>
              </mc:Choice>
              <mc:Fallback>
                <p:oleObj name="think-cell Slide" r:id="rId4" imgW="408" imgH="408" progId="TCLayout.ActiveDocument.1">
                  <p:embed/>
                  <p:pic>
                    <p:nvPicPr>
                      <p:cNvPr id="0" name=""/>
                      <p:cNvPicPr/>
                      <p:nvPr/>
                    </p:nvPicPr>
                    <p:blipFill>
                      <a:blip r:embed="rId5"/>
                      <a:stretch>
                        <a:fillRect/>
                      </a:stretch>
                    </p:blipFill>
                    <p:spPr>
                      <a:xfrm>
                        <a:off x="3108" y="2332"/>
                        <a:ext cx="3104" cy="2327"/>
                      </a:xfrm>
                      <a:prstGeom prst="rect">
                        <a:avLst/>
                      </a:prstGeom>
                    </p:spPr>
                  </p:pic>
                </p:oleObj>
              </mc:Fallback>
            </mc:AlternateContent>
          </a:graphicData>
        </a:graphic>
      </p:graphicFrame>
      <p:sp>
        <p:nvSpPr>
          <p:cNvPr id="8" name="Title 1"/>
          <p:cNvSpPr>
            <a:spLocks noGrp="1"/>
          </p:cNvSpPr>
          <p:nvPr>
            <p:ph type="title" hasCustomPrompt="1"/>
          </p:nvPr>
        </p:nvSpPr>
        <p:spPr>
          <a:xfrm>
            <a:off x="1353986" y="736598"/>
            <a:ext cx="15633538" cy="930301"/>
          </a:xfrm>
          <a:prstGeom prst="rect">
            <a:avLst/>
          </a:prstGeom>
        </p:spPr>
        <p:txBody>
          <a:bodyPr vert="horz" lIns="0" rIns="0" anchor="ctr"/>
          <a:lstStyle>
            <a:lvl1pPr>
              <a:defRPr sz="6120" b="1" i="0">
                <a:solidFill>
                  <a:schemeClr val="bg1"/>
                </a:solidFill>
                <a:latin typeface="+mj-lt"/>
                <a:cs typeface="Arial"/>
              </a:defRPr>
            </a:lvl1pPr>
          </a:lstStyle>
          <a:p>
            <a:r>
              <a:rPr lang="en-US" dirty="0"/>
              <a:t>Arial Bold 36pt</a:t>
            </a:r>
          </a:p>
        </p:txBody>
      </p:sp>
      <p:sp>
        <p:nvSpPr>
          <p:cNvPr id="2" name="Slide Number Placeholder 1">
            <a:extLst>
              <a:ext uri="{FF2B5EF4-FFF2-40B4-BE49-F238E27FC236}">
                <a16:creationId xmlns:a16="http://schemas.microsoft.com/office/drawing/2014/main" id="{A5D6A73B-A327-4304-AE2F-3414E47D3E62}"/>
              </a:ext>
            </a:extLst>
          </p:cNvPr>
          <p:cNvSpPr>
            <a:spLocks noGrp="1"/>
          </p:cNvSpPr>
          <p:nvPr>
            <p:ph type="sldNum" sz="quarter" idx="12"/>
          </p:nvPr>
        </p:nvSpPr>
        <p:spPr/>
        <p:txBody>
          <a:bodyPr/>
          <a:lstStyle/>
          <a:p>
            <a:fld id="{6575370D-4E78-C44F-8DB3-41D140BF8DE9}" type="slidenum">
              <a:rPr lang="en-US" smtClean="0"/>
              <a:pPr/>
              <a:t>‹#›</a:t>
            </a:fld>
            <a:endParaRPr lang="en-US" dirty="0"/>
          </a:p>
        </p:txBody>
      </p:sp>
    </p:spTree>
    <p:extLst>
      <p:ext uri="{BB962C8B-B14F-4D97-AF65-F5344CB8AC3E}">
        <p14:creationId xmlns:p14="http://schemas.microsoft.com/office/powerpoint/2010/main" val="158072451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Title and content 1">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Slide Number Placeholder 2"/>
          <p:cNvSpPr>
            <a:spLocks noGrp="1"/>
          </p:cNvSpPr>
          <p:nvPr>
            <p:ph type="sldNum" sz="quarter" idx="10"/>
          </p:nvPr>
        </p:nvSpPr>
        <p:spPr/>
        <p:txBody>
          <a:bodyPr/>
          <a:lstStyle/>
          <a:p>
            <a:pPr algn="r"/>
            <a:fld id="{F18F5FCC-583C-47C6-9953-2F6AD74D46AE}" type="slidenum">
              <a:rPr lang="en-US" smtClean="0"/>
              <a:pPr algn="r"/>
              <a:t>‹#›</a:t>
            </a:fld>
            <a:endParaRPr lang="en-US" dirty="0"/>
          </a:p>
        </p:txBody>
      </p:sp>
      <p:sp>
        <p:nvSpPr>
          <p:cNvPr id="5" name="Text Placeholder 4"/>
          <p:cNvSpPr>
            <a:spLocks noGrp="1"/>
          </p:cNvSpPr>
          <p:nvPr>
            <p:ph type="body" sz="quarter" idx="11"/>
          </p:nvPr>
        </p:nvSpPr>
        <p:spPr>
          <a:xfrm>
            <a:off x="894081" y="1986069"/>
            <a:ext cx="16428720" cy="7029238"/>
          </a:xfrm>
        </p:spPr>
        <p:txBody>
          <a:bodyPr/>
          <a:lstStyle>
            <a:lvl2pPr marL="251466" indent="-251466">
              <a:defRPr/>
            </a:lvl2pPr>
            <a:lvl3pPr marL="591410" indent="-242152">
              <a:defRPr/>
            </a:lvl3pPr>
            <a:lvl4pPr marL="922041" indent="-251466">
              <a:defRPr/>
            </a:lvl4pPr>
            <a:lvl5pPr marL="1341150" indent="-33296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6" name="Straight Connector 5"/>
          <p:cNvCxnSpPr/>
          <p:nvPr userDrawn="1"/>
        </p:nvCxnSpPr>
        <p:spPr>
          <a:xfrm>
            <a:off x="894081" y="1564640"/>
            <a:ext cx="16428720" cy="0"/>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662145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840003" y="391311"/>
            <a:ext cx="15812236" cy="1198126"/>
          </a:xfrm>
        </p:spPr>
        <p:txBody>
          <a:bodyPr/>
          <a:lstStyle/>
          <a:p>
            <a:r>
              <a:rPr lang="en-US"/>
              <a:t>Click to edit Master title style</a:t>
            </a:r>
          </a:p>
        </p:txBody>
      </p:sp>
      <p:sp>
        <p:nvSpPr>
          <p:cNvPr id="3" name="Content Placeholder 2"/>
          <p:cNvSpPr>
            <a:spLocks noGrp="1"/>
          </p:cNvSpPr>
          <p:nvPr>
            <p:ph idx="1"/>
          </p:nvPr>
        </p:nvSpPr>
        <p:spPr>
          <a:xfrm>
            <a:off x="840003" y="2075209"/>
            <a:ext cx="15812238" cy="69843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lvl1pPr>
              <a:defRPr/>
            </a:lvl1pPr>
          </a:lstStyle>
          <a:p>
            <a:fld id="{2345656E-1A58-2949-9BF0-BFF03A6A0871}" type="slidenum">
              <a:rPr lang="en-US" smtClean="0"/>
              <a:pPr/>
              <a:t>‹#›</a:t>
            </a:fld>
            <a:endParaRPr lang="en-US" dirty="0"/>
          </a:p>
        </p:txBody>
      </p:sp>
      <p:sp>
        <p:nvSpPr>
          <p:cNvPr id="7" name="Rectangle 6"/>
          <p:cNvSpPr/>
          <p:nvPr userDrawn="1"/>
        </p:nvSpPr>
        <p:spPr>
          <a:xfrm>
            <a:off x="0" y="1697621"/>
            <a:ext cx="17881600" cy="228970"/>
          </a:xfrm>
          <a:prstGeom prst="rect">
            <a:avLst/>
          </a:prstGeom>
          <a:gradFill flip="none" rotWithShape="1">
            <a:gsLst>
              <a:gs pos="0">
                <a:schemeClr val="accent2"/>
              </a:gs>
              <a:gs pos="100000">
                <a:schemeClr val="bg1"/>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084"/>
          </a:p>
        </p:txBody>
      </p:sp>
    </p:spTree>
    <p:extLst>
      <p:ext uri="{BB962C8B-B14F-4D97-AF65-F5344CB8AC3E}">
        <p14:creationId xmlns:p14="http://schemas.microsoft.com/office/powerpoint/2010/main" val="104741813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userDrawn="1">
  <p:cSld name="Graph Background">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stretch>
            <a:fillRect/>
          </a:stretch>
        </p:blipFill>
        <p:spPr>
          <a:xfrm>
            <a:off x="0" y="0"/>
            <a:ext cx="17881600" cy="10058400"/>
          </a:xfrm>
          <a:prstGeom prst="rect">
            <a:avLst/>
          </a:prstGeom>
        </p:spPr>
      </p:pic>
    </p:spTree>
    <p:extLst>
      <p:ext uri="{BB962C8B-B14F-4D97-AF65-F5344CB8AC3E}">
        <p14:creationId xmlns:p14="http://schemas.microsoft.com/office/powerpoint/2010/main" val="1232576276"/>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cSld name="2_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Type insightful headline in sentence case | One line</a:t>
            </a:r>
          </a:p>
        </p:txBody>
      </p:sp>
      <p:sp>
        <p:nvSpPr>
          <p:cNvPr id="3" name="Content Placeholder 2"/>
          <p:cNvSpPr>
            <a:spLocks noGrp="1"/>
          </p:cNvSpPr>
          <p:nvPr>
            <p:ph idx="1" hasCustomPrompt="1"/>
          </p:nvPr>
        </p:nvSpPr>
        <p:spPr/>
        <p:txBody>
          <a:bodyPr/>
          <a:lstStyle>
            <a:lvl1pPr>
              <a:defRPr/>
            </a:lvl1pPr>
          </a:lstStyle>
          <a:p>
            <a:pPr lvl="0"/>
            <a:r>
              <a:rPr lang="en-US"/>
              <a:t>Click to type text. To change text formatting (approved color, size, bullets),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59B9B12D-92C4-3B43-B1D8-9965D43BF638}" type="datetime1">
              <a:rPr lang="en-US" smtClean="0"/>
              <a:t>4/21/21</a:t>
            </a:fld>
            <a:endParaRPr lang="en-US"/>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3310D8EA-3107-4873-B9AB-DD7D3E79053A}" type="slidenum">
              <a:rPr lang="en-US" smtClean="0"/>
              <a:t>‹#›</a:t>
            </a:fld>
            <a:endParaRPr lang="en-US"/>
          </a:p>
        </p:txBody>
      </p:sp>
      <p:sp>
        <p:nvSpPr>
          <p:cNvPr id="8" name="Text Placeholder 7"/>
          <p:cNvSpPr>
            <a:spLocks noGrp="1"/>
          </p:cNvSpPr>
          <p:nvPr>
            <p:ph type="body" sz="quarter" idx="13" hasCustomPrompt="1"/>
          </p:nvPr>
        </p:nvSpPr>
        <p:spPr>
          <a:xfrm>
            <a:off x="726440" y="1640148"/>
            <a:ext cx="16596360" cy="721783"/>
          </a:xfrm>
        </p:spPr>
        <p:txBody>
          <a:bodyPr/>
          <a:lstStyle>
            <a:lvl1pPr>
              <a:defRPr sz="3813">
                <a:solidFill>
                  <a:schemeClr val="accent4"/>
                </a:solidFill>
              </a:defRPr>
            </a:lvl1pPr>
          </a:lstStyle>
          <a:p>
            <a:pPr lvl="0"/>
            <a:r>
              <a:rPr lang="en-US"/>
              <a:t>Use this space for one line subhead if needed | One line</a:t>
            </a:r>
          </a:p>
        </p:txBody>
      </p:sp>
    </p:spTree>
    <p:extLst>
      <p:ext uri="{BB962C8B-B14F-4D97-AF65-F5344CB8AC3E}">
        <p14:creationId xmlns:p14="http://schemas.microsoft.com/office/powerpoint/2010/main" val="94625837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x">
  <p:cSld name="Title and body">
    <p:spTree>
      <p:nvGrpSpPr>
        <p:cNvPr id="1" name="Shape 16"/>
        <p:cNvGrpSpPr/>
        <p:nvPr/>
      </p:nvGrpSpPr>
      <p:grpSpPr>
        <a:xfrm>
          <a:off x="0" y="0"/>
          <a:ext cx="0" cy="0"/>
          <a:chOff x="0" y="0"/>
          <a:chExt cx="0" cy="0"/>
        </a:xfrm>
      </p:grpSpPr>
      <p:sp>
        <p:nvSpPr>
          <p:cNvPr id="17" name="Shape 17"/>
          <p:cNvSpPr txBox="1">
            <a:spLocks noGrp="1"/>
          </p:cNvSpPr>
          <p:nvPr>
            <p:ph type="title"/>
          </p:nvPr>
        </p:nvSpPr>
        <p:spPr>
          <a:xfrm>
            <a:off x="609547" y="764256"/>
            <a:ext cx="16662507" cy="812533"/>
          </a:xfrm>
          <a:prstGeom prst="rect">
            <a:avLst/>
          </a:prstGeom>
        </p:spPr>
        <p:txBody>
          <a:bodyPr wrap="square" lIns="91425" tIns="91425" rIns="91425" bIns="91425" anchor="t" anchorCtr="0"/>
          <a:lstStyle>
            <a:lvl1pPr lvl="0">
              <a:spcBef>
                <a:spcPts val="0"/>
              </a:spcBef>
              <a:buSzPts val="2800"/>
              <a:buNone/>
              <a:defRPr/>
            </a:lvl1pPr>
            <a:lvl2pPr lvl="1">
              <a:spcBef>
                <a:spcPts val="0"/>
              </a:spcBef>
              <a:buSzPts val="2800"/>
              <a:buNone/>
              <a:defRPr/>
            </a:lvl2pPr>
            <a:lvl3pPr lvl="2">
              <a:spcBef>
                <a:spcPts val="0"/>
              </a:spcBef>
              <a:buSzPts val="2800"/>
              <a:buNone/>
              <a:defRPr/>
            </a:lvl3pPr>
            <a:lvl4pPr lvl="3">
              <a:spcBef>
                <a:spcPts val="0"/>
              </a:spcBef>
              <a:buSzPts val="2800"/>
              <a:buNone/>
              <a:defRPr/>
            </a:lvl4pPr>
            <a:lvl5pPr lvl="4">
              <a:spcBef>
                <a:spcPts val="0"/>
              </a:spcBef>
              <a:buSzPts val="2800"/>
              <a:buNone/>
              <a:defRPr/>
            </a:lvl5pPr>
            <a:lvl6pPr lvl="5">
              <a:spcBef>
                <a:spcPts val="0"/>
              </a:spcBef>
              <a:buSzPts val="2800"/>
              <a:buNone/>
              <a:defRPr/>
            </a:lvl6pPr>
            <a:lvl7pPr lvl="6">
              <a:spcBef>
                <a:spcPts val="0"/>
              </a:spcBef>
              <a:buSzPts val="2800"/>
              <a:buNone/>
              <a:defRPr/>
            </a:lvl7pPr>
            <a:lvl8pPr lvl="7">
              <a:spcBef>
                <a:spcPts val="0"/>
              </a:spcBef>
              <a:buSzPts val="2800"/>
              <a:buNone/>
              <a:defRPr/>
            </a:lvl8pPr>
            <a:lvl9pPr lvl="8">
              <a:spcBef>
                <a:spcPts val="0"/>
              </a:spcBef>
              <a:buSzPts val="2800"/>
              <a:buNone/>
              <a:defRPr/>
            </a:lvl9pPr>
          </a:lstStyle>
          <a:p>
            <a:endParaRPr/>
          </a:p>
        </p:txBody>
      </p:sp>
      <p:sp>
        <p:nvSpPr>
          <p:cNvPr id="18" name="Shape 18"/>
          <p:cNvSpPr txBox="1">
            <a:spLocks noGrp="1"/>
          </p:cNvSpPr>
          <p:nvPr>
            <p:ph type="body" idx="1"/>
          </p:nvPr>
        </p:nvSpPr>
        <p:spPr>
          <a:xfrm>
            <a:off x="609547" y="2253729"/>
            <a:ext cx="16662507" cy="6680960"/>
          </a:xfrm>
          <a:prstGeom prst="rect">
            <a:avLst/>
          </a:prstGeom>
        </p:spPr>
        <p:txBody>
          <a:bodyPr wrap="square" lIns="91425" tIns="91425" rIns="91425" bIns="91425" anchor="t" anchorCtr="0"/>
          <a:lstStyle>
            <a:lvl1pPr lvl="0">
              <a:spcBef>
                <a:spcPts val="0"/>
              </a:spcBef>
              <a:buSzPts val="1800"/>
              <a:buChar char="●"/>
              <a:defRPr/>
            </a:lvl1pPr>
            <a:lvl2pPr lvl="1">
              <a:spcBef>
                <a:spcPts val="0"/>
              </a:spcBef>
              <a:buSzPts val="1400"/>
              <a:buChar char="○"/>
              <a:defRPr/>
            </a:lvl2pPr>
            <a:lvl3pPr lvl="2">
              <a:spcBef>
                <a:spcPts val="0"/>
              </a:spcBef>
              <a:buSzPts val="1400"/>
              <a:buChar char="■"/>
              <a:defRPr/>
            </a:lvl3pPr>
            <a:lvl4pPr lvl="3">
              <a:spcBef>
                <a:spcPts val="0"/>
              </a:spcBef>
              <a:buSzPts val="1400"/>
              <a:buChar char="●"/>
              <a:defRPr/>
            </a:lvl4pPr>
            <a:lvl5pPr lvl="4">
              <a:spcBef>
                <a:spcPts val="0"/>
              </a:spcBef>
              <a:buSzPts val="1400"/>
              <a:buChar char="○"/>
              <a:defRPr/>
            </a:lvl5pPr>
            <a:lvl6pPr lvl="5">
              <a:spcBef>
                <a:spcPts val="0"/>
              </a:spcBef>
              <a:buSzPts val="1400"/>
              <a:buChar char="■"/>
              <a:defRPr/>
            </a:lvl6pPr>
            <a:lvl7pPr lvl="6">
              <a:spcBef>
                <a:spcPts val="0"/>
              </a:spcBef>
              <a:buSzPts val="1400"/>
              <a:buChar char="●"/>
              <a:defRPr/>
            </a:lvl7pPr>
            <a:lvl8pPr lvl="7">
              <a:spcBef>
                <a:spcPts val="0"/>
              </a:spcBef>
              <a:buSzPts val="1400"/>
              <a:buChar char="○"/>
              <a:defRPr/>
            </a:lvl8pPr>
            <a:lvl9pPr lvl="8">
              <a:spcBef>
                <a:spcPts val="0"/>
              </a:spcBef>
              <a:buSzPts val="1400"/>
              <a:buChar char="■"/>
              <a:defRPr/>
            </a:lvl9pPr>
          </a:lstStyle>
          <a:p>
            <a:endParaRPr dirty="0"/>
          </a:p>
        </p:txBody>
      </p:sp>
      <p:sp>
        <p:nvSpPr>
          <p:cNvPr id="19" name="Shape 19"/>
          <p:cNvSpPr txBox="1">
            <a:spLocks noGrp="1"/>
          </p:cNvSpPr>
          <p:nvPr>
            <p:ph type="sldNum" idx="12"/>
          </p:nvPr>
        </p:nvSpPr>
        <p:spPr>
          <a:xfrm>
            <a:off x="16199040" y="8934690"/>
            <a:ext cx="1073013" cy="769707"/>
          </a:xfrm>
          <a:prstGeom prst="rect">
            <a:avLst/>
          </a:prstGeom>
        </p:spPr>
        <p:txBody>
          <a:bodyPr wrap="square" lIns="91425" tIns="91425" rIns="91425" bIns="91425" anchor="ctr" anchorCtr="0">
            <a:noAutofit/>
          </a:bodyPr>
          <a:lstStyle/>
          <a:p>
            <a:fld id="{00000000-1234-1234-1234-123412341234}" type="slidenum">
              <a:rPr lang="en" smtClean="0"/>
              <a:pPr/>
              <a:t>‹#›</a:t>
            </a:fld>
            <a:endParaRPr lang="en"/>
          </a:p>
        </p:txBody>
      </p:sp>
    </p:spTree>
    <p:extLst>
      <p:ext uri="{BB962C8B-B14F-4D97-AF65-F5344CB8AC3E}">
        <p14:creationId xmlns:p14="http://schemas.microsoft.com/office/powerpoint/2010/main" val="291009748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cSld name="3_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Type insightful headline in sentence case | One line</a:t>
            </a:r>
          </a:p>
        </p:txBody>
      </p:sp>
      <p:sp>
        <p:nvSpPr>
          <p:cNvPr id="3" name="Content Placeholder 2"/>
          <p:cNvSpPr>
            <a:spLocks noGrp="1"/>
          </p:cNvSpPr>
          <p:nvPr>
            <p:ph idx="1" hasCustomPrompt="1"/>
          </p:nvPr>
        </p:nvSpPr>
        <p:spPr/>
        <p:txBody>
          <a:bodyPr/>
          <a:lstStyle>
            <a:lvl1pPr>
              <a:defRPr/>
            </a:lvl1pPr>
            <a:lvl2pPr marL="295273" indent="-295273">
              <a:buSzPct val="110000"/>
              <a:tabLst/>
              <a:defRPr/>
            </a:lvl2pPr>
            <a:lvl3pPr marL="747710" indent="-339724">
              <a:buFont typeface="Arial" charset="0"/>
              <a:buChar char="•"/>
              <a:tabLst/>
              <a:defRPr/>
            </a:lvl3pPr>
            <a:lvl4pPr marL="915985" indent="-395286">
              <a:tabLst/>
              <a:defRPr/>
            </a:lvl4pPr>
            <a:lvl5pPr marL="1028696" indent="-338136">
              <a:tabLst/>
              <a:defRPr/>
            </a:lvl5pPr>
          </a:lstStyle>
          <a:p>
            <a:pPr lvl="0"/>
            <a:r>
              <a:rPr lang="en-US" dirty="0"/>
              <a:t>Click to type text. To change text formatting (approved color, size, bullets), place cursor at beginning of text/line and hit Tab or Shift Tab. Click icon for chart or tabl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p>
            <a:fld id="{F47D634C-B5A4-6A40-9F15-9A867C828214}" type="datetime1">
              <a:rPr lang="en-US" smtClean="0"/>
              <a:t>4/21/21</a:t>
            </a:fld>
            <a:endParaRPr lang="en-US"/>
          </a:p>
        </p:txBody>
      </p:sp>
      <p:sp>
        <p:nvSpPr>
          <p:cNvPr id="6" name="Slide Number Placeholder 5"/>
          <p:cNvSpPr>
            <a:spLocks noGrp="1"/>
          </p:cNvSpPr>
          <p:nvPr>
            <p:ph type="sldNum" sz="quarter" idx="12"/>
          </p:nvPr>
        </p:nvSpPr>
        <p:spPr/>
        <p:txBody>
          <a:bodyPr/>
          <a:lstStyle/>
          <a:p>
            <a:fld id="{3310D8EA-3107-4873-B9AB-DD7D3E79053A}" type="slidenum">
              <a:rPr lang="en-US" smtClean="0"/>
              <a:t>‹#›</a:t>
            </a:fld>
            <a:endParaRPr lang="en-US"/>
          </a:p>
        </p:txBody>
      </p:sp>
      <p:sp>
        <p:nvSpPr>
          <p:cNvPr id="8" name="Text Placeholder 7"/>
          <p:cNvSpPr>
            <a:spLocks noGrp="1"/>
          </p:cNvSpPr>
          <p:nvPr>
            <p:ph type="body" sz="quarter" idx="13" hasCustomPrompt="1"/>
          </p:nvPr>
        </p:nvSpPr>
        <p:spPr>
          <a:xfrm>
            <a:off x="726440" y="1640149"/>
            <a:ext cx="16596360" cy="721783"/>
          </a:xfrm>
        </p:spPr>
        <p:txBody>
          <a:bodyPr/>
          <a:lstStyle>
            <a:lvl1pPr>
              <a:defRPr sz="3315">
                <a:solidFill>
                  <a:schemeClr val="accent4"/>
                </a:solidFill>
              </a:defRPr>
            </a:lvl1pPr>
          </a:lstStyle>
          <a:p>
            <a:pPr lvl="0"/>
            <a:r>
              <a:rPr lang="en-US" dirty="0"/>
              <a:t>Use this space for one line subhead if needed | One line</a:t>
            </a:r>
          </a:p>
        </p:txBody>
      </p:sp>
    </p:spTree>
    <p:extLst>
      <p:ext uri="{BB962C8B-B14F-4D97-AF65-F5344CB8AC3E}">
        <p14:creationId xmlns:p14="http://schemas.microsoft.com/office/powerpoint/2010/main" val="103302523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cSld name="4_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Type insightful headline in sentence case | One line</a:t>
            </a:r>
          </a:p>
        </p:txBody>
      </p:sp>
      <p:sp>
        <p:nvSpPr>
          <p:cNvPr id="3" name="Content Placeholder 2"/>
          <p:cNvSpPr>
            <a:spLocks noGrp="1"/>
          </p:cNvSpPr>
          <p:nvPr>
            <p:ph idx="1" hasCustomPrompt="1"/>
          </p:nvPr>
        </p:nvSpPr>
        <p:spPr/>
        <p:txBody>
          <a:bodyPr/>
          <a:lstStyle>
            <a:lvl1pPr>
              <a:defRPr/>
            </a:lvl1pPr>
            <a:lvl2pPr marL="295273" indent="-295273">
              <a:buSzPct val="110000"/>
              <a:tabLst/>
              <a:defRPr/>
            </a:lvl2pPr>
            <a:lvl3pPr marL="747710" indent="-339724">
              <a:buFont typeface="Arial" charset="0"/>
              <a:buChar char="•"/>
              <a:tabLst/>
              <a:defRPr/>
            </a:lvl3pPr>
            <a:lvl4pPr marL="915985" indent="-395286">
              <a:tabLst/>
              <a:defRPr/>
            </a:lvl4pPr>
            <a:lvl5pPr marL="1028696" indent="-338136">
              <a:tabLst/>
              <a:defRPr/>
            </a:lvl5pPr>
          </a:lstStyle>
          <a:p>
            <a:pPr lvl="0"/>
            <a:r>
              <a:rPr lang="en-US" dirty="0"/>
              <a:t>Click to type text. To change text formatting (approved color, size, bullets), place cursor at beginning of text/line and hit Tab or Shift Tab. Click icon for chart or tabl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p>
            <a:fld id="{F47D634C-B5A4-6A40-9F15-9A867C828214}" type="datetime1">
              <a:rPr lang="en-US" smtClean="0"/>
              <a:t>4/21/21</a:t>
            </a:fld>
            <a:endParaRPr lang="en-US"/>
          </a:p>
        </p:txBody>
      </p:sp>
      <p:sp>
        <p:nvSpPr>
          <p:cNvPr id="6" name="Slide Number Placeholder 5"/>
          <p:cNvSpPr>
            <a:spLocks noGrp="1"/>
          </p:cNvSpPr>
          <p:nvPr>
            <p:ph type="sldNum" sz="quarter" idx="12"/>
          </p:nvPr>
        </p:nvSpPr>
        <p:spPr/>
        <p:txBody>
          <a:bodyPr/>
          <a:lstStyle/>
          <a:p>
            <a:fld id="{3310D8EA-3107-4873-B9AB-DD7D3E79053A}" type="slidenum">
              <a:rPr lang="en-US" smtClean="0"/>
              <a:t>‹#›</a:t>
            </a:fld>
            <a:endParaRPr lang="en-US"/>
          </a:p>
        </p:txBody>
      </p:sp>
      <p:sp>
        <p:nvSpPr>
          <p:cNvPr id="8" name="Text Placeholder 7"/>
          <p:cNvSpPr>
            <a:spLocks noGrp="1"/>
          </p:cNvSpPr>
          <p:nvPr>
            <p:ph type="body" sz="quarter" idx="13" hasCustomPrompt="1"/>
          </p:nvPr>
        </p:nvSpPr>
        <p:spPr>
          <a:xfrm>
            <a:off x="726440" y="1640149"/>
            <a:ext cx="16596360" cy="721783"/>
          </a:xfrm>
        </p:spPr>
        <p:txBody>
          <a:bodyPr/>
          <a:lstStyle>
            <a:lvl1pPr>
              <a:defRPr sz="3315">
                <a:solidFill>
                  <a:schemeClr val="accent4"/>
                </a:solidFill>
              </a:defRPr>
            </a:lvl1pPr>
          </a:lstStyle>
          <a:p>
            <a:pPr lvl="0"/>
            <a:r>
              <a:rPr lang="en-US" dirty="0"/>
              <a:t>Use this space for one line subhead if needed | One line</a:t>
            </a:r>
          </a:p>
        </p:txBody>
      </p:sp>
    </p:spTree>
    <p:extLst>
      <p:ext uri="{BB962C8B-B14F-4D97-AF65-F5344CB8AC3E}">
        <p14:creationId xmlns:p14="http://schemas.microsoft.com/office/powerpoint/2010/main" val="3717683294"/>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Walkin Business Layout">
    <p:spTree>
      <p:nvGrpSpPr>
        <p:cNvPr id="1" name=""/>
        <p:cNvGrpSpPr/>
        <p:nvPr/>
      </p:nvGrpSpPr>
      <p:grpSpPr>
        <a:xfrm>
          <a:off x="0" y="0"/>
          <a:ext cx="0" cy="0"/>
          <a:chOff x="0" y="0"/>
          <a:chExt cx="0" cy="0"/>
        </a:xfrm>
      </p:grpSpPr>
      <p:grpSp>
        <p:nvGrpSpPr>
          <p:cNvPr id="9" name="Group 8"/>
          <p:cNvGrpSpPr/>
          <p:nvPr/>
        </p:nvGrpSpPr>
        <p:grpSpPr bwMode="gray">
          <a:xfrm>
            <a:off x="0" y="-342"/>
            <a:ext cx="17881600" cy="10067705"/>
            <a:chOff x="0" y="-233"/>
            <a:chExt cx="9144000" cy="5148258"/>
          </a:xfrm>
        </p:grpSpPr>
        <p:pic>
          <p:nvPicPr>
            <p:cNvPr id="7" name="Picture 6"/>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bwMode="gray">
            <a:xfrm>
              <a:off x="0" y="0"/>
              <a:ext cx="9144000" cy="5148025"/>
            </a:xfrm>
            <a:prstGeom prst="rect">
              <a:avLst/>
            </a:prstGeom>
          </p:spPr>
        </p:pic>
        <p:sp>
          <p:nvSpPr>
            <p:cNvPr id="8" name="Rectangle 7"/>
            <p:cNvSpPr/>
            <p:nvPr/>
          </p:nvSpPr>
          <p:spPr bwMode="gray">
            <a:xfrm>
              <a:off x="0" y="-233"/>
              <a:ext cx="8337772" cy="5143734"/>
            </a:xfrm>
            <a:prstGeom prst="rect">
              <a:avLst/>
            </a:prstGeom>
            <a:gradFill flip="none" rotWithShape="1">
              <a:gsLst>
                <a:gs pos="0">
                  <a:srgbClr val="FFFFFF"/>
                </a:gs>
                <a:gs pos="71000">
                  <a:srgbClr val="FFFFFF">
                    <a:alpha val="75000"/>
                  </a:srgbClr>
                </a:gs>
                <a:gs pos="100000">
                  <a:srgbClr val="FFFFFF">
                    <a:alpha val="0"/>
                  </a:srgbClr>
                </a:gs>
              </a:gsLst>
              <a:lin ang="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3" rIns="0" bIns="45723" numCol="1" rtlCol="0" anchor="ctr" anchorCtr="0" compatLnSpc="1">
              <a:prstTxWarp prst="textNoShape">
                <a:avLst/>
              </a:prstTxWarp>
            </a:bodyPr>
            <a:lstStyle/>
            <a:p>
              <a:pPr algn="ctr" defTabSz="1340851" fontAlgn="base">
                <a:spcBef>
                  <a:spcPct val="0"/>
                </a:spcBef>
                <a:spcAft>
                  <a:spcPct val="0"/>
                </a:spcAft>
              </a:pPr>
              <a:endParaRPr lang="en-US" sz="2933">
                <a:gradFill>
                  <a:gsLst>
                    <a:gs pos="0">
                      <a:srgbClr val="FFFFFF"/>
                    </a:gs>
                    <a:gs pos="100000">
                      <a:srgbClr val="FFFFFF"/>
                    </a:gs>
                  </a:gsLst>
                  <a:lin ang="5400000" scaled="0"/>
                </a:gradFill>
              </a:endParaRPr>
            </a:p>
          </p:txBody>
        </p:sp>
      </p:grpSp>
      <p:sp>
        <p:nvSpPr>
          <p:cNvPr id="2" name="Title 1"/>
          <p:cNvSpPr>
            <a:spLocks noGrp="1"/>
          </p:cNvSpPr>
          <p:nvPr>
            <p:ph type="ctrTitle" hasCustomPrompt="1"/>
          </p:nvPr>
        </p:nvSpPr>
        <p:spPr bwMode="gray">
          <a:xfrm>
            <a:off x="726442" y="1620521"/>
            <a:ext cx="10912566" cy="4012564"/>
          </a:xfrm>
        </p:spPr>
        <p:txBody>
          <a:bodyPr anchor="b"/>
          <a:lstStyle>
            <a:lvl1pPr algn="l">
              <a:defRPr sz="7040"/>
            </a:lvl1pPr>
          </a:lstStyle>
          <a:p>
            <a:r>
              <a:rPr lang="en-US"/>
              <a:t>Insightful presentation title in sentence case max 3 lines</a:t>
            </a:r>
          </a:p>
        </p:txBody>
      </p:sp>
      <p:sp>
        <p:nvSpPr>
          <p:cNvPr id="3" name="Subtitle 2"/>
          <p:cNvSpPr>
            <a:spLocks noGrp="1"/>
          </p:cNvSpPr>
          <p:nvPr>
            <p:ph type="subTitle" idx="1" hasCustomPrompt="1"/>
          </p:nvPr>
        </p:nvSpPr>
        <p:spPr bwMode="gray">
          <a:xfrm>
            <a:off x="726442" y="5755641"/>
            <a:ext cx="10912566" cy="1428931"/>
          </a:xfrm>
        </p:spPr>
        <p:txBody>
          <a:bodyPr/>
          <a:lstStyle>
            <a:lvl1pPr marL="0" indent="0" algn="l">
              <a:buNone/>
              <a:defRPr sz="4107">
                <a:solidFill>
                  <a:schemeClr val="tx1"/>
                </a:solidFill>
              </a:defRPr>
            </a:lvl1pPr>
            <a:lvl2pPr marL="670575" indent="0" algn="ctr">
              <a:buNone/>
              <a:defRPr sz="2933"/>
            </a:lvl2pPr>
            <a:lvl3pPr marL="1341150" indent="0" algn="ctr">
              <a:buNone/>
              <a:defRPr sz="2640"/>
            </a:lvl3pPr>
            <a:lvl4pPr marL="2011726" indent="0" algn="ctr">
              <a:buNone/>
              <a:defRPr sz="2347"/>
            </a:lvl4pPr>
            <a:lvl5pPr marL="2682301" indent="0" algn="ctr">
              <a:buNone/>
              <a:defRPr sz="2347"/>
            </a:lvl5pPr>
            <a:lvl6pPr marL="3352876" indent="0" algn="ctr">
              <a:buNone/>
              <a:defRPr sz="2347"/>
            </a:lvl6pPr>
            <a:lvl7pPr marL="4023451" indent="0" algn="ctr">
              <a:buNone/>
              <a:defRPr sz="2347"/>
            </a:lvl7pPr>
            <a:lvl8pPr marL="4694027" indent="0" algn="ctr">
              <a:buNone/>
              <a:defRPr sz="2347"/>
            </a:lvl8pPr>
            <a:lvl9pPr marL="5364602" indent="0" algn="ctr">
              <a:buNone/>
              <a:defRPr sz="2347"/>
            </a:lvl9pPr>
          </a:lstStyle>
          <a:p>
            <a:r>
              <a:rPr lang="en-US"/>
              <a:t>Event City or Speaker Name</a:t>
            </a:r>
          </a:p>
        </p:txBody>
      </p:sp>
      <p:sp>
        <p:nvSpPr>
          <p:cNvPr id="11" name="Text Placeholder 10"/>
          <p:cNvSpPr>
            <a:spLocks noGrp="1"/>
          </p:cNvSpPr>
          <p:nvPr>
            <p:ph type="body" sz="quarter" idx="13" hasCustomPrompt="1"/>
          </p:nvPr>
        </p:nvSpPr>
        <p:spPr bwMode="gray">
          <a:xfrm>
            <a:off x="726441" y="7319617"/>
            <a:ext cx="10912016" cy="1030454"/>
          </a:xfrm>
        </p:spPr>
        <p:txBody>
          <a:bodyPr/>
          <a:lstStyle>
            <a:lvl1pPr>
              <a:defRPr>
                <a:solidFill>
                  <a:schemeClr val="tx1"/>
                </a:solidFill>
              </a:defRPr>
            </a:lvl1pPr>
          </a:lstStyle>
          <a:p>
            <a:pPr lvl="0"/>
            <a:r>
              <a:rPr lang="en-US"/>
              <a:t>Month DD, YYYY</a:t>
            </a:r>
          </a:p>
        </p:txBody>
      </p:sp>
      <p:sp>
        <p:nvSpPr>
          <p:cNvPr id="4" name="Date Placeholder 3">
            <a:extLst>
              <a:ext uri="{FF2B5EF4-FFF2-40B4-BE49-F238E27FC236}">
                <a16:creationId xmlns:a16="http://schemas.microsoft.com/office/drawing/2014/main" id="{2706D6A4-086B-4EFB-B01A-4739B42A6AAE}"/>
              </a:ext>
            </a:extLst>
          </p:cNvPr>
          <p:cNvSpPr>
            <a:spLocks noGrp="1"/>
          </p:cNvSpPr>
          <p:nvPr>
            <p:ph type="dt" sz="half" idx="14"/>
          </p:nvPr>
        </p:nvSpPr>
        <p:spPr/>
        <p:txBody>
          <a:bodyPr/>
          <a:lstStyle/>
          <a:p>
            <a:fld id="{8238B657-F5A1-CE4E-BE44-E7119FF99A44}" type="datetime1">
              <a:rPr lang="en-US" smtClean="0"/>
              <a:t>4/21/21</a:t>
            </a:fld>
            <a:endParaRPr lang="en-US"/>
          </a:p>
        </p:txBody>
      </p:sp>
      <p:pic>
        <p:nvPicPr>
          <p:cNvPr id="6" name="Picture 5">
            <a:extLst>
              <a:ext uri="{FF2B5EF4-FFF2-40B4-BE49-F238E27FC236}">
                <a16:creationId xmlns:a16="http://schemas.microsoft.com/office/drawing/2014/main" id="{E3562FAE-D3E7-4AF2-9F04-7B5F288F0134}"/>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517898" y="8500415"/>
            <a:ext cx="3206349" cy="979213"/>
          </a:xfrm>
          <a:prstGeom prst="rect">
            <a:avLst/>
          </a:prstGeom>
        </p:spPr>
      </p:pic>
    </p:spTree>
    <p:extLst>
      <p:ext uri="{BB962C8B-B14F-4D97-AF65-F5344CB8AC3E}">
        <p14:creationId xmlns:p14="http://schemas.microsoft.com/office/powerpoint/2010/main" val="273742934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Type insightful headline in sentence case | One line</a:t>
            </a:r>
          </a:p>
        </p:txBody>
      </p:sp>
      <p:sp>
        <p:nvSpPr>
          <p:cNvPr id="3" name="Date Placeholder 2"/>
          <p:cNvSpPr>
            <a:spLocks noGrp="1"/>
          </p:cNvSpPr>
          <p:nvPr>
            <p:ph type="dt" sz="half" idx="10"/>
          </p:nvPr>
        </p:nvSpPr>
        <p:spPr/>
        <p:txBody>
          <a:bodyPr/>
          <a:lstStyle/>
          <a:p>
            <a:fld id="{FBBE6E62-8302-5A4D-9D6E-039CDEDDE1B6}" type="datetime1">
              <a:rPr lang="en-US" smtClean="0"/>
              <a:t>4/21/21</a:t>
            </a:fld>
            <a:endParaRPr lang="en-US"/>
          </a:p>
        </p:txBody>
      </p:sp>
      <p:sp>
        <p:nvSpPr>
          <p:cNvPr id="5" name="Slide Number Placeholder 4"/>
          <p:cNvSpPr>
            <a:spLocks noGrp="1"/>
          </p:cNvSpPr>
          <p:nvPr>
            <p:ph type="sldNum" sz="quarter" idx="12"/>
          </p:nvPr>
        </p:nvSpPr>
        <p:spPr>
          <a:xfrm>
            <a:off x="16456661" y="9514242"/>
            <a:ext cx="898073" cy="535517"/>
          </a:xfrm>
        </p:spPr>
        <p:txBody>
          <a:bodyPr/>
          <a:lstStyle/>
          <a:p>
            <a:fld id="{3310D8EA-3107-4873-B9AB-DD7D3E79053A}" type="slidenum">
              <a:rPr lang="en-US" smtClean="0"/>
              <a:t>‹#›</a:t>
            </a:fld>
            <a:endParaRPr lang="en-US"/>
          </a:p>
        </p:txBody>
      </p:sp>
    </p:spTree>
    <p:extLst>
      <p:ext uri="{BB962C8B-B14F-4D97-AF65-F5344CB8AC3E}">
        <p14:creationId xmlns:p14="http://schemas.microsoft.com/office/powerpoint/2010/main" val="190323504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Walkin Lifestyle Layout">
    <p:spTree>
      <p:nvGrpSpPr>
        <p:cNvPr id="1" name=""/>
        <p:cNvGrpSpPr/>
        <p:nvPr/>
      </p:nvGrpSpPr>
      <p:grpSpPr>
        <a:xfrm>
          <a:off x="0" y="0"/>
          <a:ext cx="0" cy="0"/>
          <a:chOff x="0" y="0"/>
          <a:chExt cx="0" cy="0"/>
        </a:xfrm>
      </p:grpSpPr>
      <p:grpSp>
        <p:nvGrpSpPr>
          <p:cNvPr id="13" name="Group 12"/>
          <p:cNvGrpSpPr/>
          <p:nvPr/>
        </p:nvGrpSpPr>
        <p:grpSpPr>
          <a:xfrm>
            <a:off x="0" y="13628"/>
            <a:ext cx="17881600" cy="10045863"/>
            <a:chOff x="0" y="-233"/>
            <a:chExt cx="9163964" cy="5148305"/>
          </a:xfrm>
        </p:grpSpPr>
        <p:pic>
          <p:nvPicPr>
            <p:cNvPr id="14" name="Picture 13"/>
            <p:cNvPicPr>
              <a:picLocks noChangeAspect="1"/>
            </p:cNvPicPr>
            <p:nvPr/>
          </p:nvPicPr>
          <p:blipFill rotWithShape="1">
            <a:blip r:embed="rId2" cstate="screen">
              <a:extLst>
                <a:ext uri="{28A0092B-C50C-407E-A947-70E740481C1C}">
                  <a14:useLocalDpi xmlns:a14="http://schemas.microsoft.com/office/drawing/2010/main"/>
                </a:ext>
              </a:extLst>
            </a:blip>
            <a:srcRect l="-31" r="-15"/>
            <a:stretch/>
          </p:blipFill>
          <p:spPr>
            <a:xfrm>
              <a:off x="0" y="0"/>
              <a:ext cx="9163964" cy="5148072"/>
            </a:xfrm>
            <a:prstGeom prst="rect">
              <a:avLst/>
            </a:prstGeom>
          </p:spPr>
        </p:pic>
        <p:sp>
          <p:nvSpPr>
            <p:cNvPr id="15" name="Rectangle 14"/>
            <p:cNvSpPr/>
            <p:nvPr/>
          </p:nvSpPr>
          <p:spPr bwMode="auto">
            <a:xfrm>
              <a:off x="0" y="-233"/>
              <a:ext cx="8337772" cy="5143734"/>
            </a:xfrm>
            <a:prstGeom prst="rect">
              <a:avLst/>
            </a:prstGeom>
            <a:gradFill flip="none" rotWithShape="1">
              <a:gsLst>
                <a:gs pos="0">
                  <a:srgbClr val="FFFFFF"/>
                </a:gs>
                <a:gs pos="71000">
                  <a:srgbClr val="FFFFFF">
                    <a:alpha val="75000"/>
                  </a:srgbClr>
                </a:gs>
                <a:gs pos="100000">
                  <a:srgbClr val="FFFFFF">
                    <a:alpha val="0"/>
                  </a:srgbClr>
                </a:gs>
              </a:gsLst>
              <a:lin ang="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3" rIns="0" bIns="45723" numCol="1" rtlCol="0" anchor="ctr" anchorCtr="0" compatLnSpc="1">
              <a:prstTxWarp prst="textNoShape">
                <a:avLst/>
              </a:prstTxWarp>
            </a:bodyPr>
            <a:lstStyle/>
            <a:p>
              <a:pPr algn="ctr" defTabSz="1340851" fontAlgn="base">
                <a:spcBef>
                  <a:spcPct val="0"/>
                </a:spcBef>
                <a:spcAft>
                  <a:spcPct val="0"/>
                </a:spcAft>
              </a:pPr>
              <a:endParaRPr lang="en-US" sz="2933">
                <a:gradFill>
                  <a:gsLst>
                    <a:gs pos="0">
                      <a:srgbClr val="FFFFFF"/>
                    </a:gs>
                    <a:gs pos="100000">
                      <a:srgbClr val="FFFFFF"/>
                    </a:gs>
                  </a:gsLst>
                  <a:lin ang="5400000" scaled="0"/>
                </a:gradFill>
              </a:endParaRPr>
            </a:p>
          </p:txBody>
        </p:sp>
      </p:grpSp>
      <p:sp>
        <p:nvSpPr>
          <p:cNvPr id="2" name="Title 1"/>
          <p:cNvSpPr>
            <a:spLocks noGrp="1"/>
          </p:cNvSpPr>
          <p:nvPr>
            <p:ph type="ctrTitle" hasCustomPrompt="1"/>
          </p:nvPr>
        </p:nvSpPr>
        <p:spPr>
          <a:xfrm>
            <a:off x="726442" y="1620521"/>
            <a:ext cx="10912566" cy="4012564"/>
          </a:xfrm>
        </p:spPr>
        <p:txBody>
          <a:bodyPr anchor="b"/>
          <a:lstStyle>
            <a:lvl1pPr algn="l">
              <a:defRPr sz="7040"/>
            </a:lvl1pPr>
          </a:lstStyle>
          <a:p>
            <a:r>
              <a:rPr lang="en-US"/>
              <a:t>Insightful presentation title in sentence case max 3 lines</a:t>
            </a:r>
          </a:p>
        </p:txBody>
      </p:sp>
      <p:sp>
        <p:nvSpPr>
          <p:cNvPr id="3" name="Subtitle 2"/>
          <p:cNvSpPr>
            <a:spLocks noGrp="1"/>
          </p:cNvSpPr>
          <p:nvPr>
            <p:ph type="subTitle" idx="1" hasCustomPrompt="1"/>
          </p:nvPr>
        </p:nvSpPr>
        <p:spPr>
          <a:xfrm>
            <a:off x="726442" y="5755641"/>
            <a:ext cx="10912566" cy="1428931"/>
          </a:xfrm>
        </p:spPr>
        <p:txBody>
          <a:bodyPr/>
          <a:lstStyle>
            <a:lvl1pPr marL="0" indent="0" algn="l">
              <a:buNone/>
              <a:defRPr sz="4107">
                <a:solidFill>
                  <a:schemeClr val="tx1"/>
                </a:solidFill>
              </a:defRPr>
            </a:lvl1pPr>
            <a:lvl2pPr marL="670575" indent="0" algn="ctr">
              <a:buNone/>
              <a:defRPr sz="2933"/>
            </a:lvl2pPr>
            <a:lvl3pPr marL="1341150" indent="0" algn="ctr">
              <a:buNone/>
              <a:defRPr sz="2640"/>
            </a:lvl3pPr>
            <a:lvl4pPr marL="2011726" indent="0" algn="ctr">
              <a:buNone/>
              <a:defRPr sz="2347"/>
            </a:lvl4pPr>
            <a:lvl5pPr marL="2682301" indent="0" algn="ctr">
              <a:buNone/>
              <a:defRPr sz="2347"/>
            </a:lvl5pPr>
            <a:lvl6pPr marL="3352876" indent="0" algn="ctr">
              <a:buNone/>
              <a:defRPr sz="2347"/>
            </a:lvl6pPr>
            <a:lvl7pPr marL="4023451" indent="0" algn="ctr">
              <a:buNone/>
              <a:defRPr sz="2347"/>
            </a:lvl7pPr>
            <a:lvl8pPr marL="4694027" indent="0" algn="ctr">
              <a:buNone/>
              <a:defRPr sz="2347"/>
            </a:lvl8pPr>
            <a:lvl9pPr marL="5364602" indent="0" algn="ctr">
              <a:buNone/>
              <a:defRPr sz="2347"/>
            </a:lvl9pPr>
          </a:lstStyle>
          <a:p>
            <a:r>
              <a:rPr lang="en-US"/>
              <a:t>Event City or Speaker Name</a:t>
            </a:r>
          </a:p>
        </p:txBody>
      </p:sp>
      <p:sp>
        <p:nvSpPr>
          <p:cNvPr id="11" name="Text Placeholder 10"/>
          <p:cNvSpPr>
            <a:spLocks noGrp="1"/>
          </p:cNvSpPr>
          <p:nvPr>
            <p:ph type="body" sz="quarter" idx="13" hasCustomPrompt="1"/>
          </p:nvPr>
        </p:nvSpPr>
        <p:spPr>
          <a:xfrm>
            <a:off x="726441" y="7319617"/>
            <a:ext cx="10912016" cy="1030454"/>
          </a:xfrm>
        </p:spPr>
        <p:txBody>
          <a:bodyPr/>
          <a:lstStyle>
            <a:lvl1pPr>
              <a:defRPr>
                <a:solidFill>
                  <a:schemeClr val="tx1"/>
                </a:solidFill>
              </a:defRPr>
            </a:lvl1pPr>
          </a:lstStyle>
          <a:p>
            <a:pPr lvl="0"/>
            <a:r>
              <a:rPr lang="en-US"/>
              <a:t>Month DD, YYYY</a:t>
            </a:r>
          </a:p>
        </p:txBody>
      </p:sp>
      <p:sp>
        <p:nvSpPr>
          <p:cNvPr id="4" name="Date Placeholder 3">
            <a:extLst>
              <a:ext uri="{FF2B5EF4-FFF2-40B4-BE49-F238E27FC236}">
                <a16:creationId xmlns:a16="http://schemas.microsoft.com/office/drawing/2014/main" id="{994E08A3-4092-47F1-9E71-C70852FA56AC}"/>
              </a:ext>
            </a:extLst>
          </p:cNvPr>
          <p:cNvSpPr>
            <a:spLocks noGrp="1"/>
          </p:cNvSpPr>
          <p:nvPr>
            <p:ph type="dt" sz="half" idx="14"/>
          </p:nvPr>
        </p:nvSpPr>
        <p:spPr/>
        <p:txBody>
          <a:bodyPr/>
          <a:lstStyle/>
          <a:p>
            <a:fld id="{E1E73121-7B3E-9542-A578-64E2FE217CBC}" type="datetime1">
              <a:rPr lang="en-US" smtClean="0"/>
              <a:t>4/21/21</a:t>
            </a:fld>
            <a:endParaRPr lang="en-US"/>
          </a:p>
        </p:txBody>
      </p:sp>
      <p:pic>
        <p:nvPicPr>
          <p:cNvPr id="17" name="Picture 16">
            <a:extLst>
              <a:ext uri="{FF2B5EF4-FFF2-40B4-BE49-F238E27FC236}">
                <a16:creationId xmlns:a16="http://schemas.microsoft.com/office/drawing/2014/main" id="{6753090A-B656-45FC-9886-F280D93F60D1}"/>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517898" y="8500415"/>
            <a:ext cx="3206349" cy="979213"/>
          </a:xfrm>
          <a:prstGeom prst="rect">
            <a:avLst/>
          </a:prstGeom>
        </p:spPr>
      </p:pic>
    </p:spTree>
    <p:extLst>
      <p:ext uri="{BB962C8B-B14F-4D97-AF65-F5344CB8AC3E}">
        <p14:creationId xmlns:p14="http://schemas.microsoft.com/office/powerpoint/2010/main" val="2810463756"/>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Walkin Clinic Layout">
    <p:spTree>
      <p:nvGrpSpPr>
        <p:cNvPr id="1" name=""/>
        <p:cNvGrpSpPr/>
        <p:nvPr/>
      </p:nvGrpSpPr>
      <p:grpSpPr>
        <a:xfrm>
          <a:off x="0" y="0"/>
          <a:ext cx="0" cy="0"/>
          <a:chOff x="0" y="0"/>
          <a:chExt cx="0" cy="0"/>
        </a:xfrm>
      </p:grpSpPr>
      <p:grpSp>
        <p:nvGrpSpPr>
          <p:cNvPr id="16" name="Group 15"/>
          <p:cNvGrpSpPr/>
          <p:nvPr/>
        </p:nvGrpSpPr>
        <p:grpSpPr bwMode="gray">
          <a:xfrm>
            <a:off x="0" y="-342"/>
            <a:ext cx="17881600" cy="10058858"/>
            <a:chOff x="0" y="-233"/>
            <a:chExt cx="9144000" cy="5143734"/>
          </a:xfrm>
        </p:grpSpPr>
        <p:pic>
          <p:nvPicPr>
            <p:cNvPr id="17" name="Picture 16"/>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bwMode="gray">
            <a:xfrm>
              <a:off x="0" y="0"/>
              <a:ext cx="9144000" cy="5143500"/>
            </a:xfrm>
            <a:prstGeom prst="rect">
              <a:avLst/>
            </a:prstGeom>
          </p:spPr>
        </p:pic>
        <p:sp>
          <p:nvSpPr>
            <p:cNvPr id="18" name="Rectangle 17"/>
            <p:cNvSpPr/>
            <p:nvPr/>
          </p:nvSpPr>
          <p:spPr bwMode="gray">
            <a:xfrm>
              <a:off x="0" y="-233"/>
              <a:ext cx="9051472" cy="5143734"/>
            </a:xfrm>
            <a:prstGeom prst="rect">
              <a:avLst/>
            </a:prstGeom>
            <a:gradFill flip="none" rotWithShape="1">
              <a:gsLst>
                <a:gs pos="0">
                  <a:srgbClr val="FFFFFF"/>
                </a:gs>
                <a:gs pos="56000">
                  <a:srgbClr val="FFFFFF">
                    <a:alpha val="75000"/>
                  </a:srgbClr>
                </a:gs>
                <a:gs pos="100000">
                  <a:srgbClr val="FFFFFF">
                    <a:alpha val="0"/>
                  </a:srgbClr>
                </a:gs>
              </a:gsLst>
              <a:lin ang="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3" rIns="0" bIns="45723" numCol="1" rtlCol="0" anchor="ctr" anchorCtr="0" compatLnSpc="1">
              <a:prstTxWarp prst="textNoShape">
                <a:avLst/>
              </a:prstTxWarp>
            </a:bodyPr>
            <a:lstStyle/>
            <a:p>
              <a:pPr algn="ctr" defTabSz="1340851" fontAlgn="base">
                <a:spcBef>
                  <a:spcPct val="0"/>
                </a:spcBef>
                <a:spcAft>
                  <a:spcPct val="0"/>
                </a:spcAft>
              </a:pPr>
              <a:endParaRPr lang="en-US" sz="2933">
                <a:gradFill>
                  <a:gsLst>
                    <a:gs pos="0">
                      <a:srgbClr val="FFFFFF"/>
                    </a:gs>
                    <a:gs pos="100000">
                      <a:srgbClr val="FFFFFF"/>
                    </a:gs>
                  </a:gsLst>
                  <a:lin ang="5400000" scaled="0"/>
                </a:gradFill>
              </a:endParaRPr>
            </a:p>
          </p:txBody>
        </p:sp>
      </p:grpSp>
      <p:sp>
        <p:nvSpPr>
          <p:cNvPr id="2" name="Title 1"/>
          <p:cNvSpPr>
            <a:spLocks noGrp="1"/>
          </p:cNvSpPr>
          <p:nvPr>
            <p:ph type="ctrTitle" hasCustomPrompt="1"/>
          </p:nvPr>
        </p:nvSpPr>
        <p:spPr bwMode="gray">
          <a:xfrm>
            <a:off x="726442" y="1620521"/>
            <a:ext cx="10912566" cy="4012564"/>
          </a:xfrm>
        </p:spPr>
        <p:txBody>
          <a:bodyPr anchor="b"/>
          <a:lstStyle>
            <a:lvl1pPr algn="l">
              <a:defRPr sz="7040"/>
            </a:lvl1pPr>
          </a:lstStyle>
          <a:p>
            <a:r>
              <a:rPr lang="en-US"/>
              <a:t>Insightful presentation title in sentence case max 3 lines</a:t>
            </a:r>
          </a:p>
        </p:txBody>
      </p:sp>
      <p:sp>
        <p:nvSpPr>
          <p:cNvPr id="3" name="Subtitle 2"/>
          <p:cNvSpPr>
            <a:spLocks noGrp="1"/>
          </p:cNvSpPr>
          <p:nvPr>
            <p:ph type="subTitle" idx="1" hasCustomPrompt="1"/>
          </p:nvPr>
        </p:nvSpPr>
        <p:spPr bwMode="gray">
          <a:xfrm>
            <a:off x="726442" y="5755641"/>
            <a:ext cx="10912566" cy="1428931"/>
          </a:xfrm>
        </p:spPr>
        <p:txBody>
          <a:bodyPr/>
          <a:lstStyle>
            <a:lvl1pPr marL="0" indent="0" algn="l">
              <a:buNone/>
              <a:defRPr sz="4107">
                <a:solidFill>
                  <a:schemeClr val="tx1"/>
                </a:solidFill>
              </a:defRPr>
            </a:lvl1pPr>
            <a:lvl2pPr marL="670575" indent="0" algn="ctr">
              <a:buNone/>
              <a:defRPr sz="2933"/>
            </a:lvl2pPr>
            <a:lvl3pPr marL="1341150" indent="0" algn="ctr">
              <a:buNone/>
              <a:defRPr sz="2640"/>
            </a:lvl3pPr>
            <a:lvl4pPr marL="2011726" indent="0" algn="ctr">
              <a:buNone/>
              <a:defRPr sz="2347"/>
            </a:lvl4pPr>
            <a:lvl5pPr marL="2682301" indent="0" algn="ctr">
              <a:buNone/>
              <a:defRPr sz="2347"/>
            </a:lvl5pPr>
            <a:lvl6pPr marL="3352876" indent="0" algn="ctr">
              <a:buNone/>
              <a:defRPr sz="2347"/>
            </a:lvl6pPr>
            <a:lvl7pPr marL="4023451" indent="0" algn="ctr">
              <a:buNone/>
              <a:defRPr sz="2347"/>
            </a:lvl7pPr>
            <a:lvl8pPr marL="4694027" indent="0" algn="ctr">
              <a:buNone/>
              <a:defRPr sz="2347"/>
            </a:lvl8pPr>
            <a:lvl9pPr marL="5364602" indent="0" algn="ctr">
              <a:buNone/>
              <a:defRPr sz="2347"/>
            </a:lvl9pPr>
          </a:lstStyle>
          <a:p>
            <a:r>
              <a:rPr lang="en-US"/>
              <a:t>Event City or Speaker Name</a:t>
            </a:r>
          </a:p>
        </p:txBody>
      </p:sp>
      <p:sp>
        <p:nvSpPr>
          <p:cNvPr id="11" name="Text Placeholder 10"/>
          <p:cNvSpPr>
            <a:spLocks noGrp="1"/>
          </p:cNvSpPr>
          <p:nvPr>
            <p:ph type="body" sz="quarter" idx="13" hasCustomPrompt="1"/>
          </p:nvPr>
        </p:nvSpPr>
        <p:spPr bwMode="gray">
          <a:xfrm>
            <a:off x="726441" y="7319617"/>
            <a:ext cx="10912016" cy="1030454"/>
          </a:xfrm>
        </p:spPr>
        <p:txBody>
          <a:bodyPr/>
          <a:lstStyle>
            <a:lvl1pPr>
              <a:defRPr>
                <a:solidFill>
                  <a:schemeClr val="tx1"/>
                </a:solidFill>
              </a:defRPr>
            </a:lvl1pPr>
          </a:lstStyle>
          <a:p>
            <a:pPr lvl="0"/>
            <a:r>
              <a:rPr lang="en-US"/>
              <a:t>Month DD, YYYY</a:t>
            </a:r>
          </a:p>
        </p:txBody>
      </p:sp>
      <p:sp>
        <p:nvSpPr>
          <p:cNvPr id="4" name="Date Placeholder 3">
            <a:extLst>
              <a:ext uri="{FF2B5EF4-FFF2-40B4-BE49-F238E27FC236}">
                <a16:creationId xmlns:a16="http://schemas.microsoft.com/office/drawing/2014/main" id="{6285D584-066A-4A89-9A12-E19AD0ECCD07}"/>
              </a:ext>
            </a:extLst>
          </p:cNvPr>
          <p:cNvSpPr>
            <a:spLocks noGrp="1"/>
          </p:cNvSpPr>
          <p:nvPr>
            <p:ph type="dt" sz="half" idx="14"/>
          </p:nvPr>
        </p:nvSpPr>
        <p:spPr/>
        <p:txBody>
          <a:bodyPr/>
          <a:lstStyle/>
          <a:p>
            <a:fld id="{9FA19466-1230-8744-BE5C-06C3B7D7C0C9}" type="datetime1">
              <a:rPr lang="en-US" smtClean="0"/>
              <a:t>4/21/21</a:t>
            </a:fld>
            <a:endParaRPr lang="en-US"/>
          </a:p>
        </p:txBody>
      </p:sp>
      <p:pic>
        <p:nvPicPr>
          <p:cNvPr id="19" name="Picture 18">
            <a:extLst>
              <a:ext uri="{FF2B5EF4-FFF2-40B4-BE49-F238E27FC236}">
                <a16:creationId xmlns:a16="http://schemas.microsoft.com/office/drawing/2014/main" id="{506AFEAB-1709-4C0C-B4AA-1A4479FBF5A9}"/>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517898" y="8500415"/>
            <a:ext cx="3206349" cy="979213"/>
          </a:xfrm>
          <a:prstGeom prst="rect">
            <a:avLst/>
          </a:prstGeom>
        </p:spPr>
      </p:pic>
    </p:spTree>
    <p:extLst>
      <p:ext uri="{BB962C8B-B14F-4D97-AF65-F5344CB8AC3E}">
        <p14:creationId xmlns:p14="http://schemas.microsoft.com/office/powerpoint/2010/main" val="1786526717"/>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Walkin Customizable Layout">
    <p:spTree>
      <p:nvGrpSpPr>
        <p:cNvPr id="1" name=""/>
        <p:cNvGrpSpPr/>
        <p:nvPr/>
      </p:nvGrpSpPr>
      <p:grpSpPr>
        <a:xfrm>
          <a:off x="0" y="0"/>
          <a:ext cx="0" cy="0"/>
          <a:chOff x="0" y="0"/>
          <a:chExt cx="0" cy="0"/>
        </a:xfrm>
      </p:grpSpPr>
      <p:sp>
        <p:nvSpPr>
          <p:cNvPr id="8" name="Picture Placeholder 7"/>
          <p:cNvSpPr>
            <a:spLocks noGrp="1"/>
          </p:cNvSpPr>
          <p:nvPr>
            <p:ph type="pic" sz="quarter" idx="14" hasCustomPrompt="1"/>
          </p:nvPr>
        </p:nvSpPr>
        <p:spPr bwMode="gray">
          <a:xfrm>
            <a:off x="0" y="0"/>
            <a:ext cx="17881600" cy="10058400"/>
          </a:xfrm>
          <a:solidFill>
            <a:schemeClr val="accent4"/>
          </a:solidFill>
        </p:spPr>
        <p:txBody>
          <a:bodyPr/>
          <a:lstStyle>
            <a:lvl1pPr>
              <a:defRPr/>
            </a:lvl1pPr>
          </a:lstStyle>
          <a:p>
            <a:r>
              <a:rPr lang="en-US"/>
              <a:t>Click picture icon in middle of slide to add full bleed picture</a:t>
            </a:r>
          </a:p>
        </p:txBody>
      </p:sp>
      <p:sp>
        <p:nvSpPr>
          <p:cNvPr id="14" name="Text Placeholder 3"/>
          <p:cNvSpPr>
            <a:spLocks noGrp="1"/>
          </p:cNvSpPr>
          <p:nvPr>
            <p:ph type="body" sz="quarter" idx="16" hasCustomPrompt="1"/>
          </p:nvPr>
        </p:nvSpPr>
        <p:spPr bwMode="gray">
          <a:xfrm>
            <a:off x="0" y="-8643"/>
            <a:ext cx="17881600" cy="10058400"/>
          </a:xfrm>
          <a:gradFill flip="none" rotWithShape="1">
            <a:gsLst>
              <a:gs pos="0">
                <a:srgbClr val="FFFFFF"/>
              </a:gs>
              <a:gs pos="71000">
                <a:srgbClr val="FFFFFF">
                  <a:alpha val="75000"/>
                </a:srgbClr>
              </a:gs>
              <a:gs pos="100000">
                <a:srgbClr val="FFFFFF">
                  <a:alpha val="0"/>
                </a:srgbClr>
              </a:gs>
            </a:gsLst>
            <a:lin ang="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3" rIns="0" bIns="45723" numCol="1" rtlCol="0" anchor="ctr" anchorCtr="0" compatLnSpc="1">
            <a:prstTxWarp prst="textNoShape">
              <a:avLst/>
            </a:prstTxWarp>
          </a:bodyPr>
          <a:lstStyle>
            <a:lvl1pPr>
              <a:defRPr lang="en-US" sz="2933" dirty="0">
                <a:gradFill>
                  <a:gsLst>
                    <a:gs pos="0">
                      <a:srgbClr val="FFFFFF"/>
                    </a:gs>
                    <a:gs pos="100000">
                      <a:srgbClr val="FFFFFF"/>
                    </a:gs>
                  </a:gsLst>
                  <a:lin ang="5400000" scaled="0"/>
                </a:gradFill>
              </a:defRPr>
            </a:lvl1pPr>
          </a:lstStyle>
          <a:p>
            <a:pPr lvl="0" algn="ctr" defTabSz="1340851" fontAlgn="base">
              <a:spcBef>
                <a:spcPct val="0"/>
              </a:spcBef>
              <a:spcAft>
                <a:spcPct val="0"/>
              </a:spcAft>
            </a:pPr>
            <a:r>
              <a:rPr lang="en-US"/>
              <a:t> </a:t>
            </a:r>
          </a:p>
        </p:txBody>
      </p:sp>
      <p:sp>
        <p:nvSpPr>
          <p:cNvPr id="2" name="Title 1"/>
          <p:cNvSpPr>
            <a:spLocks noGrp="1"/>
          </p:cNvSpPr>
          <p:nvPr>
            <p:ph type="ctrTitle" hasCustomPrompt="1"/>
          </p:nvPr>
        </p:nvSpPr>
        <p:spPr bwMode="gray">
          <a:xfrm>
            <a:off x="726442" y="1620521"/>
            <a:ext cx="10912566" cy="4012564"/>
          </a:xfrm>
        </p:spPr>
        <p:txBody>
          <a:bodyPr anchor="b"/>
          <a:lstStyle>
            <a:lvl1pPr algn="l">
              <a:defRPr sz="7040"/>
            </a:lvl1pPr>
          </a:lstStyle>
          <a:p>
            <a:r>
              <a:rPr lang="en-US"/>
              <a:t>Insightful presentation title in sentence case max 3 lines | Image instructions at right</a:t>
            </a:r>
          </a:p>
        </p:txBody>
      </p:sp>
      <p:sp>
        <p:nvSpPr>
          <p:cNvPr id="3" name="Subtitle 2"/>
          <p:cNvSpPr>
            <a:spLocks noGrp="1"/>
          </p:cNvSpPr>
          <p:nvPr>
            <p:ph type="subTitle" idx="1" hasCustomPrompt="1"/>
          </p:nvPr>
        </p:nvSpPr>
        <p:spPr bwMode="gray">
          <a:xfrm>
            <a:off x="726442" y="5755641"/>
            <a:ext cx="10912566" cy="1428931"/>
          </a:xfrm>
        </p:spPr>
        <p:txBody>
          <a:bodyPr/>
          <a:lstStyle>
            <a:lvl1pPr marL="0" indent="0" algn="l">
              <a:buNone/>
              <a:defRPr sz="4107">
                <a:solidFill>
                  <a:schemeClr val="tx1"/>
                </a:solidFill>
              </a:defRPr>
            </a:lvl1pPr>
            <a:lvl2pPr marL="670575" indent="0" algn="ctr">
              <a:buNone/>
              <a:defRPr sz="2933"/>
            </a:lvl2pPr>
            <a:lvl3pPr marL="1341150" indent="0" algn="ctr">
              <a:buNone/>
              <a:defRPr sz="2640"/>
            </a:lvl3pPr>
            <a:lvl4pPr marL="2011726" indent="0" algn="ctr">
              <a:buNone/>
              <a:defRPr sz="2347"/>
            </a:lvl4pPr>
            <a:lvl5pPr marL="2682301" indent="0" algn="ctr">
              <a:buNone/>
              <a:defRPr sz="2347"/>
            </a:lvl5pPr>
            <a:lvl6pPr marL="3352876" indent="0" algn="ctr">
              <a:buNone/>
              <a:defRPr sz="2347"/>
            </a:lvl6pPr>
            <a:lvl7pPr marL="4023451" indent="0" algn="ctr">
              <a:buNone/>
              <a:defRPr sz="2347"/>
            </a:lvl7pPr>
            <a:lvl8pPr marL="4694027" indent="0" algn="ctr">
              <a:buNone/>
              <a:defRPr sz="2347"/>
            </a:lvl8pPr>
            <a:lvl9pPr marL="5364602" indent="0" algn="ctr">
              <a:buNone/>
              <a:defRPr sz="2347"/>
            </a:lvl9pPr>
          </a:lstStyle>
          <a:p>
            <a:r>
              <a:rPr lang="en-US"/>
              <a:t>Event City or Speaker Name</a:t>
            </a:r>
          </a:p>
        </p:txBody>
      </p:sp>
      <p:sp>
        <p:nvSpPr>
          <p:cNvPr id="9" name="Rectangle 8"/>
          <p:cNvSpPr/>
          <p:nvPr/>
        </p:nvSpPr>
        <p:spPr bwMode="gray">
          <a:xfrm>
            <a:off x="18030613" y="-8643"/>
            <a:ext cx="3203788" cy="10058400"/>
          </a:xfrm>
          <a:prstGeom prst="rect">
            <a:avLst/>
          </a:prstGeom>
          <a:solidFill>
            <a:schemeClr val="accent3"/>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r>
              <a:rPr lang="en-US" sz="2053"/>
              <a:t>4 STEPS to customizing this title slide</a:t>
            </a:r>
          </a:p>
          <a:p>
            <a:pPr marL="502931" indent="-502931" algn="l">
              <a:buFont typeface="+mj-lt"/>
              <a:buAutoNum type="arabicPeriod"/>
            </a:pPr>
            <a:r>
              <a:rPr lang="en-US" sz="2053"/>
              <a:t>Right cick on presentation title placeholder &gt; Send to Back</a:t>
            </a:r>
          </a:p>
          <a:p>
            <a:pPr marL="502931" indent="-502931" algn="l">
              <a:buFont typeface="+mj-lt"/>
              <a:buAutoNum type="arabicPeriod"/>
            </a:pPr>
            <a:r>
              <a:rPr lang="en-US" sz="2053"/>
              <a:t>Select white gradient overlay &gt; Send to Back</a:t>
            </a:r>
          </a:p>
          <a:p>
            <a:pPr marL="502931" indent="-502931" algn="l">
              <a:buFont typeface="+mj-lt"/>
              <a:buAutoNum type="arabicPeriod"/>
            </a:pPr>
            <a:r>
              <a:rPr lang="en-US" sz="2053"/>
              <a:t>Click on Picture icon in center of picture placeholder &gt; Navigate to image &gt; Insert</a:t>
            </a:r>
          </a:p>
          <a:p>
            <a:pPr marL="502931" indent="-502931" algn="l">
              <a:buFont typeface="+mj-lt"/>
              <a:buAutoNum type="arabicPeriod"/>
            </a:pPr>
            <a:r>
              <a:rPr lang="en-US" sz="2053"/>
              <a:t>Right click on Slide Thumbnail &gt; Hit Reset</a:t>
            </a:r>
            <a:br>
              <a:rPr lang="en-US" sz="2053"/>
            </a:br>
            <a:br>
              <a:rPr lang="en-US" sz="2053"/>
            </a:br>
            <a:r>
              <a:rPr lang="en-US" sz="2053"/>
              <a:t>NOTE: If you accidentally move any of the placeholders on this slide, hitting Reset will put everything back in place – event the logo. So, a best practice would be to hit Reset after you’ve completed your work to make sure placeholders are in their place. </a:t>
            </a:r>
          </a:p>
        </p:txBody>
      </p:sp>
      <p:sp>
        <p:nvSpPr>
          <p:cNvPr id="11" name="Text Placeholder 10"/>
          <p:cNvSpPr>
            <a:spLocks noGrp="1"/>
          </p:cNvSpPr>
          <p:nvPr>
            <p:ph type="body" sz="quarter" idx="13" hasCustomPrompt="1"/>
          </p:nvPr>
        </p:nvSpPr>
        <p:spPr bwMode="gray">
          <a:xfrm>
            <a:off x="726441" y="7319617"/>
            <a:ext cx="10912016" cy="1030454"/>
          </a:xfrm>
        </p:spPr>
        <p:txBody>
          <a:bodyPr/>
          <a:lstStyle>
            <a:lvl1pPr>
              <a:defRPr>
                <a:solidFill>
                  <a:schemeClr val="tx1"/>
                </a:solidFill>
              </a:defRPr>
            </a:lvl1pPr>
          </a:lstStyle>
          <a:p>
            <a:pPr lvl="0"/>
            <a:r>
              <a:rPr lang="en-US"/>
              <a:t>Month DD, YYYY</a:t>
            </a:r>
          </a:p>
        </p:txBody>
      </p:sp>
      <p:sp>
        <p:nvSpPr>
          <p:cNvPr id="10" name="Rectangle 9"/>
          <p:cNvSpPr/>
          <p:nvPr/>
        </p:nvSpPr>
        <p:spPr bwMode="gray">
          <a:xfrm>
            <a:off x="18030613" y="-8643"/>
            <a:ext cx="3203788" cy="10058400"/>
          </a:xfrm>
          <a:prstGeom prst="rect">
            <a:avLst/>
          </a:prstGeom>
          <a:solidFill>
            <a:schemeClr val="accent3"/>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r>
              <a:rPr lang="en-US" sz="2053"/>
              <a:t>4 STEPS to customizing this title slide</a:t>
            </a:r>
          </a:p>
          <a:p>
            <a:pPr marL="502931" indent="-502931" algn="l">
              <a:buFont typeface="+mj-lt"/>
              <a:buAutoNum type="arabicPeriod"/>
            </a:pPr>
            <a:r>
              <a:rPr lang="en-US" sz="2053"/>
              <a:t>Right cick on presentation title placeholder &gt; Send to Back</a:t>
            </a:r>
          </a:p>
          <a:p>
            <a:pPr marL="502931" indent="-502931" algn="l">
              <a:buFont typeface="+mj-lt"/>
              <a:buAutoNum type="arabicPeriod"/>
            </a:pPr>
            <a:r>
              <a:rPr lang="en-US" sz="2053"/>
              <a:t>Select white gradient overlay &gt; Send to Back</a:t>
            </a:r>
          </a:p>
          <a:p>
            <a:pPr marL="502931" indent="-502931" algn="l">
              <a:buFont typeface="+mj-lt"/>
              <a:buAutoNum type="arabicPeriod"/>
            </a:pPr>
            <a:r>
              <a:rPr lang="en-US" sz="2053"/>
              <a:t>Click on Picture icon in center of picture placeholder &gt; Navigate to image &gt; Insert</a:t>
            </a:r>
          </a:p>
          <a:p>
            <a:pPr marL="502931" indent="-502931" algn="l">
              <a:buFont typeface="+mj-lt"/>
              <a:buAutoNum type="arabicPeriod"/>
            </a:pPr>
            <a:r>
              <a:rPr lang="en-US" sz="2053"/>
              <a:t>Right click on Slide Thumbnail &gt; Hit Reset</a:t>
            </a:r>
            <a:br>
              <a:rPr lang="en-US" sz="2053"/>
            </a:br>
            <a:br>
              <a:rPr lang="en-US" sz="2053"/>
            </a:br>
            <a:r>
              <a:rPr lang="en-US" sz="2053"/>
              <a:t>NOTE: If you accidentally move any of the placeholders on this slide, hitting Reset will put everything back in place – event the logo. So, a best practice would be to hit Reset after you’ve completed your work to make sure placeholders are in their place. </a:t>
            </a:r>
          </a:p>
        </p:txBody>
      </p:sp>
      <p:sp>
        <p:nvSpPr>
          <p:cNvPr id="12" name="Rectangle 11"/>
          <p:cNvSpPr/>
          <p:nvPr/>
        </p:nvSpPr>
        <p:spPr bwMode="gray">
          <a:xfrm>
            <a:off x="18030613" y="-8643"/>
            <a:ext cx="3203788" cy="10058400"/>
          </a:xfrm>
          <a:prstGeom prst="rect">
            <a:avLst/>
          </a:prstGeom>
          <a:solidFill>
            <a:schemeClr val="accent3"/>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r>
              <a:rPr lang="en-US" sz="2053"/>
              <a:t>4 STEPS to customizing this title slide</a:t>
            </a:r>
          </a:p>
          <a:p>
            <a:pPr marL="502931" indent="-502931" algn="l">
              <a:buFont typeface="+mj-lt"/>
              <a:buAutoNum type="arabicPeriod"/>
            </a:pPr>
            <a:r>
              <a:rPr lang="en-US" sz="2053"/>
              <a:t>Right cick on presentation title placeholder &gt; Send to Back</a:t>
            </a:r>
          </a:p>
          <a:p>
            <a:pPr marL="502931" indent="-502931" algn="l">
              <a:buFont typeface="+mj-lt"/>
              <a:buAutoNum type="arabicPeriod"/>
            </a:pPr>
            <a:r>
              <a:rPr lang="en-US" sz="2053"/>
              <a:t>Select white gradient overlay &gt; Send to Back</a:t>
            </a:r>
          </a:p>
          <a:p>
            <a:pPr marL="502931" indent="-502931" algn="l">
              <a:buFont typeface="+mj-lt"/>
              <a:buAutoNum type="arabicPeriod"/>
            </a:pPr>
            <a:r>
              <a:rPr lang="en-US" sz="2053"/>
              <a:t>Click on Picture icon in center of picture placeholder &gt; Navigate to image &gt; Insert</a:t>
            </a:r>
          </a:p>
          <a:p>
            <a:pPr marL="502931" indent="-502931" algn="l">
              <a:buFont typeface="+mj-lt"/>
              <a:buAutoNum type="arabicPeriod"/>
            </a:pPr>
            <a:r>
              <a:rPr lang="en-US" sz="2053"/>
              <a:t>Right click on Slide Thumbnail &gt; Hit Reset</a:t>
            </a:r>
            <a:br>
              <a:rPr lang="en-US" sz="2053"/>
            </a:br>
            <a:br>
              <a:rPr lang="en-US" sz="2053"/>
            </a:br>
            <a:r>
              <a:rPr lang="en-US" sz="2053"/>
              <a:t>NOTE: If you accidentally move any of the placeholders on this slide, hitting Reset will put everything back in place – event the logo. So, a best practice would be to hit Reset after you’ve completed your work to make sure placeholders are in their place. </a:t>
            </a:r>
          </a:p>
        </p:txBody>
      </p:sp>
      <p:sp>
        <p:nvSpPr>
          <p:cNvPr id="13" name="Rectangle 12">
            <a:extLst>
              <a:ext uri="{FF2B5EF4-FFF2-40B4-BE49-F238E27FC236}">
                <a16:creationId xmlns:a16="http://schemas.microsoft.com/office/drawing/2014/main" id="{B676653B-7108-453B-9B83-C7F4FB60F995}"/>
              </a:ext>
            </a:extLst>
          </p:cNvPr>
          <p:cNvSpPr/>
          <p:nvPr/>
        </p:nvSpPr>
        <p:spPr bwMode="gray">
          <a:xfrm>
            <a:off x="18030613" y="-8643"/>
            <a:ext cx="3203788" cy="10058400"/>
          </a:xfrm>
          <a:prstGeom prst="rect">
            <a:avLst/>
          </a:prstGeom>
          <a:solidFill>
            <a:schemeClr val="accent3"/>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r>
              <a:rPr lang="en-US" sz="2053"/>
              <a:t>4 STEPS to customizing this title slide</a:t>
            </a:r>
          </a:p>
          <a:p>
            <a:pPr marL="502931" indent="-502931" algn="l">
              <a:buFont typeface="+mj-lt"/>
              <a:buAutoNum type="arabicPeriod"/>
            </a:pPr>
            <a:r>
              <a:rPr lang="en-US" sz="2053"/>
              <a:t>Right cick on presentation title placeholder &gt; Send to Back</a:t>
            </a:r>
          </a:p>
          <a:p>
            <a:pPr marL="502931" indent="-502931" algn="l">
              <a:buFont typeface="+mj-lt"/>
              <a:buAutoNum type="arabicPeriod"/>
            </a:pPr>
            <a:r>
              <a:rPr lang="en-US" sz="2053"/>
              <a:t>Select white gradient overlay &gt; Send to Back</a:t>
            </a:r>
          </a:p>
          <a:p>
            <a:pPr marL="502931" indent="-502931" algn="l">
              <a:buFont typeface="+mj-lt"/>
              <a:buAutoNum type="arabicPeriod"/>
            </a:pPr>
            <a:r>
              <a:rPr lang="en-US" sz="2053"/>
              <a:t>Click on Picture icon in center of picture placeholder &gt; Navigate to image &gt; Insert</a:t>
            </a:r>
          </a:p>
          <a:p>
            <a:pPr marL="502931" indent="-502931" algn="l">
              <a:buFont typeface="+mj-lt"/>
              <a:buAutoNum type="arabicPeriod"/>
            </a:pPr>
            <a:r>
              <a:rPr lang="en-US" sz="2053"/>
              <a:t>Right click on Slide Thumbnail &gt; Hit Reset</a:t>
            </a:r>
            <a:br>
              <a:rPr lang="en-US" sz="2053"/>
            </a:br>
            <a:br>
              <a:rPr lang="en-US" sz="2053"/>
            </a:br>
            <a:r>
              <a:rPr lang="en-US" sz="2053"/>
              <a:t>NOTE: If you accidentally move any of the placeholders on this slide, hitting Reset will put everything back in place – event the logo. So, a best practice would be to hit Reset after you’ve completed your work to make sure placeholders are in their place. </a:t>
            </a:r>
          </a:p>
        </p:txBody>
      </p:sp>
      <p:sp>
        <p:nvSpPr>
          <p:cNvPr id="15" name="Rectangle 14">
            <a:extLst>
              <a:ext uri="{FF2B5EF4-FFF2-40B4-BE49-F238E27FC236}">
                <a16:creationId xmlns:a16="http://schemas.microsoft.com/office/drawing/2014/main" id="{69B2ADF1-764A-4F68-BB0A-1874814E7521}"/>
              </a:ext>
            </a:extLst>
          </p:cNvPr>
          <p:cNvSpPr/>
          <p:nvPr/>
        </p:nvSpPr>
        <p:spPr bwMode="gray">
          <a:xfrm>
            <a:off x="18030613" y="-8643"/>
            <a:ext cx="3203788" cy="10058400"/>
          </a:xfrm>
          <a:prstGeom prst="rect">
            <a:avLst/>
          </a:prstGeom>
          <a:solidFill>
            <a:schemeClr val="accent3"/>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r>
              <a:rPr lang="en-US" sz="2053"/>
              <a:t>4 STEPS to customizing this title slide</a:t>
            </a:r>
          </a:p>
          <a:p>
            <a:pPr marL="502931" indent="-502931" algn="l">
              <a:buFont typeface="+mj-lt"/>
              <a:buAutoNum type="arabicPeriod"/>
            </a:pPr>
            <a:r>
              <a:rPr lang="en-US" sz="2053"/>
              <a:t>Right cick on presentation title placeholder &gt; Send to Back</a:t>
            </a:r>
          </a:p>
          <a:p>
            <a:pPr marL="502931" indent="-502931" algn="l">
              <a:buFont typeface="+mj-lt"/>
              <a:buAutoNum type="arabicPeriod"/>
            </a:pPr>
            <a:r>
              <a:rPr lang="en-US" sz="2053"/>
              <a:t>Select white gradient overlay &gt; Send to Back</a:t>
            </a:r>
          </a:p>
          <a:p>
            <a:pPr marL="502931" indent="-502931" algn="l">
              <a:buFont typeface="+mj-lt"/>
              <a:buAutoNum type="arabicPeriod"/>
            </a:pPr>
            <a:r>
              <a:rPr lang="en-US" sz="2053"/>
              <a:t>Click on Picture icon in center of picture placeholder &gt; Navigate to image &gt; Insert</a:t>
            </a:r>
          </a:p>
          <a:p>
            <a:pPr marL="502931" indent="-502931" algn="l">
              <a:buFont typeface="+mj-lt"/>
              <a:buAutoNum type="arabicPeriod"/>
            </a:pPr>
            <a:r>
              <a:rPr lang="en-US" sz="2053"/>
              <a:t>Right click on Slide Thumbnail &gt; Hit Reset</a:t>
            </a:r>
            <a:br>
              <a:rPr lang="en-US" sz="2053"/>
            </a:br>
            <a:br>
              <a:rPr lang="en-US" sz="2053"/>
            </a:br>
            <a:r>
              <a:rPr lang="en-US" sz="2053"/>
              <a:t>NOTE: If you accidentally move any of the placeholders on this slide, hitting Reset will put everything back in place – event the logo. So, a best practice would be to hit Reset after you’ve completed your work to make sure placeholders are in their place. </a:t>
            </a:r>
          </a:p>
        </p:txBody>
      </p:sp>
      <p:sp>
        <p:nvSpPr>
          <p:cNvPr id="16" name="Rectangle 15">
            <a:extLst>
              <a:ext uri="{FF2B5EF4-FFF2-40B4-BE49-F238E27FC236}">
                <a16:creationId xmlns:a16="http://schemas.microsoft.com/office/drawing/2014/main" id="{F821BB3F-CBC9-45BD-BE44-5074087344C5}"/>
              </a:ext>
            </a:extLst>
          </p:cNvPr>
          <p:cNvSpPr/>
          <p:nvPr userDrawn="1"/>
        </p:nvSpPr>
        <p:spPr bwMode="gray">
          <a:xfrm>
            <a:off x="18030613" y="-8643"/>
            <a:ext cx="3203788" cy="10058400"/>
          </a:xfrm>
          <a:prstGeom prst="rect">
            <a:avLst/>
          </a:prstGeom>
          <a:solidFill>
            <a:schemeClr val="accent3"/>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r>
              <a:rPr lang="en-US" sz="2053"/>
              <a:t>4 STEPS to customizing this title slide</a:t>
            </a:r>
          </a:p>
          <a:p>
            <a:pPr marL="502931" indent="-502931" algn="l">
              <a:buFont typeface="+mj-lt"/>
              <a:buAutoNum type="arabicPeriod"/>
            </a:pPr>
            <a:r>
              <a:rPr lang="en-US" sz="2053"/>
              <a:t>Right click on presentation title placeholder &gt; Send to Back</a:t>
            </a:r>
          </a:p>
          <a:p>
            <a:pPr marL="502931" indent="-502931" algn="l">
              <a:buFont typeface="+mj-lt"/>
              <a:buAutoNum type="arabicPeriod"/>
            </a:pPr>
            <a:r>
              <a:rPr lang="en-US" sz="2053"/>
              <a:t>Select white gradient overlay &gt; Send to Back</a:t>
            </a:r>
          </a:p>
          <a:p>
            <a:pPr marL="502931" indent="-502931" algn="l">
              <a:buFont typeface="+mj-lt"/>
              <a:buAutoNum type="arabicPeriod"/>
            </a:pPr>
            <a:r>
              <a:rPr lang="en-US" sz="2053"/>
              <a:t>Click on Picture icon in center of picture placeholder &gt; Navigate to image &gt; Insert</a:t>
            </a:r>
          </a:p>
          <a:p>
            <a:pPr marL="502931" indent="-502931" algn="l">
              <a:buFont typeface="+mj-lt"/>
              <a:buAutoNum type="arabicPeriod"/>
            </a:pPr>
            <a:r>
              <a:rPr lang="en-US" sz="2053"/>
              <a:t>Right click on Slide Thumbnail &gt; Hit Reset</a:t>
            </a:r>
            <a:br>
              <a:rPr lang="en-US" sz="2053"/>
            </a:br>
            <a:br>
              <a:rPr lang="en-US" sz="2053"/>
            </a:br>
            <a:r>
              <a:rPr lang="en-US" sz="2053"/>
              <a:t>NOTE: If you accidentally move any of the placeholders on this slide, hitting Reset will put everything back in place – event the logo. So, a best practice would be to hit Reset after you’ve completed your work to make sure placeholders are in their place. </a:t>
            </a:r>
          </a:p>
        </p:txBody>
      </p:sp>
      <p:sp>
        <p:nvSpPr>
          <p:cNvPr id="4" name="Date Placeholder 3">
            <a:extLst>
              <a:ext uri="{FF2B5EF4-FFF2-40B4-BE49-F238E27FC236}">
                <a16:creationId xmlns:a16="http://schemas.microsoft.com/office/drawing/2014/main" id="{6C189E88-7755-437F-A367-C0D1CAAA7DB7}"/>
              </a:ext>
            </a:extLst>
          </p:cNvPr>
          <p:cNvSpPr>
            <a:spLocks noGrp="1"/>
          </p:cNvSpPr>
          <p:nvPr>
            <p:ph type="dt" sz="half" idx="18"/>
          </p:nvPr>
        </p:nvSpPr>
        <p:spPr/>
        <p:txBody>
          <a:bodyPr/>
          <a:lstStyle/>
          <a:p>
            <a:fld id="{FA30CA33-0408-7843-BED9-E167C47D3192}" type="datetime1">
              <a:rPr lang="en-US" smtClean="0"/>
              <a:t>4/21/21</a:t>
            </a:fld>
            <a:endParaRPr lang="en-US"/>
          </a:p>
        </p:txBody>
      </p:sp>
      <p:sp>
        <p:nvSpPr>
          <p:cNvPr id="24" name="Text Placeholder 23">
            <a:extLst>
              <a:ext uri="{FF2B5EF4-FFF2-40B4-BE49-F238E27FC236}">
                <a16:creationId xmlns:a16="http://schemas.microsoft.com/office/drawing/2014/main" id="{0F992B04-FE0A-48EA-A5CC-B98E75A5F90D}"/>
              </a:ext>
            </a:extLst>
          </p:cNvPr>
          <p:cNvSpPr>
            <a:spLocks noGrp="1" noChangeAspect="1"/>
          </p:cNvSpPr>
          <p:nvPr>
            <p:ph type="body" sz="quarter" idx="19" hasCustomPrompt="1"/>
          </p:nvPr>
        </p:nvSpPr>
        <p:spPr>
          <a:xfrm>
            <a:off x="517898" y="8500415"/>
            <a:ext cx="3206350" cy="979213"/>
          </a:xfrm>
          <a:blipFill>
            <a:blip r:embed="rId2" cstate="email">
              <a:extLst>
                <a:ext uri="{28A0092B-C50C-407E-A947-70E740481C1C}">
                  <a14:useLocalDpi xmlns:a14="http://schemas.microsoft.com/office/drawing/2010/main"/>
                </a:ext>
              </a:extLst>
            </a:blip>
            <a:stretch>
              <a:fillRect/>
            </a:stretch>
          </a:blipFill>
        </p:spPr>
        <p:txBody>
          <a:bodyPr/>
          <a:lstStyle>
            <a:lvl1pPr>
              <a:defRPr/>
            </a:lvl1pPr>
          </a:lstStyle>
          <a:p>
            <a:pPr lvl="0"/>
            <a:r>
              <a:rPr lang="en-US"/>
              <a:t> </a:t>
            </a:r>
          </a:p>
        </p:txBody>
      </p:sp>
      <p:sp>
        <p:nvSpPr>
          <p:cNvPr id="25" name="Rectangle 24">
            <a:extLst>
              <a:ext uri="{FF2B5EF4-FFF2-40B4-BE49-F238E27FC236}">
                <a16:creationId xmlns:a16="http://schemas.microsoft.com/office/drawing/2014/main" id="{0519D5C0-3E30-4D27-B93A-DE8877DFA135}"/>
              </a:ext>
            </a:extLst>
          </p:cNvPr>
          <p:cNvSpPr/>
          <p:nvPr userDrawn="1"/>
        </p:nvSpPr>
        <p:spPr bwMode="gray">
          <a:xfrm>
            <a:off x="21234401" y="-8643"/>
            <a:ext cx="3203788" cy="10058400"/>
          </a:xfrm>
          <a:prstGeom prst="rect">
            <a:avLst/>
          </a:prstGeom>
          <a:solidFill>
            <a:schemeClr val="accent3"/>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r>
              <a:rPr lang="en-US" sz="2053"/>
              <a:t>For Image / Photography options. navigate to https://hub.uhg.com/sites/hub/Optum/Resources/Brand/Documents/Photo%20Library%20Overview_June2017.docx</a:t>
            </a:r>
          </a:p>
        </p:txBody>
      </p:sp>
    </p:spTree>
    <p:extLst>
      <p:ext uri="{BB962C8B-B14F-4D97-AF65-F5344CB8AC3E}">
        <p14:creationId xmlns:p14="http://schemas.microsoft.com/office/powerpoint/2010/main" val="3217817015"/>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a:t>Type insightful headline in sentence case | One line</a:t>
            </a:r>
          </a:p>
        </p:txBody>
      </p:sp>
      <p:sp>
        <p:nvSpPr>
          <p:cNvPr id="3" name="Content Placeholder 2"/>
          <p:cNvSpPr>
            <a:spLocks noGrp="1"/>
          </p:cNvSpPr>
          <p:nvPr>
            <p:ph idx="1" hasCustomPrompt="1"/>
          </p:nvPr>
        </p:nvSpPr>
        <p:spPr/>
        <p:txBody>
          <a:bodyPr/>
          <a:lstStyle>
            <a:lvl1pPr>
              <a:defRPr/>
            </a:lvl1pPr>
          </a:lstStyle>
          <a:p>
            <a:pPr lvl="0"/>
            <a:r>
              <a:rPr lang="en-US"/>
              <a:t>Click to type text. To change text formatting (approved color, size, bullets),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59B9B12D-92C4-3B43-B1D8-9965D43BF638}" type="datetime1">
              <a:rPr lang="en-US" smtClean="0"/>
              <a:t>4/21/21</a:t>
            </a:fld>
            <a:endParaRPr lang="en-US"/>
          </a:p>
        </p:txBody>
      </p:sp>
      <p:sp>
        <p:nvSpPr>
          <p:cNvPr id="6" name="Slide Number Placeholder 5"/>
          <p:cNvSpPr>
            <a:spLocks noGrp="1"/>
          </p:cNvSpPr>
          <p:nvPr>
            <p:ph type="sldNum" sz="quarter" idx="12"/>
          </p:nvPr>
        </p:nvSpPr>
        <p:spPr/>
        <p:txBody>
          <a:bodyPr/>
          <a:lstStyle/>
          <a:p>
            <a:fld id="{3310D8EA-3107-4873-B9AB-DD7D3E79053A}" type="slidenum">
              <a:rPr lang="en-US" smtClean="0"/>
              <a:t>‹#›</a:t>
            </a:fld>
            <a:endParaRPr lang="en-US"/>
          </a:p>
        </p:txBody>
      </p:sp>
      <p:sp>
        <p:nvSpPr>
          <p:cNvPr id="8" name="Text Placeholder 7"/>
          <p:cNvSpPr>
            <a:spLocks noGrp="1"/>
          </p:cNvSpPr>
          <p:nvPr>
            <p:ph type="body" sz="quarter" idx="13" hasCustomPrompt="1"/>
          </p:nvPr>
        </p:nvSpPr>
        <p:spPr>
          <a:xfrm>
            <a:off x="726440" y="1640148"/>
            <a:ext cx="16596360" cy="721783"/>
          </a:xfrm>
        </p:spPr>
        <p:txBody>
          <a:bodyPr/>
          <a:lstStyle>
            <a:lvl1pPr>
              <a:defRPr sz="3813">
                <a:solidFill>
                  <a:schemeClr val="accent4"/>
                </a:solidFill>
              </a:defRPr>
            </a:lvl1pPr>
          </a:lstStyle>
          <a:p>
            <a:pPr lvl="0"/>
            <a:r>
              <a:rPr lang="en-US"/>
              <a:t>Use this space for one line subhead if needed | One line</a:t>
            </a:r>
          </a:p>
        </p:txBody>
      </p:sp>
    </p:spTree>
    <p:extLst>
      <p:ext uri="{BB962C8B-B14F-4D97-AF65-F5344CB8AC3E}">
        <p14:creationId xmlns:p14="http://schemas.microsoft.com/office/powerpoint/2010/main" val="227809399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Two Content, 1 subhead">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a:t>Type insightful headline in sentence case | One line</a:t>
            </a:r>
          </a:p>
        </p:txBody>
      </p:sp>
      <p:sp>
        <p:nvSpPr>
          <p:cNvPr id="3" name="Content Placeholder 2"/>
          <p:cNvSpPr>
            <a:spLocks noGrp="1"/>
          </p:cNvSpPr>
          <p:nvPr>
            <p:ph sz="half" idx="1" hasCustomPrompt="1"/>
          </p:nvPr>
        </p:nvSpPr>
        <p:spPr>
          <a:xfrm>
            <a:off x="726440" y="2677584"/>
            <a:ext cx="8102600" cy="5983817"/>
          </a:xfrm>
        </p:spPr>
        <p:txBody>
          <a:bodyPr/>
          <a:lstStyle>
            <a:lvl1pPr>
              <a:defRPr/>
            </a:lvl1pPr>
          </a:lstStyle>
          <a:p>
            <a:pPr lvl="0"/>
            <a:r>
              <a:rPr lang="en-US"/>
              <a:t>Click to type text. To change text formatting (approved color, size, bullets),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hasCustomPrompt="1"/>
          </p:nvPr>
        </p:nvSpPr>
        <p:spPr>
          <a:xfrm>
            <a:off x="9052560" y="2677584"/>
            <a:ext cx="8302172" cy="5983817"/>
          </a:xfrm>
        </p:spPr>
        <p:txBody>
          <a:bodyPr/>
          <a:lstStyle>
            <a:lvl1pPr>
              <a:defRPr/>
            </a:lvl1pPr>
          </a:lstStyle>
          <a:p>
            <a:pPr lvl="0"/>
            <a:r>
              <a:rPr lang="en-US"/>
              <a:t>Click to type text. To change text formatting (approved color, size, bullets),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A43B22B7-E70D-5C40-876F-2AAFEE548D55}" type="datetime1">
              <a:rPr lang="en-US" smtClean="0"/>
              <a:t>4/21/21</a:t>
            </a:fld>
            <a:endParaRPr lang="en-US"/>
          </a:p>
        </p:txBody>
      </p:sp>
      <p:sp>
        <p:nvSpPr>
          <p:cNvPr id="7" name="Slide Number Placeholder 6"/>
          <p:cNvSpPr>
            <a:spLocks noGrp="1"/>
          </p:cNvSpPr>
          <p:nvPr>
            <p:ph type="sldNum" sz="quarter" idx="12"/>
          </p:nvPr>
        </p:nvSpPr>
        <p:spPr/>
        <p:txBody>
          <a:bodyPr/>
          <a:lstStyle/>
          <a:p>
            <a:fld id="{3310D8EA-3107-4873-B9AB-DD7D3E79053A}" type="slidenum">
              <a:rPr lang="en-US" smtClean="0"/>
              <a:t>‹#›</a:t>
            </a:fld>
            <a:endParaRPr lang="en-US"/>
          </a:p>
        </p:txBody>
      </p:sp>
      <p:sp>
        <p:nvSpPr>
          <p:cNvPr id="8" name="Text Placeholder 7"/>
          <p:cNvSpPr>
            <a:spLocks noGrp="1"/>
          </p:cNvSpPr>
          <p:nvPr>
            <p:ph type="body" sz="quarter" idx="13" hasCustomPrompt="1"/>
          </p:nvPr>
        </p:nvSpPr>
        <p:spPr>
          <a:xfrm>
            <a:off x="726440" y="1640148"/>
            <a:ext cx="16596360" cy="721783"/>
          </a:xfrm>
        </p:spPr>
        <p:txBody>
          <a:bodyPr/>
          <a:lstStyle>
            <a:lvl1pPr>
              <a:defRPr sz="3813">
                <a:solidFill>
                  <a:schemeClr val="accent4"/>
                </a:solidFill>
              </a:defRPr>
            </a:lvl1pPr>
          </a:lstStyle>
          <a:p>
            <a:pPr lvl="0"/>
            <a:r>
              <a:rPr lang="en-US"/>
              <a:t>Use this space for one line subhead if needed | One line</a:t>
            </a:r>
          </a:p>
        </p:txBody>
      </p:sp>
    </p:spTree>
    <p:extLst>
      <p:ext uri="{BB962C8B-B14F-4D97-AF65-F5344CB8AC3E}">
        <p14:creationId xmlns:p14="http://schemas.microsoft.com/office/powerpoint/2010/main" val="221745527"/>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Two Content, 2 subhead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a:t>Type insightful headline in sentence case | One line</a:t>
            </a:r>
          </a:p>
        </p:txBody>
      </p:sp>
      <p:sp>
        <p:nvSpPr>
          <p:cNvPr id="3" name="Content Placeholder 2"/>
          <p:cNvSpPr>
            <a:spLocks noGrp="1"/>
          </p:cNvSpPr>
          <p:nvPr>
            <p:ph sz="half" idx="1" hasCustomPrompt="1"/>
          </p:nvPr>
        </p:nvSpPr>
        <p:spPr>
          <a:xfrm>
            <a:off x="726440" y="2677584"/>
            <a:ext cx="8102600" cy="5983817"/>
          </a:xfrm>
        </p:spPr>
        <p:txBody>
          <a:bodyPr/>
          <a:lstStyle>
            <a:lvl1pPr>
              <a:defRPr/>
            </a:lvl1pPr>
          </a:lstStyle>
          <a:p>
            <a:pPr lvl="0"/>
            <a:r>
              <a:rPr lang="en-US"/>
              <a:t>Click to type text. To change text formatting (approved color, size, bullets),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hasCustomPrompt="1"/>
          </p:nvPr>
        </p:nvSpPr>
        <p:spPr>
          <a:xfrm>
            <a:off x="9052560" y="2677584"/>
            <a:ext cx="8302172" cy="5983817"/>
          </a:xfrm>
        </p:spPr>
        <p:txBody>
          <a:bodyPr/>
          <a:lstStyle>
            <a:lvl1pPr>
              <a:defRPr/>
            </a:lvl1pPr>
          </a:lstStyle>
          <a:p>
            <a:pPr lvl="0"/>
            <a:r>
              <a:rPr lang="en-US"/>
              <a:t>Click to type text. To change text formatting (approved color, size, bullets),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27F0BFFF-AA19-A248-B278-6D3F06A4B752}" type="datetime1">
              <a:rPr lang="en-US" smtClean="0"/>
              <a:t>4/21/21</a:t>
            </a:fld>
            <a:endParaRPr lang="en-US"/>
          </a:p>
        </p:txBody>
      </p:sp>
      <p:sp>
        <p:nvSpPr>
          <p:cNvPr id="7" name="Slide Number Placeholder 6"/>
          <p:cNvSpPr>
            <a:spLocks noGrp="1"/>
          </p:cNvSpPr>
          <p:nvPr>
            <p:ph type="sldNum" sz="quarter" idx="12"/>
          </p:nvPr>
        </p:nvSpPr>
        <p:spPr/>
        <p:txBody>
          <a:bodyPr/>
          <a:lstStyle/>
          <a:p>
            <a:fld id="{3310D8EA-3107-4873-B9AB-DD7D3E79053A}" type="slidenum">
              <a:rPr lang="en-US" smtClean="0"/>
              <a:t>‹#›</a:t>
            </a:fld>
            <a:endParaRPr lang="en-US"/>
          </a:p>
        </p:txBody>
      </p:sp>
      <p:sp>
        <p:nvSpPr>
          <p:cNvPr id="9" name="Text Placeholder 2"/>
          <p:cNvSpPr>
            <a:spLocks noGrp="1"/>
          </p:cNvSpPr>
          <p:nvPr>
            <p:ph type="body" idx="13" hasCustomPrompt="1"/>
          </p:nvPr>
        </p:nvSpPr>
        <p:spPr>
          <a:xfrm>
            <a:off x="726441" y="1640148"/>
            <a:ext cx="8070003" cy="721783"/>
          </a:xfrm>
        </p:spPr>
        <p:txBody>
          <a:bodyPr anchor="t"/>
          <a:lstStyle>
            <a:lvl1pPr marL="0" indent="0">
              <a:buNone/>
              <a:defRPr sz="3813" b="0">
                <a:solidFill>
                  <a:schemeClr val="accent4"/>
                </a:solidFill>
              </a:defRPr>
            </a:lvl1pPr>
            <a:lvl2pPr marL="670575" indent="0">
              <a:buNone/>
              <a:defRPr sz="2933" b="1"/>
            </a:lvl2pPr>
            <a:lvl3pPr marL="1341150" indent="0">
              <a:buNone/>
              <a:defRPr sz="2640" b="1"/>
            </a:lvl3pPr>
            <a:lvl4pPr marL="2011726" indent="0">
              <a:buNone/>
              <a:defRPr sz="2347" b="1"/>
            </a:lvl4pPr>
            <a:lvl5pPr marL="2682301" indent="0">
              <a:buNone/>
              <a:defRPr sz="2347" b="1"/>
            </a:lvl5pPr>
            <a:lvl6pPr marL="3352876" indent="0">
              <a:buNone/>
              <a:defRPr sz="2347" b="1"/>
            </a:lvl6pPr>
            <a:lvl7pPr marL="4023451" indent="0">
              <a:buNone/>
              <a:defRPr sz="2347" b="1"/>
            </a:lvl7pPr>
            <a:lvl8pPr marL="4694027" indent="0">
              <a:buNone/>
              <a:defRPr sz="2347" b="1"/>
            </a:lvl8pPr>
            <a:lvl9pPr marL="5364602" indent="0">
              <a:buNone/>
              <a:defRPr sz="2347" b="1"/>
            </a:lvl9pPr>
          </a:lstStyle>
          <a:p>
            <a:pPr lvl="0"/>
            <a:r>
              <a:rPr lang="en-US"/>
              <a:t>Short subhead</a:t>
            </a:r>
          </a:p>
        </p:txBody>
      </p:sp>
      <p:sp>
        <p:nvSpPr>
          <p:cNvPr id="10" name="Text Placeholder 4"/>
          <p:cNvSpPr>
            <a:spLocks noGrp="1"/>
          </p:cNvSpPr>
          <p:nvPr>
            <p:ph type="body" sz="quarter" idx="3" hasCustomPrompt="1"/>
          </p:nvPr>
        </p:nvSpPr>
        <p:spPr>
          <a:xfrm>
            <a:off x="9052560" y="1640148"/>
            <a:ext cx="8270240" cy="721783"/>
          </a:xfrm>
        </p:spPr>
        <p:txBody>
          <a:bodyPr anchor="t"/>
          <a:lstStyle>
            <a:lvl1pPr marL="0" indent="0">
              <a:buNone/>
              <a:defRPr sz="3813" b="0">
                <a:solidFill>
                  <a:schemeClr val="accent4"/>
                </a:solidFill>
              </a:defRPr>
            </a:lvl1pPr>
            <a:lvl2pPr marL="670575" indent="0">
              <a:buNone/>
              <a:defRPr sz="2933" b="1"/>
            </a:lvl2pPr>
            <a:lvl3pPr marL="1341150" indent="0">
              <a:buNone/>
              <a:defRPr sz="2640" b="1"/>
            </a:lvl3pPr>
            <a:lvl4pPr marL="2011726" indent="0">
              <a:buNone/>
              <a:defRPr sz="2347" b="1"/>
            </a:lvl4pPr>
            <a:lvl5pPr marL="2682301" indent="0">
              <a:buNone/>
              <a:defRPr sz="2347" b="1"/>
            </a:lvl5pPr>
            <a:lvl6pPr marL="3352876" indent="0">
              <a:buNone/>
              <a:defRPr sz="2347" b="1"/>
            </a:lvl6pPr>
            <a:lvl7pPr marL="4023451" indent="0">
              <a:buNone/>
              <a:defRPr sz="2347" b="1"/>
            </a:lvl7pPr>
            <a:lvl8pPr marL="4694027" indent="0">
              <a:buNone/>
              <a:defRPr sz="2347" b="1"/>
            </a:lvl8pPr>
            <a:lvl9pPr marL="5364602" indent="0">
              <a:buNone/>
              <a:defRPr sz="2347" b="1"/>
            </a:lvl9pPr>
          </a:lstStyle>
          <a:p>
            <a:pPr lvl="0"/>
            <a:r>
              <a:rPr lang="en-US"/>
              <a:t>Short subhead</a:t>
            </a:r>
          </a:p>
        </p:txBody>
      </p:sp>
    </p:spTree>
    <p:extLst>
      <p:ext uri="{BB962C8B-B14F-4D97-AF65-F5344CB8AC3E}">
        <p14:creationId xmlns:p14="http://schemas.microsoft.com/office/powerpoint/2010/main" val="4039788974"/>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a:t>Type insightful headline in sentence case | One line</a:t>
            </a:r>
          </a:p>
        </p:txBody>
      </p:sp>
      <p:sp>
        <p:nvSpPr>
          <p:cNvPr id="3" name="Date Placeholder 2"/>
          <p:cNvSpPr>
            <a:spLocks noGrp="1"/>
          </p:cNvSpPr>
          <p:nvPr>
            <p:ph type="dt" sz="half" idx="10"/>
          </p:nvPr>
        </p:nvSpPr>
        <p:spPr/>
        <p:txBody>
          <a:bodyPr/>
          <a:lstStyle/>
          <a:p>
            <a:fld id="{66CCC73E-47F9-FC40-A96F-1496DECD9ED4}" type="datetime1">
              <a:rPr lang="en-US" smtClean="0"/>
              <a:t>4/21/21</a:t>
            </a:fld>
            <a:endParaRPr lang="en-US"/>
          </a:p>
        </p:txBody>
      </p:sp>
      <p:sp>
        <p:nvSpPr>
          <p:cNvPr id="5" name="Slide Number Placeholder 4"/>
          <p:cNvSpPr>
            <a:spLocks noGrp="1"/>
          </p:cNvSpPr>
          <p:nvPr>
            <p:ph type="sldNum" sz="quarter" idx="12"/>
          </p:nvPr>
        </p:nvSpPr>
        <p:spPr>
          <a:xfrm>
            <a:off x="16456660" y="9514241"/>
            <a:ext cx="898072" cy="535517"/>
          </a:xfrm>
        </p:spPr>
        <p:txBody>
          <a:bodyPr/>
          <a:lstStyle/>
          <a:p>
            <a:fld id="{3310D8EA-3107-4873-B9AB-DD7D3E79053A}" type="slidenum">
              <a:rPr lang="en-US" smtClean="0"/>
              <a:t>‹#›</a:t>
            </a:fld>
            <a:endParaRPr lang="en-US"/>
          </a:p>
        </p:txBody>
      </p:sp>
    </p:spTree>
    <p:extLst>
      <p:ext uri="{BB962C8B-B14F-4D97-AF65-F5344CB8AC3E}">
        <p14:creationId xmlns:p14="http://schemas.microsoft.com/office/powerpoint/2010/main" val="863255161"/>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Title, Subhead">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a:t>Type insightful headline in sentence case | One line</a:t>
            </a:r>
          </a:p>
        </p:txBody>
      </p:sp>
      <p:sp>
        <p:nvSpPr>
          <p:cNvPr id="3" name="Date Placeholder 2"/>
          <p:cNvSpPr>
            <a:spLocks noGrp="1"/>
          </p:cNvSpPr>
          <p:nvPr>
            <p:ph type="dt" sz="half" idx="10"/>
          </p:nvPr>
        </p:nvSpPr>
        <p:spPr/>
        <p:txBody>
          <a:bodyPr/>
          <a:lstStyle/>
          <a:p>
            <a:fld id="{362DF9DB-8334-D945-AB69-E456494DD0B0}" type="datetime1">
              <a:rPr lang="en-US" smtClean="0"/>
              <a:t>4/21/21</a:t>
            </a:fld>
            <a:endParaRPr lang="en-US"/>
          </a:p>
        </p:txBody>
      </p:sp>
      <p:sp>
        <p:nvSpPr>
          <p:cNvPr id="5" name="Slide Number Placeholder 4"/>
          <p:cNvSpPr>
            <a:spLocks noGrp="1"/>
          </p:cNvSpPr>
          <p:nvPr>
            <p:ph type="sldNum" sz="quarter" idx="12"/>
          </p:nvPr>
        </p:nvSpPr>
        <p:spPr/>
        <p:txBody>
          <a:bodyPr/>
          <a:lstStyle/>
          <a:p>
            <a:fld id="{3310D8EA-3107-4873-B9AB-DD7D3E79053A}" type="slidenum">
              <a:rPr lang="en-US" smtClean="0"/>
              <a:t>‹#›</a:t>
            </a:fld>
            <a:endParaRPr lang="en-US"/>
          </a:p>
        </p:txBody>
      </p:sp>
      <p:sp>
        <p:nvSpPr>
          <p:cNvPr id="6" name="Text Placeholder 7"/>
          <p:cNvSpPr>
            <a:spLocks noGrp="1"/>
          </p:cNvSpPr>
          <p:nvPr>
            <p:ph type="body" sz="quarter" idx="13" hasCustomPrompt="1"/>
          </p:nvPr>
        </p:nvSpPr>
        <p:spPr>
          <a:xfrm>
            <a:off x="726440" y="1640148"/>
            <a:ext cx="16596360" cy="721783"/>
          </a:xfrm>
        </p:spPr>
        <p:txBody>
          <a:bodyPr/>
          <a:lstStyle>
            <a:lvl1pPr>
              <a:defRPr sz="3813">
                <a:solidFill>
                  <a:schemeClr val="accent4"/>
                </a:solidFill>
              </a:defRPr>
            </a:lvl1pPr>
          </a:lstStyle>
          <a:p>
            <a:pPr lvl="0"/>
            <a:r>
              <a:rPr lang="en-US"/>
              <a:t>Use this space for one line subhead if needed | One line</a:t>
            </a:r>
          </a:p>
        </p:txBody>
      </p:sp>
    </p:spTree>
    <p:extLst>
      <p:ext uri="{BB962C8B-B14F-4D97-AF65-F5344CB8AC3E}">
        <p14:creationId xmlns:p14="http://schemas.microsoft.com/office/powerpoint/2010/main" val="404738316"/>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3 icon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a:t>Type insightful headline in sentence case | One line</a:t>
            </a:r>
          </a:p>
        </p:txBody>
      </p:sp>
      <p:sp>
        <p:nvSpPr>
          <p:cNvPr id="3" name="Date Placeholder 2"/>
          <p:cNvSpPr>
            <a:spLocks noGrp="1"/>
          </p:cNvSpPr>
          <p:nvPr>
            <p:ph type="dt" sz="half" idx="10"/>
          </p:nvPr>
        </p:nvSpPr>
        <p:spPr/>
        <p:txBody>
          <a:bodyPr/>
          <a:lstStyle/>
          <a:p>
            <a:fld id="{FBE6979F-CB61-594E-83EE-7A39EC78DBD5}" type="datetime1">
              <a:rPr lang="en-US" smtClean="0"/>
              <a:t>4/21/21</a:t>
            </a:fld>
            <a:endParaRPr lang="en-US"/>
          </a:p>
        </p:txBody>
      </p:sp>
      <p:sp>
        <p:nvSpPr>
          <p:cNvPr id="5" name="Slide Number Placeholder 4"/>
          <p:cNvSpPr>
            <a:spLocks noGrp="1"/>
          </p:cNvSpPr>
          <p:nvPr>
            <p:ph type="sldNum" sz="quarter" idx="12"/>
          </p:nvPr>
        </p:nvSpPr>
        <p:spPr/>
        <p:txBody>
          <a:bodyPr/>
          <a:lstStyle/>
          <a:p>
            <a:fld id="{3310D8EA-3107-4873-B9AB-DD7D3E79053A}" type="slidenum">
              <a:rPr lang="en-US" smtClean="0"/>
              <a:t>‹#›</a:t>
            </a:fld>
            <a:endParaRPr lang="en-US"/>
          </a:p>
        </p:txBody>
      </p:sp>
      <p:sp>
        <p:nvSpPr>
          <p:cNvPr id="6" name="Text Placeholder 7"/>
          <p:cNvSpPr>
            <a:spLocks noGrp="1"/>
          </p:cNvSpPr>
          <p:nvPr>
            <p:ph type="body" sz="quarter" idx="13" hasCustomPrompt="1"/>
          </p:nvPr>
        </p:nvSpPr>
        <p:spPr>
          <a:xfrm>
            <a:off x="726440" y="1640148"/>
            <a:ext cx="16596360" cy="721783"/>
          </a:xfrm>
        </p:spPr>
        <p:txBody>
          <a:bodyPr/>
          <a:lstStyle>
            <a:lvl1pPr>
              <a:defRPr sz="3813">
                <a:solidFill>
                  <a:schemeClr val="accent4"/>
                </a:solidFill>
              </a:defRPr>
            </a:lvl1pPr>
          </a:lstStyle>
          <a:p>
            <a:pPr lvl="0"/>
            <a:r>
              <a:rPr lang="en-US"/>
              <a:t>Use this space for one line subhead if needed | One line</a:t>
            </a:r>
          </a:p>
        </p:txBody>
      </p:sp>
      <p:sp>
        <p:nvSpPr>
          <p:cNvPr id="10" name="Text Placeholder 9"/>
          <p:cNvSpPr>
            <a:spLocks noGrp="1"/>
          </p:cNvSpPr>
          <p:nvPr>
            <p:ph type="body" sz="quarter" idx="14" hasCustomPrompt="1"/>
          </p:nvPr>
        </p:nvSpPr>
        <p:spPr>
          <a:xfrm>
            <a:off x="2228697" y="2682240"/>
            <a:ext cx="2735885" cy="2738120"/>
          </a:xfrm>
          <a:prstGeom prst="ellipse">
            <a:avLst/>
          </a:prstGeom>
          <a:ln w="19050">
            <a:solidFill>
              <a:schemeClr val="accent1"/>
            </a:solidFill>
          </a:ln>
        </p:spPr>
        <p:txBody>
          <a:bodyPr anchor="ctr"/>
          <a:lstStyle>
            <a:lvl1pPr algn="ctr">
              <a:buNone/>
              <a:defRPr sz="1760">
                <a:solidFill>
                  <a:schemeClr val="bg2">
                    <a:lumMod val="85000"/>
                  </a:schemeClr>
                </a:solidFill>
              </a:defRPr>
            </a:lvl1pPr>
          </a:lstStyle>
          <a:p>
            <a:pPr lvl="0"/>
            <a:r>
              <a:rPr lang="en-US"/>
              <a:t>Place icon here. To hide this text, place cursor then hit space bar. Duplicate or delete as needed.</a:t>
            </a:r>
          </a:p>
        </p:txBody>
      </p:sp>
      <p:sp>
        <p:nvSpPr>
          <p:cNvPr id="11" name="Text Placeholder 9"/>
          <p:cNvSpPr>
            <a:spLocks noGrp="1"/>
          </p:cNvSpPr>
          <p:nvPr>
            <p:ph type="body" sz="quarter" idx="15" hasCustomPrompt="1"/>
          </p:nvPr>
        </p:nvSpPr>
        <p:spPr>
          <a:xfrm>
            <a:off x="7585447" y="2682240"/>
            <a:ext cx="2735885" cy="2738120"/>
          </a:xfrm>
          <a:prstGeom prst="ellipse">
            <a:avLst/>
          </a:prstGeom>
          <a:ln w="19050">
            <a:solidFill>
              <a:schemeClr val="accent1"/>
            </a:solidFill>
          </a:ln>
        </p:spPr>
        <p:txBody>
          <a:bodyPr anchor="ctr"/>
          <a:lstStyle>
            <a:lvl1pPr algn="ctr">
              <a:buNone/>
              <a:defRPr sz="1760">
                <a:solidFill>
                  <a:schemeClr val="bg2">
                    <a:lumMod val="85000"/>
                  </a:schemeClr>
                </a:solidFill>
              </a:defRPr>
            </a:lvl1pPr>
          </a:lstStyle>
          <a:p>
            <a:pPr lvl="0"/>
            <a:r>
              <a:rPr lang="en-US"/>
              <a:t>Place icon here. To hide this text, place cursor then hit space bar. Duplicate or delete as needed.</a:t>
            </a:r>
          </a:p>
        </p:txBody>
      </p:sp>
      <p:sp>
        <p:nvSpPr>
          <p:cNvPr id="12" name="Text Placeholder 9"/>
          <p:cNvSpPr>
            <a:spLocks noGrp="1"/>
          </p:cNvSpPr>
          <p:nvPr>
            <p:ph type="body" sz="quarter" idx="16" hasCustomPrompt="1"/>
          </p:nvPr>
        </p:nvSpPr>
        <p:spPr>
          <a:xfrm>
            <a:off x="13069194" y="2682240"/>
            <a:ext cx="2735885" cy="2738120"/>
          </a:xfrm>
          <a:prstGeom prst="ellipse">
            <a:avLst/>
          </a:prstGeom>
          <a:ln w="19050">
            <a:solidFill>
              <a:schemeClr val="accent1"/>
            </a:solidFill>
          </a:ln>
        </p:spPr>
        <p:txBody>
          <a:bodyPr anchor="ctr"/>
          <a:lstStyle>
            <a:lvl1pPr algn="ctr">
              <a:buNone/>
              <a:defRPr sz="1760">
                <a:solidFill>
                  <a:schemeClr val="bg2">
                    <a:lumMod val="85000"/>
                  </a:schemeClr>
                </a:solidFill>
              </a:defRPr>
            </a:lvl1pPr>
          </a:lstStyle>
          <a:p>
            <a:pPr lvl="0"/>
            <a:r>
              <a:rPr lang="en-US"/>
              <a:t>Place icon here. To hide this text, place cursor then hit space bar. Duplicate or delete as needed.</a:t>
            </a:r>
          </a:p>
        </p:txBody>
      </p:sp>
      <p:sp>
        <p:nvSpPr>
          <p:cNvPr id="13" name="Content Placeholder 2"/>
          <p:cNvSpPr>
            <a:spLocks noGrp="1"/>
          </p:cNvSpPr>
          <p:nvPr>
            <p:ph sz="half" idx="1" hasCustomPrompt="1"/>
          </p:nvPr>
        </p:nvSpPr>
        <p:spPr>
          <a:xfrm>
            <a:off x="1150619" y="6455811"/>
            <a:ext cx="4892040" cy="2205587"/>
          </a:xfrm>
        </p:spPr>
        <p:txBody>
          <a:bodyPr/>
          <a:lstStyle>
            <a:lvl1pPr>
              <a:defRPr sz="2347">
                <a:solidFill>
                  <a:schemeClr val="tx2"/>
                </a:solidFill>
              </a:defRPr>
            </a:lvl1pPr>
            <a:lvl2pPr marL="335288" indent="-335288">
              <a:buFont typeface="Arial" panose="020B0604020202020204" pitchFamily="34" charset="0"/>
              <a:buChar char="•"/>
              <a:defRPr sz="2347"/>
            </a:lvl2pPr>
            <a:lvl3pPr marL="670575" indent="-335288">
              <a:buClr>
                <a:schemeClr val="tx1"/>
              </a:buClr>
              <a:buFont typeface="Arial" panose="020B0604020202020204" pitchFamily="34" charset="0"/>
              <a:buChar char="−"/>
              <a:defRPr sz="2347"/>
            </a:lvl3pPr>
            <a:lvl4pPr marL="1008192" indent="-337617">
              <a:buFont typeface="Arial" panose="020B0604020202020204" pitchFamily="34" charset="0"/>
              <a:buChar char="•"/>
              <a:defRPr sz="2347"/>
            </a:lvl4pPr>
            <a:lvl5pPr>
              <a:defRPr sz="2053"/>
            </a:lvl5pPr>
          </a:lstStyle>
          <a:p>
            <a:pPr lvl="0"/>
            <a:r>
              <a:rPr lang="en-US"/>
              <a:t>Type 16 pt gray text max three lines</a:t>
            </a:r>
          </a:p>
          <a:p>
            <a:pPr lvl="1"/>
            <a:r>
              <a:rPr lang="en-US"/>
              <a:t>Second level</a:t>
            </a:r>
          </a:p>
          <a:p>
            <a:pPr lvl="2"/>
            <a:r>
              <a:rPr lang="en-US"/>
              <a:t>Third level</a:t>
            </a:r>
          </a:p>
          <a:p>
            <a:pPr lvl="3"/>
            <a:r>
              <a:rPr lang="en-US"/>
              <a:t>Fourth level</a:t>
            </a:r>
          </a:p>
          <a:p>
            <a:pPr lvl="4"/>
            <a:r>
              <a:rPr lang="en-US"/>
              <a:t>Fifth level</a:t>
            </a:r>
          </a:p>
        </p:txBody>
      </p:sp>
      <p:sp>
        <p:nvSpPr>
          <p:cNvPr id="16" name="Content Placeholder 2">
            <a:extLst>
              <a:ext uri="{FF2B5EF4-FFF2-40B4-BE49-F238E27FC236}">
                <a16:creationId xmlns:a16="http://schemas.microsoft.com/office/drawing/2014/main" id="{91B99C12-BC4B-42D3-9852-1F9B4101E133}"/>
              </a:ext>
            </a:extLst>
          </p:cNvPr>
          <p:cNvSpPr>
            <a:spLocks noGrp="1"/>
          </p:cNvSpPr>
          <p:nvPr>
            <p:ph sz="half" idx="17" hasCustomPrompt="1"/>
          </p:nvPr>
        </p:nvSpPr>
        <p:spPr>
          <a:xfrm>
            <a:off x="6507370" y="6455811"/>
            <a:ext cx="4892040" cy="2205587"/>
          </a:xfrm>
        </p:spPr>
        <p:txBody>
          <a:bodyPr/>
          <a:lstStyle>
            <a:lvl1pPr>
              <a:defRPr sz="2347">
                <a:solidFill>
                  <a:schemeClr val="tx2"/>
                </a:solidFill>
              </a:defRPr>
            </a:lvl1pPr>
            <a:lvl2pPr marL="335288" indent="-335288">
              <a:buFont typeface="Arial" panose="020B0604020202020204" pitchFamily="34" charset="0"/>
              <a:buChar char="•"/>
              <a:defRPr sz="2347"/>
            </a:lvl2pPr>
            <a:lvl3pPr marL="670575" indent="-335288">
              <a:buClr>
                <a:schemeClr val="tx1"/>
              </a:buClr>
              <a:buFont typeface="Arial" panose="020B0604020202020204" pitchFamily="34" charset="0"/>
              <a:buChar char="−"/>
              <a:defRPr sz="2347"/>
            </a:lvl3pPr>
            <a:lvl4pPr marL="1008192" indent="-337617">
              <a:buFont typeface="Arial" panose="020B0604020202020204" pitchFamily="34" charset="0"/>
              <a:buChar char="•"/>
              <a:defRPr sz="2347"/>
            </a:lvl4pPr>
            <a:lvl5pPr>
              <a:defRPr sz="2053"/>
            </a:lvl5pPr>
          </a:lstStyle>
          <a:p>
            <a:pPr lvl="0"/>
            <a:r>
              <a:rPr lang="en-US"/>
              <a:t>Type 16 pt gray text max three lines </a:t>
            </a:r>
          </a:p>
          <a:p>
            <a:pPr lvl="1"/>
            <a:r>
              <a:rPr lang="en-US"/>
              <a:t>Second level</a:t>
            </a:r>
          </a:p>
          <a:p>
            <a:pPr lvl="2"/>
            <a:r>
              <a:rPr lang="en-US"/>
              <a:t>Third level</a:t>
            </a:r>
          </a:p>
          <a:p>
            <a:pPr lvl="3"/>
            <a:r>
              <a:rPr lang="en-US"/>
              <a:t>Fourth level</a:t>
            </a:r>
          </a:p>
          <a:p>
            <a:pPr lvl="4"/>
            <a:r>
              <a:rPr lang="en-US"/>
              <a:t>Fifth level</a:t>
            </a:r>
          </a:p>
        </p:txBody>
      </p:sp>
      <p:sp>
        <p:nvSpPr>
          <p:cNvPr id="17" name="Content Placeholder 2">
            <a:extLst>
              <a:ext uri="{FF2B5EF4-FFF2-40B4-BE49-F238E27FC236}">
                <a16:creationId xmlns:a16="http://schemas.microsoft.com/office/drawing/2014/main" id="{D9004B96-D94C-4153-B36B-4355853060EA}"/>
              </a:ext>
            </a:extLst>
          </p:cNvPr>
          <p:cNvSpPr>
            <a:spLocks noGrp="1"/>
          </p:cNvSpPr>
          <p:nvPr>
            <p:ph sz="half" idx="18" hasCustomPrompt="1"/>
          </p:nvPr>
        </p:nvSpPr>
        <p:spPr>
          <a:xfrm>
            <a:off x="11991116" y="6455811"/>
            <a:ext cx="4892040" cy="2205587"/>
          </a:xfrm>
        </p:spPr>
        <p:txBody>
          <a:bodyPr/>
          <a:lstStyle>
            <a:lvl1pPr>
              <a:defRPr sz="2347">
                <a:solidFill>
                  <a:schemeClr val="tx2"/>
                </a:solidFill>
              </a:defRPr>
            </a:lvl1pPr>
            <a:lvl2pPr marL="335288" indent="-335288">
              <a:buFont typeface="Arial" panose="020B0604020202020204" pitchFamily="34" charset="0"/>
              <a:buChar char="•"/>
              <a:defRPr sz="2347"/>
            </a:lvl2pPr>
            <a:lvl3pPr marL="670575" indent="-335288">
              <a:buClr>
                <a:schemeClr val="tx1"/>
              </a:buClr>
              <a:buFont typeface="Arial" panose="020B0604020202020204" pitchFamily="34" charset="0"/>
              <a:buChar char="−"/>
              <a:defRPr sz="2347"/>
            </a:lvl3pPr>
            <a:lvl4pPr marL="1008192" indent="-337617">
              <a:buFont typeface="Arial" panose="020B0604020202020204" pitchFamily="34" charset="0"/>
              <a:buChar char="•"/>
              <a:defRPr sz="2347"/>
            </a:lvl4pPr>
            <a:lvl5pPr>
              <a:defRPr sz="2053"/>
            </a:lvl5pPr>
          </a:lstStyle>
          <a:p>
            <a:pPr lvl="0"/>
            <a:r>
              <a:rPr lang="en-US"/>
              <a:t>Type 16 pt gray text max three lines </a:t>
            </a:r>
          </a:p>
          <a:p>
            <a:pPr lvl="1"/>
            <a:r>
              <a:rPr lang="en-US"/>
              <a:t>Second level</a:t>
            </a:r>
          </a:p>
          <a:p>
            <a:pPr lvl="2"/>
            <a:r>
              <a:rPr lang="en-US"/>
              <a:t>Third level</a:t>
            </a:r>
          </a:p>
          <a:p>
            <a:pPr lvl="3"/>
            <a:r>
              <a:rPr lang="en-US"/>
              <a:t>Fourth level</a:t>
            </a:r>
          </a:p>
          <a:p>
            <a:pPr lvl="4"/>
            <a:r>
              <a:rPr lang="en-US"/>
              <a:t>Fifth level</a:t>
            </a:r>
          </a:p>
        </p:txBody>
      </p:sp>
      <p:sp>
        <p:nvSpPr>
          <p:cNvPr id="8" name="Text Placeholder 7">
            <a:extLst>
              <a:ext uri="{FF2B5EF4-FFF2-40B4-BE49-F238E27FC236}">
                <a16:creationId xmlns:a16="http://schemas.microsoft.com/office/drawing/2014/main" id="{4736416D-EB4F-4346-8783-FC896DC0CA68}"/>
              </a:ext>
            </a:extLst>
          </p:cNvPr>
          <p:cNvSpPr>
            <a:spLocks noGrp="1"/>
          </p:cNvSpPr>
          <p:nvPr>
            <p:ph type="body" sz="quarter" idx="19" hasCustomPrompt="1"/>
          </p:nvPr>
        </p:nvSpPr>
        <p:spPr>
          <a:xfrm>
            <a:off x="1150621" y="5674149"/>
            <a:ext cx="4892040" cy="670560"/>
          </a:xfrm>
        </p:spPr>
        <p:txBody>
          <a:bodyPr/>
          <a:lstStyle>
            <a:lvl1pPr>
              <a:defRPr sz="2347">
                <a:solidFill>
                  <a:schemeClr val="accent1"/>
                </a:solidFill>
              </a:defRPr>
            </a:lvl1pPr>
          </a:lstStyle>
          <a:p>
            <a:pPr lvl="0"/>
            <a:r>
              <a:rPr lang="en-US"/>
              <a:t>Type subhead in 16 pt orange | Max two lines</a:t>
            </a:r>
          </a:p>
        </p:txBody>
      </p:sp>
      <p:sp>
        <p:nvSpPr>
          <p:cNvPr id="18" name="Text Placeholder 7">
            <a:extLst>
              <a:ext uri="{FF2B5EF4-FFF2-40B4-BE49-F238E27FC236}">
                <a16:creationId xmlns:a16="http://schemas.microsoft.com/office/drawing/2014/main" id="{5BAB981D-A627-42CC-B2DE-02C26E3DF946}"/>
              </a:ext>
            </a:extLst>
          </p:cNvPr>
          <p:cNvSpPr>
            <a:spLocks noGrp="1"/>
          </p:cNvSpPr>
          <p:nvPr>
            <p:ph type="body" sz="quarter" idx="20" hasCustomPrompt="1"/>
          </p:nvPr>
        </p:nvSpPr>
        <p:spPr>
          <a:xfrm>
            <a:off x="6507370" y="5669165"/>
            <a:ext cx="4892040" cy="670560"/>
          </a:xfrm>
        </p:spPr>
        <p:txBody>
          <a:bodyPr/>
          <a:lstStyle>
            <a:lvl1pPr>
              <a:defRPr sz="2347">
                <a:solidFill>
                  <a:schemeClr val="accent1"/>
                </a:solidFill>
              </a:defRPr>
            </a:lvl1pPr>
          </a:lstStyle>
          <a:p>
            <a:pPr lvl="0"/>
            <a:r>
              <a:rPr lang="en-US"/>
              <a:t>Type subhead in 16 pt orange | Max two lines</a:t>
            </a:r>
          </a:p>
        </p:txBody>
      </p:sp>
      <p:sp>
        <p:nvSpPr>
          <p:cNvPr id="19" name="Text Placeholder 7">
            <a:extLst>
              <a:ext uri="{FF2B5EF4-FFF2-40B4-BE49-F238E27FC236}">
                <a16:creationId xmlns:a16="http://schemas.microsoft.com/office/drawing/2014/main" id="{E65F5722-9D51-4EC9-BA8C-FDC59DB84633}"/>
              </a:ext>
            </a:extLst>
          </p:cNvPr>
          <p:cNvSpPr>
            <a:spLocks noGrp="1"/>
          </p:cNvSpPr>
          <p:nvPr>
            <p:ph type="body" sz="quarter" idx="21" hasCustomPrompt="1"/>
          </p:nvPr>
        </p:nvSpPr>
        <p:spPr>
          <a:xfrm>
            <a:off x="11991116" y="5669165"/>
            <a:ext cx="4892040" cy="670560"/>
          </a:xfrm>
        </p:spPr>
        <p:txBody>
          <a:bodyPr/>
          <a:lstStyle>
            <a:lvl1pPr>
              <a:defRPr sz="2347">
                <a:solidFill>
                  <a:schemeClr val="accent1"/>
                </a:solidFill>
              </a:defRPr>
            </a:lvl1pPr>
          </a:lstStyle>
          <a:p>
            <a:pPr lvl="0"/>
            <a:r>
              <a:rPr lang="en-US"/>
              <a:t>Type subhead in 16 pt orange | Max two lines</a:t>
            </a:r>
          </a:p>
        </p:txBody>
      </p:sp>
    </p:spTree>
    <p:extLst>
      <p:ext uri="{BB962C8B-B14F-4D97-AF65-F5344CB8AC3E}">
        <p14:creationId xmlns:p14="http://schemas.microsoft.com/office/powerpoint/2010/main" val="348120486"/>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5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a:t>5 Column | Type insightful headline in sentence case | One line</a:t>
            </a:r>
          </a:p>
        </p:txBody>
      </p:sp>
      <p:sp>
        <p:nvSpPr>
          <p:cNvPr id="3" name="Date Placeholder 2"/>
          <p:cNvSpPr>
            <a:spLocks noGrp="1"/>
          </p:cNvSpPr>
          <p:nvPr>
            <p:ph type="dt" sz="half" idx="10"/>
          </p:nvPr>
        </p:nvSpPr>
        <p:spPr/>
        <p:txBody>
          <a:bodyPr/>
          <a:lstStyle/>
          <a:p>
            <a:fld id="{A131AD87-B724-594E-98FD-35F8EA8B27DF}" type="datetime1">
              <a:rPr lang="en-US" smtClean="0"/>
              <a:t>4/21/21</a:t>
            </a:fld>
            <a:endParaRPr lang="en-US"/>
          </a:p>
        </p:txBody>
      </p:sp>
      <p:sp>
        <p:nvSpPr>
          <p:cNvPr id="4" name="Footer Placeholder 3"/>
          <p:cNvSpPr>
            <a:spLocks noGrp="1"/>
          </p:cNvSpPr>
          <p:nvPr>
            <p:ph type="ftr" sz="quarter" idx="11"/>
          </p:nvPr>
        </p:nvSpPr>
        <p:spPr>
          <a:xfrm>
            <a:off x="7767321" y="9514241"/>
            <a:ext cx="8689339" cy="535517"/>
          </a:xfrm>
          <a:prstGeom prst="rect">
            <a:avLst/>
          </a:prstGeom>
        </p:spPr>
        <p:txBody>
          <a:bodyPr/>
          <a:lstStyle/>
          <a:p>
            <a:r>
              <a:rPr lang="en-US"/>
              <a:t>Confidential property of Optum. Do not distribute or reproduce without express permission from Optum.</a:t>
            </a:r>
          </a:p>
        </p:txBody>
      </p:sp>
      <p:sp>
        <p:nvSpPr>
          <p:cNvPr id="5" name="Slide Number Placeholder 4"/>
          <p:cNvSpPr>
            <a:spLocks noGrp="1"/>
          </p:cNvSpPr>
          <p:nvPr>
            <p:ph type="sldNum" sz="quarter" idx="12"/>
          </p:nvPr>
        </p:nvSpPr>
        <p:spPr/>
        <p:txBody>
          <a:bodyPr/>
          <a:lstStyle/>
          <a:p>
            <a:fld id="{3310D8EA-3107-4873-B9AB-DD7D3E79053A}" type="slidenum">
              <a:rPr lang="en-US" smtClean="0"/>
              <a:t>‹#›</a:t>
            </a:fld>
            <a:endParaRPr lang="en-US"/>
          </a:p>
        </p:txBody>
      </p:sp>
      <p:sp>
        <p:nvSpPr>
          <p:cNvPr id="6" name="Text Placeholder 7"/>
          <p:cNvSpPr>
            <a:spLocks noGrp="1"/>
          </p:cNvSpPr>
          <p:nvPr>
            <p:ph type="body" sz="quarter" idx="13" hasCustomPrompt="1"/>
          </p:nvPr>
        </p:nvSpPr>
        <p:spPr>
          <a:xfrm>
            <a:off x="726440" y="1640148"/>
            <a:ext cx="16596360" cy="721783"/>
          </a:xfrm>
        </p:spPr>
        <p:txBody>
          <a:bodyPr/>
          <a:lstStyle>
            <a:lvl1pPr>
              <a:defRPr sz="3813">
                <a:solidFill>
                  <a:schemeClr val="accent4"/>
                </a:solidFill>
              </a:defRPr>
            </a:lvl1pPr>
          </a:lstStyle>
          <a:p>
            <a:pPr lvl="0"/>
            <a:r>
              <a:rPr lang="en-US"/>
              <a:t>Use this space for one line subhead if needed | One line</a:t>
            </a:r>
          </a:p>
        </p:txBody>
      </p:sp>
      <p:sp>
        <p:nvSpPr>
          <p:cNvPr id="8" name="Text Placeholder 7"/>
          <p:cNvSpPr>
            <a:spLocks noGrp="1"/>
          </p:cNvSpPr>
          <p:nvPr>
            <p:ph type="body" sz="quarter" idx="14" hasCustomPrompt="1"/>
          </p:nvPr>
        </p:nvSpPr>
        <p:spPr>
          <a:xfrm>
            <a:off x="726440" y="2682237"/>
            <a:ext cx="3218688" cy="973243"/>
          </a:xfrm>
          <a:solidFill>
            <a:schemeClr val="tx2"/>
          </a:solidFill>
        </p:spPr>
        <p:txBody>
          <a:bodyPr lIns="137160" anchor="ctr"/>
          <a:lstStyle>
            <a:lvl1pPr algn="l">
              <a:lnSpc>
                <a:spcPct val="90000"/>
              </a:lnSpc>
              <a:spcBef>
                <a:spcPts val="0"/>
              </a:spcBef>
              <a:spcAft>
                <a:spcPts val="0"/>
              </a:spcAft>
              <a:defRPr sz="2640">
                <a:solidFill>
                  <a:schemeClr val="bg1"/>
                </a:solidFill>
              </a:defRPr>
            </a:lvl1pPr>
          </a:lstStyle>
          <a:p>
            <a:pPr lvl="0"/>
            <a:r>
              <a:rPr lang="en-US"/>
              <a:t>Header</a:t>
            </a:r>
          </a:p>
        </p:txBody>
      </p:sp>
      <p:sp>
        <p:nvSpPr>
          <p:cNvPr id="27" name="Text Placeholder 7"/>
          <p:cNvSpPr>
            <a:spLocks noGrp="1"/>
          </p:cNvSpPr>
          <p:nvPr>
            <p:ph type="body" sz="quarter" idx="15" hasCustomPrompt="1"/>
          </p:nvPr>
        </p:nvSpPr>
        <p:spPr>
          <a:xfrm>
            <a:off x="4078576" y="2682238"/>
            <a:ext cx="3218688" cy="973243"/>
          </a:xfrm>
          <a:solidFill>
            <a:schemeClr val="accent2"/>
          </a:solidFill>
        </p:spPr>
        <p:txBody>
          <a:bodyPr lIns="137160" anchor="ctr"/>
          <a:lstStyle>
            <a:lvl1pPr>
              <a:lnSpc>
                <a:spcPct val="90000"/>
              </a:lnSpc>
              <a:spcBef>
                <a:spcPts val="0"/>
              </a:spcBef>
              <a:spcAft>
                <a:spcPts val="0"/>
              </a:spcAft>
              <a:defRPr sz="2640">
                <a:solidFill>
                  <a:schemeClr val="bg1"/>
                </a:solidFill>
              </a:defRPr>
            </a:lvl1pPr>
          </a:lstStyle>
          <a:p>
            <a:pPr lvl="0"/>
            <a:r>
              <a:rPr lang="en-US"/>
              <a:t>Header</a:t>
            </a:r>
          </a:p>
        </p:txBody>
      </p:sp>
      <p:sp>
        <p:nvSpPr>
          <p:cNvPr id="28" name="Text Placeholder 7"/>
          <p:cNvSpPr>
            <a:spLocks noGrp="1"/>
          </p:cNvSpPr>
          <p:nvPr>
            <p:ph type="body" sz="quarter" idx="16" hasCustomPrompt="1"/>
          </p:nvPr>
        </p:nvSpPr>
        <p:spPr>
          <a:xfrm>
            <a:off x="7430711" y="2682238"/>
            <a:ext cx="3218688" cy="973243"/>
          </a:xfrm>
          <a:solidFill>
            <a:schemeClr val="accent4"/>
          </a:solidFill>
        </p:spPr>
        <p:txBody>
          <a:bodyPr lIns="137160" anchor="ctr"/>
          <a:lstStyle>
            <a:lvl1pPr>
              <a:lnSpc>
                <a:spcPct val="90000"/>
              </a:lnSpc>
              <a:spcBef>
                <a:spcPts val="0"/>
              </a:spcBef>
              <a:spcAft>
                <a:spcPts val="0"/>
              </a:spcAft>
              <a:defRPr sz="2640">
                <a:solidFill>
                  <a:schemeClr val="bg1"/>
                </a:solidFill>
              </a:defRPr>
            </a:lvl1pPr>
          </a:lstStyle>
          <a:p>
            <a:pPr lvl="0"/>
            <a:r>
              <a:rPr lang="en-US"/>
              <a:t>Header</a:t>
            </a:r>
          </a:p>
        </p:txBody>
      </p:sp>
      <p:sp>
        <p:nvSpPr>
          <p:cNvPr id="29" name="Text Placeholder 7"/>
          <p:cNvSpPr>
            <a:spLocks noGrp="1"/>
          </p:cNvSpPr>
          <p:nvPr>
            <p:ph type="body" sz="quarter" idx="17" hasCustomPrompt="1"/>
          </p:nvPr>
        </p:nvSpPr>
        <p:spPr>
          <a:xfrm>
            <a:off x="10782847" y="2682238"/>
            <a:ext cx="3218688" cy="973243"/>
          </a:xfrm>
          <a:solidFill>
            <a:schemeClr val="accent1"/>
          </a:solidFill>
        </p:spPr>
        <p:txBody>
          <a:bodyPr lIns="137160" anchor="ctr"/>
          <a:lstStyle>
            <a:lvl1pPr>
              <a:lnSpc>
                <a:spcPct val="90000"/>
              </a:lnSpc>
              <a:spcBef>
                <a:spcPts val="0"/>
              </a:spcBef>
              <a:spcAft>
                <a:spcPts val="0"/>
              </a:spcAft>
              <a:defRPr sz="2640">
                <a:solidFill>
                  <a:schemeClr val="bg1"/>
                </a:solidFill>
              </a:defRPr>
            </a:lvl1pPr>
          </a:lstStyle>
          <a:p>
            <a:pPr lvl="0"/>
            <a:r>
              <a:rPr lang="en-US"/>
              <a:t>Header</a:t>
            </a:r>
          </a:p>
        </p:txBody>
      </p:sp>
      <p:sp>
        <p:nvSpPr>
          <p:cNvPr id="30" name="Text Placeholder 7"/>
          <p:cNvSpPr>
            <a:spLocks noGrp="1"/>
          </p:cNvSpPr>
          <p:nvPr>
            <p:ph type="body" sz="quarter" idx="18" hasCustomPrompt="1"/>
          </p:nvPr>
        </p:nvSpPr>
        <p:spPr>
          <a:xfrm>
            <a:off x="14134979" y="2682238"/>
            <a:ext cx="3218688" cy="973243"/>
          </a:xfrm>
          <a:solidFill>
            <a:srgbClr val="A22B38"/>
          </a:solidFill>
        </p:spPr>
        <p:txBody>
          <a:bodyPr lIns="137160" anchor="ctr"/>
          <a:lstStyle>
            <a:lvl1pPr>
              <a:lnSpc>
                <a:spcPct val="90000"/>
              </a:lnSpc>
              <a:spcBef>
                <a:spcPts val="0"/>
              </a:spcBef>
              <a:spcAft>
                <a:spcPts val="0"/>
              </a:spcAft>
              <a:defRPr sz="2640">
                <a:solidFill>
                  <a:schemeClr val="bg1"/>
                </a:solidFill>
              </a:defRPr>
            </a:lvl1pPr>
          </a:lstStyle>
          <a:p>
            <a:pPr lvl="0"/>
            <a:r>
              <a:rPr lang="en-US"/>
              <a:t>Header</a:t>
            </a:r>
          </a:p>
        </p:txBody>
      </p:sp>
      <p:sp>
        <p:nvSpPr>
          <p:cNvPr id="31" name="Text Placeholder 7"/>
          <p:cNvSpPr>
            <a:spLocks noGrp="1"/>
          </p:cNvSpPr>
          <p:nvPr>
            <p:ph type="body" sz="quarter" idx="19" hasCustomPrompt="1"/>
          </p:nvPr>
        </p:nvSpPr>
        <p:spPr>
          <a:xfrm>
            <a:off x="726440" y="3655479"/>
            <a:ext cx="3218688" cy="5005921"/>
          </a:xfrm>
          <a:solidFill>
            <a:schemeClr val="accent3">
              <a:lumMod val="20000"/>
              <a:lumOff val="80000"/>
            </a:schemeClr>
          </a:solidFill>
        </p:spPr>
        <p:txBody>
          <a:bodyPr lIns="137160" tIns="137160" anchor="t"/>
          <a:lstStyle>
            <a:lvl1pPr marL="0" indent="0" algn="l">
              <a:lnSpc>
                <a:spcPct val="90000"/>
              </a:lnSpc>
              <a:spcBef>
                <a:spcPts val="0"/>
              </a:spcBef>
              <a:spcAft>
                <a:spcPts val="0"/>
              </a:spcAft>
              <a:buFont typeface="Arial" panose="020B0604020202020204" pitchFamily="34" charset="0"/>
              <a:buNone/>
              <a:defRPr sz="2640">
                <a:solidFill>
                  <a:schemeClr val="tx1"/>
                </a:solidFill>
              </a:defRPr>
            </a:lvl1pPr>
          </a:lstStyle>
          <a:p>
            <a:pPr lvl="0"/>
            <a:r>
              <a:rPr lang="en-US"/>
              <a:t>Text – add bullet if needed</a:t>
            </a:r>
          </a:p>
        </p:txBody>
      </p:sp>
      <p:sp>
        <p:nvSpPr>
          <p:cNvPr id="32" name="Text Placeholder 7"/>
          <p:cNvSpPr>
            <a:spLocks noGrp="1"/>
          </p:cNvSpPr>
          <p:nvPr>
            <p:ph type="body" sz="quarter" idx="20" hasCustomPrompt="1"/>
          </p:nvPr>
        </p:nvSpPr>
        <p:spPr>
          <a:xfrm>
            <a:off x="4078576" y="3655479"/>
            <a:ext cx="3218688" cy="5005921"/>
          </a:xfrm>
          <a:solidFill>
            <a:schemeClr val="accent3">
              <a:lumMod val="20000"/>
              <a:lumOff val="80000"/>
            </a:schemeClr>
          </a:solidFill>
        </p:spPr>
        <p:txBody>
          <a:bodyPr lIns="137160" tIns="137160" anchor="t"/>
          <a:lstStyle>
            <a:lvl1pPr marL="0" indent="0" algn="l">
              <a:lnSpc>
                <a:spcPct val="90000"/>
              </a:lnSpc>
              <a:spcBef>
                <a:spcPts val="0"/>
              </a:spcBef>
              <a:spcAft>
                <a:spcPts val="0"/>
              </a:spcAft>
              <a:buFont typeface="Arial" panose="020B0604020202020204" pitchFamily="34" charset="0"/>
              <a:buNone/>
              <a:defRPr sz="2640">
                <a:solidFill>
                  <a:schemeClr val="tx1"/>
                </a:solidFill>
              </a:defRPr>
            </a:lvl1pPr>
          </a:lstStyle>
          <a:p>
            <a:pPr lvl="0"/>
            <a:r>
              <a:rPr lang="en-US"/>
              <a:t>Text – add bullet if needed</a:t>
            </a:r>
          </a:p>
        </p:txBody>
      </p:sp>
      <p:sp>
        <p:nvSpPr>
          <p:cNvPr id="33" name="Text Placeholder 7"/>
          <p:cNvSpPr>
            <a:spLocks noGrp="1"/>
          </p:cNvSpPr>
          <p:nvPr>
            <p:ph type="body" sz="quarter" idx="21" hasCustomPrompt="1"/>
          </p:nvPr>
        </p:nvSpPr>
        <p:spPr>
          <a:xfrm>
            <a:off x="7430711" y="3655479"/>
            <a:ext cx="3218688" cy="5005921"/>
          </a:xfrm>
          <a:solidFill>
            <a:schemeClr val="accent3">
              <a:lumMod val="20000"/>
              <a:lumOff val="80000"/>
            </a:schemeClr>
          </a:solidFill>
        </p:spPr>
        <p:txBody>
          <a:bodyPr lIns="137160" tIns="137160" anchor="t"/>
          <a:lstStyle>
            <a:lvl1pPr marL="0" indent="0" algn="l">
              <a:lnSpc>
                <a:spcPct val="90000"/>
              </a:lnSpc>
              <a:spcBef>
                <a:spcPts val="0"/>
              </a:spcBef>
              <a:spcAft>
                <a:spcPts val="0"/>
              </a:spcAft>
              <a:buFont typeface="Arial" panose="020B0604020202020204" pitchFamily="34" charset="0"/>
              <a:buNone/>
              <a:defRPr sz="2640">
                <a:solidFill>
                  <a:schemeClr val="tx1"/>
                </a:solidFill>
              </a:defRPr>
            </a:lvl1pPr>
          </a:lstStyle>
          <a:p>
            <a:pPr lvl="0"/>
            <a:r>
              <a:rPr lang="en-US"/>
              <a:t>Text – add bullet if needed</a:t>
            </a:r>
          </a:p>
        </p:txBody>
      </p:sp>
      <p:sp>
        <p:nvSpPr>
          <p:cNvPr id="34" name="Text Placeholder 7"/>
          <p:cNvSpPr>
            <a:spLocks noGrp="1"/>
          </p:cNvSpPr>
          <p:nvPr>
            <p:ph type="body" sz="quarter" idx="22" hasCustomPrompt="1"/>
          </p:nvPr>
        </p:nvSpPr>
        <p:spPr>
          <a:xfrm>
            <a:off x="10782847" y="3655479"/>
            <a:ext cx="3218688" cy="5005921"/>
          </a:xfrm>
          <a:solidFill>
            <a:schemeClr val="accent3">
              <a:lumMod val="20000"/>
              <a:lumOff val="80000"/>
            </a:schemeClr>
          </a:solidFill>
        </p:spPr>
        <p:txBody>
          <a:bodyPr lIns="137160" tIns="137160" anchor="t"/>
          <a:lstStyle>
            <a:lvl1pPr marL="0" indent="0" algn="l">
              <a:lnSpc>
                <a:spcPct val="90000"/>
              </a:lnSpc>
              <a:spcBef>
                <a:spcPts val="0"/>
              </a:spcBef>
              <a:spcAft>
                <a:spcPts val="0"/>
              </a:spcAft>
              <a:buFont typeface="Arial" panose="020B0604020202020204" pitchFamily="34" charset="0"/>
              <a:buNone/>
              <a:defRPr sz="2640">
                <a:solidFill>
                  <a:schemeClr val="tx1"/>
                </a:solidFill>
              </a:defRPr>
            </a:lvl1pPr>
          </a:lstStyle>
          <a:p>
            <a:pPr lvl="0"/>
            <a:r>
              <a:rPr lang="en-US"/>
              <a:t>Text – add bullet if needed</a:t>
            </a:r>
          </a:p>
        </p:txBody>
      </p:sp>
      <p:sp>
        <p:nvSpPr>
          <p:cNvPr id="35" name="Text Placeholder 7"/>
          <p:cNvSpPr>
            <a:spLocks noGrp="1"/>
          </p:cNvSpPr>
          <p:nvPr>
            <p:ph type="body" sz="quarter" idx="23" hasCustomPrompt="1"/>
          </p:nvPr>
        </p:nvSpPr>
        <p:spPr>
          <a:xfrm>
            <a:off x="14134982" y="3655479"/>
            <a:ext cx="3218688" cy="5005921"/>
          </a:xfrm>
          <a:solidFill>
            <a:schemeClr val="accent3">
              <a:lumMod val="20000"/>
              <a:lumOff val="80000"/>
            </a:schemeClr>
          </a:solidFill>
        </p:spPr>
        <p:txBody>
          <a:bodyPr lIns="137160" tIns="137160" anchor="t"/>
          <a:lstStyle>
            <a:lvl1pPr marL="0" indent="0" algn="l">
              <a:lnSpc>
                <a:spcPct val="90000"/>
              </a:lnSpc>
              <a:spcBef>
                <a:spcPts val="0"/>
              </a:spcBef>
              <a:spcAft>
                <a:spcPts val="0"/>
              </a:spcAft>
              <a:buFont typeface="Arial" panose="020B0604020202020204" pitchFamily="34" charset="0"/>
              <a:buNone/>
              <a:defRPr sz="2640">
                <a:solidFill>
                  <a:schemeClr val="tx1"/>
                </a:solidFill>
              </a:defRPr>
            </a:lvl1pPr>
          </a:lstStyle>
          <a:p>
            <a:pPr lvl="0"/>
            <a:r>
              <a:rPr lang="en-US"/>
              <a:t>Text – add bullet if needed</a:t>
            </a:r>
          </a:p>
        </p:txBody>
      </p:sp>
    </p:spTree>
    <p:extLst>
      <p:ext uri="{BB962C8B-B14F-4D97-AF65-F5344CB8AC3E}">
        <p14:creationId xmlns:p14="http://schemas.microsoft.com/office/powerpoint/2010/main" val="132753229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itle, Subhead">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Type insightful headline in sentence case | One line</a:t>
            </a:r>
          </a:p>
        </p:txBody>
      </p:sp>
      <p:sp>
        <p:nvSpPr>
          <p:cNvPr id="3" name="Date Placeholder 2"/>
          <p:cNvSpPr>
            <a:spLocks noGrp="1"/>
          </p:cNvSpPr>
          <p:nvPr>
            <p:ph type="dt" sz="half" idx="10"/>
          </p:nvPr>
        </p:nvSpPr>
        <p:spPr/>
        <p:txBody>
          <a:bodyPr/>
          <a:lstStyle/>
          <a:p>
            <a:fld id="{0C639215-9E96-014E-8D00-2C9FDAF3C42D}" type="datetime1">
              <a:rPr lang="en-US" smtClean="0"/>
              <a:t>4/21/21</a:t>
            </a:fld>
            <a:endParaRPr lang="en-US"/>
          </a:p>
        </p:txBody>
      </p:sp>
      <p:sp>
        <p:nvSpPr>
          <p:cNvPr id="5" name="Slide Number Placeholder 4"/>
          <p:cNvSpPr>
            <a:spLocks noGrp="1"/>
          </p:cNvSpPr>
          <p:nvPr>
            <p:ph type="sldNum" sz="quarter" idx="12"/>
          </p:nvPr>
        </p:nvSpPr>
        <p:spPr/>
        <p:txBody>
          <a:bodyPr/>
          <a:lstStyle/>
          <a:p>
            <a:fld id="{3310D8EA-3107-4873-B9AB-DD7D3E79053A}" type="slidenum">
              <a:rPr lang="en-US" smtClean="0"/>
              <a:t>‹#›</a:t>
            </a:fld>
            <a:endParaRPr lang="en-US"/>
          </a:p>
        </p:txBody>
      </p:sp>
      <p:sp>
        <p:nvSpPr>
          <p:cNvPr id="6" name="Text Placeholder 7"/>
          <p:cNvSpPr>
            <a:spLocks noGrp="1"/>
          </p:cNvSpPr>
          <p:nvPr>
            <p:ph type="body" sz="quarter" idx="13" hasCustomPrompt="1"/>
          </p:nvPr>
        </p:nvSpPr>
        <p:spPr>
          <a:xfrm>
            <a:off x="726439" y="1640149"/>
            <a:ext cx="16596361" cy="721783"/>
          </a:xfrm>
        </p:spPr>
        <p:txBody>
          <a:bodyPr/>
          <a:lstStyle>
            <a:lvl1pPr>
              <a:defRPr sz="3315">
                <a:solidFill>
                  <a:schemeClr val="accent4"/>
                </a:solidFill>
              </a:defRPr>
            </a:lvl1pPr>
          </a:lstStyle>
          <a:p>
            <a:pPr lvl="0"/>
            <a:r>
              <a:rPr lang="en-US" dirty="0"/>
              <a:t>Use this space for one line subhead if needed | One line</a:t>
            </a:r>
          </a:p>
        </p:txBody>
      </p:sp>
    </p:spTree>
    <p:extLst>
      <p:ext uri="{BB962C8B-B14F-4D97-AF65-F5344CB8AC3E}">
        <p14:creationId xmlns:p14="http://schemas.microsoft.com/office/powerpoint/2010/main" val="1665846088"/>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4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a:t>4 Column | Type insightful headline in sentence case | One line</a:t>
            </a:r>
          </a:p>
        </p:txBody>
      </p:sp>
      <p:sp>
        <p:nvSpPr>
          <p:cNvPr id="3" name="Date Placeholder 2"/>
          <p:cNvSpPr>
            <a:spLocks noGrp="1"/>
          </p:cNvSpPr>
          <p:nvPr>
            <p:ph type="dt" sz="half" idx="10"/>
          </p:nvPr>
        </p:nvSpPr>
        <p:spPr/>
        <p:txBody>
          <a:bodyPr/>
          <a:lstStyle/>
          <a:p>
            <a:fld id="{17D79F98-2828-F343-AAD4-254357817DCF}" type="datetime1">
              <a:rPr lang="en-US" smtClean="0"/>
              <a:t>4/21/21</a:t>
            </a:fld>
            <a:endParaRPr lang="en-US"/>
          </a:p>
        </p:txBody>
      </p:sp>
      <p:sp>
        <p:nvSpPr>
          <p:cNvPr id="4" name="Footer Placeholder 3"/>
          <p:cNvSpPr>
            <a:spLocks noGrp="1"/>
          </p:cNvSpPr>
          <p:nvPr>
            <p:ph type="ftr" sz="quarter" idx="11"/>
          </p:nvPr>
        </p:nvSpPr>
        <p:spPr>
          <a:xfrm>
            <a:off x="7767321" y="9514241"/>
            <a:ext cx="8689339" cy="535517"/>
          </a:xfrm>
          <a:prstGeom prst="rect">
            <a:avLst/>
          </a:prstGeom>
        </p:spPr>
        <p:txBody>
          <a:bodyPr/>
          <a:lstStyle/>
          <a:p>
            <a:r>
              <a:rPr lang="en-US"/>
              <a:t>Confidential property of Optum. Do not distribute or reproduce without express permission from Optum.</a:t>
            </a:r>
          </a:p>
        </p:txBody>
      </p:sp>
      <p:sp>
        <p:nvSpPr>
          <p:cNvPr id="5" name="Slide Number Placeholder 4"/>
          <p:cNvSpPr>
            <a:spLocks noGrp="1"/>
          </p:cNvSpPr>
          <p:nvPr>
            <p:ph type="sldNum" sz="quarter" idx="12"/>
          </p:nvPr>
        </p:nvSpPr>
        <p:spPr/>
        <p:txBody>
          <a:bodyPr/>
          <a:lstStyle/>
          <a:p>
            <a:fld id="{3310D8EA-3107-4873-B9AB-DD7D3E79053A}" type="slidenum">
              <a:rPr lang="en-US" smtClean="0"/>
              <a:t>‹#›</a:t>
            </a:fld>
            <a:endParaRPr lang="en-US"/>
          </a:p>
        </p:txBody>
      </p:sp>
      <p:sp>
        <p:nvSpPr>
          <p:cNvPr id="6" name="Text Placeholder 7"/>
          <p:cNvSpPr>
            <a:spLocks noGrp="1"/>
          </p:cNvSpPr>
          <p:nvPr>
            <p:ph type="body" sz="quarter" idx="13" hasCustomPrompt="1"/>
          </p:nvPr>
        </p:nvSpPr>
        <p:spPr>
          <a:xfrm>
            <a:off x="726440" y="1640148"/>
            <a:ext cx="16596360" cy="721783"/>
          </a:xfrm>
        </p:spPr>
        <p:txBody>
          <a:bodyPr/>
          <a:lstStyle>
            <a:lvl1pPr>
              <a:defRPr sz="3813">
                <a:solidFill>
                  <a:schemeClr val="accent4"/>
                </a:solidFill>
              </a:defRPr>
            </a:lvl1pPr>
          </a:lstStyle>
          <a:p>
            <a:pPr lvl="0"/>
            <a:r>
              <a:rPr lang="en-US"/>
              <a:t>Use this space for one line subhead if needed | One line</a:t>
            </a:r>
          </a:p>
        </p:txBody>
      </p:sp>
      <p:sp>
        <p:nvSpPr>
          <p:cNvPr id="8" name="Text Placeholder 7"/>
          <p:cNvSpPr>
            <a:spLocks noGrp="1"/>
          </p:cNvSpPr>
          <p:nvPr>
            <p:ph type="body" sz="quarter" idx="14" hasCustomPrompt="1"/>
          </p:nvPr>
        </p:nvSpPr>
        <p:spPr>
          <a:xfrm>
            <a:off x="726440" y="2682237"/>
            <a:ext cx="4023360" cy="973243"/>
          </a:xfrm>
          <a:solidFill>
            <a:schemeClr val="tx2"/>
          </a:solidFill>
        </p:spPr>
        <p:txBody>
          <a:bodyPr lIns="137160" anchor="ctr"/>
          <a:lstStyle>
            <a:lvl1pPr algn="l">
              <a:lnSpc>
                <a:spcPct val="90000"/>
              </a:lnSpc>
              <a:spcBef>
                <a:spcPts val="0"/>
              </a:spcBef>
              <a:spcAft>
                <a:spcPts val="0"/>
              </a:spcAft>
              <a:defRPr sz="2640">
                <a:solidFill>
                  <a:schemeClr val="bg1"/>
                </a:solidFill>
              </a:defRPr>
            </a:lvl1pPr>
          </a:lstStyle>
          <a:p>
            <a:pPr lvl="0"/>
            <a:r>
              <a:rPr lang="en-US"/>
              <a:t>Header</a:t>
            </a:r>
          </a:p>
        </p:txBody>
      </p:sp>
      <p:sp>
        <p:nvSpPr>
          <p:cNvPr id="27" name="Text Placeholder 7"/>
          <p:cNvSpPr>
            <a:spLocks noGrp="1"/>
          </p:cNvSpPr>
          <p:nvPr>
            <p:ph type="body" sz="quarter" idx="15" hasCustomPrompt="1"/>
          </p:nvPr>
        </p:nvSpPr>
        <p:spPr>
          <a:xfrm>
            <a:off x="4922985" y="2682238"/>
            <a:ext cx="4023360" cy="973243"/>
          </a:xfrm>
          <a:solidFill>
            <a:schemeClr val="accent2"/>
          </a:solidFill>
        </p:spPr>
        <p:txBody>
          <a:bodyPr lIns="137160" anchor="ctr"/>
          <a:lstStyle>
            <a:lvl1pPr>
              <a:lnSpc>
                <a:spcPct val="90000"/>
              </a:lnSpc>
              <a:spcBef>
                <a:spcPts val="0"/>
              </a:spcBef>
              <a:spcAft>
                <a:spcPts val="0"/>
              </a:spcAft>
              <a:defRPr sz="2640">
                <a:solidFill>
                  <a:schemeClr val="bg1"/>
                </a:solidFill>
              </a:defRPr>
            </a:lvl1pPr>
          </a:lstStyle>
          <a:p>
            <a:pPr lvl="0"/>
            <a:r>
              <a:rPr lang="en-US"/>
              <a:t>Header</a:t>
            </a:r>
          </a:p>
        </p:txBody>
      </p:sp>
      <p:sp>
        <p:nvSpPr>
          <p:cNvPr id="28" name="Text Placeholder 7"/>
          <p:cNvSpPr>
            <a:spLocks noGrp="1"/>
          </p:cNvSpPr>
          <p:nvPr>
            <p:ph type="body" sz="quarter" idx="16" hasCustomPrompt="1"/>
          </p:nvPr>
        </p:nvSpPr>
        <p:spPr>
          <a:xfrm>
            <a:off x="9119531" y="2682238"/>
            <a:ext cx="4023360" cy="973243"/>
          </a:xfrm>
          <a:solidFill>
            <a:schemeClr val="accent4"/>
          </a:solidFill>
        </p:spPr>
        <p:txBody>
          <a:bodyPr lIns="137160" anchor="ctr"/>
          <a:lstStyle>
            <a:lvl1pPr>
              <a:lnSpc>
                <a:spcPct val="90000"/>
              </a:lnSpc>
              <a:spcBef>
                <a:spcPts val="0"/>
              </a:spcBef>
              <a:spcAft>
                <a:spcPts val="0"/>
              </a:spcAft>
              <a:defRPr sz="2640">
                <a:solidFill>
                  <a:schemeClr val="bg1"/>
                </a:solidFill>
              </a:defRPr>
            </a:lvl1pPr>
          </a:lstStyle>
          <a:p>
            <a:pPr lvl="0"/>
            <a:r>
              <a:rPr lang="en-US"/>
              <a:t>Header</a:t>
            </a:r>
          </a:p>
        </p:txBody>
      </p:sp>
      <p:sp>
        <p:nvSpPr>
          <p:cNvPr id="29" name="Text Placeholder 7"/>
          <p:cNvSpPr>
            <a:spLocks noGrp="1"/>
          </p:cNvSpPr>
          <p:nvPr>
            <p:ph type="body" sz="quarter" idx="17" hasCustomPrompt="1"/>
          </p:nvPr>
        </p:nvSpPr>
        <p:spPr>
          <a:xfrm>
            <a:off x="13316076" y="2682238"/>
            <a:ext cx="4023360" cy="973243"/>
          </a:xfrm>
          <a:solidFill>
            <a:schemeClr val="accent1"/>
          </a:solidFill>
        </p:spPr>
        <p:txBody>
          <a:bodyPr lIns="137160" anchor="ctr"/>
          <a:lstStyle>
            <a:lvl1pPr>
              <a:lnSpc>
                <a:spcPct val="90000"/>
              </a:lnSpc>
              <a:spcBef>
                <a:spcPts val="0"/>
              </a:spcBef>
              <a:spcAft>
                <a:spcPts val="0"/>
              </a:spcAft>
              <a:defRPr sz="2640">
                <a:solidFill>
                  <a:schemeClr val="bg1"/>
                </a:solidFill>
              </a:defRPr>
            </a:lvl1pPr>
          </a:lstStyle>
          <a:p>
            <a:pPr lvl="0"/>
            <a:r>
              <a:rPr lang="en-US"/>
              <a:t>Header</a:t>
            </a:r>
          </a:p>
        </p:txBody>
      </p:sp>
      <p:sp>
        <p:nvSpPr>
          <p:cNvPr id="31" name="Text Placeholder 7"/>
          <p:cNvSpPr>
            <a:spLocks noGrp="1"/>
          </p:cNvSpPr>
          <p:nvPr>
            <p:ph type="body" sz="quarter" idx="19" hasCustomPrompt="1"/>
          </p:nvPr>
        </p:nvSpPr>
        <p:spPr>
          <a:xfrm>
            <a:off x="726440" y="3655479"/>
            <a:ext cx="4023360" cy="5005921"/>
          </a:xfrm>
          <a:solidFill>
            <a:schemeClr val="accent3">
              <a:lumMod val="20000"/>
              <a:lumOff val="80000"/>
            </a:schemeClr>
          </a:solidFill>
        </p:spPr>
        <p:txBody>
          <a:bodyPr lIns="137160" tIns="137160" anchor="t"/>
          <a:lstStyle>
            <a:lvl1pPr marL="0" indent="0" algn="l">
              <a:lnSpc>
                <a:spcPct val="90000"/>
              </a:lnSpc>
              <a:spcBef>
                <a:spcPts val="0"/>
              </a:spcBef>
              <a:spcAft>
                <a:spcPts val="0"/>
              </a:spcAft>
              <a:buFont typeface="Arial" panose="020B0604020202020204" pitchFamily="34" charset="0"/>
              <a:buNone/>
              <a:defRPr sz="2640">
                <a:solidFill>
                  <a:schemeClr val="tx1"/>
                </a:solidFill>
              </a:defRPr>
            </a:lvl1pPr>
          </a:lstStyle>
          <a:p>
            <a:pPr lvl="0"/>
            <a:r>
              <a:rPr lang="en-US"/>
              <a:t>Text – add bullet if needed</a:t>
            </a:r>
          </a:p>
        </p:txBody>
      </p:sp>
      <p:sp>
        <p:nvSpPr>
          <p:cNvPr id="32" name="Text Placeholder 7"/>
          <p:cNvSpPr>
            <a:spLocks noGrp="1"/>
          </p:cNvSpPr>
          <p:nvPr>
            <p:ph type="body" sz="quarter" idx="20" hasCustomPrompt="1"/>
          </p:nvPr>
        </p:nvSpPr>
        <p:spPr>
          <a:xfrm>
            <a:off x="4922985" y="3655479"/>
            <a:ext cx="4023360" cy="5005921"/>
          </a:xfrm>
          <a:solidFill>
            <a:schemeClr val="accent3">
              <a:lumMod val="20000"/>
              <a:lumOff val="80000"/>
            </a:schemeClr>
          </a:solidFill>
        </p:spPr>
        <p:txBody>
          <a:bodyPr lIns="137160" tIns="137160" anchor="t"/>
          <a:lstStyle>
            <a:lvl1pPr marL="0" indent="0" algn="l">
              <a:lnSpc>
                <a:spcPct val="90000"/>
              </a:lnSpc>
              <a:spcBef>
                <a:spcPts val="0"/>
              </a:spcBef>
              <a:spcAft>
                <a:spcPts val="0"/>
              </a:spcAft>
              <a:buFont typeface="Arial" panose="020B0604020202020204" pitchFamily="34" charset="0"/>
              <a:buNone/>
              <a:defRPr sz="2640">
                <a:solidFill>
                  <a:schemeClr val="tx1"/>
                </a:solidFill>
              </a:defRPr>
            </a:lvl1pPr>
          </a:lstStyle>
          <a:p>
            <a:pPr lvl="0"/>
            <a:r>
              <a:rPr lang="en-US"/>
              <a:t>Text – add bullet if needed</a:t>
            </a:r>
          </a:p>
        </p:txBody>
      </p:sp>
      <p:sp>
        <p:nvSpPr>
          <p:cNvPr id="33" name="Text Placeholder 7"/>
          <p:cNvSpPr>
            <a:spLocks noGrp="1"/>
          </p:cNvSpPr>
          <p:nvPr>
            <p:ph type="body" sz="quarter" idx="21" hasCustomPrompt="1"/>
          </p:nvPr>
        </p:nvSpPr>
        <p:spPr>
          <a:xfrm>
            <a:off x="9119531" y="3655479"/>
            <a:ext cx="4023360" cy="5005921"/>
          </a:xfrm>
          <a:solidFill>
            <a:schemeClr val="accent3">
              <a:lumMod val="20000"/>
              <a:lumOff val="80000"/>
            </a:schemeClr>
          </a:solidFill>
        </p:spPr>
        <p:txBody>
          <a:bodyPr lIns="137160" tIns="137160" anchor="t"/>
          <a:lstStyle>
            <a:lvl1pPr marL="0" indent="0" algn="l">
              <a:lnSpc>
                <a:spcPct val="90000"/>
              </a:lnSpc>
              <a:spcBef>
                <a:spcPts val="0"/>
              </a:spcBef>
              <a:spcAft>
                <a:spcPts val="0"/>
              </a:spcAft>
              <a:buFont typeface="Arial" panose="020B0604020202020204" pitchFamily="34" charset="0"/>
              <a:buNone/>
              <a:defRPr sz="2640">
                <a:solidFill>
                  <a:schemeClr val="tx1"/>
                </a:solidFill>
              </a:defRPr>
            </a:lvl1pPr>
          </a:lstStyle>
          <a:p>
            <a:pPr lvl="0"/>
            <a:r>
              <a:rPr lang="en-US"/>
              <a:t>Text – add bullet if needed</a:t>
            </a:r>
          </a:p>
        </p:txBody>
      </p:sp>
      <p:sp>
        <p:nvSpPr>
          <p:cNvPr id="34" name="Text Placeholder 7"/>
          <p:cNvSpPr>
            <a:spLocks noGrp="1"/>
          </p:cNvSpPr>
          <p:nvPr>
            <p:ph type="body" sz="quarter" idx="22" hasCustomPrompt="1"/>
          </p:nvPr>
        </p:nvSpPr>
        <p:spPr>
          <a:xfrm>
            <a:off x="13316076" y="3655479"/>
            <a:ext cx="4023360" cy="5005921"/>
          </a:xfrm>
          <a:solidFill>
            <a:schemeClr val="accent3">
              <a:lumMod val="20000"/>
              <a:lumOff val="80000"/>
            </a:schemeClr>
          </a:solidFill>
        </p:spPr>
        <p:txBody>
          <a:bodyPr lIns="137160" tIns="137160" anchor="t"/>
          <a:lstStyle>
            <a:lvl1pPr marL="0" indent="0" algn="l">
              <a:lnSpc>
                <a:spcPct val="90000"/>
              </a:lnSpc>
              <a:spcBef>
                <a:spcPts val="0"/>
              </a:spcBef>
              <a:spcAft>
                <a:spcPts val="0"/>
              </a:spcAft>
              <a:buFont typeface="Arial" panose="020B0604020202020204" pitchFamily="34" charset="0"/>
              <a:buNone/>
              <a:defRPr sz="2640">
                <a:solidFill>
                  <a:schemeClr val="tx1"/>
                </a:solidFill>
              </a:defRPr>
            </a:lvl1pPr>
          </a:lstStyle>
          <a:p>
            <a:pPr lvl="0"/>
            <a:r>
              <a:rPr lang="en-US"/>
              <a:t>Text – add bullet if needed</a:t>
            </a:r>
          </a:p>
        </p:txBody>
      </p:sp>
    </p:spTree>
    <p:extLst>
      <p:ext uri="{BB962C8B-B14F-4D97-AF65-F5344CB8AC3E}">
        <p14:creationId xmlns:p14="http://schemas.microsoft.com/office/powerpoint/2010/main" val="1361805869"/>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3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a:t>3 Column | Type insightful headline in sentence case | One line</a:t>
            </a:r>
          </a:p>
        </p:txBody>
      </p:sp>
      <p:sp>
        <p:nvSpPr>
          <p:cNvPr id="3" name="Date Placeholder 2"/>
          <p:cNvSpPr>
            <a:spLocks noGrp="1"/>
          </p:cNvSpPr>
          <p:nvPr>
            <p:ph type="dt" sz="half" idx="10"/>
          </p:nvPr>
        </p:nvSpPr>
        <p:spPr/>
        <p:txBody>
          <a:bodyPr/>
          <a:lstStyle/>
          <a:p>
            <a:fld id="{BC942B76-AB4F-F14C-83C8-F25C5E51E2AB}" type="datetime1">
              <a:rPr lang="en-US" smtClean="0"/>
              <a:t>4/21/21</a:t>
            </a:fld>
            <a:endParaRPr lang="en-US"/>
          </a:p>
        </p:txBody>
      </p:sp>
      <p:sp>
        <p:nvSpPr>
          <p:cNvPr id="4" name="Footer Placeholder 3"/>
          <p:cNvSpPr>
            <a:spLocks noGrp="1"/>
          </p:cNvSpPr>
          <p:nvPr>
            <p:ph type="ftr" sz="quarter" idx="11"/>
          </p:nvPr>
        </p:nvSpPr>
        <p:spPr>
          <a:xfrm>
            <a:off x="7767321" y="9514241"/>
            <a:ext cx="8689339" cy="535517"/>
          </a:xfrm>
          <a:prstGeom prst="rect">
            <a:avLst/>
          </a:prstGeom>
        </p:spPr>
        <p:txBody>
          <a:bodyPr/>
          <a:lstStyle/>
          <a:p>
            <a:r>
              <a:rPr lang="en-US"/>
              <a:t>Confidential property of Optum. Do not distribute or reproduce without express permission from Optum.</a:t>
            </a:r>
          </a:p>
        </p:txBody>
      </p:sp>
      <p:sp>
        <p:nvSpPr>
          <p:cNvPr id="5" name="Slide Number Placeholder 4"/>
          <p:cNvSpPr>
            <a:spLocks noGrp="1"/>
          </p:cNvSpPr>
          <p:nvPr>
            <p:ph type="sldNum" sz="quarter" idx="12"/>
          </p:nvPr>
        </p:nvSpPr>
        <p:spPr/>
        <p:txBody>
          <a:bodyPr/>
          <a:lstStyle/>
          <a:p>
            <a:fld id="{3310D8EA-3107-4873-B9AB-DD7D3E79053A}" type="slidenum">
              <a:rPr lang="en-US" smtClean="0"/>
              <a:t>‹#›</a:t>
            </a:fld>
            <a:endParaRPr lang="en-US"/>
          </a:p>
        </p:txBody>
      </p:sp>
      <p:sp>
        <p:nvSpPr>
          <p:cNvPr id="6" name="Text Placeholder 7"/>
          <p:cNvSpPr>
            <a:spLocks noGrp="1"/>
          </p:cNvSpPr>
          <p:nvPr>
            <p:ph type="body" sz="quarter" idx="13" hasCustomPrompt="1"/>
          </p:nvPr>
        </p:nvSpPr>
        <p:spPr>
          <a:xfrm>
            <a:off x="726440" y="1640148"/>
            <a:ext cx="16596360" cy="721783"/>
          </a:xfrm>
        </p:spPr>
        <p:txBody>
          <a:bodyPr/>
          <a:lstStyle>
            <a:lvl1pPr>
              <a:defRPr sz="3813">
                <a:solidFill>
                  <a:schemeClr val="accent4"/>
                </a:solidFill>
              </a:defRPr>
            </a:lvl1pPr>
          </a:lstStyle>
          <a:p>
            <a:pPr lvl="0"/>
            <a:r>
              <a:rPr lang="en-US"/>
              <a:t>Use this space for one line subhead if needed | One line</a:t>
            </a:r>
          </a:p>
        </p:txBody>
      </p:sp>
      <p:sp>
        <p:nvSpPr>
          <p:cNvPr id="8" name="Text Placeholder 7"/>
          <p:cNvSpPr>
            <a:spLocks noGrp="1"/>
          </p:cNvSpPr>
          <p:nvPr>
            <p:ph type="body" sz="quarter" idx="14" hasCustomPrompt="1"/>
          </p:nvPr>
        </p:nvSpPr>
        <p:spPr>
          <a:xfrm>
            <a:off x="726440" y="2682237"/>
            <a:ext cx="5364480" cy="973243"/>
          </a:xfrm>
          <a:solidFill>
            <a:schemeClr val="tx2"/>
          </a:solidFill>
        </p:spPr>
        <p:txBody>
          <a:bodyPr lIns="137160" anchor="ctr"/>
          <a:lstStyle>
            <a:lvl1pPr algn="l">
              <a:lnSpc>
                <a:spcPct val="90000"/>
              </a:lnSpc>
              <a:spcBef>
                <a:spcPts val="0"/>
              </a:spcBef>
              <a:spcAft>
                <a:spcPts val="0"/>
              </a:spcAft>
              <a:defRPr sz="2640">
                <a:solidFill>
                  <a:schemeClr val="bg1"/>
                </a:solidFill>
              </a:defRPr>
            </a:lvl1pPr>
          </a:lstStyle>
          <a:p>
            <a:pPr lvl="0"/>
            <a:r>
              <a:rPr lang="en-US"/>
              <a:t>Header</a:t>
            </a:r>
          </a:p>
        </p:txBody>
      </p:sp>
      <p:sp>
        <p:nvSpPr>
          <p:cNvPr id="27" name="Text Placeholder 7"/>
          <p:cNvSpPr>
            <a:spLocks noGrp="1"/>
          </p:cNvSpPr>
          <p:nvPr>
            <p:ph type="body" sz="quarter" idx="15" hasCustomPrompt="1"/>
          </p:nvPr>
        </p:nvSpPr>
        <p:spPr>
          <a:xfrm>
            <a:off x="6359896" y="2682237"/>
            <a:ext cx="5364480" cy="973243"/>
          </a:xfrm>
          <a:solidFill>
            <a:schemeClr val="accent2"/>
          </a:solidFill>
        </p:spPr>
        <p:txBody>
          <a:bodyPr lIns="137160" anchor="ctr"/>
          <a:lstStyle>
            <a:lvl1pPr>
              <a:lnSpc>
                <a:spcPct val="90000"/>
              </a:lnSpc>
              <a:spcBef>
                <a:spcPts val="0"/>
              </a:spcBef>
              <a:spcAft>
                <a:spcPts val="0"/>
              </a:spcAft>
              <a:defRPr sz="2640">
                <a:solidFill>
                  <a:schemeClr val="bg1"/>
                </a:solidFill>
              </a:defRPr>
            </a:lvl1pPr>
          </a:lstStyle>
          <a:p>
            <a:pPr lvl="0"/>
            <a:r>
              <a:rPr lang="en-US"/>
              <a:t>Header</a:t>
            </a:r>
          </a:p>
        </p:txBody>
      </p:sp>
      <p:sp>
        <p:nvSpPr>
          <p:cNvPr id="28" name="Text Placeholder 7"/>
          <p:cNvSpPr>
            <a:spLocks noGrp="1"/>
          </p:cNvSpPr>
          <p:nvPr>
            <p:ph type="body" sz="quarter" idx="16" hasCustomPrompt="1"/>
          </p:nvPr>
        </p:nvSpPr>
        <p:spPr>
          <a:xfrm>
            <a:off x="11993351" y="2682237"/>
            <a:ext cx="5364480" cy="973243"/>
          </a:xfrm>
          <a:solidFill>
            <a:schemeClr val="accent4"/>
          </a:solidFill>
        </p:spPr>
        <p:txBody>
          <a:bodyPr lIns="137160" anchor="ctr"/>
          <a:lstStyle>
            <a:lvl1pPr>
              <a:lnSpc>
                <a:spcPct val="90000"/>
              </a:lnSpc>
              <a:spcBef>
                <a:spcPts val="0"/>
              </a:spcBef>
              <a:spcAft>
                <a:spcPts val="0"/>
              </a:spcAft>
              <a:defRPr sz="2640">
                <a:solidFill>
                  <a:schemeClr val="bg1"/>
                </a:solidFill>
              </a:defRPr>
            </a:lvl1pPr>
          </a:lstStyle>
          <a:p>
            <a:pPr lvl="0"/>
            <a:r>
              <a:rPr lang="en-US"/>
              <a:t>Header</a:t>
            </a:r>
          </a:p>
        </p:txBody>
      </p:sp>
      <p:sp>
        <p:nvSpPr>
          <p:cNvPr id="31" name="Text Placeholder 7"/>
          <p:cNvSpPr>
            <a:spLocks noGrp="1"/>
          </p:cNvSpPr>
          <p:nvPr>
            <p:ph type="body" sz="quarter" idx="19" hasCustomPrompt="1"/>
          </p:nvPr>
        </p:nvSpPr>
        <p:spPr>
          <a:xfrm>
            <a:off x="726440" y="3655479"/>
            <a:ext cx="5364480" cy="5005921"/>
          </a:xfrm>
          <a:solidFill>
            <a:schemeClr val="accent3">
              <a:lumMod val="20000"/>
              <a:lumOff val="80000"/>
            </a:schemeClr>
          </a:solidFill>
        </p:spPr>
        <p:txBody>
          <a:bodyPr lIns="137160" tIns="137160" anchor="t"/>
          <a:lstStyle>
            <a:lvl1pPr marL="0" indent="0" algn="l">
              <a:lnSpc>
                <a:spcPct val="90000"/>
              </a:lnSpc>
              <a:spcBef>
                <a:spcPts val="0"/>
              </a:spcBef>
              <a:spcAft>
                <a:spcPts val="0"/>
              </a:spcAft>
              <a:buFont typeface="Arial" panose="020B0604020202020204" pitchFamily="34" charset="0"/>
              <a:buNone/>
              <a:defRPr sz="2640">
                <a:solidFill>
                  <a:schemeClr val="tx1"/>
                </a:solidFill>
              </a:defRPr>
            </a:lvl1pPr>
          </a:lstStyle>
          <a:p>
            <a:pPr lvl="0"/>
            <a:r>
              <a:rPr lang="en-US"/>
              <a:t>Text – add bullet if needed</a:t>
            </a:r>
          </a:p>
        </p:txBody>
      </p:sp>
      <p:sp>
        <p:nvSpPr>
          <p:cNvPr id="32" name="Text Placeholder 7"/>
          <p:cNvSpPr>
            <a:spLocks noGrp="1"/>
          </p:cNvSpPr>
          <p:nvPr>
            <p:ph type="body" sz="quarter" idx="20" hasCustomPrompt="1"/>
          </p:nvPr>
        </p:nvSpPr>
        <p:spPr>
          <a:xfrm>
            <a:off x="6359896" y="3655479"/>
            <a:ext cx="5364480" cy="5005921"/>
          </a:xfrm>
          <a:solidFill>
            <a:schemeClr val="accent3">
              <a:lumMod val="20000"/>
              <a:lumOff val="80000"/>
            </a:schemeClr>
          </a:solidFill>
        </p:spPr>
        <p:txBody>
          <a:bodyPr lIns="137160" tIns="137160" anchor="t"/>
          <a:lstStyle>
            <a:lvl1pPr marL="0" indent="0" algn="l">
              <a:lnSpc>
                <a:spcPct val="90000"/>
              </a:lnSpc>
              <a:spcBef>
                <a:spcPts val="0"/>
              </a:spcBef>
              <a:spcAft>
                <a:spcPts val="0"/>
              </a:spcAft>
              <a:buFont typeface="Arial" panose="020B0604020202020204" pitchFamily="34" charset="0"/>
              <a:buNone/>
              <a:defRPr sz="2640">
                <a:solidFill>
                  <a:schemeClr val="tx1"/>
                </a:solidFill>
              </a:defRPr>
            </a:lvl1pPr>
          </a:lstStyle>
          <a:p>
            <a:pPr lvl="0"/>
            <a:r>
              <a:rPr lang="en-US"/>
              <a:t>Text – add bullet if needed</a:t>
            </a:r>
          </a:p>
        </p:txBody>
      </p:sp>
      <p:sp>
        <p:nvSpPr>
          <p:cNvPr id="33" name="Text Placeholder 7"/>
          <p:cNvSpPr>
            <a:spLocks noGrp="1"/>
          </p:cNvSpPr>
          <p:nvPr>
            <p:ph type="body" sz="quarter" idx="21" hasCustomPrompt="1"/>
          </p:nvPr>
        </p:nvSpPr>
        <p:spPr>
          <a:xfrm>
            <a:off x="11993351" y="3655479"/>
            <a:ext cx="5364480" cy="5005921"/>
          </a:xfrm>
          <a:solidFill>
            <a:schemeClr val="accent3">
              <a:lumMod val="20000"/>
              <a:lumOff val="80000"/>
            </a:schemeClr>
          </a:solidFill>
        </p:spPr>
        <p:txBody>
          <a:bodyPr lIns="137160" tIns="137160" anchor="t"/>
          <a:lstStyle>
            <a:lvl1pPr marL="0" indent="0" algn="l">
              <a:lnSpc>
                <a:spcPct val="90000"/>
              </a:lnSpc>
              <a:spcBef>
                <a:spcPts val="0"/>
              </a:spcBef>
              <a:spcAft>
                <a:spcPts val="0"/>
              </a:spcAft>
              <a:buFont typeface="Arial" panose="020B0604020202020204" pitchFamily="34" charset="0"/>
              <a:buNone/>
              <a:defRPr sz="2640">
                <a:solidFill>
                  <a:schemeClr val="tx1"/>
                </a:solidFill>
              </a:defRPr>
            </a:lvl1pPr>
          </a:lstStyle>
          <a:p>
            <a:pPr lvl="0"/>
            <a:r>
              <a:rPr lang="en-US"/>
              <a:t>Text – add bullet if needed</a:t>
            </a:r>
          </a:p>
        </p:txBody>
      </p:sp>
    </p:spTree>
    <p:extLst>
      <p:ext uri="{BB962C8B-B14F-4D97-AF65-F5344CB8AC3E}">
        <p14:creationId xmlns:p14="http://schemas.microsoft.com/office/powerpoint/2010/main" val="1227620497"/>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2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a:t>2 Column | Type insightful headline in sentence case | One line</a:t>
            </a:r>
          </a:p>
        </p:txBody>
      </p:sp>
      <p:sp>
        <p:nvSpPr>
          <p:cNvPr id="3" name="Date Placeholder 2"/>
          <p:cNvSpPr>
            <a:spLocks noGrp="1"/>
          </p:cNvSpPr>
          <p:nvPr>
            <p:ph type="dt" sz="half" idx="10"/>
          </p:nvPr>
        </p:nvSpPr>
        <p:spPr/>
        <p:txBody>
          <a:bodyPr/>
          <a:lstStyle/>
          <a:p>
            <a:fld id="{DA0C1A62-0478-454C-A69B-F944B514978F}" type="datetime1">
              <a:rPr lang="en-US" smtClean="0"/>
              <a:t>4/21/21</a:t>
            </a:fld>
            <a:endParaRPr lang="en-US"/>
          </a:p>
        </p:txBody>
      </p:sp>
      <p:sp>
        <p:nvSpPr>
          <p:cNvPr id="4" name="Footer Placeholder 3"/>
          <p:cNvSpPr>
            <a:spLocks noGrp="1"/>
          </p:cNvSpPr>
          <p:nvPr>
            <p:ph type="ftr" sz="quarter" idx="11"/>
          </p:nvPr>
        </p:nvSpPr>
        <p:spPr>
          <a:xfrm>
            <a:off x="7767321" y="9514241"/>
            <a:ext cx="8689339" cy="535517"/>
          </a:xfrm>
          <a:prstGeom prst="rect">
            <a:avLst/>
          </a:prstGeom>
        </p:spPr>
        <p:txBody>
          <a:bodyPr/>
          <a:lstStyle/>
          <a:p>
            <a:r>
              <a:rPr lang="en-US"/>
              <a:t>Confidential property of Optum. Do not distribute or reproduce without express permission from Optum.</a:t>
            </a:r>
          </a:p>
        </p:txBody>
      </p:sp>
      <p:sp>
        <p:nvSpPr>
          <p:cNvPr id="5" name="Slide Number Placeholder 4"/>
          <p:cNvSpPr>
            <a:spLocks noGrp="1"/>
          </p:cNvSpPr>
          <p:nvPr>
            <p:ph type="sldNum" sz="quarter" idx="12"/>
          </p:nvPr>
        </p:nvSpPr>
        <p:spPr/>
        <p:txBody>
          <a:bodyPr/>
          <a:lstStyle/>
          <a:p>
            <a:fld id="{3310D8EA-3107-4873-B9AB-DD7D3E79053A}" type="slidenum">
              <a:rPr lang="en-US" smtClean="0"/>
              <a:t>‹#›</a:t>
            </a:fld>
            <a:endParaRPr lang="en-US"/>
          </a:p>
        </p:txBody>
      </p:sp>
      <p:sp>
        <p:nvSpPr>
          <p:cNvPr id="6" name="Text Placeholder 7"/>
          <p:cNvSpPr>
            <a:spLocks noGrp="1"/>
          </p:cNvSpPr>
          <p:nvPr>
            <p:ph type="body" sz="quarter" idx="13" hasCustomPrompt="1"/>
          </p:nvPr>
        </p:nvSpPr>
        <p:spPr>
          <a:xfrm>
            <a:off x="726440" y="1640148"/>
            <a:ext cx="16596360" cy="721783"/>
          </a:xfrm>
        </p:spPr>
        <p:txBody>
          <a:bodyPr/>
          <a:lstStyle>
            <a:lvl1pPr>
              <a:defRPr sz="3813">
                <a:solidFill>
                  <a:schemeClr val="accent4"/>
                </a:solidFill>
              </a:defRPr>
            </a:lvl1pPr>
          </a:lstStyle>
          <a:p>
            <a:pPr lvl="0"/>
            <a:r>
              <a:rPr lang="en-US"/>
              <a:t>Use this space for one line subhead if needed | One line</a:t>
            </a:r>
          </a:p>
        </p:txBody>
      </p:sp>
      <p:sp>
        <p:nvSpPr>
          <p:cNvPr id="8" name="Text Placeholder 7"/>
          <p:cNvSpPr>
            <a:spLocks noGrp="1"/>
          </p:cNvSpPr>
          <p:nvPr>
            <p:ph type="body" sz="quarter" idx="14" hasCustomPrompt="1"/>
          </p:nvPr>
        </p:nvSpPr>
        <p:spPr>
          <a:xfrm>
            <a:off x="726439" y="2682241"/>
            <a:ext cx="8046720" cy="973243"/>
          </a:xfrm>
          <a:solidFill>
            <a:schemeClr val="tx2"/>
          </a:solidFill>
        </p:spPr>
        <p:txBody>
          <a:bodyPr lIns="137160" anchor="ctr"/>
          <a:lstStyle>
            <a:lvl1pPr algn="l">
              <a:lnSpc>
                <a:spcPct val="90000"/>
              </a:lnSpc>
              <a:spcBef>
                <a:spcPts val="0"/>
              </a:spcBef>
              <a:spcAft>
                <a:spcPts val="0"/>
              </a:spcAft>
              <a:defRPr sz="2640">
                <a:solidFill>
                  <a:schemeClr val="bg1"/>
                </a:solidFill>
              </a:defRPr>
            </a:lvl1pPr>
          </a:lstStyle>
          <a:p>
            <a:pPr lvl="0"/>
            <a:r>
              <a:rPr lang="en-US"/>
              <a:t>Header</a:t>
            </a:r>
          </a:p>
        </p:txBody>
      </p:sp>
      <p:sp>
        <p:nvSpPr>
          <p:cNvPr id="28" name="Text Placeholder 7"/>
          <p:cNvSpPr>
            <a:spLocks noGrp="1"/>
          </p:cNvSpPr>
          <p:nvPr>
            <p:ph type="body" sz="quarter" idx="16" hasCustomPrompt="1"/>
          </p:nvPr>
        </p:nvSpPr>
        <p:spPr>
          <a:xfrm>
            <a:off x="9260111" y="2682237"/>
            <a:ext cx="8046720" cy="973243"/>
          </a:xfrm>
          <a:solidFill>
            <a:schemeClr val="accent2"/>
          </a:solidFill>
        </p:spPr>
        <p:txBody>
          <a:bodyPr lIns="137160" anchor="ctr"/>
          <a:lstStyle>
            <a:lvl1pPr>
              <a:lnSpc>
                <a:spcPct val="90000"/>
              </a:lnSpc>
              <a:spcBef>
                <a:spcPts val="0"/>
              </a:spcBef>
              <a:spcAft>
                <a:spcPts val="0"/>
              </a:spcAft>
              <a:defRPr sz="2640">
                <a:solidFill>
                  <a:schemeClr val="bg1"/>
                </a:solidFill>
              </a:defRPr>
            </a:lvl1pPr>
          </a:lstStyle>
          <a:p>
            <a:pPr lvl="0"/>
            <a:r>
              <a:rPr lang="en-US"/>
              <a:t>Header</a:t>
            </a:r>
          </a:p>
        </p:txBody>
      </p:sp>
      <p:sp>
        <p:nvSpPr>
          <p:cNvPr id="31" name="Text Placeholder 7"/>
          <p:cNvSpPr>
            <a:spLocks noGrp="1"/>
          </p:cNvSpPr>
          <p:nvPr>
            <p:ph type="body" sz="quarter" idx="19" hasCustomPrompt="1"/>
          </p:nvPr>
        </p:nvSpPr>
        <p:spPr>
          <a:xfrm>
            <a:off x="726439" y="3655479"/>
            <a:ext cx="8046720" cy="5005921"/>
          </a:xfrm>
          <a:solidFill>
            <a:schemeClr val="accent3">
              <a:lumMod val="20000"/>
              <a:lumOff val="80000"/>
            </a:schemeClr>
          </a:solidFill>
        </p:spPr>
        <p:txBody>
          <a:bodyPr lIns="137160" tIns="137160" anchor="t"/>
          <a:lstStyle>
            <a:lvl1pPr marL="0" indent="0" algn="l">
              <a:lnSpc>
                <a:spcPct val="90000"/>
              </a:lnSpc>
              <a:spcBef>
                <a:spcPts val="0"/>
              </a:spcBef>
              <a:spcAft>
                <a:spcPts val="0"/>
              </a:spcAft>
              <a:buFont typeface="Arial" panose="020B0604020202020204" pitchFamily="34" charset="0"/>
              <a:buNone/>
              <a:defRPr sz="2640">
                <a:solidFill>
                  <a:schemeClr val="tx1"/>
                </a:solidFill>
              </a:defRPr>
            </a:lvl1pPr>
          </a:lstStyle>
          <a:p>
            <a:pPr lvl="0"/>
            <a:r>
              <a:rPr lang="en-US"/>
              <a:t>Text – add bullet if needed</a:t>
            </a:r>
          </a:p>
        </p:txBody>
      </p:sp>
      <p:sp>
        <p:nvSpPr>
          <p:cNvPr id="33" name="Text Placeholder 7"/>
          <p:cNvSpPr>
            <a:spLocks noGrp="1"/>
          </p:cNvSpPr>
          <p:nvPr>
            <p:ph type="body" sz="quarter" idx="21" hasCustomPrompt="1"/>
          </p:nvPr>
        </p:nvSpPr>
        <p:spPr>
          <a:xfrm>
            <a:off x="9260111" y="3655479"/>
            <a:ext cx="8046720" cy="5005921"/>
          </a:xfrm>
          <a:solidFill>
            <a:schemeClr val="accent3">
              <a:lumMod val="20000"/>
              <a:lumOff val="80000"/>
            </a:schemeClr>
          </a:solidFill>
        </p:spPr>
        <p:txBody>
          <a:bodyPr lIns="137160" tIns="137160" anchor="t"/>
          <a:lstStyle>
            <a:lvl1pPr marL="0" indent="0" algn="l">
              <a:lnSpc>
                <a:spcPct val="90000"/>
              </a:lnSpc>
              <a:spcBef>
                <a:spcPts val="0"/>
              </a:spcBef>
              <a:spcAft>
                <a:spcPts val="0"/>
              </a:spcAft>
              <a:buFont typeface="Arial" panose="020B0604020202020204" pitchFamily="34" charset="0"/>
              <a:buNone/>
              <a:defRPr sz="2640">
                <a:solidFill>
                  <a:schemeClr val="tx1"/>
                </a:solidFill>
              </a:defRPr>
            </a:lvl1pPr>
          </a:lstStyle>
          <a:p>
            <a:pPr lvl="0"/>
            <a:r>
              <a:rPr lang="en-US"/>
              <a:t>Text – add bullet if needed</a:t>
            </a:r>
          </a:p>
        </p:txBody>
      </p:sp>
    </p:spTree>
    <p:extLst>
      <p:ext uri="{BB962C8B-B14F-4D97-AF65-F5344CB8AC3E}">
        <p14:creationId xmlns:p14="http://schemas.microsoft.com/office/powerpoint/2010/main" val="3325771991"/>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2 Photo w/Captio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a:t>2 Photo | Type insightful headline in sentence case | One line</a:t>
            </a:r>
          </a:p>
        </p:txBody>
      </p:sp>
      <p:sp>
        <p:nvSpPr>
          <p:cNvPr id="3" name="Date Placeholder 2"/>
          <p:cNvSpPr>
            <a:spLocks noGrp="1"/>
          </p:cNvSpPr>
          <p:nvPr>
            <p:ph type="dt" sz="half" idx="10"/>
          </p:nvPr>
        </p:nvSpPr>
        <p:spPr/>
        <p:txBody>
          <a:bodyPr/>
          <a:lstStyle/>
          <a:p>
            <a:fld id="{78BF5B44-9B8B-C34E-893E-6E1D3491FE15}" type="datetime1">
              <a:rPr lang="en-US" smtClean="0"/>
              <a:t>4/21/21</a:t>
            </a:fld>
            <a:endParaRPr lang="en-US"/>
          </a:p>
        </p:txBody>
      </p:sp>
      <p:sp>
        <p:nvSpPr>
          <p:cNvPr id="4" name="Footer Placeholder 3"/>
          <p:cNvSpPr>
            <a:spLocks noGrp="1"/>
          </p:cNvSpPr>
          <p:nvPr>
            <p:ph type="ftr" sz="quarter" idx="11"/>
          </p:nvPr>
        </p:nvSpPr>
        <p:spPr>
          <a:xfrm>
            <a:off x="7767321" y="9514241"/>
            <a:ext cx="8689339" cy="535517"/>
          </a:xfrm>
          <a:prstGeom prst="rect">
            <a:avLst/>
          </a:prstGeom>
        </p:spPr>
        <p:txBody>
          <a:bodyPr/>
          <a:lstStyle/>
          <a:p>
            <a:r>
              <a:rPr lang="en-US"/>
              <a:t>Confidential property of Optum. Do not distribute or reproduce without express permission from Optum.</a:t>
            </a:r>
          </a:p>
        </p:txBody>
      </p:sp>
      <p:sp>
        <p:nvSpPr>
          <p:cNvPr id="5" name="Slide Number Placeholder 4"/>
          <p:cNvSpPr>
            <a:spLocks noGrp="1"/>
          </p:cNvSpPr>
          <p:nvPr>
            <p:ph type="sldNum" sz="quarter" idx="12"/>
          </p:nvPr>
        </p:nvSpPr>
        <p:spPr/>
        <p:txBody>
          <a:bodyPr/>
          <a:lstStyle/>
          <a:p>
            <a:fld id="{3310D8EA-3107-4873-B9AB-DD7D3E79053A}" type="slidenum">
              <a:rPr lang="en-US" smtClean="0"/>
              <a:t>‹#›</a:t>
            </a:fld>
            <a:endParaRPr lang="en-US"/>
          </a:p>
        </p:txBody>
      </p:sp>
      <p:sp>
        <p:nvSpPr>
          <p:cNvPr id="6" name="Text Placeholder 7"/>
          <p:cNvSpPr>
            <a:spLocks noGrp="1"/>
          </p:cNvSpPr>
          <p:nvPr>
            <p:ph type="body" sz="quarter" idx="13" hasCustomPrompt="1"/>
          </p:nvPr>
        </p:nvSpPr>
        <p:spPr>
          <a:xfrm>
            <a:off x="726440" y="1640148"/>
            <a:ext cx="16596360" cy="721783"/>
          </a:xfrm>
        </p:spPr>
        <p:txBody>
          <a:bodyPr/>
          <a:lstStyle>
            <a:lvl1pPr>
              <a:defRPr sz="3813">
                <a:solidFill>
                  <a:schemeClr val="accent4"/>
                </a:solidFill>
              </a:defRPr>
            </a:lvl1pPr>
          </a:lstStyle>
          <a:p>
            <a:pPr lvl="0"/>
            <a:r>
              <a:rPr lang="en-US"/>
              <a:t>Use this space for one line subhead if needed | One line</a:t>
            </a:r>
          </a:p>
        </p:txBody>
      </p:sp>
      <p:sp>
        <p:nvSpPr>
          <p:cNvPr id="15" name="Picture Placeholder 8"/>
          <p:cNvSpPr>
            <a:spLocks noGrp="1"/>
          </p:cNvSpPr>
          <p:nvPr>
            <p:ph type="pic" sz="quarter" idx="23"/>
          </p:nvPr>
        </p:nvSpPr>
        <p:spPr>
          <a:xfrm>
            <a:off x="769015" y="2682240"/>
            <a:ext cx="8171784" cy="5979160"/>
          </a:xfrm>
          <a:solidFill>
            <a:schemeClr val="accent3">
              <a:lumMod val="20000"/>
              <a:lumOff val="80000"/>
            </a:schemeClr>
          </a:solidFill>
        </p:spPr>
        <p:txBody>
          <a:bodyPr/>
          <a:lstStyle>
            <a:lvl1pPr>
              <a:defRPr sz="2347">
                <a:solidFill>
                  <a:schemeClr val="tx1"/>
                </a:solidFill>
              </a:defRPr>
            </a:lvl1pPr>
          </a:lstStyle>
          <a:p>
            <a:r>
              <a:rPr lang="en-US"/>
              <a:t>Click icon to add picture</a:t>
            </a:r>
          </a:p>
        </p:txBody>
      </p:sp>
      <p:sp>
        <p:nvSpPr>
          <p:cNvPr id="16" name="Text Placeholder 7"/>
          <p:cNvSpPr>
            <a:spLocks noGrp="1"/>
          </p:cNvSpPr>
          <p:nvPr>
            <p:ph type="body" sz="quarter" idx="24" hasCustomPrompt="1"/>
          </p:nvPr>
        </p:nvSpPr>
        <p:spPr>
          <a:xfrm>
            <a:off x="3682758" y="6556587"/>
            <a:ext cx="5258041" cy="2104813"/>
          </a:xfrm>
          <a:solidFill>
            <a:schemeClr val="accent2"/>
          </a:solidFill>
        </p:spPr>
        <p:txBody>
          <a:bodyPr lIns="137160" tIns="137160" anchor="t"/>
          <a:lstStyle>
            <a:lvl1pPr algn="l">
              <a:lnSpc>
                <a:spcPct val="90000"/>
              </a:lnSpc>
              <a:spcBef>
                <a:spcPts val="0"/>
              </a:spcBef>
              <a:spcAft>
                <a:spcPts val="0"/>
              </a:spcAft>
              <a:defRPr sz="2347">
                <a:solidFill>
                  <a:schemeClr val="bg1"/>
                </a:solidFill>
              </a:defRPr>
            </a:lvl1pPr>
          </a:lstStyle>
          <a:p>
            <a:pPr lvl="0"/>
            <a:r>
              <a:rPr lang="en-US"/>
              <a:t>Type caption here | Remove if not needed</a:t>
            </a:r>
          </a:p>
        </p:txBody>
      </p:sp>
      <p:sp>
        <p:nvSpPr>
          <p:cNvPr id="17" name="Picture Placeholder 8"/>
          <p:cNvSpPr>
            <a:spLocks noGrp="1"/>
          </p:cNvSpPr>
          <p:nvPr>
            <p:ph type="pic" sz="quarter" idx="25"/>
          </p:nvPr>
        </p:nvSpPr>
        <p:spPr>
          <a:xfrm>
            <a:off x="8940800" y="2682240"/>
            <a:ext cx="8382000" cy="5979160"/>
          </a:xfrm>
          <a:solidFill>
            <a:schemeClr val="accent3">
              <a:lumMod val="20000"/>
              <a:lumOff val="80000"/>
            </a:schemeClr>
          </a:solidFill>
        </p:spPr>
        <p:txBody>
          <a:bodyPr/>
          <a:lstStyle>
            <a:lvl1pPr>
              <a:defRPr sz="2347">
                <a:solidFill>
                  <a:schemeClr val="tx1"/>
                </a:solidFill>
              </a:defRPr>
            </a:lvl1pPr>
          </a:lstStyle>
          <a:p>
            <a:r>
              <a:rPr lang="en-US"/>
              <a:t>Click icon to add picture</a:t>
            </a:r>
          </a:p>
        </p:txBody>
      </p:sp>
      <p:sp>
        <p:nvSpPr>
          <p:cNvPr id="18" name="Text Placeholder 7"/>
          <p:cNvSpPr>
            <a:spLocks noGrp="1"/>
          </p:cNvSpPr>
          <p:nvPr>
            <p:ph type="body" sz="quarter" idx="26" hasCustomPrompt="1"/>
          </p:nvPr>
        </p:nvSpPr>
        <p:spPr>
          <a:xfrm>
            <a:off x="12065610" y="6556587"/>
            <a:ext cx="5257190" cy="2104813"/>
          </a:xfrm>
          <a:solidFill>
            <a:schemeClr val="accent4"/>
          </a:solidFill>
        </p:spPr>
        <p:txBody>
          <a:bodyPr lIns="137160" tIns="137160" anchor="t"/>
          <a:lstStyle>
            <a:lvl1pPr algn="l">
              <a:lnSpc>
                <a:spcPct val="90000"/>
              </a:lnSpc>
              <a:spcBef>
                <a:spcPts val="0"/>
              </a:spcBef>
              <a:spcAft>
                <a:spcPts val="0"/>
              </a:spcAft>
              <a:defRPr sz="2347">
                <a:solidFill>
                  <a:schemeClr val="bg1"/>
                </a:solidFill>
              </a:defRPr>
            </a:lvl1pPr>
          </a:lstStyle>
          <a:p>
            <a:pPr lvl="0"/>
            <a:r>
              <a:rPr lang="en-US"/>
              <a:t>Type caption here | Remove if not needed</a:t>
            </a:r>
          </a:p>
        </p:txBody>
      </p:sp>
      <p:sp>
        <p:nvSpPr>
          <p:cNvPr id="11" name="Rectangle 10">
            <a:extLst>
              <a:ext uri="{FF2B5EF4-FFF2-40B4-BE49-F238E27FC236}">
                <a16:creationId xmlns:a16="http://schemas.microsoft.com/office/drawing/2014/main" id="{BEE817BE-EAFE-488D-818F-3A834185D3B9}"/>
              </a:ext>
            </a:extLst>
          </p:cNvPr>
          <p:cNvSpPr/>
          <p:nvPr userDrawn="1"/>
        </p:nvSpPr>
        <p:spPr bwMode="gray">
          <a:xfrm>
            <a:off x="17979576" y="-8643"/>
            <a:ext cx="3203788" cy="10058400"/>
          </a:xfrm>
          <a:prstGeom prst="rect">
            <a:avLst/>
          </a:prstGeom>
          <a:solidFill>
            <a:schemeClr val="accent3"/>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r>
              <a:rPr lang="en-US" sz="2053"/>
              <a:t>For Image / Photography options. navigate to https://hub.uhg.com/sites/hub/Optum/Resources/Brand/Documents/Photo%20Library%20Overview_June2017.docx</a:t>
            </a:r>
          </a:p>
        </p:txBody>
      </p:sp>
    </p:spTree>
    <p:extLst>
      <p:ext uri="{BB962C8B-B14F-4D97-AF65-F5344CB8AC3E}">
        <p14:creationId xmlns:p14="http://schemas.microsoft.com/office/powerpoint/2010/main" val="1156105859"/>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3 Photo w/Caption">
    <p:spTree>
      <p:nvGrpSpPr>
        <p:cNvPr id="1" name=""/>
        <p:cNvGrpSpPr/>
        <p:nvPr/>
      </p:nvGrpSpPr>
      <p:grpSpPr>
        <a:xfrm>
          <a:off x="0" y="0"/>
          <a:ext cx="0" cy="0"/>
          <a:chOff x="0" y="0"/>
          <a:chExt cx="0" cy="0"/>
        </a:xfrm>
      </p:grpSpPr>
      <p:sp>
        <p:nvSpPr>
          <p:cNvPr id="9" name="Picture Placeholder 8"/>
          <p:cNvSpPr>
            <a:spLocks noGrp="1"/>
          </p:cNvSpPr>
          <p:nvPr>
            <p:ph type="pic" sz="quarter" idx="22"/>
          </p:nvPr>
        </p:nvSpPr>
        <p:spPr>
          <a:xfrm>
            <a:off x="754381" y="2682240"/>
            <a:ext cx="5538826" cy="5979160"/>
          </a:xfrm>
          <a:solidFill>
            <a:schemeClr val="accent3">
              <a:lumMod val="20000"/>
              <a:lumOff val="80000"/>
            </a:schemeClr>
          </a:solidFill>
        </p:spPr>
        <p:txBody>
          <a:bodyPr/>
          <a:lstStyle>
            <a:lvl1pPr>
              <a:defRPr sz="2347">
                <a:solidFill>
                  <a:schemeClr val="tx1"/>
                </a:solidFill>
              </a:defRPr>
            </a:lvl1pPr>
          </a:lstStyle>
          <a:p>
            <a:r>
              <a:rPr lang="en-US"/>
              <a:t>Click icon to add picture</a:t>
            </a:r>
          </a:p>
        </p:txBody>
      </p:sp>
      <p:sp>
        <p:nvSpPr>
          <p:cNvPr id="2" name="Title 1"/>
          <p:cNvSpPr>
            <a:spLocks noGrp="1"/>
          </p:cNvSpPr>
          <p:nvPr>
            <p:ph type="title" hasCustomPrompt="1"/>
          </p:nvPr>
        </p:nvSpPr>
        <p:spPr/>
        <p:txBody>
          <a:bodyPr/>
          <a:lstStyle>
            <a:lvl1pPr>
              <a:defRPr/>
            </a:lvl1pPr>
          </a:lstStyle>
          <a:p>
            <a:r>
              <a:rPr lang="en-US"/>
              <a:t>3 Photo | Type insightful headline in sentence case | One line</a:t>
            </a:r>
          </a:p>
        </p:txBody>
      </p:sp>
      <p:sp>
        <p:nvSpPr>
          <p:cNvPr id="3" name="Date Placeholder 2"/>
          <p:cNvSpPr>
            <a:spLocks noGrp="1"/>
          </p:cNvSpPr>
          <p:nvPr>
            <p:ph type="dt" sz="half" idx="10"/>
          </p:nvPr>
        </p:nvSpPr>
        <p:spPr/>
        <p:txBody>
          <a:bodyPr/>
          <a:lstStyle/>
          <a:p>
            <a:fld id="{8A753E66-661B-EC41-A926-211A5934B574}" type="datetime1">
              <a:rPr lang="en-US" smtClean="0"/>
              <a:t>4/21/21</a:t>
            </a:fld>
            <a:endParaRPr lang="en-US"/>
          </a:p>
        </p:txBody>
      </p:sp>
      <p:sp>
        <p:nvSpPr>
          <p:cNvPr id="4" name="Footer Placeholder 3"/>
          <p:cNvSpPr>
            <a:spLocks noGrp="1"/>
          </p:cNvSpPr>
          <p:nvPr>
            <p:ph type="ftr" sz="quarter" idx="11"/>
          </p:nvPr>
        </p:nvSpPr>
        <p:spPr>
          <a:xfrm>
            <a:off x="7767321" y="9514241"/>
            <a:ext cx="8689339" cy="535517"/>
          </a:xfrm>
          <a:prstGeom prst="rect">
            <a:avLst/>
          </a:prstGeom>
        </p:spPr>
        <p:txBody>
          <a:bodyPr/>
          <a:lstStyle/>
          <a:p>
            <a:r>
              <a:rPr lang="en-US"/>
              <a:t>Confidential property of Optum. Do not distribute or reproduce without express permission from Optum.</a:t>
            </a:r>
          </a:p>
        </p:txBody>
      </p:sp>
      <p:sp>
        <p:nvSpPr>
          <p:cNvPr id="5" name="Slide Number Placeholder 4"/>
          <p:cNvSpPr>
            <a:spLocks noGrp="1"/>
          </p:cNvSpPr>
          <p:nvPr>
            <p:ph type="sldNum" sz="quarter" idx="12"/>
          </p:nvPr>
        </p:nvSpPr>
        <p:spPr/>
        <p:txBody>
          <a:bodyPr/>
          <a:lstStyle/>
          <a:p>
            <a:fld id="{3310D8EA-3107-4873-B9AB-DD7D3E79053A}" type="slidenum">
              <a:rPr lang="en-US" smtClean="0"/>
              <a:t>‹#›</a:t>
            </a:fld>
            <a:endParaRPr lang="en-US"/>
          </a:p>
        </p:txBody>
      </p:sp>
      <p:sp>
        <p:nvSpPr>
          <p:cNvPr id="6" name="Text Placeholder 7"/>
          <p:cNvSpPr>
            <a:spLocks noGrp="1"/>
          </p:cNvSpPr>
          <p:nvPr>
            <p:ph type="body" sz="quarter" idx="13" hasCustomPrompt="1"/>
          </p:nvPr>
        </p:nvSpPr>
        <p:spPr>
          <a:xfrm>
            <a:off x="726440" y="1640148"/>
            <a:ext cx="16596360" cy="721783"/>
          </a:xfrm>
        </p:spPr>
        <p:txBody>
          <a:bodyPr/>
          <a:lstStyle>
            <a:lvl1pPr>
              <a:defRPr sz="3813">
                <a:solidFill>
                  <a:schemeClr val="accent4"/>
                </a:solidFill>
              </a:defRPr>
            </a:lvl1pPr>
          </a:lstStyle>
          <a:p>
            <a:pPr lvl="0"/>
            <a:r>
              <a:rPr lang="en-US"/>
              <a:t>Use this space for one line subhead if needed | One line</a:t>
            </a:r>
          </a:p>
        </p:txBody>
      </p:sp>
      <p:sp>
        <p:nvSpPr>
          <p:cNvPr id="8" name="Text Placeholder 7"/>
          <p:cNvSpPr>
            <a:spLocks noGrp="1"/>
          </p:cNvSpPr>
          <p:nvPr>
            <p:ph type="body" sz="quarter" idx="14" hasCustomPrompt="1"/>
          </p:nvPr>
        </p:nvSpPr>
        <p:spPr>
          <a:xfrm>
            <a:off x="3233004" y="5681462"/>
            <a:ext cx="3046792" cy="2979938"/>
          </a:xfrm>
          <a:solidFill>
            <a:schemeClr val="tx1"/>
          </a:solidFill>
        </p:spPr>
        <p:txBody>
          <a:bodyPr lIns="137160" tIns="137160" anchor="t"/>
          <a:lstStyle>
            <a:lvl1pPr algn="l">
              <a:lnSpc>
                <a:spcPct val="90000"/>
              </a:lnSpc>
              <a:spcBef>
                <a:spcPts val="0"/>
              </a:spcBef>
              <a:spcAft>
                <a:spcPts val="0"/>
              </a:spcAft>
              <a:defRPr sz="2347">
                <a:solidFill>
                  <a:schemeClr val="bg1"/>
                </a:solidFill>
              </a:defRPr>
            </a:lvl1pPr>
          </a:lstStyle>
          <a:p>
            <a:pPr lvl="0"/>
            <a:r>
              <a:rPr lang="en-US"/>
              <a:t>Type caption here | Remove if not needed</a:t>
            </a:r>
          </a:p>
        </p:txBody>
      </p:sp>
      <p:sp>
        <p:nvSpPr>
          <p:cNvPr id="15" name="Picture Placeholder 8"/>
          <p:cNvSpPr>
            <a:spLocks noGrp="1"/>
          </p:cNvSpPr>
          <p:nvPr>
            <p:ph type="pic" sz="quarter" idx="23"/>
          </p:nvPr>
        </p:nvSpPr>
        <p:spPr>
          <a:xfrm>
            <a:off x="6286717" y="2682240"/>
            <a:ext cx="5538826" cy="5979160"/>
          </a:xfrm>
          <a:solidFill>
            <a:schemeClr val="accent3">
              <a:lumMod val="20000"/>
              <a:lumOff val="80000"/>
            </a:schemeClr>
          </a:solidFill>
        </p:spPr>
        <p:txBody>
          <a:bodyPr/>
          <a:lstStyle>
            <a:lvl1pPr>
              <a:defRPr sz="2347">
                <a:solidFill>
                  <a:schemeClr val="tx1"/>
                </a:solidFill>
              </a:defRPr>
            </a:lvl1pPr>
          </a:lstStyle>
          <a:p>
            <a:r>
              <a:rPr lang="en-US"/>
              <a:t>Click icon to add picture</a:t>
            </a:r>
          </a:p>
        </p:txBody>
      </p:sp>
      <p:sp>
        <p:nvSpPr>
          <p:cNvPr id="16" name="Text Placeholder 7"/>
          <p:cNvSpPr>
            <a:spLocks noGrp="1"/>
          </p:cNvSpPr>
          <p:nvPr>
            <p:ph type="body" sz="quarter" idx="24" hasCustomPrompt="1"/>
          </p:nvPr>
        </p:nvSpPr>
        <p:spPr>
          <a:xfrm>
            <a:off x="8778751" y="5681462"/>
            <a:ext cx="3046792" cy="2979938"/>
          </a:xfrm>
          <a:solidFill>
            <a:schemeClr val="accent2"/>
          </a:solidFill>
        </p:spPr>
        <p:txBody>
          <a:bodyPr lIns="137160" tIns="137160" anchor="t"/>
          <a:lstStyle>
            <a:lvl1pPr algn="l">
              <a:lnSpc>
                <a:spcPct val="90000"/>
              </a:lnSpc>
              <a:spcBef>
                <a:spcPts val="0"/>
              </a:spcBef>
              <a:spcAft>
                <a:spcPts val="0"/>
              </a:spcAft>
              <a:defRPr sz="2347">
                <a:solidFill>
                  <a:schemeClr val="bg1"/>
                </a:solidFill>
              </a:defRPr>
            </a:lvl1pPr>
          </a:lstStyle>
          <a:p>
            <a:pPr lvl="0"/>
            <a:r>
              <a:rPr lang="en-US"/>
              <a:t>Type caption here | Remove if not needed</a:t>
            </a:r>
          </a:p>
        </p:txBody>
      </p:sp>
      <p:sp>
        <p:nvSpPr>
          <p:cNvPr id="17" name="Picture Placeholder 8"/>
          <p:cNvSpPr>
            <a:spLocks noGrp="1"/>
          </p:cNvSpPr>
          <p:nvPr>
            <p:ph type="pic" sz="quarter" idx="25"/>
          </p:nvPr>
        </p:nvSpPr>
        <p:spPr>
          <a:xfrm>
            <a:off x="11832194" y="2691882"/>
            <a:ext cx="5538826" cy="5979160"/>
          </a:xfrm>
          <a:solidFill>
            <a:schemeClr val="accent3">
              <a:lumMod val="20000"/>
              <a:lumOff val="80000"/>
            </a:schemeClr>
          </a:solidFill>
        </p:spPr>
        <p:txBody>
          <a:bodyPr/>
          <a:lstStyle>
            <a:lvl1pPr>
              <a:defRPr sz="2347">
                <a:solidFill>
                  <a:schemeClr val="tx1"/>
                </a:solidFill>
              </a:defRPr>
            </a:lvl1pPr>
          </a:lstStyle>
          <a:p>
            <a:r>
              <a:rPr lang="en-US"/>
              <a:t>Click icon to add picture</a:t>
            </a:r>
          </a:p>
        </p:txBody>
      </p:sp>
      <p:sp>
        <p:nvSpPr>
          <p:cNvPr id="18" name="Text Placeholder 7"/>
          <p:cNvSpPr>
            <a:spLocks noGrp="1"/>
          </p:cNvSpPr>
          <p:nvPr>
            <p:ph type="body" sz="quarter" idx="26" hasCustomPrompt="1"/>
          </p:nvPr>
        </p:nvSpPr>
        <p:spPr>
          <a:xfrm>
            <a:off x="14324228" y="5681462"/>
            <a:ext cx="3046792" cy="2979938"/>
          </a:xfrm>
          <a:solidFill>
            <a:schemeClr val="accent4"/>
          </a:solidFill>
        </p:spPr>
        <p:txBody>
          <a:bodyPr lIns="137160" tIns="137160" anchor="t"/>
          <a:lstStyle>
            <a:lvl1pPr algn="l">
              <a:lnSpc>
                <a:spcPct val="90000"/>
              </a:lnSpc>
              <a:spcBef>
                <a:spcPts val="0"/>
              </a:spcBef>
              <a:spcAft>
                <a:spcPts val="0"/>
              </a:spcAft>
              <a:defRPr sz="2347">
                <a:solidFill>
                  <a:schemeClr val="bg1"/>
                </a:solidFill>
              </a:defRPr>
            </a:lvl1pPr>
          </a:lstStyle>
          <a:p>
            <a:pPr lvl="0"/>
            <a:r>
              <a:rPr lang="en-US"/>
              <a:t>Type caption here | Remove if not needed</a:t>
            </a:r>
          </a:p>
        </p:txBody>
      </p:sp>
      <p:sp>
        <p:nvSpPr>
          <p:cNvPr id="13" name="Rectangle 12">
            <a:extLst>
              <a:ext uri="{FF2B5EF4-FFF2-40B4-BE49-F238E27FC236}">
                <a16:creationId xmlns:a16="http://schemas.microsoft.com/office/drawing/2014/main" id="{B42870C7-51DA-4C40-888B-8B285A0F75BB}"/>
              </a:ext>
            </a:extLst>
          </p:cNvPr>
          <p:cNvSpPr/>
          <p:nvPr userDrawn="1"/>
        </p:nvSpPr>
        <p:spPr bwMode="gray">
          <a:xfrm>
            <a:off x="17979576" y="-8643"/>
            <a:ext cx="3203788" cy="10058400"/>
          </a:xfrm>
          <a:prstGeom prst="rect">
            <a:avLst/>
          </a:prstGeom>
          <a:solidFill>
            <a:schemeClr val="accent3"/>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r>
              <a:rPr lang="en-US" sz="2053"/>
              <a:t>For Image / Photography options. navigate to https://hub.uhg.com/sites/hub/Optum/Resources/Brand/Documents/Photo%20Library%20Overview_June2017.docx</a:t>
            </a:r>
          </a:p>
        </p:txBody>
      </p:sp>
    </p:spTree>
    <p:extLst>
      <p:ext uri="{BB962C8B-B14F-4D97-AF65-F5344CB8AC3E}">
        <p14:creationId xmlns:p14="http://schemas.microsoft.com/office/powerpoint/2010/main" val="1193489614"/>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4 Photo w/Caption">
    <p:spTree>
      <p:nvGrpSpPr>
        <p:cNvPr id="1" name=""/>
        <p:cNvGrpSpPr/>
        <p:nvPr/>
      </p:nvGrpSpPr>
      <p:grpSpPr>
        <a:xfrm>
          <a:off x="0" y="0"/>
          <a:ext cx="0" cy="0"/>
          <a:chOff x="0" y="0"/>
          <a:chExt cx="0" cy="0"/>
        </a:xfrm>
      </p:grpSpPr>
      <p:sp>
        <p:nvSpPr>
          <p:cNvPr id="9" name="Picture Placeholder 8"/>
          <p:cNvSpPr>
            <a:spLocks noGrp="1"/>
          </p:cNvSpPr>
          <p:nvPr>
            <p:ph type="pic" sz="quarter" idx="22"/>
          </p:nvPr>
        </p:nvSpPr>
        <p:spPr>
          <a:xfrm>
            <a:off x="754380" y="2682241"/>
            <a:ext cx="4135120" cy="3789196"/>
          </a:xfrm>
          <a:solidFill>
            <a:schemeClr val="accent3">
              <a:lumMod val="20000"/>
              <a:lumOff val="80000"/>
            </a:schemeClr>
          </a:solidFill>
        </p:spPr>
        <p:txBody>
          <a:bodyPr/>
          <a:lstStyle>
            <a:lvl1pPr>
              <a:defRPr sz="2347">
                <a:solidFill>
                  <a:schemeClr val="tx1"/>
                </a:solidFill>
              </a:defRPr>
            </a:lvl1pPr>
          </a:lstStyle>
          <a:p>
            <a:r>
              <a:rPr lang="en-US"/>
              <a:t>Click icon to add picture</a:t>
            </a:r>
          </a:p>
        </p:txBody>
      </p:sp>
      <p:sp>
        <p:nvSpPr>
          <p:cNvPr id="2" name="Title 1"/>
          <p:cNvSpPr>
            <a:spLocks noGrp="1"/>
          </p:cNvSpPr>
          <p:nvPr>
            <p:ph type="title" hasCustomPrompt="1"/>
          </p:nvPr>
        </p:nvSpPr>
        <p:spPr/>
        <p:txBody>
          <a:bodyPr/>
          <a:lstStyle>
            <a:lvl1pPr>
              <a:defRPr/>
            </a:lvl1pPr>
          </a:lstStyle>
          <a:p>
            <a:r>
              <a:rPr lang="en-US"/>
              <a:t>4 Photo | Type insightful headline in sentence case | One line</a:t>
            </a:r>
          </a:p>
        </p:txBody>
      </p:sp>
      <p:sp>
        <p:nvSpPr>
          <p:cNvPr id="3" name="Date Placeholder 2"/>
          <p:cNvSpPr>
            <a:spLocks noGrp="1"/>
          </p:cNvSpPr>
          <p:nvPr>
            <p:ph type="dt" sz="half" idx="10"/>
          </p:nvPr>
        </p:nvSpPr>
        <p:spPr/>
        <p:txBody>
          <a:bodyPr/>
          <a:lstStyle/>
          <a:p>
            <a:fld id="{30476DF2-1ECD-0642-A943-4FBA0DD77EF1}" type="datetime1">
              <a:rPr lang="en-US" smtClean="0"/>
              <a:t>4/21/21</a:t>
            </a:fld>
            <a:endParaRPr lang="en-US"/>
          </a:p>
        </p:txBody>
      </p:sp>
      <p:sp>
        <p:nvSpPr>
          <p:cNvPr id="4" name="Footer Placeholder 3"/>
          <p:cNvSpPr>
            <a:spLocks noGrp="1"/>
          </p:cNvSpPr>
          <p:nvPr>
            <p:ph type="ftr" sz="quarter" idx="11"/>
          </p:nvPr>
        </p:nvSpPr>
        <p:spPr>
          <a:xfrm>
            <a:off x="7767321" y="9514241"/>
            <a:ext cx="8689339" cy="535517"/>
          </a:xfrm>
          <a:prstGeom prst="rect">
            <a:avLst/>
          </a:prstGeom>
        </p:spPr>
        <p:txBody>
          <a:bodyPr/>
          <a:lstStyle/>
          <a:p>
            <a:r>
              <a:rPr lang="en-US"/>
              <a:t>Confidential property of Optum. Do not distribute or reproduce without express permission from Optum.</a:t>
            </a:r>
          </a:p>
        </p:txBody>
      </p:sp>
      <p:sp>
        <p:nvSpPr>
          <p:cNvPr id="5" name="Slide Number Placeholder 4"/>
          <p:cNvSpPr>
            <a:spLocks noGrp="1"/>
          </p:cNvSpPr>
          <p:nvPr>
            <p:ph type="sldNum" sz="quarter" idx="12"/>
          </p:nvPr>
        </p:nvSpPr>
        <p:spPr/>
        <p:txBody>
          <a:bodyPr/>
          <a:lstStyle/>
          <a:p>
            <a:fld id="{3310D8EA-3107-4873-B9AB-DD7D3E79053A}" type="slidenum">
              <a:rPr lang="en-US" smtClean="0"/>
              <a:t>‹#›</a:t>
            </a:fld>
            <a:endParaRPr lang="en-US"/>
          </a:p>
        </p:txBody>
      </p:sp>
      <p:sp>
        <p:nvSpPr>
          <p:cNvPr id="6" name="Text Placeholder 7"/>
          <p:cNvSpPr>
            <a:spLocks noGrp="1"/>
          </p:cNvSpPr>
          <p:nvPr>
            <p:ph type="body" sz="quarter" idx="13" hasCustomPrompt="1"/>
          </p:nvPr>
        </p:nvSpPr>
        <p:spPr>
          <a:xfrm>
            <a:off x="726440" y="1640148"/>
            <a:ext cx="16596360" cy="721783"/>
          </a:xfrm>
        </p:spPr>
        <p:txBody>
          <a:bodyPr/>
          <a:lstStyle>
            <a:lvl1pPr>
              <a:defRPr sz="3813">
                <a:solidFill>
                  <a:schemeClr val="accent4"/>
                </a:solidFill>
              </a:defRPr>
            </a:lvl1pPr>
          </a:lstStyle>
          <a:p>
            <a:pPr lvl="0"/>
            <a:r>
              <a:rPr lang="en-US"/>
              <a:t>Use this space for one line subhead if needed | One line</a:t>
            </a:r>
          </a:p>
        </p:txBody>
      </p:sp>
      <p:sp>
        <p:nvSpPr>
          <p:cNvPr id="15" name="Picture Placeholder 8"/>
          <p:cNvSpPr>
            <a:spLocks noGrp="1"/>
          </p:cNvSpPr>
          <p:nvPr>
            <p:ph type="pic" sz="quarter" idx="23"/>
          </p:nvPr>
        </p:nvSpPr>
        <p:spPr>
          <a:xfrm>
            <a:off x="4889502" y="2682241"/>
            <a:ext cx="4142104" cy="3789196"/>
          </a:xfrm>
          <a:solidFill>
            <a:schemeClr val="accent3">
              <a:lumMod val="20000"/>
              <a:lumOff val="80000"/>
            </a:schemeClr>
          </a:solidFill>
        </p:spPr>
        <p:txBody>
          <a:bodyPr/>
          <a:lstStyle>
            <a:lvl1pPr>
              <a:defRPr sz="2347">
                <a:solidFill>
                  <a:schemeClr val="tx1"/>
                </a:solidFill>
              </a:defRPr>
            </a:lvl1pPr>
          </a:lstStyle>
          <a:p>
            <a:r>
              <a:rPr lang="en-US"/>
              <a:t>Click icon to add picture</a:t>
            </a:r>
          </a:p>
        </p:txBody>
      </p:sp>
      <p:sp>
        <p:nvSpPr>
          <p:cNvPr id="17" name="Picture Placeholder 8"/>
          <p:cNvSpPr>
            <a:spLocks noGrp="1"/>
          </p:cNvSpPr>
          <p:nvPr>
            <p:ph type="pic" sz="quarter" idx="25"/>
          </p:nvPr>
        </p:nvSpPr>
        <p:spPr>
          <a:xfrm>
            <a:off x="9031605" y="2678912"/>
            <a:ext cx="4138612" cy="3789196"/>
          </a:xfrm>
          <a:solidFill>
            <a:schemeClr val="accent3">
              <a:lumMod val="20000"/>
              <a:lumOff val="80000"/>
            </a:schemeClr>
          </a:solidFill>
        </p:spPr>
        <p:txBody>
          <a:bodyPr/>
          <a:lstStyle>
            <a:lvl1pPr>
              <a:defRPr sz="2347">
                <a:solidFill>
                  <a:schemeClr val="tx1"/>
                </a:solidFill>
              </a:defRPr>
            </a:lvl1pPr>
          </a:lstStyle>
          <a:p>
            <a:r>
              <a:rPr lang="en-US"/>
              <a:t>Click icon to add picture</a:t>
            </a:r>
          </a:p>
        </p:txBody>
      </p:sp>
      <p:sp>
        <p:nvSpPr>
          <p:cNvPr id="13" name="Picture Placeholder 8"/>
          <p:cNvSpPr>
            <a:spLocks noGrp="1"/>
          </p:cNvSpPr>
          <p:nvPr>
            <p:ph type="pic" sz="quarter" idx="27"/>
          </p:nvPr>
        </p:nvSpPr>
        <p:spPr>
          <a:xfrm>
            <a:off x="13166726" y="2678912"/>
            <a:ext cx="4156076" cy="3789196"/>
          </a:xfrm>
          <a:solidFill>
            <a:schemeClr val="accent3">
              <a:lumMod val="20000"/>
              <a:lumOff val="80000"/>
            </a:schemeClr>
          </a:solidFill>
        </p:spPr>
        <p:txBody>
          <a:bodyPr/>
          <a:lstStyle>
            <a:lvl1pPr>
              <a:defRPr sz="2347">
                <a:solidFill>
                  <a:schemeClr val="tx1"/>
                </a:solidFill>
              </a:defRPr>
            </a:lvl1pPr>
          </a:lstStyle>
          <a:p>
            <a:r>
              <a:rPr lang="en-US"/>
              <a:t>Click icon to add picture</a:t>
            </a:r>
          </a:p>
        </p:txBody>
      </p:sp>
      <p:sp>
        <p:nvSpPr>
          <p:cNvPr id="8" name="Text Placeholder 7"/>
          <p:cNvSpPr>
            <a:spLocks noGrp="1"/>
          </p:cNvSpPr>
          <p:nvPr>
            <p:ph type="body" sz="quarter" idx="14" hasCustomPrompt="1"/>
          </p:nvPr>
        </p:nvSpPr>
        <p:spPr>
          <a:xfrm>
            <a:off x="2746102" y="4358640"/>
            <a:ext cx="2143397" cy="2111132"/>
          </a:xfrm>
          <a:solidFill>
            <a:schemeClr val="tx1"/>
          </a:solidFill>
        </p:spPr>
        <p:txBody>
          <a:bodyPr lIns="137160" tIns="137160" anchor="t"/>
          <a:lstStyle>
            <a:lvl1pPr algn="l">
              <a:lnSpc>
                <a:spcPct val="90000"/>
              </a:lnSpc>
              <a:spcBef>
                <a:spcPts val="0"/>
              </a:spcBef>
              <a:spcAft>
                <a:spcPts val="0"/>
              </a:spcAft>
              <a:defRPr sz="2347">
                <a:solidFill>
                  <a:schemeClr val="bg1"/>
                </a:solidFill>
              </a:defRPr>
            </a:lvl1pPr>
          </a:lstStyle>
          <a:p>
            <a:pPr lvl="0"/>
            <a:r>
              <a:rPr lang="en-US"/>
              <a:t>Type caption </a:t>
            </a:r>
            <a:r>
              <a:rPr lang="en-US" err="1"/>
              <a:t>here|Remove</a:t>
            </a:r>
            <a:r>
              <a:rPr lang="en-US"/>
              <a:t> if not needed</a:t>
            </a:r>
          </a:p>
        </p:txBody>
      </p:sp>
      <p:sp>
        <p:nvSpPr>
          <p:cNvPr id="16" name="Text Placeholder 7"/>
          <p:cNvSpPr>
            <a:spLocks noGrp="1"/>
          </p:cNvSpPr>
          <p:nvPr>
            <p:ph type="body" sz="quarter" idx="24" hasCustomPrompt="1"/>
          </p:nvPr>
        </p:nvSpPr>
        <p:spPr>
          <a:xfrm>
            <a:off x="6888208" y="4358640"/>
            <a:ext cx="2143397" cy="2111132"/>
          </a:xfrm>
          <a:solidFill>
            <a:schemeClr val="accent2"/>
          </a:solidFill>
        </p:spPr>
        <p:txBody>
          <a:bodyPr lIns="137160" tIns="137160" anchor="t"/>
          <a:lstStyle>
            <a:lvl1pPr algn="l">
              <a:lnSpc>
                <a:spcPct val="90000"/>
              </a:lnSpc>
              <a:spcBef>
                <a:spcPts val="0"/>
              </a:spcBef>
              <a:spcAft>
                <a:spcPts val="0"/>
              </a:spcAft>
              <a:defRPr sz="2347">
                <a:solidFill>
                  <a:schemeClr val="bg1"/>
                </a:solidFill>
              </a:defRPr>
            </a:lvl1pPr>
          </a:lstStyle>
          <a:p>
            <a:pPr lvl="0"/>
            <a:r>
              <a:rPr lang="en-US"/>
              <a:t>Type caption </a:t>
            </a:r>
            <a:r>
              <a:rPr lang="en-US" err="1"/>
              <a:t>here|Remove</a:t>
            </a:r>
            <a:r>
              <a:rPr lang="en-US"/>
              <a:t> if not needed</a:t>
            </a:r>
          </a:p>
        </p:txBody>
      </p:sp>
      <p:sp>
        <p:nvSpPr>
          <p:cNvPr id="18" name="Text Placeholder 7"/>
          <p:cNvSpPr>
            <a:spLocks noGrp="1"/>
          </p:cNvSpPr>
          <p:nvPr>
            <p:ph type="body" sz="quarter" idx="26" hasCustomPrompt="1"/>
          </p:nvPr>
        </p:nvSpPr>
        <p:spPr>
          <a:xfrm>
            <a:off x="11026819" y="4358640"/>
            <a:ext cx="2143397" cy="2111132"/>
          </a:xfrm>
          <a:solidFill>
            <a:schemeClr val="accent4"/>
          </a:solidFill>
        </p:spPr>
        <p:txBody>
          <a:bodyPr lIns="137160" tIns="137160" anchor="t"/>
          <a:lstStyle>
            <a:lvl1pPr algn="l">
              <a:lnSpc>
                <a:spcPct val="90000"/>
              </a:lnSpc>
              <a:spcBef>
                <a:spcPts val="0"/>
              </a:spcBef>
              <a:spcAft>
                <a:spcPts val="0"/>
              </a:spcAft>
              <a:defRPr sz="2347">
                <a:solidFill>
                  <a:schemeClr val="bg1"/>
                </a:solidFill>
              </a:defRPr>
            </a:lvl1pPr>
          </a:lstStyle>
          <a:p>
            <a:pPr lvl="0"/>
            <a:r>
              <a:rPr lang="en-US"/>
              <a:t>Type caption </a:t>
            </a:r>
            <a:r>
              <a:rPr lang="en-US" err="1"/>
              <a:t>here|Remove</a:t>
            </a:r>
            <a:r>
              <a:rPr lang="en-US"/>
              <a:t> if not needed</a:t>
            </a:r>
          </a:p>
        </p:txBody>
      </p:sp>
      <p:sp>
        <p:nvSpPr>
          <p:cNvPr id="14" name="Text Placeholder 7"/>
          <p:cNvSpPr>
            <a:spLocks noGrp="1"/>
          </p:cNvSpPr>
          <p:nvPr>
            <p:ph type="body" sz="quarter" idx="28" hasCustomPrompt="1"/>
          </p:nvPr>
        </p:nvSpPr>
        <p:spPr>
          <a:xfrm>
            <a:off x="15179404" y="4358640"/>
            <a:ext cx="2143397" cy="2111132"/>
          </a:xfrm>
          <a:solidFill>
            <a:srgbClr val="A22B38"/>
          </a:solidFill>
        </p:spPr>
        <p:txBody>
          <a:bodyPr lIns="137160" tIns="137160" anchor="t"/>
          <a:lstStyle>
            <a:lvl1pPr algn="l">
              <a:lnSpc>
                <a:spcPct val="90000"/>
              </a:lnSpc>
              <a:spcBef>
                <a:spcPts val="0"/>
              </a:spcBef>
              <a:spcAft>
                <a:spcPts val="0"/>
              </a:spcAft>
              <a:defRPr sz="2347">
                <a:solidFill>
                  <a:schemeClr val="bg1"/>
                </a:solidFill>
              </a:defRPr>
            </a:lvl1pPr>
          </a:lstStyle>
          <a:p>
            <a:pPr lvl="0"/>
            <a:r>
              <a:rPr lang="en-US"/>
              <a:t>Type caption </a:t>
            </a:r>
            <a:r>
              <a:rPr lang="en-US" err="1"/>
              <a:t>here|Remove</a:t>
            </a:r>
            <a:r>
              <a:rPr lang="en-US"/>
              <a:t> if not needed</a:t>
            </a:r>
          </a:p>
        </p:txBody>
      </p:sp>
      <p:sp>
        <p:nvSpPr>
          <p:cNvPr id="19" name="Rectangle 18">
            <a:extLst>
              <a:ext uri="{FF2B5EF4-FFF2-40B4-BE49-F238E27FC236}">
                <a16:creationId xmlns:a16="http://schemas.microsoft.com/office/drawing/2014/main" id="{788C153F-3CBA-4181-B037-6B310FABB909}"/>
              </a:ext>
            </a:extLst>
          </p:cNvPr>
          <p:cNvSpPr/>
          <p:nvPr userDrawn="1"/>
        </p:nvSpPr>
        <p:spPr bwMode="gray">
          <a:xfrm>
            <a:off x="17979576" y="-8643"/>
            <a:ext cx="3203788" cy="10058400"/>
          </a:xfrm>
          <a:prstGeom prst="rect">
            <a:avLst/>
          </a:prstGeom>
          <a:solidFill>
            <a:schemeClr val="accent3"/>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r>
              <a:rPr lang="en-US" sz="2053"/>
              <a:t>For Image / Photography options. navigate to https://hub.uhg.com/sites/hub/Optum/Resources/Brand/Documents/Photo%20Library%20Overview_June2017.docx</a:t>
            </a:r>
          </a:p>
        </p:txBody>
      </p:sp>
    </p:spTree>
    <p:extLst>
      <p:ext uri="{BB962C8B-B14F-4D97-AF65-F5344CB8AC3E}">
        <p14:creationId xmlns:p14="http://schemas.microsoft.com/office/powerpoint/2010/main" val="2145516132"/>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5 Photo w/Caption">
    <p:spTree>
      <p:nvGrpSpPr>
        <p:cNvPr id="1" name=""/>
        <p:cNvGrpSpPr/>
        <p:nvPr/>
      </p:nvGrpSpPr>
      <p:grpSpPr>
        <a:xfrm>
          <a:off x="0" y="0"/>
          <a:ext cx="0" cy="0"/>
          <a:chOff x="0" y="0"/>
          <a:chExt cx="0" cy="0"/>
        </a:xfrm>
      </p:grpSpPr>
      <p:sp>
        <p:nvSpPr>
          <p:cNvPr id="9" name="Picture Placeholder 8"/>
          <p:cNvSpPr>
            <a:spLocks noGrp="1"/>
          </p:cNvSpPr>
          <p:nvPr>
            <p:ph type="pic" sz="quarter" idx="22"/>
          </p:nvPr>
        </p:nvSpPr>
        <p:spPr>
          <a:xfrm>
            <a:off x="754379" y="2678911"/>
            <a:ext cx="3285744" cy="2895408"/>
          </a:xfrm>
          <a:solidFill>
            <a:schemeClr val="accent3">
              <a:lumMod val="20000"/>
              <a:lumOff val="80000"/>
            </a:schemeClr>
          </a:solidFill>
        </p:spPr>
        <p:txBody>
          <a:bodyPr/>
          <a:lstStyle>
            <a:lvl1pPr>
              <a:defRPr sz="2347">
                <a:solidFill>
                  <a:schemeClr val="tx1"/>
                </a:solidFill>
              </a:defRPr>
            </a:lvl1pPr>
          </a:lstStyle>
          <a:p>
            <a:r>
              <a:rPr lang="en-US"/>
              <a:t>Click icon to add picture</a:t>
            </a:r>
          </a:p>
        </p:txBody>
      </p:sp>
      <p:sp>
        <p:nvSpPr>
          <p:cNvPr id="2" name="Title 1"/>
          <p:cNvSpPr>
            <a:spLocks noGrp="1"/>
          </p:cNvSpPr>
          <p:nvPr>
            <p:ph type="title" hasCustomPrompt="1"/>
          </p:nvPr>
        </p:nvSpPr>
        <p:spPr/>
        <p:txBody>
          <a:bodyPr/>
          <a:lstStyle>
            <a:lvl1pPr>
              <a:defRPr/>
            </a:lvl1pPr>
          </a:lstStyle>
          <a:p>
            <a:r>
              <a:rPr lang="en-US"/>
              <a:t>5 Photo | Type insightful headline in sentence case | One line</a:t>
            </a:r>
          </a:p>
        </p:txBody>
      </p:sp>
      <p:sp>
        <p:nvSpPr>
          <p:cNvPr id="3" name="Date Placeholder 2"/>
          <p:cNvSpPr>
            <a:spLocks noGrp="1"/>
          </p:cNvSpPr>
          <p:nvPr>
            <p:ph type="dt" sz="half" idx="10"/>
          </p:nvPr>
        </p:nvSpPr>
        <p:spPr/>
        <p:txBody>
          <a:bodyPr/>
          <a:lstStyle/>
          <a:p>
            <a:fld id="{F0F40135-2B20-BB43-80FC-138A23B47E69}" type="datetime1">
              <a:rPr lang="en-US" smtClean="0"/>
              <a:t>4/21/21</a:t>
            </a:fld>
            <a:endParaRPr lang="en-US"/>
          </a:p>
        </p:txBody>
      </p:sp>
      <p:sp>
        <p:nvSpPr>
          <p:cNvPr id="4" name="Footer Placeholder 3"/>
          <p:cNvSpPr>
            <a:spLocks noGrp="1"/>
          </p:cNvSpPr>
          <p:nvPr>
            <p:ph type="ftr" sz="quarter" idx="11"/>
          </p:nvPr>
        </p:nvSpPr>
        <p:spPr>
          <a:xfrm>
            <a:off x="7767321" y="9514241"/>
            <a:ext cx="8689339" cy="535517"/>
          </a:xfrm>
          <a:prstGeom prst="rect">
            <a:avLst/>
          </a:prstGeom>
        </p:spPr>
        <p:txBody>
          <a:bodyPr/>
          <a:lstStyle/>
          <a:p>
            <a:r>
              <a:rPr lang="en-US"/>
              <a:t>Confidential property of Optum. Do not distribute or reproduce without express permission from Optum.</a:t>
            </a:r>
          </a:p>
        </p:txBody>
      </p:sp>
      <p:sp>
        <p:nvSpPr>
          <p:cNvPr id="5" name="Slide Number Placeholder 4"/>
          <p:cNvSpPr>
            <a:spLocks noGrp="1"/>
          </p:cNvSpPr>
          <p:nvPr>
            <p:ph type="sldNum" sz="quarter" idx="12"/>
          </p:nvPr>
        </p:nvSpPr>
        <p:spPr/>
        <p:txBody>
          <a:bodyPr/>
          <a:lstStyle/>
          <a:p>
            <a:fld id="{3310D8EA-3107-4873-B9AB-DD7D3E79053A}" type="slidenum">
              <a:rPr lang="en-US" smtClean="0"/>
              <a:t>‹#›</a:t>
            </a:fld>
            <a:endParaRPr lang="en-US"/>
          </a:p>
        </p:txBody>
      </p:sp>
      <p:sp>
        <p:nvSpPr>
          <p:cNvPr id="6" name="Text Placeholder 7"/>
          <p:cNvSpPr>
            <a:spLocks noGrp="1"/>
          </p:cNvSpPr>
          <p:nvPr>
            <p:ph type="body" sz="quarter" idx="13" hasCustomPrompt="1"/>
          </p:nvPr>
        </p:nvSpPr>
        <p:spPr>
          <a:xfrm>
            <a:off x="726440" y="1640148"/>
            <a:ext cx="16596360" cy="721783"/>
          </a:xfrm>
        </p:spPr>
        <p:txBody>
          <a:bodyPr/>
          <a:lstStyle>
            <a:lvl1pPr>
              <a:defRPr sz="3813">
                <a:solidFill>
                  <a:schemeClr val="accent4"/>
                </a:solidFill>
              </a:defRPr>
            </a:lvl1pPr>
          </a:lstStyle>
          <a:p>
            <a:pPr lvl="0"/>
            <a:r>
              <a:rPr lang="en-US"/>
              <a:t>Use this space for one line subhead if needed | One line</a:t>
            </a:r>
          </a:p>
        </p:txBody>
      </p:sp>
      <p:sp>
        <p:nvSpPr>
          <p:cNvPr id="15" name="Picture Placeholder 8"/>
          <p:cNvSpPr>
            <a:spLocks noGrp="1"/>
          </p:cNvSpPr>
          <p:nvPr>
            <p:ph type="pic" sz="quarter" idx="23"/>
          </p:nvPr>
        </p:nvSpPr>
        <p:spPr>
          <a:xfrm>
            <a:off x="4073112" y="2678911"/>
            <a:ext cx="3285744" cy="2895408"/>
          </a:xfrm>
          <a:solidFill>
            <a:schemeClr val="accent3">
              <a:lumMod val="20000"/>
              <a:lumOff val="80000"/>
            </a:schemeClr>
          </a:solidFill>
        </p:spPr>
        <p:txBody>
          <a:bodyPr/>
          <a:lstStyle>
            <a:lvl1pPr>
              <a:defRPr sz="2347">
                <a:solidFill>
                  <a:schemeClr val="tx1"/>
                </a:solidFill>
              </a:defRPr>
            </a:lvl1pPr>
          </a:lstStyle>
          <a:p>
            <a:r>
              <a:rPr lang="en-US"/>
              <a:t>Click icon to add picture</a:t>
            </a:r>
          </a:p>
        </p:txBody>
      </p:sp>
      <p:sp>
        <p:nvSpPr>
          <p:cNvPr id="17" name="Picture Placeholder 8"/>
          <p:cNvSpPr>
            <a:spLocks noGrp="1"/>
          </p:cNvSpPr>
          <p:nvPr>
            <p:ph type="pic" sz="quarter" idx="25"/>
          </p:nvPr>
        </p:nvSpPr>
        <p:spPr>
          <a:xfrm>
            <a:off x="7391846" y="2678913"/>
            <a:ext cx="3285744" cy="2895407"/>
          </a:xfrm>
          <a:solidFill>
            <a:schemeClr val="accent3">
              <a:lumMod val="20000"/>
              <a:lumOff val="80000"/>
            </a:schemeClr>
          </a:solidFill>
        </p:spPr>
        <p:txBody>
          <a:bodyPr/>
          <a:lstStyle>
            <a:lvl1pPr>
              <a:defRPr sz="2347">
                <a:solidFill>
                  <a:schemeClr val="tx1"/>
                </a:solidFill>
              </a:defRPr>
            </a:lvl1pPr>
          </a:lstStyle>
          <a:p>
            <a:r>
              <a:rPr lang="en-US"/>
              <a:t>Click icon to add picture</a:t>
            </a:r>
          </a:p>
        </p:txBody>
      </p:sp>
      <p:sp>
        <p:nvSpPr>
          <p:cNvPr id="13" name="Picture Placeholder 8"/>
          <p:cNvSpPr>
            <a:spLocks noGrp="1"/>
          </p:cNvSpPr>
          <p:nvPr>
            <p:ph type="pic" sz="quarter" idx="27"/>
          </p:nvPr>
        </p:nvSpPr>
        <p:spPr>
          <a:xfrm>
            <a:off x="10710580" y="2678911"/>
            <a:ext cx="3285744" cy="2895408"/>
          </a:xfrm>
          <a:solidFill>
            <a:schemeClr val="accent3">
              <a:lumMod val="20000"/>
              <a:lumOff val="80000"/>
            </a:schemeClr>
          </a:solidFill>
        </p:spPr>
        <p:txBody>
          <a:bodyPr/>
          <a:lstStyle>
            <a:lvl1pPr>
              <a:defRPr sz="2347">
                <a:solidFill>
                  <a:schemeClr val="tx1"/>
                </a:solidFill>
              </a:defRPr>
            </a:lvl1pPr>
          </a:lstStyle>
          <a:p>
            <a:r>
              <a:rPr lang="en-US"/>
              <a:t>Click icon to add picture</a:t>
            </a:r>
          </a:p>
        </p:txBody>
      </p:sp>
      <p:sp>
        <p:nvSpPr>
          <p:cNvPr id="19" name="Picture Placeholder 8"/>
          <p:cNvSpPr>
            <a:spLocks noGrp="1"/>
          </p:cNvSpPr>
          <p:nvPr>
            <p:ph type="pic" sz="quarter" idx="29"/>
          </p:nvPr>
        </p:nvSpPr>
        <p:spPr>
          <a:xfrm>
            <a:off x="14029313" y="2678911"/>
            <a:ext cx="3285744" cy="2895408"/>
          </a:xfrm>
          <a:solidFill>
            <a:schemeClr val="accent3">
              <a:lumMod val="20000"/>
              <a:lumOff val="80000"/>
            </a:schemeClr>
          </a:solidFill>
        </p:spPr>
        <p:txBody>
          <a:bodyPr/>
          <a:lstStyle>
            <a:lvl1pPr>
              <a:defRPr sz="2347">
                <a:solidFill>
                  <a:schemeClr val="tx1"/>
                </a:solidFill>
              </a:defRPr>
            </a:lvl1pPr>
          </a:lstStyle>
          <a:p>
            <a:r>
              <a:rPr lang="en-US"/>
              <a:t>Click icon to add picture</a:t>
            </a:r>
          </a:p>
        </p:txBody>
      </p:sp>
      <p:sp>
        <p:nvSpPr>
          <p:cNvPr id="8" name="Text Placeholder 7"/>
          <p:cNvSpPr>
            <a:spLocks noGrp="1"/>
          </p:cNvSpPr>
          <p:nvPr>
            <p:ph type="body" sz="quarter" idx="14" hasCustomPrompt="1"/>
          </p:nvPr>
        </p:nvSpPr>
        <p:spPr>
          <a:xfrm>
            <a:off x="2402307" y="3961158"/>
            <a:ext cx="1637816" cy="1613162"/>
          </a:xfrm>
          <a:solidFill>
            <a:schemeClr val="tx1"/>
          </a:solidFill>
        </p:spPr>
        <p:txBody>
          <a:bodyPr lIns="137160" tIns="45720" anchor="t"/>
          <a:lstStyle>
            <a:lvl1pPr algn="l">
              <a:lnSpc>
                <a:spcPct val="90000"/>
              </a:lnSpc>
              <a:spcBef>
                <a:spcPts val="0"/>
              </a:spcBef>
              <a:spcAft>
                <a:spcPts val="0"/>
              </a:spcAft>
              <a:defRPr sz="2053">
                <a:solidFill>
                  <a:schemeClr val="bg1"/>
                </a:solidFill>
              </a:defRPr>
            </a:lvl1pPr>
          </a:lstStyle>
          <a:p>
            <a:pPr lvl="0"/>
            <a:r>
              <a:rPr lang="en-US"/>
              <a:t>Type cap-</a:t>
            </a:r>
            <a:r>
              <a:rPr lang="en-US" err="1"/>
              <a:t>tion</a:t>
            </a:r>
            <a:r>
              <a:rPr lang="en-US"/>
              <a:t> here | Remove if not needed</a:t>
            </a:r>
          </a:p>
        </p:txBody>
      </p:sp>
      <p:sp>
        <p:nvSpPr>
          <p:cNvPr id="16" name="Text Placeholder 7"/>
          <p:cNvSpPr>
            <a:spLocks noGrp="1"/>
          </p:cNvSpPr>
          <p:nvPr>
            <p:ph type="body" sz="quarter" idx="24" hasCustomPrompt="1"/>
          </p:nvPr>
        </p:nvSpPr>
        <p:spPr>
          <a:xfrm>
            <a:off x="5721041" y="3961158"/>
            <a:ext cx="1637816" cy="1613162"/>
          </a:xfrm>
          <a:solidFill>
            <a:schemeClr val="accent2"/>
          </a:solidFill>
        </p:spPr>
        <p:txBody>
          <a:bodyPr lIns="137160" tIns="45720" anchor="t"/>
          <a:lstStyle>
            <a:lvl1pPr algn="l">
              <a:lnSpc>
                <a:spcPct val="90000"/>
              </a:lnSpc>
              <a:spcBef>
                <a:spcPts val="0"/>
              </a:spcBef>
              <a:spcAft>
                <a:spcPts val="0"/>
              </a:spcAft>
              <a:defRPr sz="2053">
                <a:solidFill>
                  <a:schemeClr val="bg1"/>
                </a:solidFill>
              </a:defRPr>
            </a:lvl1pPr>
          </a:lstStyle>
          <a:p>
            <a:pPr lvl="0"/>
            <a:r>
              <a:rPr lang="en-US"/>
              <a:t>Type cap-</a:t>
            </a:r>
            <a:r>
              <a:rPr lang="en-US" err="1"/>
              <a:t>tion</a:t>
            </a:r>
            <a:r>
              <a:rPr lang="en-US"/>
              <a:t> here | Remove if not needed</a:t>
            </a:r>
          </a:p>
        </p:txBody>
      </p:sp>
      <p:sp>
        <p:nvSpPr>
          <p:cNvPr id="18" name="Text Placeholder 7"/>
          <p:cNvSpPr>
            <a:spLocks noGrp="1"/>
          </p:cNvSpPr>
          <p:nvPr>
            <p:ph type="body" sz="quarter" idx="26" hasCustomPrompt="1"/>
          </p:nvPr>
        </p:nvSpPr>
        <p:spPr>
          <a:xfrm>
            <a:off x="9039775" y="3961158"/>
            <a:ext cx="1637816" cy="1613162"/>
          </a:xfrm>
          <a:solidFill>
            <a:schemeClr val="accent4"/>
          </a:solidFill>
        </p:spPr>
        <p:txBody>
          <a:bodyPr lIns="137160" tIns="45720" anchor="t"/>
          <a:lstStyle>
            <a:lvl1pPr algn="l">
              <a:lnSpc>
                <a:spcPct val="90000"/>
              </a:lnSpc>
              <a:spcBef>
                <a:spcPts val="0"/>
              </a:spcBef>
              <a:spcAft>
                <a:spcPts val="0"/>
              </a:spcAft>
              <a:defRPr sz="2053">
                <a:solidFill>
                  <a:schemeClr val="bg1"/>
                </a:solidFill>
              </a:defRPr>
            </a:lvl1pPr>
          </a:lstStyle>
          <a:p>
            <a:pPr lvl="0"/>
            <a:r>
              <a:rPr lang="en-US"/>
              <a:t>Type cap-</a:t>
            </a:r>
            <a:r>
              <a:rPr lang="en-US" err="1"/>
              <a:t>tion</a:t>
            </a:r>
            <a:r>
              <a:rPr lang="en-US"/>
              <a:t> here | Remove if not needed</a:t>
            </a:r>
          </a:p>
        </p:txBody>
      </p:sp>
      <p:sp>
        <p:nvSpPr>
          <p:cNvPr id="14" name="Text Placeholder 7"/>
          <p:cNvSpPr>
            <a:spLocks noGrp="1"/>
          </p:cNvSpPr>
          <p:nvPr>
            <p:ph type="body" sz="quarter" idx="28" hasCustomPrompt="1"/>
          </p:nvPr>
        </p:nvSpPr>
        <p:spPr>
          <a:xfrm>
            <a:off x="12358508" y="3961158"/>
            <a:ext cx="1637816" cy="1613162"/>
          </a:xfrm>
          <a:solidFill>
            <a:schemeClr val="accent1"/>
          </a:solidFill>
        </p:spPr>
        <p:txBody>
          <a:bodyPr lIns="137160" tIns="45720" anchor="t"/>
          <a:lstStyle>
            <a:lvl1pPr algn="l">
              <a:lnSpc>
                <a:spcPct val="90000"/>
              </a:lnSpc>
              <a:spcBef>
                <a:spcPts val="0"/>
              </a:spcBef>
              <a:spcAft>
                <a:spcPts val="0"/>
              </a:spcAft>
              <a:defRPr sz="2053">
                <a:solidFill>
                  <a:schemeClr val="bg1"/>
                </a:solidFill>
              </a:defRPr>
            </a:lvl1pPr>
          </a:lstStyle>
          <a:p>
            <a:pPr lvl="0"/>
            <a:r>
              <a:rPr lang="en-US"/>
              <a:t>Type cap-</a:t>
            </a:r>
            <a:r>
              <a:rPr lang="en-US" err="1"/>
              <a:t>tion</a:t>
            </a:r>
            <a:r>
              <a:rPr lang="en-US"/>
              <a:t> here | Remove if not needed</a:t>
            </a:r>
          </a:p>
        </p:txBody>
      </p:sp>
      <p:sp>
        <p:nvSpPr>
          <p:cNvPr id="20" name="Text Placeholder 7"/>
          <p:cNvSpPr>
            <a:spLocks noGrp="1"/>
          </p:cNvSpPr>
          <p:nvPr>
            <p:ph type="body" sz="quarter" idx="30" hasCustomPrompt="1"/>
          </p:nvPr>
        </p:nvSpPr>
        <p:spPr>
          <a:xfrm>
            <a:off x="15637752" y="3961158"/>
            <a:ext cx="1637816" cy="1613162"/>
          </a:xfrm>
          <a:solidFill>
            <a:srgbClr val="A22B38"/>
          </a:solidFill>
        </p:spPr>
        <p:txBody>
          <a:bodyPr lIns="137160" tIns="45720" anchor="t"/>
          <a:lstStyle>
            <a:lvl1pPr algn="l">
              <a:lnSpc>
                <a:spcPct val="90000"/>
              </a:lnSpc>
              <a:spcBef>
                <a:spcPts val="0"/>
              </a:spcBef>
              <a:spcAft>
                <a:spcPts val="0"/>
              </a:spcAft>
              <a:defRPr sz="2053">
                <a:solidFill>
                  <a:schemeClr val="bg1"/>
                </a:solidFill>
              </a:defRPr>
            </a:lvl1pPr>
          </a:lstStyle>
          <a:p>
            <a:pPr lvl="0"/>
            <a:r>
              <a:rPr lang="en-US"/>
              <a:t>Type cap-</a:t>
            </a:r>
            <a:r>
              <a:rPr lang="en-US" err="1"/>
              <a:t>tion</a:t>
            </a:r>
            <a:r>
              <a:rPr lang="en-US"/>
              <a:t> here | Remove if not needed</a:t>
            </a:r>
          </a:p>
        </p:txBody>
      </p:sp>
      <p:sp>
        <p:nvSpPr>
          <p:cNvPr id="21" name="Rectangle 20">
            <a:extLst>
              <a:ext uri="{FF2B5EF4-FFF2-40B4-BE49-F238E27FC236}">
                <a16:creationId xmlns:a16="http://schemas.microsoft.com/office/drawing/2014/main" id="{1F65E925-2FCB-43EF-8928-862B5DDB1D8D}"/>
              </a:ext>
            </a:extLst>
          </p:cNvPr>
          <p:cNvSpPr/>
          <p:nvPr userDrawn="1"/>
        </p:nvSpPr>
        <p:spPr bwMode="gray">
          <a:xfrm>
            <a:off x="17979576" y="-8643"/>
            <a:ext cx="3203788" cy="10058400"/>
          </a:xfrm>
          <a:prstGeom prst="rect">
            <a:avLst/>
          </a:prstGeom>
          <a:solidFill>
            <a:schemeClr val="accent3"/>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r>
              <a:rPr lang="en-US" sz="2053"/>
              <a:t>For Image / Photography options. navigate to https://hub.uhg.com/sites/hub/Optum/Resources/Brand/Documents/Photo%20Library%20Overview_June2017.docx</a:t>
            </a:r>
          </a:p>
        </p:txBody>
      </p:sp>
    </p:spTree>
    <p:extLst>
      <p:ext uri="{BB962C8B-B14F-4D97-AF65-F5344CB8AC3E}">
        <p14:creationId xmlns:p14="http://schemas.microsoft.com/office/powerpoint/2010/main" val="2063769762"/>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5 Column Ico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a:t>5 Column icon | Type insightful headline in sentence case | 1 line</a:t>
            </a:r>
          </a:p>
        </p:txBody>
      </p:sp>
      <p:sp>
        <p:nvSpPr>
          <p:cNvPr id="3" name="Date Placeholder 2"/>
          <p:cNvSpPr>
            <a:spLocks noGrp="1"/>
          </p:cNvSpPr>
          <p:nvPr>
            <p:ph type="dt" sz="half" idx="10"/>
          </p:nvPr>
        </p:nvSpPr>
        <p:spPr/>
        <p:txBody>
          <a:bodyPr/>
          <a:lstStyle/>
          <a:p>
            <a:fld id="{3730CDC2-F133-E341-8591-0235C128830C}" type="datetime1">
              <a:rPr lang="en-US" smtClean="0"/>
              <a:t>4/21/21</a:t>
            </a:fld>
            <a:endParaRPr lang="en-US"/>
          </a:p>
        </p:txBody>
      </p:sp>
      <p:sp>
        <p:nvSpPr>
          <p:cNvPr id="4" name="Footer Placeholder 3"/>
          <p:cNvSpPr>
            <a:spLocks noGrp="1"/>
          </p:cNvSpPr>
          <p:nvPr>
            <p:ph type="ftr" sz="quarter" idx="11"/>
          </p:nvPr>
        </p:nvSpPr>
        <p:spPr>
          <a:xfrm>
            <a:off x="7767321" y="9514241"/>
            <a:ext cx="8689339" cy="535517"/>
          </a:xfrm>
          <a:prstGeom prst="rect">
            <a:avLst/>
          </a:prstGeom>
        </p:spPr>
        <p:txBody>
          <a:bodyPr/>
          <a:lstStyle/>
          <a:p>
            <a:r>
              <a:rPr lang="en-US"/>
              <a:t>Confidential property of Optum. Do not distribute or reproduce without express permission from Optum.</a:t>
            </a:r>
          </a:p>
        </p:txBody>
      </p:sp>
      <p:sp>
        <p:nvSpPr>
          <p:cNvPr id="5" name="Slide Number Placeholder 4"/>
          <p:cNvSpPr>
            <a:spLocks noGrp="1"/>
          </p:cNvSpPr>
          <p:nvPr>
            <p:ph type="sldNum" sz="quarter" idx="12"/>
          </p:nvPr>
        </p:nvSpPr>
        <p:spPr/>
        <p:txBody>
          <a:bodyPr/>
          <a:lstStyle/>
          <a:p>
            <a:fld id="{3310D8EA-3107-4873-B9AB-DD7D3E79053A}" type="slidenum">
              <a:rPr lang="en-US" smtClean="0"/>
              <a:t>‹#›</a:t>
            </a:fld>
            <a:endParaRPr lang="en-US"/>
          </a:p>
        </p:txBody>
      </p:sp>
      <p:sp>
        <p:nvSpPr>
          <p:cNvPr id="6" name="Text Placeholder 7"/>
          <p:cNvSpPr>
            <a:spLocks noGrp="1"/>
          </p:cNvSpPr>
          <p:nvPr>
            <p:ph type="body" sz="quarter" idx="13" hasCustomPrompt="1"/>
          </p:nvPr>
        </p:nvSpPr>
        <p:spPr>
          <a:xfrm>
            <a:off x="726440" y="1640148"/>
            <a:ext cx="16596360" cy="721783"/>
          </a:xfrm>
        </p:spPr>
        <p:txBody>
          <a:bodyPr/>
          <a:lstStyle>
            <a:lvl1pPr>
              <a:defRPr sz="3813">
                <a:solidFill>
                  <a:schemeClr val="accent4"/>
                </a:solidFill>
              </a:defRPr>
            </a:lvl1pPr>
          </a:lstStyle>
          <a:p>
            <a:pPr lvl="0"/>
            <a:r>
              <a:rPr lang="en-US"/>
              <a:t>Use this space for one line subhead if needed | One line</a:t>
            </a:r>
          </a:p>
        </p:txBody>
      </p:sp>
      <p:sp>
        <p:nvSpPr>
          <p:cNvPr id="8" name="Text Placeholder 7"/>
          <p:cNvSpPr>
            <a:spLocks noGrp="1"/>
          </p:cNvSpPr>
          <p:nvPr>
            <p:ph type="body" sz="quarter" idx="14" hasCustomPrompt="1"/>
          </p:nvPr>
        </p:nvSpPr>
        <p:spPr>
          <a:xfrm>
            <a:off x="726440" y="2682236"/>
            <a:ext cx="3218688" cy="2889797"/>
          </a:xfrm>
          <a:solidFill>
            <a:schemeClr val="tx2"/>
          </a:solidFill>
        </p:spPr>
        <p:txBody>
          <a:bodyPr lIns="137160" anchor="ctr"/>
          <a:lstStyle>
            <a:lvl1pPr algn="ctr">
              <a:lnSpc>
                <a:spcPct val="90000"/>
              </a:lnSpc>
              <a:spcBef>
                <a:spcPts val="0"/>
              </a:spcBef>
              <a:spcAft>
                <a:spcPts val="0"/>
              </a:spcAft>
              <a:defRPr sz="1760">
                <a:solidFill>
                  <a:schemeClr val="tx1">
                    <a:lumMod val="20000"/>
                    <a:lumOff val="80000"/>
                  </a:schemeClr>
                </a:solidFill>
              </a:defRPr>
            </a:lvl1pPr>
          </a:lstStyle>
          <a:p>
            <a:pPr lvl="0"/>
            <a:r>
              <a:rPr lang="en-US"/>
              <a:t>[Place icon here. To  remove text, place cursor then hit space bar.]</a:t>
            </a:r>
          </a:p>
        </p:txBody>
      </p:sp>
      <p:sp>
        <p:nvSpPr>
          <p:cNvPr id="27" name="Text Placeholder 7"/>
          <p:cNvSpPr>
            <a:spLocks noGrp="1"/>
          </p:cNvSpPr>
          <p:nvPr>
            <p:ph type="body" sz="quarter" idx="15" hasCustomPrompt="1"/>
          </p:nvPr>
        </p:nvSpPr>
        <p:spPr>
          <a:xfrm>
            <a:off x="4078576" y="2682237"/>
            <a:ext cx="3218688" cy="2889797"/>
          </a:xfrm>
          <a:solidFill>
            <a:schemeClr val="accent2"/>
          </a:solidFill>
        </p:spPr>
        <p:txBody>
          <a:bodyPr lIns="137160" anchor="ctr"/>
          <a:lstStyle>
            <a:lvl1pPr algn="ctr">
              <a:lnSpc>
                <a:spcPct val="90000"/>
              </a:lnSpc>
              <a:spcBef>
                <a:spcPts val="0"/>
              </a:spcBef>
              <a:spcAft>
                <a:spcPts val="0"/>
              </a:spcAft>
              <a:defRPr sz="1760">
                <a:solidFill>
                  <a:schemeClr val="tx1">
                    <a:lumMod val="20000"/>
                    <a:lumOff val="80000"/>
                  </a:schemeClr>
                </a:solidFill>
              </a:defRPr>
            </a:lvl1pPr>
          </a:lstStyle>
          <a:p>
            <a:pPr lvl="0"/>
            <a:r>
              <a:rPr lang="en-US"/>
              <a:t>[Place icon here. To  remove text, place cursor then hit space bar.]</a:t>
            </a:r>
          </a:p>
        </p:txBody>
      </p:sp>
      <p:sp>
        <p:nvSpPr>
          <p:cNvPr id="28" name="Text Placeholder 7"/>
          <p:cNvSpPr>
            <a:spLocks noGrp="1"/>
          </p:cNvSpPr>
          <p:nvPr>
            <p:ph type="body" sz="quarter" idx="16" hasCustomPrompt="1"/>
          </p:nvPr>
        </p:nvSpPr>
        <p:spPr>
          <a:xfrm>
            <a:off x="7430711" y="2682237"/>
            <a:ext cx="3218688" cy="2889797"/>
          </a:xfrm>
          <a:solidFill>
            <a:schemeClr val="accent4"/>
          </a:solidFill>
        </p:spPr>
        <p:txBody>
          <a:bodyPr lIns="137160" anchor="ctr"/>
          <a:lstStyle>
            <a:lvl1pPr algn="ctr">
              <a:lnSpc>
                <a:spcPct val="90000"/>
              </a:lnSpc>
              <a:spcBef>
                <a:spcPts val="0"/>
              </a:spcBef>
              <a:spcAft>
                <a:spcPts val="0"/>
              </a:spcAft>
              <a:defRPr sz="1760">
                <a:solidFill>
                  <a:schemeClr val="tx1">
                    <a:lumMod val="20000"/>
                    <a:lumOff val="80000"/>
                  </a:schemeClr>
                </a:solidFill>
              </a:defRPr>
            </a:lvl1pPr>
          </a:lstStyle>
          <a:p>
            <a:pPr lvl="0"/>
            <a:r>
              <a:rPr lang="en-US"/>
              <a:t>[Place icon here. To  remove text, place cursor then hit space bar.]</a:t>
            </a:r>
          </a:p>
        </p:txBody>
      </p:sp>
      <p:sp>
        <p:nvSpPr>
          <p:cNvPr id="29" name="Text Placeholder 7"/>
          <p:cNvSpPr>
            <a:spLocks noGrp="1"/>
          </p:cNvSpPr>
          <p:nvPr>
            <p:ph type="body" sz="quarter" idx="17" hasCustomPrompt="1"/>
          </p:nvPr>
        </p:nvSpPr>
        <p:spPr>
          <a:xfrm>
            <a:off x="10782847" y="2682237"/>
            <a:ext cx="3218688" cy="2889797"/>
          </a:xfrm>
          <a:solidFill>
            <a:schemeClr val="accent1"/>
          </a:solidFill>
        </p:spPr>
        <p:txBody>
          <a:bodyPr lIns="137160" anchor="ctr"/>
          <a:lstStyle>
            <a:lvl1pPr algn="ctr">
              <a:lnSpc>
                <a:spcPct val="90000"/>
              </a:lnSpc>
              <a:spcBef>
                <a:spcPts val="0"/>
              </a:spcBef>
              <a:spcAft>
                <a:spcPts val="0"/>
              </a:spcAft>
              <a:defRPr sz="1760">
                <a:solidFill>
                  <a:schemeClr val="tx1">
                    <a:lumMod val="20000"/>
                    <a:lumOff val="80000"/>
                  </a:schemeClr>
                </a:solidFill>
              </a:defRPr>
            </a:lvl1pPr>
          </a:lstStyle>
          <a:p>
            <a:pPr lvl="0"/>
            <a:r>
              <a:rPr lang="en-US"/>
              <a:t>[Place icon here. To  remove text, place cursor then hit space bar.]</a:t>
            </a:r>
          </a:p>
        </p:txBody>
      </p:sp>
      <p:sp>
        <p:nvSpPr>
          <p:cNvPr id="30" name="Text Placeholder 7"/>
          <p:cNvSpPr>
            <a:spLocks noGrp="1"/>
          </p:cNvSpPr>
          <p:nvPr>
            <p:ph type="body" sz="quarter" idx="18" hasCustomPrompt="1"/>
          </p:nvPr>
        </p:nvSpPr>
        <p:spPr>
          <a:xfrm>
            <a:off x="14134979" y="2682237"/>
            <a:ext cx="3218688" cy="2889797"/>
          </a:xfrm>
          <a:solidFill>
            <a:srgbClr val="A22B38"/>
          </a:solidFill>
        </p:spPr>
        <p:txBody>
          <a:bodyPr lIns="137160" anchor="ctr"/>
          <a:lstStyle>
            <a:lvl1pPr algn="ctr">
              <a:lnSpc>
                <a:spcPct val="90000"/>
              </a:lnSpc>
              <a:spcBef>
                <a:spcPts val="0"/>
              </a:spcBef>
              <a:spcAft>
                <a:spcPts val="0"/>
              </a:spcAft>
              <a:defRPr sz="1760">
                <a:solidFill>
                  <a:schemeClr val="tx1">
                    <a:lumMod val="20000"/>
                    <a:lumOff val="80000"/>
                  </a:schemeClr>
                </a:solidFill>
              </a:defRPr>
            </a:lvl1pPr>
          </a:lstStyle>
          <a:p>
            <a:pPr lvl="0"/>
            <a:r>
              <a:rPr lang="en-US"/>
              <a:t>[Place icon here. To  remove text, place cursor then hit space bar.]</a:t>
            </a:r>
          </a:p>
        </p:txBody>
      </p:sp>
      <p:sp>
        <p:nvSpPr>
          <p:cNvPr id="31" name="Text Placeholder 7"/>
          <p:cNvSpPr>
            <a:spLocks noGrp="1"/>
          </p:cNvSpPr>
          <p:nvPr>
            <p:ph type="body" sz="quarter" idx="19" hasCustomPrompt="1"/>
          </p:nvPr>
        </p:nvSpPr>
        <p:spPr>
          <a:xfrm>
            <a:off x="726440" y="5572034"/>
            <a:ext cx="3218688" cy="3089366"/>
          </a:xfrm>
          <a:solidFill>
            <a:schemeClr val="accent3">
              <a:lumMod val="20000"/>
              <a:lumOff val="80000"/>
            </a:schemeClr>
          </a:solidFill>
        </p:spPr>
        <p:txBody>
          <a:bodyPr lIns="137160" tIns="137160" anchor="t"/>
          <a:lstStyle>
            <a:lvl1pPr marL="0" indent="0" algn="l">
              <a:lnSpc>
                <a:spcPct val="90000"/>
              </a:lnSpc>
              <a:spcBef>
                <a:spcPts val="0"/>
              </a:spcBef>
              <a:spcAft>
                <a:spcPts val="1760"/>
              </a:spcAft>
              <a:buFont typeface="Arial" panose="020B0604020202020204" pitchFamily="34" charset="0"/>
              <a:buNone/>
              <a:defRPr sz="2640">
                <a:solidFill>
                  <a:schemeClr val="tx1"/>
                </a:solidFill>
              </a:defRPr>
            </a:lvl1pPr>
            <a:lvl2pPr>
              <a:defRPr sz="2347"/>
            </a:lvl2pPr>
          </a:lstStyle>
          <a:p>
            <a:pPr lvl="0"/>
            <a:r>
              <a:rPr lang="en-US"/>
              <a:t>Header</a:t>
            </a:r>
          </a:p>
          <a:p>
            <a:pPr lvl="1"/>
            <a:r>
              <a:rPr lang="en-US"/>
              <a:t>Text – add bullet if needed</a:t>
            </a:r>
          </a:p>
        </p:txBody>
      </p:sp>
      <p:sp>
        <p:nvSpPr>
          <p:cNvPr id="17" name="Text Placeholder 7"/>
          <p:cNvSpPr>
            <a:spLocks noGrp="1"/>
          </p:cNvSpPr>
          <p:nvPr>
            <p:ph type="body" sz="quarter" idx="20" hasCustomPrompt="1"/>
          </p:nvPr>
        </p:nvSpPr>
        <p:spPr>
          <a:xfrm>
            <a:off x="4078572" y="5572034"/>
            <a:ext cx="3218692" cy="3089366"/>
          </a:xfrm>
          <a:solidFill>
            <a:schemeClr val="accent3">
              <a:lumMod val="20000"/>
              <a:lumOff val="80000"/>
            </a:schemeClr>
          </a:solidFill>
        </p:spPr>
        <p:txBody>
          <a:bodyPr lIns="137160" tIns="137160" anchor="t"/>
          <a:lstStyle>
            <a:lvl1pPr marL="0" indent="0" algn="l">
              <a:lnSpc>
                <a:spcPct val="90000"/>
              </a:lnSpc>
              <a:spcBef>
                <a:spcPts val="0"/>
              </a:spcBef>
              <a:spcAft>
                <a:spcPts val="1760"/>
              </a:spcAft>
              <a:buFont typeface="Arial" panose="020B0604020202020204" pitchFamily="34" charset="0"/>
              <a:buNone/>
              <a:defRPr sz="2640">
                <a:solidFill>
                  <a:schemeClr val="tx1"/>
                </a:solidFill>
              </a:defRPr>
            </a:lvl1pPr>
            <a:lvl2pPr>
              <a:defRPr sz="2347"/>
            </a:lvl2pPr>
          </a:lstStyle>
          <a:p>
            <a:pPr lvl="0"/>
            <a:r>
              <a:rPr lang="en-US"/>
              <a:t>Header</a:t>
            </a:r>
          </a:p>
          <a:p>
            <a:pPr lvl="1"/>
            <a:r>
              <a:rPr lang="en-US"/>
              <a:t>Text – add bullet if needed</a:t>
            </a:r>
          </a:p>
        </p:txBody>
      </p:sp>
      <p:sp>
        <p:nvSpPr>
          <p:cNvPr id="18" name="Text Placeholder 7"/>
          <p:cNvSpPr>
            <a:spLocks noGrp="1"/>
          </p:cNvSpPr>
          <p:nvPr>
            <p:ph type="body" sz="quarter" idx="21" hasCustomPrompt="1"/>
          </p:nvPr>
        </p:nvSpPr>
        <p:spPr>
          <a:xfrm>
            <a:off x="7430711" y="5572034"/>
            <a:ext cx="3218688" cy="3089366"/>
          </a:xfrm>
          <a:solidFill>
            <a:schemeClr val="accent3">
              <a:lumMod val="20000"/>
              <a:lumOff val="80000"/>
            </a:schemeClr>
          </a:solidFill>
        </p:spPr>
        <p:txBody>
          <a:bodyPr lIns="137160" tIns="137160" anchor="t"/>
          <a:lstStyle>
            <a:lvl1pPr marL="0" indent="0" algn="l">
              <a:lnSpc>
                <a:spcPct val="90000"/>
              </a:lnSpc>
              <a:spcBef>
                <a:spcPts val="0"/>
              </a:spcBef>
              <a:spcAft>
                <a:spcPts val="1760"/>
              </a:spcAft>
              <a:buFont typeface="Arial" panose="020B0604020202020204" pitchFamily="34" charset="0"/>
              <a:buNone/>
              <a:defRPr sz="2640">
                <a:solidFill>
                  <a:schemeClr val="tx1"/>
                </a:solidFill>
              </a:defRPr>
            </a:lvl1pPr>
            <a:lvl2pPr>
              <a:defRPr sz="2347"/>
            </a:lvl2pPr>
          </a:lstStyle>
          <a:p>
            <a:pPr lvl="0"/>
            <a:r>
              <a:rPr lang="en-US"/>
              <a:t>Header</a:t>
            </a:r>
          </a:p>
          <a:p>
            <a:pPr lvl="1"/>
            <a:r>
              <a:rPr lang="en-US"/>
              <a:t>Text – add bullet if needed</a:t>
            </a:r>
          </a:p>
        </p:txBody>
      </p:sp>
      <p:sp>
        <p:nvSpPr>
          <p:cNvPr id="19" name="Text Placeholder 7"/>
          <p:cNvSpPr>
            <a:spLocks noGrp="1"/>
          </p:cNvSpPr>
          <p:nvPr>
            <p:ph type="body" sz="quarter" idx="22" hasCustomPrompt="1"/>
          </p:nvPr>
        </p:nvSpPr>
        <p:spPr>
          <a:xfrm>
            <a:off x="10782847" y="5572034"/>
            <a:ext cx="3218688" cy="3089366"/>
          </a:xfrm>
          <a:solidFill>
            <a:schemeClr val="accent3">
              <a:lumMod val="20000"/>
              <a:lumOff val="80000"/>
            </a:schemeClr>
          </a:solidFill>
        </p:spPr>
        <p:txBody>
          <a:bodyPr lIns="137160" tIns="137160" anchor="t"/>
          <a:lstStyle>
            <a:lvl1pPr marL="0" indent="0" algn="l">
              <a:lnSpc>
                <a:spcPct val="90000"/>
              </a:lnSpc>
              <a:spcBef>
                <a:spcPts val="0"/>
              </a:spcBef>
              <a:spcAft>
                <a:spcPts val="1760"/>
              </a:spcAft>
              <a:buFont typeface="Arial" panose="020B0604020202020204" pitchFamily="34" charset="0"/>
              <a:buNone/>
              <a:defRPr sz="2640">
                <a:solidFill>
                  <a:schemeClr val="tx1"/>
                </a:solidFill>
              </a:defRPr>
            </a:lvl1pPr>
            <a:lvl2pPr>
              <a:defRPr sz="2347"/>
            </a:lvl2pPr>
          </a:lstStyle>
          <a:p>
            <a:pPr lvl="0"/>
            <a:r>
              <a:rPr lang="en-US"/>
              <a:t>Header</a:t>
            </a:r>
          </a:p>
          <a:p>
            <a:pPr lvl="1"/>
            <a:r>
              <a:rPr lang="en-US"/>
              <a:t>Text – add bullet if needed</a:t>
            </a:r>
          </a:p>
        </p:txBody>
      </p:sp>
      <p:sp>
        <p:nvSpPr>
          <p:cNvPr id="20" name="Text Placeholder 7"/>
          <p:cNvSpPr>
            <a:spLocks noGrp="1"/>
          </p:cNvSpPr>
          <p:nvPr>
            <p:ph type="body" sz="quarter" idx="23" hasCustomPrompt="1"/>
          </p:nvPr>
        </p:nvSpPr>
        <p:spPr>
          <a:xfrm>
            <a:off x="14134979" y="5572034"/>
            <a:ext cx="3218688" cy="3089366"/>
          </a:xfrm>
          <a:solidFill>
            <a:schemeClr val="accent3">
              <a:lumMod val="20000"/>
              <a:lumOff val="80000"/>
            </a:schemeClr>
          </a:solidFill>
        </p:spPr>
        <p:txBody>
          <a:bodyPr lIns="137160" tIns="137160" anchor="t"/>
          <a:lstStyle>
            <a:lvl1pPr marL="0" indent="0" algn="l">
              <a:lnSpc>
                <a:spcPct val="90000"/>
              </a:lnSpc>
              <a:spcBef>
                <a:spcPts val="0"/>
              </a:spcBef>
              <a:spcAft>
                <a:spcPts val="1760"/>
              </a:spcAft>
              <a:buFont typeface="Arial" panose="020B0604020202020204" pitchFamily="34" charset="0"/>
              <a:buNone/>
              <a:defRPr sz="2640">
                <a:solidFill>
                  <a:schemeClr val="tx1"/>
                </a:solidFill>
              </a:defRPr>
            </a:lvl1pPr>
            <a:lvl2pPr>
              <a:defRPr sz="2347"/>
            </a:lvl2pPr>
          </a:lstStyle>
          <a:p>
            <a:pPr lvl="0"/>
            <a:r>
              <a:rPr lang="en-US"/>
              <a:t>Header</a:t>
            </a:r>
          </a:p>
          <a:p>
            <a:pPr lvl="1"/>
            <a:r>
              <a:rPr lang="en-US"/>
              <a:t>Text – add bullet if needed</a:t>
            </a:r>
          </a:p>
        </p:txBody>
      </p:sp>
    </p:spTree>
    <p:extLst>
      <p:ext uri="{BB962C8B-B14F-4D97-AF65-F5344CB8AC3E}">
        <p14:creationId xmlns:p14="http://schemas.microsoft.com/office/powerpoint/2010/main" val="2232681263"/>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3 Row Ico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a:t>3 row icon | Type insightful headline in sentence case | 1 line</a:t>
            </a:r>
          </a:p>
        </p:txBody>
      </p:sp>
      <p:sp>
        <p:nvSpPr>
          <p:cNvPr id="3" name="Date Placeholder 2"/>
          <p:cNvSpPr>
            <a:spLocks noGrp="1"/>
          </p:cNvSpPr>
          <p:nvPr>
            <p:ph type="dt" sz="half" idx="10"/>
          </p:nvPr>
        </p:nvSpPr>
        <p:spPr/>
        <p:txBody>
          <a:bodyPr/>
          <a:lstStyle/>
          <a:p>
            <a:fld id="{9BD1AE46-959B-3A40-A449-10D5E9AFE6CE}" type="datetime1">
              <a:rPr lang="en-US" smtClean="0"/>
              <a:t>4/21/21</a:t>
            </a:fld>
            <a:endParaRPr lang="en-US"/>
          </a:p>
        </p:txBody>
      </p:sp>
      <p:sp>
        <p:nvSpPr>
          <p:cNvPr id="4" name="Footer Placeholder 3"/>
          <p:cNvSpPr>
            <a:spLocks noGrp="1"/>
          </p:cNvSpPr>
          <p:nvPr>
            <p:ph type="ftr" sz="quarter" idx="11"/>
          </p:nvPr>
        </p:nvSpPr>
        <p:spPr>
          <a:xfrm>
            <a:off x="7767321" y="9514241"/>
            <a:ext cx="8689339" cy="535517"/>
          </a:xfrm>
          <a:prstGeom prst="rect">
            <a:avLst/>
          </a:prstGeom>
        </p:spPr>
        <p:txBody>
          <a:bodyPr/>
          <a:lstStyle/>
          <a:p>
            <a:r>
              <a:rPr lang="en-US"/>
              <a:t>Confidential property of Optum. Do not distribute or reproduce without express permission from Optum.</a:t>
            </a:r>
          </a:p>
        </p:txBody>
      </p:sp>
      <p:sp>
        <p:nvSpPr>
          <p:cNvPr id="5" name="Slide Number Placeholder 4"/>
          <p:cNvSpPr>
            <a:spLocks noGrp="1"/>
          </p:cNvSpPr>
          <p:nvPr>
            <p:ph type="sldNum" sz="quarter" idx="12"/>
          </p:nvPr>
        </p:nvSpPr>
        <p:spPr/>
        <p:txBody>
          <a:bodyPr/>
          <a:lstStyle/>
          <a:p>
            <a:fld id="{3310D8EA-3107-4873-B9AB-DD7D3E79053A}" type="slidenum">
              <a:rPr lang="en-US" smtClean="0"/>
              <a:t>‹#›</a:t>
            </a:fld>
            <a:endParaRPr lang="en-US"/>
          </a:p>
        </p:txBody>
      </p:sp>
      <p:sp>
        <p:nvSpPr>
          <p:cNvPr id="6" name="Text Placeholder 7"/>
          <p:cNvSpPr>
            <a:spLocks noGrp="1"/>
          </p:cNvSpPr>
          <p:nvPr>
            <p:ph type="body" sz="quarter" idx="13" hasCustomPrompt="1"/>
          </p:nvPr>
        </p:nvSpPr>
        <p:spPr>
          <a:xfrm>
            <a:off x="726440" y="1640148"/>
            <a:ext cx="16596360" cy="721783"/>
          </a:xfrm>
        </p:spPr>
        <p:txBody>
          <a:bodyPr/>
          <a:lstStyle>
            <a:lvl1pPr>
              <a:defRPr sz="3813">
                <a:solidFill>
                  <a:schemeClr val="accent4"/>
                </a:solidFill>
              </a:defRPr>
            </a:lvl1pPr>
          </a:lstStyle>
          <a:p>
            <a:pPr lvl="0"/>
            <a:r>
              <a:rPr lang="en-US"/>
              <a:t>Use this space for one line subhead if needed | One line</a:t>
            </a:r>
          </a:p>
        </p:txBody>
      </p:sp>
      <p:sp>
        <p:nvSpPr>
          <p:cNvPr id="8" name="Text Placeholder 7"/>
          <p:cNvSpPr>
            <a:spLocks noGrp="1"/>
          </p:cNvSpPr>
          <p:nvPr>
            <p:ph type="body" sz="quarter" idx="14" hasCustomPrompt="1"/>
          </p:nvPr>
        </p:nvSpPr>
        <p:spPr>
          <a:xfrm>
            <a:off x="726440" y="2730135"/>
            <a:ext cx="2489593" cy="1917802"/>
          </a:xfrm>
          <a:solidFill>
            <a:schemeClr val="tx2"/>
          </a:solidFill>
        </p:spPr>
        <p:txBody>
          <a:bodyPr lIns="137160" rIns="18288" anchor="ctr"/>
          <a:lstStyle>
            <a:lvl1pPr algn="l">
              <a:lnSpc>
                <a:spcPct val="90000"/>
              </a:lnSpc>
              <a:spcBef>
                <a:spcPts val="0"/>
              </a:spcBef>
              <a:spcAft>
                <a:spcPts val="0"/>
              </a:spcAft>
              <a:defRPr sz="1760">
                <a:solidFill>
                  <a:schemeClr val="tx1">
                    <a:lumMod val="20000"/>
                    <a:lumOff val="80000"/>
                  </a:schemeClr>
                </a:solidFill>
              </a:defRPr>
            </a:lvl1pPr>
          </a:lstStyle>
          <a:p>
            <a:pPr lvl="0"/>
            <a:r>
              <a:rPr lang="en-US"/>
              <a:t>[place icon here. To  remove text, place cursor then hit space bar]</a:t>
            </a:r>
          </a:p>
        </p:txBody>
      </p:sp>
      <p:sp>
        <p:nvSpPr>
          <p:cNvPr id="28" name="Text Placeholder 7"/>
          <p:cNvSpPr>
            <a:spLocks noGrp="1"/>
          </p:cNvSpPr>
          <p:nvPr>
            <p:ph type="body" sz="quarter" idx="16" hasCustomPrompt="1"/>
          </p:nvPr>
        </p:nvSpPr>
        <p:spPr>
          <a:xfrm>
            <a:off x="726440" y="4728178"/>
            <a:ext cx="2489593" cy="1917802"/>
          </a:xfrm>
          <a:solidFill>
            <a:schemeClr val="accent2"/>
          </a:solidFill>
        </p:spPr>
        <p:txBody>
          <a:bodyPr lIns="137160" rIns="18288" anchor="ctr"/>
          <a:lstStyle>
            <a:lvl1pPr algn="l">
              <a:lnSpc>
                <a:spcPct val="90000"/>
              </a:lnSpc>
              <a:spcBef>
                <a:spcPts val="0"/>
              </a:spcBef>
              <a:spcAft>
                <a:spcPts val="0"/>
              </a:spcAft>
              <a:defRPr sz="1760">
                <a:solidFill>
                  <a:schemeClr val="tx1">
                    <a:lumMod val="20000"/>
                    <a:lumOff val="80000"/>
                  </a:schemeClr>
                </a:solidFill>
              </a:defRPr>
            </a:lvl1pPr>
          </a:lstStyle>
          <a:p>
            <a:pPr lvl="0"/>
            <a:r>
              <a:rPr lang="en-US"/>
              <a:t>[place icon here. To  remove text, place cursor then hit space bar]</a:t>
            </a:r>
          </a:p>
        </p:txBody>
      </p:sp>
      <p:sp>
        <p:nvSpPr>
          <p:cNvPr id="29" name="Text Placeholder 7"/>
          <p:cNvSpPr>
            <a:spLocks noGrp="1"/>
          </p:cNvSpPr>
          <p:nvPr>
            <p:ph type="body" sz="quarter" idx="17" hasCustomPrompt="1"/>
          </p:nvPr>
        </p:nvSpPr>
        <p:spPr>
          <a:xfrm>
            <a:off x="726440" y="6726221"/>
            <a:ext cx="2489593" cy="1917802"/>
          </a:xfrm>
          <a:solidFill>
            <a:schemeClr val="accent4"/>
          </a:solidFill>
        </p:spPr>
        <p:txBody>
          <a:bodyPr lIns="137160" rIns="18288" anchor="ctr"/>
          <a:lstStyle>
            <a:lvl1pPr algn="l">
              <a:lnSpc>
                <a:spcPct val="90000"/>
              </a:lnSpc>
              <a:spcBef>
                <a:spcPts val="0"/>
              </a:spcBef>
              <a:spcAft>
                <a:spcPts val="0"/>
              </a:spcAft>
              <a:defRPr sz="1760">
                <a:solidFill>
                  <a:schemeClr val="tx1">
                    <a:lumMod val="20000"/>
                    <a:lumOff val="80000"/>
                  </a:schemeClr>
                </a:solidFill>
              </a:defRPr>
            </a:lvl1pPr>
          </a:lstStyle>
          <a:p>
            <a:pPr lvl="0"/>
            <a:r>
              <a:rPr lang="en-US"/>
              <a:t>[place icon here. To  remove text, place cursor then hit space bar]</a:t>
            </a:r>
          </a:p>
        </p:txBody>
      </p:sp>
      <p:sp>
        <p:nvSpPr>
          <p:cNvPr id="9" name="Text Placeholder 8"/>
          <p:cNvSpPr>
            <a:spLocks noGrp="1"/>
          </p:cNvSpPr>
          <p:nvPr>
            <p:ph type="body" sz="quarter" idx="18" hasCustomPrompt="1"/>
          </p:nvPr>
        </p:nvSpPr>
        <p:spPr>
          <a:xfrm>
            <a:off x="3400033" y="2730135"/>
            <a:ext cx="13917446" cy="1877568"/>
          </a:xfrm>
        </p:spPr>
        <p:txBody>
          <a:bodyPr/>
          <a:lstStyle>
            <a:lvl1pPr>
              <a:defRPr sz="2640"/>
            </a:lvl1pPr>
            <a:lvl2pPr>
              <a:defRPr sz="2347"/>
            </a:lvl2pPr>
          </a:lstStyle>
          <a:p>
            <a:pPr lvl="0"/>
            <a:r>
              <a:rPr lang="en-US"/>
              <a:t>Level 1 text is 18 pt, hit return then Tab to get to level 2 – 16 pt gray</a:t>
            </a:r>
          </a:p>
          <a:p>
            <a:pPr lvl="1"/>
            <a:r>
              <a:rPr lang="en-US"/>
              <a:t>Second level</a:t>
            </a:r>
          </a:p>
        </p:txBody>
      </p:sp>
      <p:sp>
        <p:nvSpPr>
          <p:cNvPr id="25" name="Text Placeholder 8"/>
          <p:cNvSpPr>
            <a:spLocks noGrp="1"/>
          </p:cNvSpPr>
          <p:nvPr>
            <p:ph type="body" sz="quarter" idx="19" hasCustomPrompt="1"/>
          </p:nvPr>
        </p:nvSpPr>
        <p:spPr>
          <a:xfrm>
            <a:off x="3400033" y="4756118"/>
            <a:ext cx="13917446" cy="1877568"/>
          </a:xfrm>
        </p:spPr>
        <p:txBody>
          <a:bodyPr/>
          <a:lstStyle>
            <a:lvl1pPr>
              <a:defRPr sz="2640"/>
            </a:lvl1pPr>
            <a:lvl2pPr>
              <a:defRPr sz="2347"/>
            </a:lvl2pPr>
          </a:lstStyle>
          <a:p>
            <a:pPr lvl="0"/>
            <a:r>
              <a:rPr lang="en-US"/>
              <a:t>Level 1 text is 18 pt, hit return then Tab to get to level 2 – 16 pt gray</a:t>
            </a:r>
          </a:p>
          <a:p>
            <a:pPr lvl="1"/>
            <a:r>
              <a:rPr lang="en-US"/>
              <a:t>Second level</a:t>
            </a:r>
          </a:p>
        </p:txBody>
      </p:sp>
      <p:sp>
        <p:nvSpPr>
          <p:cNvPr id="26" name="Text Placeholder 8"/>
          <p:cNvSpPr>
            <a:spLocks noGrp="1"/>
          </p:cNvSpPr>
          <p:nvPr>
            <p:ph type="body" sz="quarter" idx="20" hasCustomPrompt="1"/>
          </p:nvPr>
        </p:nvSpPr>
        <p:spPr>
          <a:xfrm>
            <a:off x="3400033" y="6782103"/>
            <a:ext cx="13917446" cy="1877568"/>
          </a:xfrm>
        </p:spPr>
        <p:txBody>
          <a:bodyPr/>
          <a:lstStyle>
            <a:lvl1pPr>
              <a:defRPr sz="2640"/>
            </a:lvl1pPr>
            <a:lvl2pPr>
              <a:defRPr sz="2347"/>
            </a:lvl2pPr>
          </a:lstStyle>
          <a:p>
            <a:pPr lvl="0"/>
            <a:r>
              <a:rPr lang="en-US"/>
              <a:t>Level 1 text is 18 pt, hit return then Tab to get to level 2 – 16 pt gray</a:t>
            </a:r>
          </a:p>
          <a:p>
            <a:pPr lvl="1"/>
            <a:r>
              <a:rPr lang="en-US"/>
              <a:t>Second level</a:t>
            </a:r>
          </a:p>
        </p:txBody>
      </p:sp>
    </p:spTree>
    <p:extLst>
      <p:ext uri="{BB962C8B-B14F-4D97-AF65-F5344CB8AC3E}">
        <p14:creationId xmlns:p14="http://schemas.microsoft.com/office/powerpoint/2010/main" val="209436380"/>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4 Row Ico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a:t>4 row icon | Type insightful headline in sentence case | 1 line</a:t>
            </a:r>
          </a:p>
        </p:txBody>
      </p:sp>
      <p:sp>
        <p:nvSpPr>
          <p:cNvPr id="3" name="Date Placeholder 2"/>
          <p:cNvSpPr>
            <a:spLocks noGrp="1"/>
          </p:cNvSpPr>
          <p:nvPr>
            <p:ph type="dt" sz="half" idx="10"/>
          </p:nvPr>
        </p:nvSpPr>
        <p:spPr/>
        <p:txBody>
          <a:bodyPr/>
          <a:lstStyle/>
          <a:p>
            <a:fld id="{0B76C33D-7178-A941-B245-FA9A1EA00B5F}" type="datetime1">
              <a:rPr lang="en-US" smtClean="0"/>
              <a:t>4/21/21</a:t>
            </a:fld>
            <a:endParaRPr lang="en-US"/>
          </a:p>
        </p:txBody>
      </p:sp>
      <p:sp>
        <p:nvSpPr>
          <p:cNvPr id="4" name="Footer Placeholder 3"/>
          <p:cNvSpPr>
            <a:spLocks noGrp="1"/>
          </p:cNvSpPr>
          <p:nvPr>
            <p:ph type="ftr" sz="quarter" idx="11"/>
          </p:nvPr>
        </p:nvSpPr>
        <p:spPr>
          <a:xfrm>
            <a:off x="7767321" y="9514241"/>
            <a:ext cx="8689339" cy="535517"/>
          </a:xfrm>
          <a:prstGeom prst="rect">
            <a:avLst/>
          </a:prstGeom>
        </p:spPr>
        <p:txBody>
          <a:bodyPr/>
          <a:lstStyle/>
          <a:p>
            <a:r>
              <a:rPr lang="en-US"/>
              <a:t>Confidential property of Optum. Do not distribute or reproduce without express permission from Optum.</a:t>
            </a:r>
          </a:p>
        </p:txBody>
      </p:sp>
      <p:sp>
        <p:nvSpPr>
          <p:cNvPr id="5" name="Slide Number Placeholder 4"/>
          <p:cNvSpPr>
            <a:spLocks noGrp="1"/>
          </p:cNvSpPr>
          <p:nvPr>
            <p:ph type="sldNum" sz="quarter" idx="12"/>
          </p:nvPr>
        </p:nvSpPr>
        <p:spPr/>
        <p:txBody>
          <a:bodyPr/>
          <a:lstStyle/>
          <a:p>
            <a:fld id="{3310D8EA-3107-4873-B9AB-DD7D3E79053A}" type="slidenum">
              <a:rPr lang="en-US" smtClean="0"/>
              <a:t>‹#›</a:t>
            </a:fld>
            <a:endParaRPr lang="en-US"/>
          </a:p>
        </p:txBody>
      </p:sp>
      <p:sp>
        <p:nvSpPr>
          <p:cNvPr id="6" name="Text Placeholder 7"/>
          <p:cNvSpPr>
            <a:spLocks noGrp="1"/>
          </p:cNvSpPr>
          <p:nvPr>
            <p:ph type="body" sz="quarter" idx="13" hasCustomPrompt="1"/>
          </p:nvPr>
        </p:nvSpPr>
        <p:spPr>
          <a:xfrm>
            <a:off x="726440" y="1640148"/>
            <a:ext cx="16596360" cy="721783"/>
          </a:xfrm>
        </p:spPr>
        <p:txBody>
          <a:bodyPr/>
          <a:lstStyle>
            <a:lvl1pPr>
              <a:defRPr sz="3813">
                <a:solidFill>
                  <a:schemeClr val="accent4"/>
                </a:solidFill>
              </a:defRPr>
            </a:lvl1pPr>
          </a:lstStyle>
          <a:p>
            <a:pPr lvl="0"/>
            <a:r>
              <a:rPr lang="en-US"/>
              <a:t>Use this space for one line subhead if needed | One line</a:t>
            </a:r>
          </a:p>
        </p:txBody>
      </p:sp>
      <p:sp>
        <p:nvSpPr>
          <p:cNvPr id="8" name="Text Placeholder 7"/>
          <p:cNvSpPr>
            <a:spLocks noGrp="1"/>
          </p:cNvSpPr>
          <p:nvPr>
            <p:ph type="body" sz="quarter" idx="14" hasCustomPrompt="1"/>
          </p:nvPr>
        </p:nvSpPr>
        <p:spPr>
          <a:xfrm>
            <a:off x="726440" y="2730135"/>
            <a:ext cx="2494483" cy="1448410"/>
          </a:xfrm>
          <a:solidFill>
            <a:schemeClr val="tx2"/>
          </a:solidFill>
        </p:spPr>
        <p:txBody>
          <a:bodyPr lIns="137160" anchor="ctr"/>
          <a:lstStyle>
            <a:lvl1pPr algn="l">
              <a:lnSpc>
                <a:spcPct val="90000"/>
              </a:lnSpc>
              <a:spcBef>
                <a:spcPts val="0"/>
              </a:spcBef>
              <a:spcAft>
                <a:spcPts val="0"/>
              </a:spcAft>
              <a:defRPr sz="1613">
                <a:solidFill>
                  <a:schemeClr val="tx1">
                    <a:lumMod val="20000"/>
                    <a:lumOff val="80000"/>
                  </a:schemeClr>
                </a:solidFill>
              </a:defRPr>
            </a:lvl1pPr>
          </a:lstStyle>
          <a:p>
            <a:pPr lvl="0"/>
            <a:r>
              <a:rPr lang="en-US"/>
              <a:t>[place icon here. To  remove text, place cursor then hit space bar]</a:t>
            </a:r>
          </a:p>
        </p:txBody>
      </p:sp>
      <p:sp>
        <p:nvSpPr>
          <p:cNvPr id="28" name="Text Placeholder 7"/>
          <p:cNvSpPr>
            <a:spLocks noGrp="1"/>
          </p:cNvSpPr>
          <p:nvPr>
            <p:ph type="body" sz="quarter" idx="16" hasCustomPrompt="1"/>
          </p:nvPr>
        </p:nvSpPr>
        <p:spPr>
          <a:xfrm>
            <a:off x="726440" y="4235594"/>
            <a:ext cx="2494483" cy="1448410"/>
          </a:xfrm>
          <a:solidFill>
            <a:schemeClr val="accent2"/>
          </a:solidFill>
        </p:spPr>
        <p:txBody>
          <a:bodyPr lIns="137160" anchor="ctr"/>
          <a:lstStyle>
            <a:lvl1pPr algn="l">
              <a:lnSpc>
                <a:spcPct val="90000"/>
              </a:lnSpc>
              <a:spcBef>
                <a:spcPts val="0"/>
              </a:spcBef>
              <a:spcAft>
                <a:spcPts val="0"/>
              </a:spcAft>
              <a:defRPr sz="1613">
                <a:solidFill>
                  <a:schemeClr val="tx1">
                    <a:lumMod val="20000"/>
                    <a:lumOff val="80000"/>
                  </a:schemeClr>
                </a:solidFill>
              </a:defRPr>
            </a:lvl1pPr>
          </a:lstStyle>
          <a:p>
            <a:pPr lvl="0"/>
            <a:r>
              <a:rPr lang="en-US"/>
              <a:t>[place icon here. To  remove text, place cursor then hit space bar]</a:t>
            </a:r>
          </a:p>
        </p:txBody>
      </p:sp>
      <p:sp>
        <p:nvSpPr>
          <p:cNvPr id="29" name="Text Placeholder 7"/>
          <p:cNvSpPr>
            <a:spLocks noGrp="1"/>
          </p:cNvSpPr>
          <p:nvPr>
            <p:ph type="body" sz="quarter" idx="17" hasCustomPrompt="1"/>
          </p:nvPr>
        </p:nvSpPr>
        <p:spPr>
          <a:xfrm>
            <a:off x="726440" y="5741052"/>
            <a:ext cx="2494483" cy="1448410"/>
          </a:xfrm>
          <a:solidFill>
            <a:schemeClr val="accent4"/>
          </a:solidFill>
        </p:spPr>
        <p:txBody>
          <a:bodyPr lIns="137160" anchor="ctr"/>
          <a:lstStyle>
            <a:lvl1pPr algn="l">
              <a:lnSpc>
                <a:spcPct val="90000"/>
              </a:lnSpc>
              <a:spcBef>
                <a:spcPts val="0"/>
              </a:spcBef>
              <a:spcAft>
                <a:spcPts val="0"/>
              </a:spcAft>
              <a:defRPr sz="1613">
                <a:solidFill>
                  <a:schemeClr val="tx1">
                    <a:lumMod val="20000"/>
                    <a:lumOff val="80000"/>
                  </a:schemeClr>
                </a:solidFill>
              </a:defRPr>
            </a:lvl1pPr>
          </a:lstStyle>
          <a:p>
            <a:pPr lvl="0"/>
            <a:r>
              <a:rPr lang="en-US"/>
              <a:t>[place icon here. To  remove text, place cursor then hit space bar]</a:t>
            </a:r>
          </a:p>
        </p:txBody>
      </p:sp>
      <p:sp>
        <p:nvSpPr>
          <p:cNvPr id="9" name="Text Placeholder 8"/>
          <p:cNvSpPr>
            <a:spLocks noGrp="1"/>
          </p:cNvSpPr>
          <p:nvPr>
            <p:ph type="body" sz="quarter" idx="18" hasCustomPrompt="1"/>
          </p:nvPr>
        </p:nvSpPr>
        <p:spPr>
          <a:xfrm>
            <a:off x="3343487" y="2730135"/>
            <a:ext cx="13973992" cy="1448410"/>
          </a:xfrm>
        </p:spPr>
        <p:txBody>
          <a:bodyPr/>
          <a:lstStyle>
            <a:lvl1pPr>
              <a:defRPr sz="2640"/>
            </a:lvl1pPr>
            <a:lvl2pPr>
              <a:defRPr sz="2347"/>
            </a:lvl2pPr>
          </a:lstStyle>
          <a:p>
            <a:pPr lvl="0"/>
            <a:r>
              <a:rPr lang="en-US"/>
              <a:t>Level 1 text is 18 pt, hit return then Tab to get to level 2 – 16 pt gray</a:t>
            </a:r>
          </a:p>
          <a:p>
            <a:pPr lvl="1"/>
            <a:r>
              <a:rPr lang="en-US"/>
              <a:t>Second level</a:t>
            </a:r>
          </a:p>
        </p:txBody>
      </p:sp>
      <p:sp>
        <p:nvSpPr>
          <p:cNvPr id="25" name="Text Placeholder 8"/>
          <p:cNvSpPr>
            <a:spLocks noGrp="1"/>
          </p:cNvSpPr>
          <p:nvPr>
            <p:ph type="body" sz="quarter" idx="19" hasCustomPrompt="1"/>
          </p:nvPr>
        </p:nvSpPr>
        <p:spPr>
          <a:xfrm>
            <a:off x="3343487" y="4236176"/>
            <a:ext cx="13973992" cy="1448410"/>
          </a:xfrm>
        </p:spPr>
        <p:txBody>
          <a:bodyPr/>
          <a:lstStyle>
            <a:lvl1pPr>
              <a:defRPr sz="2640"/>
            </a:lvl1pPr>
            <a:lvl2pPr>
              <a:defRPr sz="2347"/>
            </a:lvl2pPr>
          </a:lstStyle>
          <a:p>
            <a:pPr lvl="0"/>
            <a:r>
              <a:rPr lang="en-US"/>
              <a:t>Level 1 text is 18 pt, hit return then Tab to get to level 2 – 16 pt gray</a:t>
            </a:r>
          </a:p>
          <a:p>
            <a:pPr lvl="1"/>
            <a:r>
              <a:rPr lang="en-US"/>
              <a:t>Second level</a:t>
            </a:r>
          </a:p>
        </p:txBody>
      </p:sp>
      <p:sp>
        <p:nvSpPr>
          <p:cNvPr id="26" name="Text Placeholder 8"/>
          <p:cNvSpPr>
            <a:spLocks noGrp="1"/>
          </p:cNvSpPr>
          <p:nvPr>
            <p:ph type="body" sz="quarter" idx="20" hasCustomPrompt="1"/>
          </p:nvPr>
        </p:nvSpPr>
        <p:spPr>
          <a:xfrm>
            <a:off x="3348808" y="5741052"/>
            <a:ext cx="13973992" cy="1448410"/>
          </a:xfrm>
        </p:spPr>
        <p:txBody>
          <a:bodyPr/>
          <a:lstStyle>
            <a:lvl1pPr>
              <a:defRPr sz="2640"/>
            </a:lvl1pPr>
            <a:lvl2pPr>
              <a:defRPr sz="2347"/>
            </a:lvl2pPr>
          </a:lstStyle>
          <a:p>
            <a:pPr lvl="0"/>
            <a:r>
              <a:rPr lang="en-US"/>
              <a:t>Level 1 text is 18 pt, hit return then Tab to get to level 2 – 16 pt gray</a:t>
            </a:r>
          </a:p>
          <a:p>
            <a:pPr lvl="1"/>
            <a:r>
              <a:rPr lang="en-US"/>
              <a:t>Second level</a:t>
            </a:r>
          </a:p>
        </p:txBody>
      </p:sp>
      <p:sp>
        <p:nvSpPr>
          <p:cNvPr id="13" name="Text Placeholder 7"/>
          <p:cNvSpPr>
            <a:spLocks noGrp="1"/>
          </p:cNvSpPr>
          <p:nvPr>
            <p:ph type="body" sz="quarter" idx="21" hasCustomPrompt="1"/>
          </p:nvPr>
        </p:nvSpPr>
        <p:spPr>
          <a:xfrm>
            <a:off x="726440" y="7246509"/>
            <a:ext cx="2494483" cy="1448410"/>
          </a:xfrm>
          <a:solidFill>
            <a:schemeClr val="accent1"/>
          </a:solidFill>
        </p:spPr>
        <p:txBody>
          <a:bodyPr lIns="137160" anchor="ctr"/>
          <a:lstStyle>
            <a:lvl1pPr algn="l">
              <a:lnSpc>
                <a:spcPct val="90000"/>
              </a:lnSpc>
              <a:spcBef>
                <a:spcPts val="0"/>
              </a:spcBef>
              <a:spcAft>
                <a:spcPts val="0"/>
              </a:spcAft>
              <a:defRPr sz="1613">
                <a:solidFill>
                  <a:schemeClr val="tx1">
                    <a:lumMod val="20000"/>
                    <a:lumOff val="80000"/>
                  </a:schemeClr>
                </a:solidFill>
              </a:defRPr>
            </a:lvl1pPr>
          </a:lstStyle>
          <a:p>
            <a:pPr lvl="0"/>
            <a:r>
              <a:rPr lang="en-US"/>
              <a:t>[place icon here. To  remove text, place cursor then hit space bar]</a:t>
            </a:r>
          </a:p>
        </p:txBody>
      </p:sp>
      <p:sp>
        <p:nvSpPr>
          <p:cNvPr id="14" name="Text Placeholder 8"/>
          <p:cNvSpPr>
            <a:spLocks noGrp="1"/>
          </p:cNvSpPr>
          <p:nvPr>
            <p:ph type="body" sz="quarter" idx="22" hasCustomPrompt="1"/>
          </p:nvPr>
        </p:nvSpPr>
        <p:spPr>
          <a:xfrm>
            <a:off x="3348808" y="7245929"/>
            <a:ext cx="13973992" cy="1448410"/>
          </a:xfrm>
        </p:spPr>
        <p:txBody>
          <a:bodyPr/>
          <a:lstStyle>
            <a:lvl1pPr>
              <a:defRPr sz="2640"/>
            </a:lvl1pPr>
            <a:lvl2pPr>
              <a:defRPr sz="2347"/>
            </a:lvl2pPr>
          </a:lstStyle>
          <a:p>
            <a:pPr lvl="0"/>
            <a:r>
              <a:rPr lang="en-US"/>
              <a:t>Level 1 text is 18 pt, hit return then Tab to get to level 2 – 16 pt gray</a:t>
            </a:r>
          </a:p>
          <a:p>
            <a:pPr lvl="1"/>
            <a:r>
              <a:rPr lang="en-US"/>
              <a:t>Second level</a:t>
            </a:r>
          </a:p>
        </p:txBody>
      </p:sp>
    </p:spTree>
    <p:extLst>
      <p:ext uri="{BB962C8B-B14F-4D97-AF65-F5344CB8AC3E}">
        <p14:creationId xmlns:p14="http://schemas.microsoft.com/office/powerpoint/2010/main" val="161241672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5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5 Column | Type insightful headline in sentence case | One line</a:t>
            </a:r>
          </a:p>
        </p:txBody>
      </p:sp>
      <p:sp>
        <p:nvSpPr>
          <p:cNvPr id="3" name="Date Placeholder 2"/>
          <p:cNvSpPr>
            <a:spLocks noGrp="1"/>
          </p:cNvSpPr>
          <p:nvPr>
            <p:ph type="dt" sz="half" idx="10"/>
          </p:nvPr>
        </p:nvSpPr>
        <p:spPr/>
        <p:txBody>
          <a:bodyPr/>
          <a:lstStyle/>
          <a:p>
            <a:fld id="{FCD1C60D-F413-0844-A7DA-7F05D1205A5B}" type="datetime1">
              <a:rPr lang="en-US" smtClean="0"/>
              <a:t>4/21/21</a:t>
            </a:fld>
            <a:endParaRPr lang="en-US"/>
          </a:p>
        </p:txBody>
      </p:sp>
      <p:sp>
        <p:nvSpPr>
          <p:cNvPr id="5" name="Slide Number Placeholder 4"/>
          <p:cNvSpPr>
            <a:spLocks noGrp="1"/>
          </p:cNvSpPr>
          <p:nvPr>
            <p:ph type="sldNum" sz="quarter" idx="12"/>
          </p:nvPr>
        </p:nvSpPr>
        <p:spPr/>
        <p:txBody>
          <a:bodyPr/>
          <a:lstStyle/>
          <a:p>
            <a:fld id="{3310D8EA-3107-4873-B9AB-DD7D3E79053A}" type="slidenum">
              <a:rPr lang="en-US" smtClean="0"/>
              <a:t>‹#›</a:t>
            </a:fld>
            <a:endParaRPr lang="en-US"/>
          </a:p>
        </p:txBody>
      </p:sp>
      <p:sp>
        <p:nvSpPr>
          <p:cNvPr id="6" name="Text Placeholder 7"/>
          <p:cNvSpPr>
            <a:spLocks noGrp="1"/>
          </p:cNvSpPr>
          <p:nvPr>
            <p:ph type="body" sz="quarter" idx="13" hasCustomPrompt="1"/>
          </p:nvPr>
        </p:nvSpPr>
        <p:spPr>
          <a:xfrm>
            <a:off x="726439" y="1640149"/>
            <a:ext cx="16596361" cy="721783"/>
          </a:xfrm>
        </p:spPr>
        <p:txBody>
          <a:bodyPr/>
          <a:lstStyle>
            <a:lvl1pPr>
              <a:defRPr sz="3315">
                <a:solidFill>
                  <a:schemeClr val="accent4"/>
                </a:solidFill>
              </a:defRPr>
            </a:lvl1pPr>
          </a:lstStyle>
          <a:p>
            <a:pPr lvl="0"/>
            <a:r>
              <a:rPr lang="en-US" dirty="0"/>
              <a:t>Use this space for one line subhead if needed | One line</a:t>
            </a:r>
          </a:p>
        </p:txBody>
      </p:sp>
      <p:sp>
        <p:nvSpPr>
          <p:cNvPr id="8" name="Text Placeholder 7"/>
          <p:cNvSpPr>
            <a:spLocks noGrp="1"/>
          </p:cNvSpPr>
          <p:nvPr>
            <p:ph type="body" sz="quarter" idx="14" hasCustomPrompt="1"/>
          </p:nvPr>
        </p:nvSpPr>
        <p:spPr>
          <a:xfrm>
            <a:off x="726439" y="2682238"/>
            <a:ext cx="3218688" cy="973243"/>
          </a:xfrm>
          <a:solidFill>
            <a:schemeClr val="tx2"/>
          </a:solidFill>
        </p:spPr>
        <p:txBody>
          <a:bodyPr lIns="137160" anchor="ctr"/>
          <a:lstStyle>
            <a:lvl1pPr algn="l">
              <a:lnSpc>
                <a:spcPct val="90000"/>
              </a:lnSpc>
              <a:spcBef>
                <a:spcPts val="0"/>
              </a:spcBef>
              <a:spcAft>
                <a:spcPts val="0"/>
              </a:spcAft>
              <a:defRPr sz="2295">
                <a:solidFill>
                  <a:schemeClr val="bg1"/>
                </a:solidFill>
              </a:defRPr>
            </a:lvl1pPr>
          </a:lstStyle>
          <a:p>
            <a:pPr lvl="0"/>
            <a:r>
              <a:rPr lang="en-US" dirty="0"/>
              <a:t>Header</a:t>
            </a:r>
          </a:p>
        </p:txBody>
      </p:sp>
      <p:sp>
        <p:nvSpPr>
          <p:cNvPr id="27" name="Text Placeholder 7"/>
          <p:cNvSpPr>
            <a:spLocks noGrp="1"/>
          </p:cNvSpPr>
          <p:nvPr>
            <p:ph type="body" sz="quarter" idx="15" hasCustomPrompt="1"/>
          </p:nvPr>
        </p:nvSpPr>
        <p:spPr>
          <a:xfrm>
            <a:off x="4078576" y="2682239"/>
            <a:ext cx="3218688" cy="973243"/>
          </a:xfrm>
          <a:solidFill>
            <a:schemeClr val="accent2"/>
          </a:solidFill>
        </p:spPr>
        <p:txBody>
          <a:bodyPr lIns="137160" anchor="ctr"/>
          <a:lstStyle>
            <a:lvl1pPr>
              <a:lnSpc>
                <a:spcPct val="90000"/>
              </a:lnSpc>
              <a:spcBef>
                <a:spcPts val="0"/>
              </a:spcBef>
              <a:spcAft>
                <a:spcPts val="0"/>
              </a:spcAft>
              <a:defRPr sz="2295">
                <a:solidFill>
                  <a:schemeClr val="bg1"/>
                </a:solidFill>
              </a:defRPr>
            </a:lvl1pPr>
          </a:lstStyle>
          <a:p>
            <a:pPr lvl="0"/>
            <a:r>
              <a:rPr lang="en-US" dirty="0"/>
              <a:t>Header</a:t>
            </a:r>
          </a:p>
        </p:txBody>
      </p:sp>
      <p:sp>
        <p:nvSpPr>
          <p:cNvPr id="28" name="Text Placeholder 7"/>
          <p:cNvSpPr>
            <a:spLocks noGrp="1"/>
          </p:cNvSpPr>
          <p:nvPr>
            <p:ph type="body" sz="quarter" idx="16" hasCustomPrompt="1"/>
          </p:nvPr>
        </p:nvSpPr>
        <p:spPr>
          <a:xfrm>
            <a:off x="7430711" y="2682239"/>
            <a:ext cx="3218688" cy="973243"/>
          </a:xfrm>
          <a:solidFill>
            <a:schemeClr val="accent4"/>
          </a:solidFill>
        </p:spPr>
        <p:txBody>
          <a:bodyPr lIns="137160" anchor="ctr"/>
          <a:lstStyle>
            <a:lvl1pPr>
              <a:lnSpc>
                <a:spcPct val="90000"/>
              </a:lnSpc>
              <a:spcBef>
                <a:spcPts val="0"/>
              </a:spcBef>
              <a:spcAft>
                <a:spcPts val="0"/>
              </a:spcAft>
              <a:defRPr sz="2295">
                <a:solidFill>
                  <a:schemeClr val="bg1"/>
                </a:solidFill>
              </a:defRPr>
            </a:lvl1pPr>
          </a:lstStyle>
          <a:p>
            <a:pPr lvl="0"/>
            <a:r>
              <a:rPr lang="en-US" dirty="0"/>
              <a:t>Header</a:t>
            </a:r>
          </a:p>
        </p:txBody>
      </p:sp>
      <p:sp>
        <p:nvSpPr>
          <p:cNvPr id="29" name="Text Placeholder 7"/>
          <p:cNvSpPr>
            <a:spLocks noGrp="1"/>
          </p:cNvSpPr>
          <p:nvPr>
            <p:ph type="body" sz="quarter" idx="17" hasCustomPrompt="1"/>
          </p:nvPr>
        </p:nvSpPr>
        <p:spPr>
          <a:xfrm>
            <a:off x="10782847" y="2682239"/>
            <a:ext cx="3218688" cy="973243"/>
          </a:xfrm>
          <a:solidFill>
            <a:schemeClr val="accent1"/>
          </a:solidFill>
        </p:spPr>
        <p:txBody>
          <a:bodyPr lIns="137160" anchor="ctr"/>
          <a:lstStyle>
            <a:lvl1pPr>
              <a:lnSpc>
                <a:spcPct val="90000"/>
              </a:lnSpc>
              <a:spcBef>
                <a:spcPts val="0"/>
              </a:spcBef>
              <a:spcAft>
                <a:spcPts val="0"/>
              </a:spcAft>
              <a:defRPr sz="2295">
                <a:solidFill>
                  <a:schemeClr val="bg1"/>
                </a:solidFill>
              </a:defRPr>
            </a:lvl1pPr>
          </a:lstStyle>
          <a:p>
            <a:pPr lvl="0"/>
            <a:r>
              <a:rPr lang="en-US" dirty="0"/>
              <a:t>Header</a:t>
            </a:r>
          </a:p>
        </p:txBody>
      </p:sp>
      <p:sp>
        <p:nvSpPr>
          <p:cNvPr id="30" name="Text Placeholder 7"/>
          <p:cNvSpPr>
            <a:spLocks noGrp="1"/>
          </p:cNvSpPr>
          <p:nvPr>
            <p:ph type="body" sz="quarter" idx="18" hasCustomPrompt="1"/>
          </p:nvPr>
        </p:nvSpPr>
        <p:spPr>
          <a:xfrm>
            <a:off x="14134980" y="2682239"/>
            <a:ext cx="3218688" cy="973243"/>
          </a:xfrm>
          <a:solidFill>
            <a:srgbClr val="A22B38"/>
          </a:solidFill>
        </p:spPr>
        <p:txBody>
          <a:bodyPr lIns="137160" anchor="ctr"/>
          <a:lstStyle>
            <a:lvl1pPr>
              <a:lnSpc>
                <a:spcPct val="90000"/>
              </a:lnSpc>
              <a:spcBef>
                <a:spcPts val="0"/>
              </a:spcBef>
              <a:spcAft>
                <a:spcPts val="0"/>
              </a:spcAft>
              <a:defRPr sz="2295">
                <a:solidFill>
                  <a:schemeClr val="bg1"/>
                </a:solidFill>
              </a:defRPr>
            </a:lvl1pPr>
          </a:lstStyle>
          <a:p>
            <a:pPr lvl="0"/>
            <a:r>
              <a:rPr lang="en-US" dirty="0"/>
              <a:t>Header</a:t>
            </a:r>
          </a:p>
        </p:txBody>
      </p:sp>
      <p:sp>
        <p:nvSpPr>
          <p:cNvPr id="31" name="Text Placeholder 7"/>
          <p:cNvSpPr>
            <a:spLocks noGrp="1"/>
          </p:cNvSpPr>
          <p:nvPr>
            <p:ph type="body" sz="quarter" idx="19" hasCustomPrompt="1"/>
          </p:nvPr>
        </p:nvSpPr>
        <p:spPr>
          <a:xfrm>
            <a:off x="726439" y="3655480"/>
            <a:ext cx="3218688" cy="5005921"/>
          </a:xfrm>
          <a:solidFill>
            <a:schemeClr val="accent3">
              <a:lumMod val="20000"/>
              <a:lumOff val="80000"/>
            </a:schemeClr>
          </a:solidFill>
        </p:spPr>
        <p:txBody>
          <a:bodyPr lIns="137160" tIns="137160" anchor="t"/>
          <a:lstStyle>
            <a:lvl1pPr marL="0" indent="0" algn="l">
              <a:lnSpc>
                <a:spcPct val="90000"/>
              </a:lnSpc>
              <a:spcBef>
                <a:spcPts val="0"/>
              </a:spcBef>
              <a:spcAft>
                <a:spcPts val="0"/>
              </a:spcAft>
              <a:buFont typeface="Arial" panose="020B0604020202020204" pitchFamily="34" charset="0"/>
              <a:buNone/>
              <a:defRPr sz="2295">
                <a:solidFill>
                  <a:schemeClr val="tx1"/>
                </a:solidFill>
              </a:defRPr>
            </a:lvl1pPr>
          </a:lstStyle>
          <a:p>
            <a:pPr lvl="0"/>
            <a:r>
              <a:rPr lang="en-US" dirty="0"/>
              <a:t>Text – add bullet if needed</a:t>
            </a:r>
          </a:p>
        </p:txBody>
      </p:sp>
      <p:sp>
        <p:nvSpPr>
          <p:cNvPr id="32" name="Text Placeholder 7"/>
          <p:cNvSpPr>
            <a:spLocks noGrp="1"/>
          </p:cNvSpPr>
          <p:nvPr>
            <p:ph type="body" sz="quarter" idx="20" hasCustomPrompt="1"/>
          </p:nvPr>
        </p:nvSpPr>
        <p:spPr>
          <a:xfrm>
            <a:off x="4078576" y="3655480"/>
            <a:ext cx="3218688" cy="5005921"/>
          </a:xfrm>
          <a:solidFill>
            <a:schemeClr val="accent3">
              <a:lumMod val="20000"/>
              <a:lumOff val="80000"/>
            </a:schemeClr>
          </a:solidFill>
        </p:spPr>
        <p:txBody>
          <a:bodyPr lIns="137160" tIns="137160" anchor="t"/>
          <a:lstStyle>
            <a:lvl1pPr marL="0" indent="0" algn="l">
              <a:lnSpc>
                <a:spcPct val="90000"/>
              </a:lnSpc>
              <a:spcBef>
                <a:spcPts val="0"/>
              </a:spcBef>
              <a:spcAft>
                <a:spcPts val="0"/>
              </a:spcAft>
              <a:buFont typeface="Arial" panose="020B0604020202020204" pitchFamily="34" charset="0"/>
              <a:buNone/>
              <a:defRPr sz="2295">
                <a:solidFill>
                  <a:schemeClr val="tx1"/>
                </a:solidFill>
              </a:defRPr>
            </a:lvl1pPr>
          </a:lstStyle>
          <a:p>
            <a:pPr lvl="0"/>
            <a:r>
              <a:rPr lang="en-US" dirty="0"/>
              <a:t>Text – add bullet if needed</a:t>
            </a:r>
          </a:p>
        </p:txBody>
      </p:sp>
      <p:sp>
        <p:nvSpPr>
          <p:cNvPr id="33" name="Text Placeholder 7"/>
          <p:cNvSpPr>
            <a:spLocks noGrp="1"/>
          </p:cNvSpPr>
          <p:nvPr>
            <p:ph type="body" sz="quarter" idx="21" hasCustomPrompt="1"/>
          </p:nvPr>
        </p:nvSpPr>
        <p:spPr>
          <a:xfrm>
            <a:off x="7430711" y="3655480"/>
            <a:ext cx="3218688" cy="5005921"/>
          </a:xfrm>
          <a:solidFill>
            <a:schemeClr val="accent3">
              <a:lumMod val="20000"/>
              <a:lumOff val="80000"/>
            </a:schemeClr>
          </a:solidFill>
        </p:spPr>
        <p:txBody>
          <a:bodyPr lIns="137160" tIns="137160" anchor="t"/>
          <a:lstStyle>
            <a:lvl1pPr marL="0" indent="0" algn="l">
              <a:lnSpc>
                <a:spcPct val="90000"/>
              </a:lnSpc>
              <a:spcBef>
                <a:spcPts val="0"/>
              </a:spcBef>
              <a:spcAft>
                <a:spcPts val="0"/>
              </a:spcAft>
              <a:buFont typeface="Arial" panose="020B0604020202020204" pitchFamily="34" charset="0"/>
              <a:buNone/>
              <a:defRPr sz="2295">
                <a:solidFill>
                  <a:schemeClr val="tx1"/>
                </a:solidFill>
              </a:defRPr>
            </a:lvl1pPr>
          </a:lstStyle>
          <a:p>
            <a:pPr lvl="0"/>
            <a:r>
              <a:rPr lang="en-US" dirty="0"/>
              <a:t>Text – add bullet if needed</a:t>
            </a:r>
          </a:p>
        </p:txBody>
      </p:sp>
      <p:sp>
        <p:nvSpPr>
          <p:cNvPr id="34" name="Text Placeholder 7"/>
          <p:cNvSpPr>
            <a:spLocks noGrp="1"/>
          </p:cNvSpPr>
          <p:nvPr>
            <p:ph type="body" sz="quarter" idx="22" hasCustomPrompt="1"/>
          </p:nvPr>
        </p:nvSpPr>
        <p:spPr>
          <a:xfrm>
            <a:off x="10782847" y="3655480"/>
            <a:ext cx="3218688" cy="5005921"/>
          </a:xfrm>
          <a:solidFill>
            <a:schemeClr val="accent3">
              <a:lumMod val="20000"/>
              <a:lumOff val="80000"/>
            </a:schemeClr>
          </a:solidFill>
        </p:spPr>
        <p:txBody>
          <a:bodyPr lIns="137160" tIns="137160" anchor="t"/>
          <a:lstStyle>
            <a:lvl1pPr marL="0" indent="0" algn="l">
              <a:lnSpc>
                <a:spcPct val="90000"/>
              </a:lnSpc>
              <a:spcBef>
                <a:spcPts val="0"/>
              </a:spcBef>
              <a:spcAft>
                <a:spcPts val="0"/>
              </a:spcAft>
              <a:buFont typeface="Arial" panose="020B0604020202020204" pitchFamily="34" charset="0"/>
              <a:buNone/>
              <a:defRPr sz="2295">
                <a:solidFill>
                  <a:schemeClr val="tx1"/>
                </a:solidFill>
              </a:defRPr>
            </a:lvl1pPr>
          </a:lstStyle>
          <a:p>
            <a:pPr lvl="0"/>
            <a:r>
              <a:rPr lang="en-US" dirty="0"/>
              <a:t>Text – add bullet if needed</a:t>
            </a:r>
          </a:p>
        </p:txBody>
      </p:sp>
      <p:sp>
        <p:nvSpPr>
          <p:cNvPr id="35" name="Text Placeholder 7"/>
          <p:cNvSpPr>
            <a:spLocks noGrp="1"/>
          </p:cNvSpPr>
          <p:nvPr>
            <p:ph type="body" sz="quarter" idx="23" hasCustomPrompt="1"/>
          </p:nvPr>
        </p:nvSpPr>
        <p:spPr>
          <a:xfrm>
            <a:off x="14134982" y="3655480"/>
            <a:ext cx="3218688" cy="5005921"/>
          </a:xfrm>
          <a:solidFill>
            <a:schemeClr val="accent3">
              <a:lumMod val="20000"/>
              <a:lumOff val="80000"/>
            </a:schemeClr>
          </a:solidFill>
        </p:spPr>
        <p:txBody>
          <a:bodyPr lIns="137160" tIns="137160" anchor="t"/>
          <a:lstStyle>
            <a:lvl1pPr marL="0" indent="0" algn="l">
              <a:lnSpc>
                <a:spcPct val="90000"/>
              </a:lnSpc>
              <a:spcBef>
                <a:spcPts val="0"/>
              </a:spcBef>
              <a:spcAft>
                <a:spcPts val="0"/>
              </a:spcAft>
              <a:buFont typeface="Arial" panose="020B0604020202020204" pitchFamily="34" charset="0"/>
              <a:buNone/>
              <a:defRPr sz="2295">
                <a:solidFill>
                  <a:schemeClr val="tx1"/>
                </a:solidFill>
              </a:defRPr>
            </a:lvl1pPr>
          </a:lstStyle>
          <a:p>
            <a:pPr lvl="0"/>
            <a:r>
              <a:rPr lang="en-US" dirty="0"/>
              <a:t>Text – add bullet if needed</a:t>
            </a:r>
          </a:p>
        </p:txBody>
      </p:sp>
    </p:spTree>
    <p:extLst>
      <p:ext uri="{BB962C8B-B14F-4D97-AF65-F5344CB8AC3E}">
        <p14:creationId xmlns:p14="http://schemas.microsoft.com/office/powerpoint/2010/main" val="3294711771"/>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5 Row Ico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a:t>5 row icon | Type insightful headline in sentence case | 1 line</a:t>
            </a:r>
          </a:p>
        </p:txBody>
      </p:sp>
      <p:sp>
        <p:nvSpPr>
          <p:cNvPr id="3" name="Date Placeholder 2"/>
          <p:cNvSpPr>
            <a:spLocks noGrp="1"/>
          </p:cNvSpPr>
          <p:nvPr>
            <p:ph type="dt" sz="half" idx="10"/>
          </p:nvPr>
        </p:nvSpPr>
        <p:spPr/>
        <p:txBody>
          <a:bodyPr/>
          <a:lstStyle/>
          <a:p>
            <a:fld id="{CF2C9496-67E8-814E-8D7E-5030D6468F6C}" type="datetime1">
              <a:rPr lang="en-US" smtClean="0"/>
              <a:t>4/21/21</a:t>
            </a:fld>
            <a:endParaRPr lang="en-US"/>
          </a:p>
        </p:txBody>
      </p:sp>
      <p:sp>
        <p:nvSpPr>
          <p:cNvPr id="4" name="Footer Placeholder 3"/>
          <p:cNvSpPr>
            <a:spLocks noGrp="1"/>
          </p:cNvSpPr>
          <p:nvPr>
            <p:ph type="ftr" sz="quarter" idx="11"/>
          </p:nvPr>
        </p:nvSpPr>
        <p:spPr>
          <a:xfrm>
            <a:off x="7767321" y="9514241"/>
            <a:ext cx="8689339" cy="535517"/>
          </a:xfrm>
          <a:prstGeom prst="rect">
            <a:avLst/>
          </a:prstGeom>
        </p:spPr>
        <p:txBody>
          <a:bodyPr/>
          <a:lstStyle/>
          <a:p>
            <a:r>
              <a:rPr lang="en-US"/>
              <a:t>Confidential property of Optum. Do not distribute or reproduce without express permission from Optum.</a:t>
            </a:r>
          </a:p>
        </p:txBody>
      </p:sp>
      <p:sp>
        <p:nvSpPr>
          <p:cNvPr id="5" name="Slide Number Placeholder 4"/>
          <p:cNvSpPr>
            <a:spLocks noGrp="1"/>
          </p:cNvSpPr>
          <p:nvPr>
            <p:ph type="sldNum" sz="quarter" idx="12"/>
          </p:nvPr>
        </p:nvSpPr>
        <p:spPr/>
        <p:txBody>
          <a:bodyPr/>
          <a:lstStyle/>
          <a:p>
            <a:fld id="{3310D8EA-3107-4873-B9AB-DD7D3E79053A}" type="slidenum">
              <a:rPr lang="en-US" smtClean="0"/>
              <a:t>‹#›</a:t>
            </a:fld>
            <a:endParaRPr lang="en-US"/>
          </a:p>
        </p:txBody>
      </p:sp>
      <p:sp>
        <p:nvSpPr>
          <p:cNvPr id="6" name="Text Placeholder 7"/>
          <p:cNvSpPr>
            <a:spLocks noGrp="1"/>
          </p:cNvSpPr>
          <p:nvPr>
            <p:ph type="body" sz="quarter" idx="13" hasCustomPrompt="1"/>
          </p:nvPr>
        </p:nvSpPr>
        <p:spPr>
          <a:xfrm>
            <a:off x="726440" y="1640148"/>
            <a:ext cx="16596360" cy="721783"/>
          </a:xfrm>
        </p:spPr>
        <p:txBody>
          <a:bodyPr/>
          <a:lstStyle>
            <a:lvl1pPr>
              <a:defRPr sz="3813">
                <a:solidFill>
                  <a:schemeClr val="accent4"/>
                </a:solidFill>
              </a:defRPr>
            </a:lvl1pPr>
          </a:lstStyle>
          <a:p>
            <a:pPr lvl="0"/>
            <a:r>
              <a:rPr lang="en-US"/>
              <a:t>Use this space for one line subhead if needed | One line</a:t>
            </a:r>
          </a:p>
        </p:txBody>
      </p:sp>
      <p:sp>
        <p:nvSpPr>
          <p:cNvPr id="8" name="Text Placeholder 7"/>
          <p:cNvSpPr>
            <a:spLocks noGrp="1"/>
          </p:cNvSpPr>
          <p:nvPr>
            <p:ph type="body" sz="quarter" idx="14" hasCustomPrompt="1"/>
          </p:nvPr>
        </p:nvSpPr>
        <p:spPr>
          <a:xfrm>
            <a:off x="726441" y="2730135"/>
            <a:ext cx="1540691" cy="1126541"/>
          </a:xfrm>
          <a:solidFill>
            <a:schemeClr val="tx2"/>
          </a:solidFill>
        </p:spPr>
        <p:txBody>
          <a:bodyPr lIns="45720" rIns="18288" anchor="ctr"/>
          <a:lstStyle>
            <a:lvl1pPr algn="l">
              <a:lnSpc>
                <a:spcPct val="90000"/>
              </a:lnSpc>
              <a:spcBef>
                <a:spcPts val="0"/>
              </a:spcBef>
              <a:spcAft>
                <a:spcPts val="0"/>
              </a:spcAft>
              <a:defRPr sz="1320">
                <a:solidFill>
                  <a:schemeClr val="tx1">
                    <a:lumMod val="20000"/>
                    <a:lumOff val="80000"/>
                  </a:schemeClr>
                </a:solidFill>
              </a:defRPr>
            </a:lvl1pPr>
          </a:lstStyle>
          <a:p>
            <a:pPr lvl="0"/>
            <a:r>
              <a:rPr lang="en-US"/>
              <a:t>[place icon here. To  remove text, place cursor then hit space bar]</a:t>
            </a:r>
          </a:p>
        </p:txBody>
      </p:sp>
      <p:sp>
        <p:nvSpPr>
          <p:cNvPr id="28" name="Text Placeholder 7"/>
          <p:cNvSpPr>
            <a:spLocks noGrp="1"/>
          </p:cNvSpPr>
          <p:nvPr>
            <p:ph type="body" sz="quarter" idx="16" hasCustomPrompt="1"/>
          </p:nvPr>
        </p:nvSpPr>
        <p:spPr>
          <a:xfrm>
            <a:off x="726441" y="3933424"/>
            <a:ext cx="1540691" cy="1126541"/>
          </a:xfrm>
          <a:solidFill>
            <a:schemeClr val="accent2"/>
          </a:solidFill>
        </p:spPr>
        <p:txBody>
          <a:bodyPr lIns="45720" rIns="18288" anchor="ctr"/>
          <a:lstStyle>
            <a:lvl1pPr algn="l">
              <a:lnSpc>
                <a:spcPct val="90000"/>
              </a:lnSpc>
              <a:spcBef>
                <a:spcPts val="0"/>
              </a:spcBef>
              <a:spcAft>
                <a:spcPts val="0"/>
              </a:spcAft>
              <a:defRPr sz="1320">
                <a:solidFill>
                  <a:schemeClr val="tx1">
                    <a:lumMod val="20000"/>
                    <a:lumOff val="80000"/>
                  </a:schemeClr>
                </a:solidFill>
              </a:defRPr>
            </a:lvl1pPr>
          </a:lstStyle>
          <a:p>
            <a:pPr lvl="0"/>
            <a:r>
              <a:rPr lang="en-US"/>
              <a:t>[place icon here. To  remove text, place cursor then hit space bar]</a:t>
            </a:r>
          </a:p>
        </p:txBody>
      </p:sp>
      <p:sp>
        <p:nvSpPr>
          <p:cNvPr id="29" name="Text Placeholder 7"/>
          <p:cNvSpPr>
            <a:spLocks noGrp="1"/>
          </p:cNvSpPr>
          <p:nvPr>
            <p:ph type="body" sz="quarter" idx="17" hasCustomPrompt="1"/>
          </p:nvPr>
        </p:nvSpPr>
        <p:spPr>
          <a:xfrm>
            <a:off x="726441" y="5136712"/>
            <a:ext cx="1540691" cy="1126541"/>
          </a:xfrm>
          <a:solidFill>
            <a:schemeClr val="accent4"/>
          </a:solidFill>
        </p:spPr>
        <p:txBody>
          <a:bodyPr lIns="45720" rIns="18288" anchor="ctr"/>
          <a:lstStyle>
            <a:lvl1pPr algn="l">
              <a:lnSpc>
                <a:spcPct val="90000"/>
              </a:lnSpc>
              <a:spcBef>
                <a:spcPts val="0"/>
              </a:spcBef>
              <a:spcAft>
                <a:spcPts val="0"/>
              </a:spcAft>
              <a:defRPr sz="1320">
                <a:solidFill>
                  <a:schemeClr val="tx1">
                    <a:lumMod val="20000"/>
                    <a:lumOff val="80000"/>
                  </a:schemeClr>
                </a:solidFill>
              </a:defRPr>
            </a:lvl1pPr>
          </a:lstStyle>
          <a:p>
            <a:pPr lvl="0"/>
            <a:r>
              <a:rPr lang="en-US"/>
              <a:t>[place icon here. To  remove text, place cursor then hit space bar]</a:t>
            </a:r>
          </a:p>
        </p:txBody>
      </p:sp>
      <p:sp>
        <p:nvSpPr>
          <p:cNvPr id="9" name="Text Placeholder 8"/>
          <p:cNvSpPr>
            <a:spLocks noGrp="1"/>
          </p:cNvSpPr>
          <p:nvPr>
            <p:ph type="body" sz="quarter" idx="18" hasCustomPrompt="1"/>
          </p:nvPr>
        </p:nvSpPr>
        <p:spPr>
          <a:xfrm>
            <a:off x="2389537" y="2730135"/>
            <a:ext cx="14927943" cy="1126541"/>
          </a:xfrm>
        </p:spPr>
        <p:txBody>
          <a:bodyPr/>
          <a:lstStyle>
            <a:lvl1pPr>
              <a:defRPr sz="2640"/>
            </a:lvl1pPr>
            <a:lvl2pPr>
              <a:defRPr sz="2347"/>
            </a:lvl2pPr>
          </a:lstStyle>
          <a:p>
            <a:pPr lvl="0"/>
            <a:r>
              <a:rPr lang="en-US"/>
              <a:t>Level 1 text is 18 pt, hit return then Tab to get to level 2 – 16 pt gray</a:t>
            </a:r>
          </a:p>
          <a:p>
            <a:pPr lvl="1"/>
            <a:r>
              <a:rPr lang="en-US"/>
              <a:t>Second level</a:t>
            </a:r>
          </a:p>
        </p:txBody>
      </p:sp>
      <p:sp>
        <p:nvSpPr>
          <p:cNvPr id="25" name="Text Placeholder 8"/>
          <p:cNvSpPr>
            <a:spLocks noGrp="1"/>
          </p:cNvSpPr>
          <p:nvPr>
            <p:ph type="body" sz="quarter" idx="19" hasCustomPrompt="1"/>
          </p:nvPr>
        </p:nvSpPr>
        <p:spPr>
          <a:xfrm>
            <a:off x="2394858" y="3930033"/>
            <a:ext cx="14927943" cy="1126541"/>
          </a:xfrm>
        </p:spPr>
        <p:txBody>
          <a:bodyPr/>
          <a:lstStyle>
            <a:lvl1pPr>
              <a:defRPr sz="2640"/>
            </a:lvl1pPr>
            <a:lvl2pPr>
              <a:defRPr sz="2347"/>
            </a:lvl2pPr>
          </a:lstStyle>
          <a:p>
            <a:pPr lvl="0"/>
            <a:r>
              <a:rPr lang="en-US"/>
              <a:t>Level 1 text is 18 pt, hit return then Tab to get to level 2 – 16 pt gray</a:t>
            </a:r>
          </a:p>
          <a:p>
            <a:pPr lvl="1"/>
            <a:r>
              <a:rPr lang="en-US"/>
              <a:t>Second level</a:t>
            </a:r>
          </a:p>
        </p:txBody>
      </p:sp>
      <p:sp>
        <p:nvSpPr>
          <p:cNvPr id="26" name="Text Placeholder 8"/>
          <p:cNvSpPr>
            <a:spLocks noGrp="1"/>
          </p:cNvSpPr>
          <p:nvPr>
            <p:ph type="body" sz="quarter" idx="20" hasCustomPrompt="1"/>
          </p:nvPr>
        </p:nvSpPr>
        <p:spPr>
          <a:xfrm>
            <a:off x="2394858" y="5129931"/>
            <a:ext cx="14927943" cy="1126541"/>
          </a:xfrm>
        </p:spPr>
        <p:txBody>
          <a:bodyPr/>
          <a:lstStyle>
            <a:lvl1pPr>
              <a:defRPr sz="2640"/>
            </a:lvl1pPr>
            <a:lvl2pPr>
              <a:defRPr sz="2347"/>
            </a:lvl2pPr>
          </a:lstStyle>
          <a:p>
            <a:pPr lvl="0"/>
            <a:r>
              <a:rPr lang="en-US"/>
              <a:t>Level 1 text is 18 pt, hit return then Tab to get to level 2 – 16 pt gray</a:t>
            </a:r>
          </a:p>
          <a:p>
            <a:pPr lvl="1"/>
            <a:r>
              <a:rPr lang="en-US"/>
              <a:t>Second level</a:t>
            </a:r>
          </a:p>
        </p:txBody>
      </p:sp>
      <p:sp>
        <p:nvSpPr>
          <p:cNvPr id="13" name="Text Placeholder 7"/>
          <p:cNvSpPr>
            <a:spLocks noGrp="1"/>
          </p:cNvSpPr>
          <p:nvPr>
            <p:ph type="body" sz="quarter" idx="21" hasCustomPrompt="1"/>
          </p:nvPr>
        </p:nvSpPr>
        <p:spPr>
          <a:xfrm>
            <a:off x="726441" y="6340001"/>
            <a:ext cx="1540691" cy="1126541"/>
          </a:xfrm>
          <a:solidFill>
            <a:schemeClr val="accent1"/>
          </a:solidFill>
        </p:spPr>
        <p:txBody>
          <a:bodyPr lIns="45720" rIns="18288" anchor="ctr"/>
          <a:lstStyle>
            <a:lvl1pPr algn="l">
              <a:lnSpc>
                <a:spcPct val="90000"/>
              </a:lnSpc>
              <a:spcBef>
                <a:spcPts val="0"/>
              </a:spcBef>
              <a:spcAft>
                <a:spcPts val="0"/>
              </a:spcAft>
              <a:defRPr sz="1320">
                <a:solidFill>
                  <a:schemeClr val="tx1">
                    <a:lumMod val="20000"/>
                    <a:lumOff val="80000"/>
                  </a:schemeClr>
                </a:solidFill>
              </a:defRPr>
            </a:lvl1pPr>
          </a:lstStyle>
          <a:p>
            <a:pPr lvl="0"/>
            <a:r>
              <a:rPr lang="en-US"/>
              <a:t>[place icon here. To  remove text, place cursor then hit space bar]</a:t>
            </a:r>
          </a:p>
        </p:txBody>
      </p:sp>
      <p:sp>
        <p:nvSpPr>
          <p:cNvPr id="14" name="Text Placeholder 8"/>
          <p:cNvSpPr>
            <a:spLocks noGrp="1"/>
          </p:cNvSpPr>
          <p:nvPr>
            <p:ph type="body" sz="quarter" idx="22" hasCustomPrompt="1"/>
          </p:nvPr>
        </p:nvSpPr>
        <p:spPr>
          <a:xfrm>
            <a:off x="2389537" y="6329828"/>
            <a:ext cx="14927943" cy="1126541"/>
          </a:xfrm>
        </p:spPr>
        <p:txBody>
          <a:bodyPr/>
          <a:lstStyle>
            <a:lvl1pPr>
              <a:defRPr sz="2640"/>
            </a:lvl1pPr>
            <a:lvl2pPr>
              <a:defRPr sz="2347"/>
            </a:lvl2pPr>
          </a:lstStyle>
          <a:p>
            <a:pPr lvl="0"/>
            <a:r>
              <a:rPr lang="en-US"/>
              <a:t>Level 1 text is 18 pt, hit return then Tab to get to level 2 – 16 pt gray</a:t>
            </a:r>
          </a:p>
          <a:p>
            <a:pPr lvl="1"/>
            <a:r>
              <a:rPr lang="en-US"/>
              <a:t>Second level</a:t>
            </a:r>
          </a:p>
        </p:txBody>
      </p:sp>
      <p:sp>
        <p:nvSpPr>
          <p:cNvPr id="15" name="Text Placeholder 7"/>
          <p:cNvSpPr>
            <a:spLocks noGrp="1"/>
          </p:cNvSpPr>
          <p:nvPr>
            <p:ph type="body" sz="quarter" idx="23" hasCustomPrompt="1"/>
          </p:nvPr>
        </p:nvSpPr>
        <p:spPr>
          <a:xfrm>
            <a:off x="726441" y="7543287"/>
            <a:ext cx="1540691" cy="1126541"/>
          </a:xfrm>
          <a:solidFill>
            <a:srgbClr val="A22B38"/>
          </a:solidFill>
        </p:spPr>
        <p:txBody>
          <a:bodyPr lIns="45720" rIns="18288" anchor="ctr"/>
          <a:lstStyle>
            <a:lvl1pPr algn="l">
              <a:lnSpc>
                <a:spcPct val="90000"/>
              </a:lnSpc>
              <a:spcBef>
                <a:spcPts val="0"/>
              </a:spcBef>
              <a:spcAft>
                <a:spcPts val="0"/>
              </a:spcAft>
              <a:defRPr sz="1320">
                <a:solidFill>
                  <a:schemeClr val="tx1">
                    <a:lumMod val="20000"/>
                    <a:lumOff val="80000"/>
                  </a:schemeClr>
                </a:solidFill>
              </a:defRPr>
            </a:lvl1pPr>
          </a:lstStyle>
          <a:p>
            <a:pPr lvl="0"/>
            <a:r>
              <a:rPr lang="en-US"/>
              <a:t>[place icon here. To  remove text, place cursor then hit space bar]</a:t>
            </a:r>
          </a:p>
        </p:txBody>
      </p:sp>
      <p:sp>
        <p:nvSpPr>
          <p:cNvPr id="16" name="Text Placeholder 8"/>
          <p:cNvSpPr>
            <a:spLocks noGrp="1"/>
          </p:cNvSpPr>
          <p:nvPr>
            <p:ph type="body" sz="quarter" idx="24" hasCustomPrompt="1"/>
          </p:nvPr>
        </p:nvSpPr>
        <p:spPr>
          <a:xfrm>
            <a:off x="2394858" y="7529727"/>
            <a:ext cx="14927943" cy="1126541"/>
          </a:xfrm>
        </p:spPr>
        <p:txBody>
          <a:bodyPr/>
          <a:lstStyle>
            <a:lvl1pPr>
              <a:defRPr sz="2640"/>
            </a:lvl1pPr>
            <a:lvl2pPr>
              <a:defRPr sz="2347"/>
            </a:lvl2pPr>
          </a:lstStyle>
          <a:p>
            <a:pPr lvl="0"/>
            <a:r>
              <a:rPr lang="en-US"/>
              <a:t>Level 1 text is 18 pt, hit return then Tab to get to level 2 – 16 pt gray</a:t>
            </a:r>
          </a:p>
          <a:p>
            <a:pPr lvl="1"/>
            <a:r>
              <a:rPr lang="en-US"/>
              <a:t>Second level</a:t>
            </a:r>
          </a:p>
        </p:txBody>
      </p:sp>
    </p:spTree>
    <p:extLst>
      <p:ext uri="{BB962C8B-B14F-4D97-AF65-F5344CB8AC3E}">
        <p14:creationId xmlns:p14="http://schemas.microsoft.com/office/powerpoint/2010/main" val="1567194864"/>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3 Row Photo">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a:t>3 row w/photo | Type insightful headline in sentence case | 1 line</a:t>
            </a:r>
          </a:p>
        </p:txBody>
      </p:sp>
      <p:sp>
        <p:nvSpPr>
          <p:cNvPr id="3" name="Date Placeholder 2"/>
          <p:cNvSpPr>
            <a:spLocks noGrp="1"/>
          </p:cNvSpPr>
          <p:nvPr>
            <p:ph type="dt" sz="half" idx="10"/>
          </p:nvPr>
        </p:nvSpPr>
        <p:spPr/>
        <p:txBody>
          <a:bodyPr/>
          <a:lstStyle/>
          <a:p>
            <a:fld id="{FFD86AB2-76A9-E34E-A446-267C7AE5F892}" type="datetime1">
              <a:rPr lang="en-US" smtClean="0"/>
              <a:t>4/21/21</a:t>
            </a:fld>
            <a:endParaRPr lang="en-US"/>
          </a:p>
        </p:txBody>
      </p:sp>
      <p:sp>
        <p:nvSpPr>
          <p:cNvPr id="4" name="Footer Placeholder 3"/>
          <p:cNvSpPr>
            <a:spLocks noGrp="1"/>
          </p:cNvSpPr>
          <p:nvPr>
            <p:ph type="ftr" sz="quarter" idx="11"/>
          </p:nvPr>
        </p:nvSpPr>
        <p:spPr>
          <a:xfrm>
            <a:off x="7767321" y="9514241"/>
            <a:ext cx="8689339" cy="535517"/>
          </a:xfrm>
          <a:prstGeom prst="rect">
            <a:avLst/>
          </a:prstGeom>
        </p:spPr>
        <p:txBody>
          <a:bodyPr/>
          <a:lstStyle/>
          <a:p>
            <a:r>
              <a:rPr lang="en-US"/>
              <a:t>Confidential property of Optum. Do not distribute or reproduce without express permission from Optum.</a:t>
            </a:r>
          </a:p>
        </p:txBody>
      </p:sp>
      <p:sp>
        <p:nvSpPr>
          <p:cNvPr id="5" name="Slide Number Placeholder 4"/>
          <p:cNvSpPr>
            <a:spLocks noGrp="1"/>
          </p:cNvSpPr>
          <p:nvPr>
            <p:ph type="sldNum" sz="quarter" idx="12"/>
          </p:nvPr>
        </p:nvSpPr>
        <p:spPr/>
        <p:txBody>
          <a:bodyPr/>
          <a:lstStyle/>
          <a:p>
            <a:fld id="{3310D8EA-3107-4873-B9AB-DD7D3E79053A}" type="slidenum">
              <a:rPr lang="en-US" smtClean="0"/>
              <a:t>‹#›</a:t>
            </a:fld>
            <a:endParaRPr lang="en-US"/>
          </a:p>
        </p:txBody>
      </p:sp>
      <p:sp>
        <p:nvSpPr>
          <p:cNvPr id="6" name="Text Placeholder 7"/>
          <p:cNvSpPr>
            <a:spLocks noGrp="1"/>
          </p:cNvSpPr>
          <p:nvPr>
            <p:ph type="body" sz="quarter" idx="13" hasCustomPrompt="1"/>
          </p:nvPr>
        </p:nvSpPr>
        <p:spPr>
          <a:xfrm>
            <a:off x="726440" y="1640148"/>
            <a:ext cx="16596360" cy="721783"/>
          </a:xfrm>
        </p:spPr>
        <p:txBody>
          <a:bodyPr/>
          <a:lstStyle>
            <a:lvl1pPr>
              <a:defRPr sz="3813">
                <a:solidFill>
                  <a:schemeClr val="accent4"/>
                </a:solidFill>
              </a:defRPr>
            </a:lvl1pPr>
          </a:lstStyle>
          <a:p>
            <a:pPr lvl="0"/>
            <a:r>
              <a:rPr lang="en-US"/>
              <a:t>Use this space for one line subhead if needed | One line</a:t>
            </a:r>
          </a:p>
        </p:txBody>
      </p:sp>
      <p:sp>
        <p:nvSpPr>
          <p:cNvPr id="9" name="Text Placeholder 8"/>
          <p:cNvSpPr>
            <a:spLocks noGrp="1"/>
          </p:cNvSpPr>
          <p:nvPr>
            <p:ph type="body" sz="quarter" idx="18" hasCustomPrompt="1"/>
          </p:nvPr>
        </p:nvSpPr>
        <p:spPr>
          <a:xfrm>
            <a:off x="726440" y="2730135"/>
            <a:ext cx="10896601" cy="1877568"/>
          </a:xfrm>
          <a:solidFill>
            <a:schemeClr val="accent5">
              <a:lumMod val="40000"/>
              <a:lumOff val="60000"/>
            </a:schemeClr>
          </a:solidFill>
        </p:spPr>
        <p:txBody>
          <a:bodyPr lIns="91440" tIns="91440"/>
          <a:lstStyle>
            <a:lvl1pPr>
              <a:defRPr sz="2640">
                <a:solidFill>
                  <a:schemeClr val="tx1"/>
                </a:solidFill>
              </a:defRPr>
            </a:lvl1pPr>
            <a:lvl2pPr>
              <a:defRPr sz="2347">
                <a:solidFill>
                  <a:schemeClr val="tx1"/>
                </a:solidFill>
              </a:defRPr>
            </a:lvl2pPr>
          </a:lstStyle>
          <a:p>
            <a:pPr lvl="0"/>
            <a:r>
              <a:rPr lang="en-US"/>
              <a:t>Level 1 text is gray 18 pt, hit return then Tab to get to level 2 – 16 pt gray</a:t>
            </a:r>
          </a:p>
          <a:p>
            <a:pPr lvl="1"/>
            <a:r>
              <a:rPr lang="en-US"/>
              <a:t>Second level</a:t>
            </a:r>
          </a:p>
        </p:txBody>
      </p:sp>
      <p:sp>
        <p:nvSpPr>
          <p:cNvPr id="25" name="Text Placeholder 8"/>
          <p:cNvSpPr>
            <a:spLocks noGrp="1"/>
          </p:cNvSpPr>
          <p:nvPr>
            <p:ph type="body" sz="quarter" idx="19" hasCustomPrompt="1"/>
          </p:nvPr>
        </p:nvSpPr>
        <p:spPr>
          <a:xfrm>
            <a:off x="726440" y="4756118"/>
            <a:ext cx="10896601" cy="1877568"/>
          </a:xfrm>
          <a:solidFill>
            <a:schemeClr val="accent5">
              <a:lumMod val="40000"/>
              <a:lumOff val="60000"/>
            </a:schemeClr>
          </a:solidFill>
        </p:spPr>
        <p:txBody>
          <a:bodyPr lIns="91440" tIns="91440"/>
          <a:lstStyle>
            <a:lvl1pPr>
              <a:defRPr sz="2640">
                <a:solidFill>
                  <a:schemeClr val="tx1"/>
                </a:solidFill>
              </a:defRPr>
            </a:lvl1pPr>
            <a:lvl2pPr>
              <a:defRPr sz="2347">
                <a:solidFill>
                  <a:schemeClr val="tx1"/>
                </a:solidFill>
              </a:defRPr>
            </a:lvl2pPr>
          </a:lstStyle>
          <a:p>
            <a:pPr lvl="0"/>
            <a:r>
              <a:rPr lang="en-US"/>
              <a:t>Level 1 text is gray 18 pt, hit return then Tab to get to level 2 – 16 pt gray</a:t>
            </a:r>
          </a:p>
          <a:p>
            <a:pPr lvl="1"/>
            <a:r>
              <a:rPr lang="en-US"/>
              <a:t>Second level</a:t>
            </a:r>
          </a:p>
        </p:txBody>
      </p:sp>
      <p:sp>
        <p:nvSpPr>
          <p:cNvPr id="26" name="Text Placeholder 8"/>
          <p:cNvSpPr>
            <a:spLocks noGrp="1"/>
          </p:cNvSpPr>
          <p:nvPr>
            <p:ph type="body" sz="quarter" idx="20" hasCustomPrompt="1"/>
          </p:nvPr>
        </p:nvSpPr>
        <p:spPr>
          <a:xfrm>
            <a:off x="726440" y="6782103"/>
            <a:ext cx="10896601" cy="1877568"/>
          </a:xfrm>
          <a:solidFill>
            <a:schemeClr val="accent5">
              <a:lumMod val="40000"/>
              <a:lumOff val="60000"/>
            </a:schemeClr>
          </a:solidFill>
        </p:spPr>
        <p:txBody>
          <a:bodyPr lIns="91440" tIns="91440"/>
          <a:lstStyle>
            <a:lvl1pPr>
              <a:defRPr sz="2640">
                <a:solidFill>
                  <a:schemeClr val="tx1"/>
                </a:solidFill>
              </a:defRPr>
            </a:lvl1pPr>
            <a:lvl2pPr>
              <a:defRPr sz="2347">
                <a:solidFill>
                  <a:schemeClr val="tx1"/>
                </a:solidFill>
              </a:defRPr>
            </a:lvl2pPr>
          </a:lstStyle>
          <a:p>
            <a:pPr lvl="0"/>
            <a:r>
              <a:rPr lang="en-US"/>
              <a:t>Level 1 text is gray 18 pt, hit return then Tab to get to level 2 – 16 pt gray</a:t>
            </a:r>
          </a:p>
          <a:p>
            <a:pPr lvl="1"/>
            <a:r>
              <a:rPr lang="en-US"/>
              <a:t>Second level</a:t>
            </a:r>
          </a:p>
        </p:txBody>
      </p:sp>
      <p:sp>
        <p:nvSpPr>
          <p:cNvPr id="11" name="Picture Placeholder 7">
            <a:extLst>
              <a:ext uri="{FF2B5EF4-FFF2-40B4-BE49-F238E27FC236}">
                <a16:creationId xmlns:a16="http://schemas.microsoft.com/office/drawing/2014/main" id="{197EC4EA-E5E8-44D0-9F07-91A93F17A783}"/>
              </a:ext>
            </a:extLst>
          </p:cNvPr>
          <p:cNvSpPr>
            <a:spLocks noGrp="1"/>
          </p:cNvSpPr>
          <p:nvPr>
            <p:ph type="pic" sz="quarter" idx="21" hasCustomPrompt="1"/>
          </p:nvPr>
        </p:nvSpPr>
        <p:spPr>
          <a:xfrm>
            <a:off x="11751099" y="2731136"/>
            <a:ext cx="5567044" cy="5927937"/>
          </a:xfrm>
          <a:blipFill>
            <a:blip r:embed="rId2" cstate="screen">
              <a:extLst>
                <a:ext uri="{28A0092B-C50C-407E-A947-70E740481C1C}">
                  <a14:useLocalDpi xmlns:a14="http://schemas.microsoft.com/office/drawing/2010/main"/>
                </a:ext>
              </a:extLst>
            </a:blip>
            <a:stretch>
              <a:fillRect r="636"/>
            </a:stretch>
          </a:blipFill>
        </p:spPr>
        <p:txBody>
          <a:bodyPr tIns="457200"/>
          <a:lstStyle>
            <a:lvl1pPr algn="ctr">
              <a:defRPr>
                <a:solidFill>
                  <a:schemeClr val="accent2"/>
                </a:solidFill>
              </a:defRPr>
            </a:lvl1pPr>
          </a:lstStyle>
          <a:p>
            <a:r>
              <a:rPr lang="en-US"/>
              <a:t> </a:t>
            </a:r>
          </a:p>
        </p:txBody>
      </p:sp>
    </p:spTree>
    <p:extLst>
      <p:ext uri="{BB962C8B-B14F-4D97-AF65-F5344CB8AC3E}">
        <p14:creationId xmlns:p14="http://schemas.microsoft.com/office/powerpoint/2010/main" val="2642409107"/>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4 Row Photo">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a:t>4 row w/photo | Type insightful headline in sentence case | 1 line</a:t>
            </a:r>
          </a:p>
        </p:txBody>
      </p:sp>
      <p:sp>
        <p:nvSpPr>
          <p:cNvPr id="3" name="Date Placeholder 2"/>
          <p:cNvSpPr>
            <a:spLocks noGrp="1"/>
          </p:cNvSpPr>
          <p:nvPr>
            <p:ph type="dt" sz="half" idx="10"/>
          </p:nvPr>
        </p:nvSpPr>
        <p:spPr/>
        <p:txBody>
          <a:bodyPr/>
          <a:lstStyle/>
          <a:p>
            <a:fld id="{33459302-CCAA-534E-8783-C6B48FB3FB03}" type="datetime1">
              <a:rPr lang="en-US" smtClean="0"/>
              <a:t>4/21/21</a:t>
            </a:fld>
            <a:endParaRPr lang="en-US"/>
          </a:p>
        </p:txBody>
      </p:sp>
      <p:sp>
        <p:nvSpPr>
          <p:cNvPr id="4" name="Footer Placeholder 3"/>
          <p:cNvSpPr>
            <a:spLocks noGrp="1"/>
          </p:cNvSpPr>
          <p:nvPr>
            <p:ph type="ftr" sz="quarter" idx="11"/>
          </p:nvPr>
        </p:nvSpPr>
        <p:spPr>
          <a:xfrm>
            <a:off x="7767321" y="9514241"/>
            <a:ext cx="8689339" cy="535517"/>
          </a:xfrm>
          <a:prstGeom prst="rect">
            <a:avLst/>
          </a:prstGeom>
        </p:spPr>
        <p:txBody>
          <a:bodyPr/>
          <a:lstStyle/>
          <a:p>
            <a:r>
              <a:rPr lang="en-US"/>
              <a:t>Confidential property of Optum. Do not distribute or reproduce without express permission from Optum.</a:t>
            </a:r>
          </a:p>
        </p:txBody>
      </p:sp>
      <p:sp>
        <p:nvSpPr>
          <p:cNvPr id="5" name="Slide Number Placeholder 4"/>
          <p:cNvSpPr>
            <a:spLocks noGrp="1"/>
          </p:cNvSpPr>
          <p:nvPr>
            <p:ph type="sldNum" sz="quarter" idx="12"/>
          </p:nvPr>
        </p:nvSpPr>
        <p:spPr/>
        <p:txBody>
          <a:bodyPr/>
          <a:lstStyle/>
          <a:p>
            <a:fld id="{3310D8EA-3107-4873-B9AB-DD7D3E79053A}" type="slidenum">
              <a:rPr lang="en-US" smtClean="0"/>
              <a:t>‹#›</a:t>
            </a:fld>
            <a:endParaRPr lang="en-US"/>
          </a:p>
        </p:txBody>
      </p:sp>
      <p:sp>
        <p:nvSpPr>
          <p:cNvPr id="6" name="Text Placeholder 7"/>
          <p:cNvSpPr>
            <a:spLocks noGrp="1"/>
          </p:cNvSpPr>
          <p:nvPr>
            <p:ph type="body" sz="quarter" idx="13" hasCustomPrompt="1"/>
          </p:nvPr>
        </p:nvSpPr>
        <p:spPr>
          <a:xfrm>
            <a:off x="726440" y="1640148"/>
            <a:ext cx="16596360" cy="721783"/>
          </a:xfrm>
        </p:spPr>
        <p:txBody>
          <a:bodyPr/>
          <a:lstStyle>
            <a:lvl1pPr>
              <a:defRPr sz="3813">
                <a:solidFill>
                  <a:schemeClr val="accent4"/>
                </a:solidFill>
              </a:defRPr>
            </a:lvl1pPr>
          </a:lstStyle>
          <a:p>
            <a:pPr lvl="0"/>
            <a:r>
              <a:rPr lang="en-US"/>
              <a:t>Use this space for one line subhead if needed | One line</a:t>
            </a:r>
          </a:p>
        </p:txBody>
      </p:sp>
      <p:sp>
        <p:nvSpPr>
          <p:cNvPr id="9" name="Text Placeholder 8"/>
          <p:cNvSpPr>
            <a:spLocks noGrp="1"/>
          </p:cNvSpPr>
          <p:nvPr>
            <p:ph type="body" sz="quarter" idx="18" hasCustomPrompt="1"/>
          </p:nvPr>
        </p:nvSpPr>
        <p:spPr>
          <a:xfrm>
            <a:off x="726440" y="2730137"/>
            <a:ext cx="10896600" cy="1408176"/>
          </a:xfrm>
          <a:solidFill>
            <a:schemeClr val="accent5">
              <a:lumMod val="40000"/>
              <a:lumOff val="60000"/>
            </a:schemeClr>
          </a:solidFill>
        </p:spPr>
        <p:txBody>
          <a:bodyPr lIns="91440" tIns="91440"/>
          <a:lstStyle>
            <a:lvl1pPr>
              <a:defRPr sz="2640">
                <a:solidFill>
                  <a:schemeClr val="tx1"/>
                </a:solidFill>
              </a:defRPr>
            </a:lvl1pPr>
            <a:lvl2pPr>
              <a:defRPr sz="2347">
                <a:solidFill>
                  <a:schemeClr val="tx1"/>
                </a:solidFill>
              </a:defRPr>
            </a:lvl2pPr>
          </a:lstStyle>
          <a:p>
            <a:pPr lvl="0"/>
            <a:r>
              <a:rPr lang="en-US"/>
              <a:t>Level 1 text is gray 18 pt, hit return then Tab to get to level 2 – 16 pt gray</a:t>
            </a:r>
          </a:p>
          <a:p>
            <a:pPr lvl="1"/>
            <a:r>
              <a:rPr lang="en-US"/>
              <a:t>Second level</a:t>
            </a:r>
          </a:p>
        </p:txBody>
      </p:sp>
      <p:sp>
        <p:nvSpPr>
          <p:cNvPr id="25" name="Text Placeholder 8"/>
          <p:cNvSpPr>
            <a:spLocks noGrp="1"/>
          </p:cNvSpPr>
          <p:nvPr>
            <p:ph type="body" sz="quarter" idx="19" hasCustomPrompt="1"/>
          </p:nvPr>
        </p:nvSpPr>
        <p:spPr>
          <a:xfrm>
            <a:off x="726440" y="4237832"/>
            <a:ext cx="10896600" cy="1408176"/>
          </a:xfrm>
          <a:solidFill>
            <a:schemeClr val="accent5">
              <a:lumMod val="40000"/>
              <a:lumOff val="60000"/>
            </a:schemeClr>
          </a:solidFill>
        </p:spPr>
        <p:txBody>
          <a:bodyPr lIns="91440" tIns="91440"/>
          <a:lstStyle>
            <a:lvl1pPr>
              <a:defRPr sz="2640">
                <a:solidFill>
                  <a:schemeClr val="tx1"/>
                </a:solidFill>
              </a:defRPr>
            </a:lvl1pPr>
            <a:lvl2pPr>
              <a:defRPr sz="2347">
                <a:solidFill>
                  <a:schemeClr val="tx1"/>
                </a:solidFill>
              </a:defRPr>
            </a:lvl2pPr>
          </a:lstStyle>
          <a:p>
            <a:pPr lvl="0"/>
            <a:r>
              <a:rPr lang="en-US"/>
              <a:t>Level 1 text is gray 18 pt, hit return then Tab to get to level 2 – 16 pt gray</a:t>
            </a:r>
          </a:p>
          <a:p>
            <a:pPr lvl="1"/>
            <a:r>
              <a:rPr lang="en-US"/>
              <a:t>Second level</a:t>
            </a:r>
          </a:p>
        </p:txBody>
      </p:sp>
      <p:sp>
        <p:nvSpPr>
          <p:cNvPr id="26" name="Text Placeholder 8"/>
          <p:cNvSpPr>
            <a:spLocks noGrp="1"/>
          </p:cNvSpPr>
          <p:nvPr>
            <p:ph type="body" sz="quarter" idx="20" hasCustomPrompt="1"/>
          </p:nvPr>
        </p:nvSpPr>
        <p:spPr>
          <a:xfrm>
            <a:off x="726440" y="5745527"/>
            <a:ext cx="10896600" cy="1408176"/>
          </a:xfrm>
          <a:solidFill>
            <a:schemeClr val="accent5">
              <a:lumMod val="40000"/>
              <a:lumOff val="60000"/>
            </a:schemeClr>
          </a:solidFill>
        </p:spPr>
        <p:txBody>
          <a:bodyPr lIns="91440" tIns="91440"/>
          <a:lstStyle>
            <a:lvl1pPr>
              <a:defRPr sz="2640">
                <a:solidFill>
                  <a:schemeClr val="tx1"/>
                </a:solidFill>
              </a:defRPr>
            </a:lvl1pPr>
            <a:lvl2pPr>
              <a:defRPr sz="2347">
                <a:solidFill>
                  <a:schemeClr val="tx1"/>
                </a:solidFill>
              </a:defRPr>
            </a:lvl2pPr>
          </a:lstStyle>
          <a:p>
            <a:pPr lvl="0"/>
            <a:r>
              <a:rPr lang="en-US"/>
              <a:t>Level 1 text is gray 18 pt, hit return then Tab to get to level 2 – 16 pt gray</a:t>
            </a:r>
          </a:p>
          <a:p>
            <a:pPr lvl="1"/>
            <a:r>
              <a:rPr lang="en-US"/>
              <a:t>Second level</a:t>
            </a:r>
          </a:p>
        </p:txBody>
      </p:sp>
      <p:sp>
        <p:nvSpPr>
          <p:cNvPr id="11" name="Text Placeholder 8"/>
          <p:cNvSpPr>
            <a:spLocks noGrp="1"/>
          </p:cNvSpPr>
          <p:nvPr>
            <p:ph type="body" sz="quarter" idx="22" hasCustomPrompt="1"/>
          </p:nvPr>
        </p:nvSpPr>
        <p:spPr>
          <a:xfrm>
            <a:off x="726440" y="7253224"/>
            <a:ext cx="10896600" cy="1408176"/>
          </a:xfrm>
          <a:solidFill>
            <a:schemeClr val="accent5">
              <a:lumMod val="40000"/>
              <a:lumOff val="60000"/>
            </a:schemeClr>
          </a:solidFill>
        </p:spPr>
        <p:txBody>
          <a:bodyPr lIns="91440" tIns="91440"/>
          <a:lstStyle>
            <a:lvl1pPr>
              <a:defRPr sz="2640">
                <a:solidFill>
                  <a:schemeClr val="tx1"/>
                </a:solidFill>
              </a:defRPr>
            </a:lvl1pPr>
            <a:lvl2pPr>
              <a:defRPr sz="2347">
                <a:solidFill>
                  <a:schemeClr val="tx1"/>
                </a:solidFill>
              </a:defRPr>
            </a:lvl2pPr>
          </a:lstStyle>
          <a:p>
            <a:pPr lvl="0"/>
            <a:r>
              <a:rPr lang="en-US"/>
              <a:t>Level 1 text is gray 18 pt, hit return then Tab to get to level 2 – 16 pt gray</a:t>
            </a:r>
          </a:p>
          <a:p>
            <a:pPr lvl="1"/>
            <a:r>
              <a:rPr lang="en-US"/>
              <a:t>Second level</a:t>
            </a:r>
          </a:p>
        </p:txBody>
      </p:sp>
      <p:sp>
        <p:nvSpPr>
          <p:cNvPr id="12" name="Picture Placeholder 7">
            <a:extLst>
              <a:ext uri="{FF2B5EF4-FFF2-40B4-BE49-F238E27FC236}">
                <a16:creationId xmlns:a16="http://schemas.microsoft.com/office/drawing/2014/main" id="{9FCAFCC1-B988-40D7-A97B-9C6A91DB0F19}"/>
              </a:ext>
            </a:extLst>
          </p:cNvPr>
          <p:cNvSpPr>
            <a:spLocks noGrp="1"/>
          </p:cNvSpPr>
          <p:nvPr>
            <p:ph type="pic" sz="quarter" idx="21" hasCustomPrompt="1"/>
          </p:nvPr>
        </p:nvSpPr>
        <p:spPr>
          <a:xfrm>
            <a:off x="11751099" y="2731136"/>
            <a:ext cx="5567044" cy="5927937"/>
          </a:xfrm>
          <a:blipFill>
            <a:blip r:embed="rId2" cstate="screen">
              <a:extLst>
                <a:ext uri="{28A0092B-C50C-407E-A947-70E740481C1C}">
                  <a14:useLocalDpi xmlns:a14="http://schemas.microsoft.com/office/drawing/2010/main"/>
                </a:ext>
              </a:extLst>
            </a:blip>
            <a:stretch>
              <a:fillRect r="636"/>
            </a:stretch>
          </a:blipFill>
        </p:spPr>
        <p:txBody>
          <a:bodyPr tIns="457200"/>
          <a:lstStyle>
            <a:lvl1pPr algn="ctr">
              <a:defRPr>
                <a:solidFill>
                  <a:schemeClr val="accent2"/>
                </a:solidFill>
              </a:defRPr>
            </a:lvl1pPr>
          </a:lstStyle>
          <a:p>
            <a:r>
              <a:rPr lang="en-US"/>
              <a:t> </a:t>
            </a:r>
          </a:p>
        </p:txBody>
      </p:sp>
    </p:spTree>
    <p:extLst>
      <p:ext uri="{BB962C8B-B14F-4D97-AF65-F5344CB8AC3E}">
        <p14:creationId xmlns:p14="http://schemas.microsoft.com/office/powerpoint/2010/main" val="1854784598"/>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5 Row Photo">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a:t>5 row w/photo | Type insightful headline in sentence case | 1 line</a:t>
            </a:r>
          </a:p>
        </p:txBody>
      </p:sp>
      <p:sp>
        <p:nvSpPr>
          <p:cNvPr id="3" name="Date Placeholder 2"/>
          <p:cNvSpPr>
            <a:spLocks noGrp="1"/>
          </p:cNvSpPr>
          <p:nvPr>
            <p:ph type="dt" sz="half" idx="10"/>
          </p:nvPr>
        </p:nvSpPr>
        <p:spPr/>
        <p:txBody>
          <a:bodyPr/>
          <a:lstStyle/>
          <a:p>
            <a:fld id="{8CE7CD94-6250-9C42-B0DE-1F79F6C18443}" type="datetime1">
              <a:rPr lang="en-US" smtClean="0"/>
              <a:t>4/21/21</a:t>
            </a:fld>
            <a:endParaRPr lang="en-US"/>
          </a:p>
        </p:txBody>
      </p:sp>
      <p:sp>
        <p:nvSpPr>
          <p:cNvPr id="4" name="Footer Placeholder 3"/>
          <p:cNvSpPr>
            <a:spLocks noGrp="1"/>
          </p:cNvSpPr>
          <p:nvPr>
            <p:ph type="ftr" sz="quarter" idx="11"/>
          </p:nvPr>
        </p:nvSpPr>
        <p:spPr>
          <a:xfrm>
            <a:off x="7767321" y="9514241"/>
            <a:ext cx="8689339" cy="535517"/>
          </a:xfrm>
          <a:prstGeom prst="rect">
            <a:avLst/>
          </a:prstGeom>
        </p:spPr>
        <p:txBody>
          <a:bodyPr/>
          <a:lstStyle/>
          <a:p>
            <a:r>
              <a:rPr lang="en-US"/>
              <a:t>Confidential property of Optum. Do not distribute or reproduce without express permission from Optum.</a:t>
            </a:r>
          </a:p>
        </p:txBody>
      </p:sp>
      <p:sp>
        <p:nvSpPr>
          <p:cNvPr id="5" name="Slide Number Placeholder 4"/>
          <p:cNvSpPr>
            <a:spLocks noGrp="1"/>
          </p:cNvSpPr>
          <p:nvPr>
            <p:ph type="sldNum" sz="quarter" idx="12"/>
          </p:nvPr>
        </p:nvSpPr>
        <p:spPr/>
        <p:txBody>
          <a:bodyPr/>
          <a:lstStyle/>
          <a:p>
            <a:fld id="{3310D8EA-3107-4873-B9AB-DD7D3E79053A}" type="slidenum">
              <a:rPr lang="en-US" smtClean="0"/>
              <a:t>‹#›</a:t>
            </a:fld>
            <a:endParaRPr lang="en-US"/>
          </a:p>
        </p:txBody>
      </p:sp>
      <p:sp>
        <p:nvSpPr>
          <p:cNvPr id="6" name="Text Placeholder 7"/>
          <p:cNvSpPr>
            <a:spLocks noGrp="1"/>
          </p:cNvSpPr>
          <p:nvPr>
            <p:ph type="body" sz="quarter" idx="13" hasCustomPrompt="1"/>
          </p:nvPr>
        </p:nvSpPr>
        <p:spPr>
          <a:xfrm>
            <a:off x="726440" y="1640148"/>
            <a:ext cx="16596360" cy="721783"/>
          </a:xfrm>
        </p:spPr>
        <p:txBody>
          <a:bodyPr/>
          <a:lstStyle>
            <a:lvl1pPr>
              <a:defRPr sz="3813">
                <a:solidFill>
                  <a:schemeClr val="accent4"/>
                </a:solidFill>
              </a:defRPr>
            </a:lvl1pPr>
          </a:lstStyle>
          <a:p>
            <a:pPr lvl="0"/>
            <a:r>
              <a:rPr lang="en-US"/>
              <a:t>Use this space for one line subhead if needed | One line</a:t>
            </a:r>
          </a:p>
        </p:txBody>
      </p:sp>
      <p:sp>
        <p:nvSpPr>
          <p:cNvPr id="9" name="Text Placeholder 8"/>
          <p:cNvSpPr>
            <a:spLocks noGrp="1"/>
          </p:cNvSpPr>
          <p:nvPr>
            <p:ph type="body" sz="quarter" idx="18" hasCustomPrompt="1"/>
          </p:nvPr>
        </p:nvSpPr>
        <p:spPr>
          <a:xfrm>
            <a:off x="726440" y="2730138"/>
            <a:ext cx="10896600" cy="1073959"/>
          </a:xfrm>
          <a:solidFill>
            <a:schemeClr val="accent5">
              <a:lumMod val="40000"/>
              <a:lumOff val="60000"/>
            </a:schemeClr>
          </a:solidFill>
        </p:spPr>
        <p:txBody>
          <a:bodyPr lIns="91440" tIns="91440"/>
          <a:lstStyle>
            <a:lvl1pPr>
              <a:defRPr sz="2640">
                <a:solidFill>
                  <a:schemeClr val="tx1"/>
                </a:solidFill>
              </a:defRPr>
            </a:lvl1pPr>
            <a:lvl2pPr>
              <a:defRPr sz="2347">
                <a:solidFill>
                  <a:schemeClr val="tx1"/>
                </a:solidFill>
              </a:defRPr>
            </a:lvl2pPr>
          </a:lstStyle>
          <a:p>
            <a:pPr lvl="0"/>
            <a:r>
              <a:rPr lang="en-US"/>
              <a:t>Level 1 text is gray 18 pt, hit return then Tab to get to level 2 – 16 pt gray</a:t>
            </a:r>
          </a:p>
          <a:p>
            <a:pPr lvl="1"/>
            <a:r>
              <a:rPr lang="en-US"/>
              <a:t>Second level</a:t>
            </a:r>
          </a:p>
        </p:txBody>
      </p:sp>
      <p:sp>
        <p:nvSpPr>
          <p:cNvPr id="25" name="Text Placeholder 8"/>
          <p:cNvSpPr>
            <a:spLocks noGrp="1"/>
          </p:cNvSpPr>
          <p:nvPr>
            <p:ph type="body" sz="quarter" idx="19" hasCustomPrompt="1"/>
          </p:nvPr>
        </p:nvSpPr>
        <p:spPr>
          <a:xfrm>
            <a:off x="726440" y="3954441"/>
            <a:ext cx="10896600" cy="1073959"/>
          </a:xfrm>
          <a:solidFill>
            <a:schemeClr val="accent5">
              <a:lumMod val="40000"/>
              <a:lumOff val="60000"/>
            </a:schemeClr>
          </a:solidFill>
        </p:spPr>
        <p:txBody>
          <a:bodyPr lIns="91440" tIns="91440"/>
          <a:lstStyle>
            <a:lvl1pPr>
              <a:defRPr sz="2640">
                <a:solidFill>
                  <a:schemeClr val="tx1"/>
                </a:solidFill>
              </a:defRPr>
            </a:lvl1pPr>
            <a:lvl2pPr>
              <a:defRPr sz="2347">
                <a:solidFill>
                  <a:schemeClr val="tx1"/>
                </a:solidFill>
              </a:defRPr>
            </a:lvl2pPr>
          </a:lstStyle>
          <a:p>
            <a:pPr lvl="0"/>
            <a:r>
              <a:rPr lang="en-US"/>
              <a:t>Level 1 text is gray 18 pt, hit return then Tab to get to level 2 – 16 pt gray</a:t>
            </a:r>
          </a:p>
          <a:p>
            <a:pPr lvl="1"/>
            <a:r>
              <a:rPr lang="en-US"/>
              <a:t>Second level</a:t>
            </a:r>
          </a:p>
        </p:txBody>
      </p:sp>
      <p:sp>
        <p:nvSpPr>
          <p:cNvPr id="26" name="Text Placeholder 8"/>
          <p:cNvSpPr>
            <a:spLocks noGrp="1"/>
          </p:cNvSpPr>
          <p:nvPr>
            <p:ph type="body" sz="quarter" idx="20" hasCustomPrompt="1"/>
          </p:nvPr>
        </p:nvSpPr>
        <p:spPr>
          <a:xfrm>
            <a:off x="726440" y="5178744"/>
            <a:ext cx="10896600" cy="1073959"/>
          </a:xfrm>
          <a:solidFill>
            <a:schemeClr val="accent5">
              <a:lumMod val="40000"/>
              <a:lumOff val="60000"/>
            </a:schemeClr>
          </a:solidFill>
        </p:spPr>
        <p:txBody>
          <a:bodyPr lIns="91440" tIns="91440"/>
          <a:lstStyle>
            <a:lvl1pPr>
              <a:defRPr sz="2640">
                <a:solidFill>
                  <a:schemeClr val="tx1"/>
                </a:solidFill>
              </a:defRPr>
            </a:lvl1pPr>
            <a:lvl2pPr>
              <a:defRPr sz="2347">
                <a:solidFill>
                  <a:schemeClr val="tx1"/>
                </a:solidFill>
              </a:defRPr>
            </a:lvl2pPr>
          </a:lstStyle>
          <a:p>
            <a:pPr lvl="0"/>
            <a:r>
              <a:rPr lang="en-US"/>
              <a:t>Level 1 text is gray 18 pt, hit return then Tab to get to level 2 – 16 pt gray</a:t>
            </a:r>
          </a:p>
          <a:p>
            <a:pPr lvl="1"/>
            <a:r>
              <a:rPr lang="en-US"/>
              <a:t>Second level</a:t>
            </a:r>
          </a:p>
        </p:txBody>
      </p:sp>
      <p:sp>
        <p:nvSpPr>
          <p:cNvPr id="11" name="Text Placeholder 8"/>
          <p:cNvSpPr>
            <a:spLocks noGrp="1"/>
          </p:cNvSpPr>
          <p:nvPr>
            <p:ph type="body" sz="quarter" idx="22" hasCustomPrompt="1"/>
          </p:nvPr>
        </p:nvSpPr>
        <p:spPr>
          <a:xfrm>
            <a:off x="726440" y="6403047"/>
            <a:ext cx="10896600" cy="1073959"/>
          </a:xfrm>
          <a:solidFill>
            <a:schemeClr val="accent5">
              <a:lumMod val="40000"/>
              <a:lumOff val="60000"/>
            </a:schemeClr>
          </a:solidFill>
        </p:spPr>
        <p:txBody>
          <a:bodyPr lIns="91440" tIns="91440"/>
          <a:lstStyle>
            <a:lvl1pPr>
              <a:defRPr sz="2640">
                <a:solidFill>
                  <a:schemeClr val="tx1"/>
                </a:solidFill>
              </a:defRPr>
            </a:lvl1pPr>
            <a:lvl2pPr>
              <a:defRPr sz="2347">
                <a:solidFill>
                  <a:schemeClr val="tx1"/>
                </a:solidFill>
              </a:defRPr>
            </a:lvl2pPr>
          </a:lstStyle>
          <a:p>
            <a:pPr lvl="0"/>
            <a:r>
              <a:rPr lang="en-US"/>
              <a:t>Level 1 text is gray 18 pt, hit return then Tab to get to level 2 – 16 pt gray</a:t>
            </a:r>
          </a:p>
          <a:p>
            <a:pPr lvl="1"/>
            <a:r>
              <a:rPr lang="en-US"/>
              <a:t>Second level</a:t>
            </a:r>
          </a:p>
        </p:txBody>
      </p:sp>
      <p:sp>
        <p:nvSpPr>
          <p:cNvPr id="13" name="Text Placeholder 8"/>
          <p:cNvSpPr>
            <a:spLocks noGrp="1"/>
          </p:cNvSpPr>
          <p:nvPr>
            <p:ph type="body" sz="quarter" idx="23" hasCustomPrompt="1"/>
          </p:nvPr>
        </p:nvSpPr>
        <p:spPr>
          <a:xfrm>
            <a:off x="726440" y="7627352"/>
            <a:ext cx="10896600" cy="1073959"/>
          </a:xfrm>
          <a:solidFill>
            <a:schemeClr val="accent5">
              <a:lumMod val="40000"/>
              <a:lumOff val="60000"/>
            </a:schemeClr>
          </a:solidFill>
        </p:spPr>
        <p:txBody>
          <a:bodyPr lIns="91440" tIns="91440"/>
          <a:lstStyle>
            <a:lvl1pPr>
              <a:defRPr sz="2640">
                <a:solidFill>
                  <a:schemeClr val="tx1"/>
                </a:solidFill>
              </a:defRPr>
            </a:lvl1pPr>
            <a:lvl2pPr>
              <a:defRPr sz="2347">
                <a:solidFill>
                  <a:schemeClr val="tx1"/>
                </a:solidFill>
              </a:defRPr>
            </a:lvl2pPr>
          </a:lstStyle>
          <a:p>
            <a:pPr lvl="0"/>
            <a:r>
              <a:rPr lang="en-US"/>
              <a:t>Level 1 text is gray 18 pt, hit return then Tab to get to level 2 – 16 pt gray</a:t>
            </a:r>
          </a:p>
          <a:p>
            <a:pPr lvl="1"/>
            <a:r>
              <a:rPr lang="en-US"/>
              <a:t>Second level</a:t>
            </a:r>
          </a:p>
        </p:txBody>
      </p:sp>
      <p:sp>
        <p:nvSpPr>
          <p:cNvPr id="15" name="Picture Placeholder 7">
            <a:extLst>
              <a:ext uri="{FF2B5EF4-FFF2-40B4-BE49-F238E27FC236}">
                <a16:creationId xmlns:a16="http://schemas.microsoft.com/office/drawing/2014/main" id="{C54D5A4F-E02F-439F-9BD1-83F4D6C5E4B2}"/>
              </a:ext>
            </a:extLst>
          </p:cNvPr>
          <p:cNvSpPr>
            <a:spLocks noGrp="1"/>
          </p:cNvSpPr>
          <p:nvPr>
            <p:ph type="pic" sz="quarter" idx="21" hasCustomPrompt="1"/>
          </p:nvPr>
        </p:nvSpPr>
        <p:spPr>
          <a:xfrm>
            <a:off x="11751099" y="2731136"/>
            <a:ext cx="5567044" cy="5927937"/>
          </a:xfrm>
          <a:blipFill>
            <a:blip r:embed="rId2" cstate="screen">
              <a:extLst>
                <a:ext uri="{28A0092B-C50C-407E-A947-70E740481C1C}">
                  <a14:useLocalDpi xmlns:a14="http://schemas.microsoft.com/office/drawing/2010/main"/>
                </a:ext>
              </a:extLst>
            </a:blip>
            <a:stretch>
              <a:fillRect r="636"/>
            </a:stretch>
          </a:blipFill>
        </p:spPr>
        <p:txBody>
          <a:bodyPr tIns="457200"/>
          <a:lstStyle>
            <a:lvl1pPr algn="ctr">
              <a:defRPr>
                <a:solidFill>
                  <a:schemeClr val="accent2"/>
                </a:solidFill>
              </a:defRPr>
            </a:lvl1pPr>
          </a:lstStyle>
          <a:p>
            <a:r>
              <a:rPr lang="en-US"/>
              <a:t> </a:t>
            </a:r>
          </a:p>
        </p:txBody>
      </p:sp>
    </p:spTree>
    <p:extLst>
      <p:ext uri="{BB962C8B-B14F-4D97-AF65-F5344CB8AC3E}">
        <p14:creationId xmlns:p14="http://schemas.microsoft.com/office/powerpoint/2010/main" val="1782598988"/>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bwMode="gray"/>
        <p:txBody>
          <a:bodyPr/>
          <a:lstStyle/>
          <a:p>
            <a:fld id="{FCD8810C-D46D-A245-A371-215590C4D444}" type="datetime1">
              <a:rPr lang="en-US" smtClean="0"/>
              <a:t>4/21/21</a:t>
            </a:fld>
            <a:endParaRPr lang="en-US"/>
          </a:p>
        </p:txBody>
      </p:sp>
      <p:sp>
        <p:nvSpPr>
          <p:cNvPr id="3" name="Footer Placeholder 2"/>
          <p:cNvSpPr>
            <a:spLocks noGrp="1"/>
          </p:cNvSpPr>
          <p:nvPr>
            <p:ph type="ftr" sz="quarter" idx="11"/>
          </p:nvPr>
        </p:nvSpPr>
        <p:spPr bwMode="gray">
          <a:xfrm>
            <a:off x="7767321" y="9514241"/>
            <a:ext cx="8689339" cy="535517"/>
          </a:xfrm>
          <a:prstGeom prst="rect">
            <a:avLst/>
          </a:prstGeom>
        </p:spPr>
        <p:txBody>
          <a:bodyPr/>
          <a:lstStyle/>
          <a:p>
            <a:r>
              <a:rPr lang="en-US"/>
              <a:t>Confidential property of Optum. Do not distribute or reproduce without express permission from Optum.</a:t>
            </a:r>
          </a:p>
        </p:txBody>
      </p:sp>
      <p:sp>
        <p:nvSpPr>
          <p:cNvPr id="4" name="Slide Number Placeholder 3"/>
          <p:cNvSpPr>
            <a:spLocks noGrp="1"/>
          </p:cNvSpPr>
          <p:nvPr>
            <p:ph type="sldNum" sz="quarter" idx="12"/>
          </p:nvPr>
        </p:nvSpPr>
        <p:spPr bwMode="gray"/>
        <p:txBody>
          <a:bodyPr/>
          <a:lstStyle/>
          <a:p>
            <a:fld id="{3310D8EA-3107-4873-B9AB-DD7D3E79053A}" type="slidenum">
              <a:rPr lang="en-US" smtClean="0"/>
              <a:t>‹#›</a:t>
            </a:fld>
            <a:endParaRPr lang="en-US"/>
          </a:p>
        </p:txBody>
      </p:sp>
      <p:sp>
        <p:nvSpPr>
          <p:cNvPr id="7" name="Text Placeholder 6"/>
          <p:cNvSpPr>
            <a:spLocks noGrp="1"/>
          </p:cNvSpPr>
          <p:nvPr>
            <p:ph type="body" sz="quarter" idx="13" hasCustomPrompt="1"/>
          </p:nvPr>
        </p:nvSpPr>
        <p:spPr bwMode="gray">
          <a:xfrm>
            <a:off x="6619452" y="4364295"/>
            <a:ext cx="4642697" cy="893747"/>
          </a:xfrm>
        </p:spPr>
        <p:txBody>
          <a:bodyPr anchor="ctr"/>
          <a:lstStyle>
            <a:lvl1pPr algn="ctr">
              <a:defRPr>
                <a:solidFill>
                  <a:schemeClr val="accent4"/>
                </a:solidFill>
              </a:defRPr>
            </a:lvl1pPr>
          </a:lstStyle>
          <a:p>
            <a:pPr lvl="0"/>
            <a:r>
              <a:rPr lang="en-US"/>
              <a:t>[blank]</a:t>
            </a:r>
          </a:p>
        </p:txBody>
      </p:sp>
      <p:pic>
        <p:nvPicPr>
          <p:cNvPr id="9" name="Picture 8">
            <a:extLst>
              <a:ext uri="{FF2B5EF4-FFF2-40B4-BE49-F238E27FC236}">
                <a16:creationId xmlns:a16="http://schemas.microsoft.com/office/drawing/2014/main" id="{7CA2E36E-0880-4ED1-941C-15199A0FA8E6}"/>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575833" y="9186271"/>
            <a:ext cx="2091110" cy="651982"/>
          </a:xfrm>
          <a:prstGeom prst="rect">
            <a:avLst/>
          </a:prstGeom>
        </p:spPr>
      </p:pic>
    </p:spTree>
    <p:extLst>
      <p:ext uri="{BB962C8B-B14F-4D97-AF65-F5344CB8AC3E}">
        <p14:creationId xmlns:p14="http://schemas.microsoft.com/office/powerpoint/2010/main" val="3734546088"/>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type="secHead" preserve="1">
  <p:cSld name="Title or Section Header - Orange">
    <p:spTree>
      <p:nvGrpSpPr>
        <p:cNvPr id="1" name=""/>
        <p:cNvGrpSpPr/>
        <p:nvPr/>
      </p:nvGrpSpPr>
      <p:grpSpPr>
        <a:xfrm>
          <a:off x="0" y="0"/>
          <a:ext cx="0" cy="0"/>
          <a:chOff x="0" y="0"/>
          <a:chExt cx="0" cy="0"/>
        </a:xfrm>
      </p:grpSpPr>
      <p:sp>
        <p:nvSpPr>
          <p:cNvPr id="7" name="Rectangle 6"/>
          <p:cNvSpPr/>
          <p:nvPr/>
        </p:nvSpPr>
        <p:spPr bwMode="gray">
          <a:xfrm>
            <a:off x="11734800" y="0"/>
            <a:ext cx="6146800" cy="100584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62967" tIns="210373" rIns="262967" bIns="210373" numCol="1" spcCol="0" rtlCol="0" fromWordArt="0" anchor="t" anchorCtr="0" forceAA="0" compatLnSpc="1">
            <a:prstTxWarp prst="textNoShape">
              <a:avLst/>
            </a:prstTxWarp>
            <a:noAutofit/>
          </a:bodyPr>
          <a:lstStyle/>
          <a:p>
            <a:pPr algn="ctr" defTabSz="1340851" fontAlgn="base">
              <a:lnSpc>
                <a:spcPct val="90000"/>
              </a:lnSpc>
              <a:spcBef>
                <a:spcPct val="0"/>
              </a:spcBef>
              <a:spcAft>
                <a:spcPct val="0"/>
              </a:spcAft>
            </a:pPr>
            <a:endParaRPr lang="en-US" sz="3520">
              <a:gradFill>
                <a:gsLst>
                  <a:gs pos="0">
                    <a:srgbClr val="FFFFFF"/>
                  </a:gs>
                  <a:gs pos="100000">
                    <a:srgbClr val="FFFFFF"/>
                  </a:gs>
                </a:gsLst>
                <a:lin ang="5400000" scaled="0"/>
              </a:gradFill>
              <a:ea typeface="Segoe UI" pitchFamily="34" charset="0"/>
              <a:cs typeface="Arial" panose="020B0604020202020204" pitchFamily="34" charset="0"/>
            </a:endParaRPr>
          </a:p>
        </p:txBody>
      </p:sp>
      <p:sp>
        <p:nvSpPr>
          <p:cNvPr id="2" name="Title 1"/>
          <p:cNvSpPr>
            <a:spLocks noGrp="1"/>
          </p:cNvSpPr>
          <p:nvPr>
            <p:ph type="title" hasCustomPrompt="1"/>
          </p:nvPr>
        </p:nvSpPr>
        <p:spPr bwMode="gray">
          <a:xfrm>
            <a:off x="754380" y="2682241"/>
            <a:ext cx="10528057" cy="3122294"/>
          </a:xfrm>
        </p:spPr>
        <p:txBody>
          <a:bodyPr anchor="b"/>
          <a:lstStyle>
            <a:lvl1pPr>
              <a:defRPr sz="7040"/>
            </a:lvl1pPr>
          </a:lstStyle>
          <a:p>
            <a:r>
              <a:rPr lang="en-US"/>
              <a:t>Section title in sentence case </a:t>
            </a:r>
          </a:p>
        </p:txBody>
      </p:sp>
      <p:sp>
        <p:nvSpPr>
          <p:cNvPr id="3" name="Text Placeholder 2"/>
          <p:cNvSpPr>
            <a:spLocks noGrp="1"/>
          </p:cNvSpPr>
          <p:nvPr>
            <p:ph type="body" idx="1" hasCustomPrompt="1"/>
          </p:nvPr>
        </p:nvSpPr>
        <p:spPr bwMode="gray">
          <a:xfrm>
            <a:off x="754380" y="6045685"/>
            <a:ext cx="10528057" cy="2615716"/>
          </a:xfrm>
        </p:spPr>
        <p:txBody>
          <a:bodyPr/>
          <a:lstStyle>
            <a:lvl1pPr marL="0" indent="0">
              <a:buNone/>
              <a:defRPr sz="4107">
                <a:solidFill>
                  <a:schemeClr val="tx1"/>
                </a:solidFill>
              </a:defRPr>
            </a:lvl1pPr>
            <a:lvl2pPr marL="670575" indent="0">
              <a:buNone/>
              <a:defRPr sz="2933">
                <a:solidFill>
                  <a:schemeClr val="tx1">
                    <a:tint val="75000"/>
                  </a:schemeClr>
                </a:solidFill>
              </a:defRPr>
            </a:lvl2pPr>
            <a:lvl3pPr marL="1341150" indent="0">
              <a:buNone/>
              <a:defRPr sz="2640">
                <a:solidFill>
                  <a:schemeClr val="tx1">
                    <a:tint val="75000"/>
                  </a:schemeClr>
                </a:solidFill>
              </a:defRPr>
            </a:lvl3pPr>
            <a:lvl4pPr marL="2011726" indent="0">
              <a:buNone/>
              <a:defRPr sz="2347">
                <a:solidFill>
                  <a:schemeClr val="tx1">
                    <a:tint val="75000"/>
                  </a:schemeClr>
                </a:solidFill>
              </a:defRPr>
            </a:lvl4pPr>
            <a:lvl5pPr marL="2682301" indent="0">
              <a:buNone/>
              <a:defRPr sz="2347">
                <a:solidFill>
                  <a:schemeClr val="tx1">
                    <a:tint val="75000"/>
                  </a:schemeClr>
                </a:solidFill>
              </a:defRPr>
            </a:lvl5pPr>
            <a:lvl6pPr marL="3352876" indent="0">
              <a:buNone/>
              <a:defRPr sz="2347">
                <a:solidFill>
                  <a:schemeClr val="tx1">
                    <a:tint val="75000"/>
                  </a:schemeClr>
                </a:solidFill>
              </a:defRPr>
            </a:lvl6pPr>
            <a:lvl7pPr marL="4023451" indent="0">
              <a:buNone/>
              <a:defRPr sz="2347">
                <a:solidFill>
                  <a:schemeClr val="tx1">
                    <a:tint val="75000"/>
                  </a:schemeClr>
                </a:solidFill>
              </a:defRPr>
            </a:lvl7pPr>
            <a:lvl8pPr marL="4694027" indent="0">
              <a:buNone/>
              <a:defRPr sz="2347">
                <a:solidFill>
                  <a:schemeClr val="tx1">
                    <a:tint val="75000"/>
                  </a:schemeClr>
                </a:solidFill>
              </a:defRPr>
            </a:lvl8pPr>
            <a:lvl9pPr marL="5364602" indent="0">
              <a:buNone/>
              <a:defRPr sz="2347">
                <a:solidFill>
                  <a:schemeClr val="tx1">
                    <a:tint val="75000"/>
                  </a:schemeClr>
                </a:solidFill>
              </a:defRPr>
            </a:lvl9pPr>
          </a:lstStyle>
          <a:p>
            <a:pPr lvl="0"/>
            <a:r>
              <a:rPr lang="en-US"/>
              <a:t>Subhead if needed or speaker name </a:t>
            </a:r>
          </a:p>
        </p:txBody>
      </p:sp>
      <p:pic>
        <p:nvPicPr>
          <p:cNvPr id="8" name="Picture 7">
            <a:extLst>
              <a:ext uri="{FF2B5EF4-FFF2-40B4-BE49-F238E27FC236}">
                <a16:creationId xmlns:a16="http://schemas.microsoft.com/office/drawing/2014/main" id="{2474B351-B70F-40D4-9AE2-195CAECD3DE5}"/>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575833" y="9186271"/>
            <a:ext cx="2091110" cy="651982"/>
          </a:xfrm>
          <a:prstGeom prst="rect">
            <a:avLst/>
          </a:prstGeom>
        </p:spPr>
      </p:pic>
    </p:spTree>
    <p:extLst>
      <p:ext uri="{BB962C8B-B14F-4D97-AF65-F5344CB8AC3E}">
        <p14:creationId xmlns:p14="http://schemas.microsoft.com/office/powerpoint/2010/main" val="2745233293"/>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type="secHead" preserve="1">
  <p:cSld name="Title or Section Header - Yellow">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a:xfrm>
            <a:off x="754380" y="2682241"/>
            <a:ext cx="10528057" cy="3122294"/>
          </a:xfrm>
        </p:spPr>
        <p:txBody>
          <a:bodyPr anchor="b"/>
          <a:lstStyle>
            <a:lvl1pPr>
              <a:defRPr sz="7040"/>
            </a:lvl1pPr>
          </a:lstStyle>
          <a:p>
            <a:r>
              <a:rPr lang="en-US"/>
              <a:t>Section title in sentence case </a:t>
            </a:r>
          </a:p>
        </p:txBody>
      </p:sp>
      <p:sp>
        <p:nvSpPr>
          <p:cNvPr id="3" name="Text Placeholder 2"/>
          <p:cNvSpPr>
            <a:spLocks noGrp="1"/>
          </p:cNvSpPr>
          <p:nvPr>
            <p:ph type="body" idx="1" hasCustomPrompt="1"/>
          </p:nvPr>
        </p:nvSpPr>
        <p:spPr bwMode="gray">
          <a:xfrm>
            <a:off x="754380" y="6045685"/>
            <a:ext cx="10528057" cy="2615716"/>
          </a:xfrm>
        </p:spPr>
        <p:txBody>
          <a:bodyPr/>
          <a:lstStyle>
            <a:lvl1pPr marL="0" indent="0">
              <a:buNone/>
              <a:defRPr sz="4107">
                <a:solidFill>
                  <a:schemeClr val="tx1"/>
                </a:solidFill>
              </a:defRPr>
            </a:lvl1pPr>
            <a:lvl2pPr marL="670575" indent="0">
              <a:buNone/>
              <a:defRPr sz="2933">
                <a:solidFill>
                  <a:schemeClr val="tx1">
                    <a:tint val="75000"/>
                  </a:schemeClr>
                </a:solidFill>
              </a:defRPr>
            </a:lvl2pPr>
            <a:lvl3pPr marL="1341150" indent="0">
              <a:buNone/>
              <a:defRPr sz="2640">
                <a:solidFill>
                  <a:schemeClr val="tx1">
                    <a:tint val="75000"/>
                  </a:schemeClr>
                </a:solidFill>
              </a:defRPr>
            </a:lvl3pPr>
            <a:lvl4pPr marL="2011726" indent="0">
              <a:buNone/>
              <a:defRPr sz="2347">
                <a:solidFill>
                  <a:schemeClr val="tx1">
                    <a:tint val="75000"/>
                  </a:schemeClr>
                </a:solidFill>
              </a:defRPr>
            </a:lvl4pPr>
            <a:lvl5pPr marL="2682301" indent="0">
              <a:buNone/>
              <a:defRPr sz="2347">
                <a:solidFill>
                  <a:schemeClr val="tx1">
                    <a:tint val="75000"/>
                  </a:schemeClr>
                </a:solidFill>
              </a:defRPr>
            </a:lvl5pPr>
            <a:lvl6pPr marL="3352876" indent="0">
              <a:buNone/>
              <a:defRPr sz="2347">
                <a:solidFill>
                  <a:schemeClr val="tx1">
                    <a:tint val="75000"/>
                  </a:schemeClr>
                </a:solidFill>
              </a:defRPr>
            </a:lvl6pPr>
            <a:lvl7pPr marL="4023451" indent="0">
              <a:buNone/>
              <a:defRPr sz="2347">
                <a:solidFill>
                  <a:schemeClr val="tx1">
                    <a:tint val="75000"/>
                  </a:schemeClr>
                </a:solidFill>
              </a:defRPr>
            </a:lvl7pPr>
            <a:lvl8pPr marL="4694027" indent="0">
              <a:buNone/>
              <a:defRPr sz="2347">
                <a:solidFill>
                  <a:schemeClr val="tx1">
                    <a:tint val="75000"/>
                  </a:schemeClr>
                </a:solidFill>
              </a:defRPr>
            </a:lvl8pPr>
            <a:lvl9pPr marL="5364602" indent="0">
              <a:buNone/>
              <a:defRPr sz="2347">
                <a:solidFill>
                  <a:schemeClr val="tx1">
                    <a:tint val="75000"/>
                  </a:schemeClr>
                </a:solidFill>
              </a:defRPr>
            </a:lvl9pPr>
          </a:lstStyle>
          <a:p>
            <a:pPr lvl="0"/>
            <a:r>
              <a:rPr lang="en-US"/>
              <a:t>Subhead if needed or speaker name </a:t>
            </a:r>
          </a:p>
        </p:txBody>
      </p:sp>
      <p:sp>
        <p:nvSpPr>
          <p:cNvPr id="11" name="Rectangle 10">
            <a:extLst>
              <a:ext uri="{FF2B5EF4-FFF2-40B4-BE49-F238E27FC236}">
                <a16:creationId xmlns:a16="http://schemas.microsoft.com/office/drawing/2014/main" id="{CA5DB066-2C57-4BDC-B3C4-D5AA4E54C31C}"/>
              </a:ext>
            </a:extLst>
          </p:cNvPr>
          <p:cNvSpPr/>
          <p:nvPr/>
        </p:nvSpPr>
        <p:spPr bwMode="gray">
          <a:xfrm>
            <a:off x="11734800" y="0"/>
            <a:ext cx="6146800" cy="100584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62967" tIns="210373" rIns="262967" bIns="210373" numCol="1" spcCol="0" rtlCol="0" fromWordArt="0" anchor="t" anchorCtr="0" forceAA="0" compatLnSpc="1">
            <a:prstTxWarp prst="textNoShape">
              <a:avLst/>
            </a:prstTxWarp>
            <a:noAutofit/>
          </a:bodyPr>
          <a:lstStyle/>
          <a:p>
            <a:pPr algn="ctr" defTabSz="1340851" fontAlgn="base">
              <a:lnSpc>
                <a:spcPct val="90000"/>
              </a:lnSpc>
              <a:spcBef>
                <a:spcPct val="0"/>
              </a:spcBef>
              <a:spcAft>
                <a:spcPct val="0"/>
              </a:spcAft>
            </a:pPr>
            <a:endParaRPr lang="en-US" sz="3520">
              <a:gradFill>
                <a:gsLst>
                  <a:gs pos="0">
                    <a:srgbClr val="FFFFFF"/>
                  </a:gs>
                  <a:gs pos="100000">
                    <a:srgbClr val="FFFFFF"/>
                  </a:gs>
                </a:gsLst>
                <a:lin ang="5400000" scaled="0"/>
              </a:gradFill>
              <a:ea typeface="Segoe UI" pitchFamily="34" charset="0"/>
              <a:cs typeface="Arial" panose="020B0604020202020204" pitchFamily="34" charset="0"/>
            </a:endParaRPr>
          </a:p>
        </p:txBody>
      </p:sp>
      <p:sp>
        <p:nvSpPr>
          <p:cNvPr id="7" name="Rectangle 6">
            <a:extLst>
              <a:ext uri="{FF2B5EF4-FFF2-40B4-BE49-F238E27FC236}">
                <a16:creationId xmlns:a16="http://schemas.microsoft.com/office/drawing/2014/main" id="{7FC9A3B4-1B40-4F34-AA17-D0A2CDDEFB09}"/>
              </a:ext>
            </a:extLst>
          </p:cNvPr>
          <p:cNvSpPr/>
          <p:nvPr userDrawn="1"/>
        </p:nvSpPr>
        <p:spPr bwMode="gray">
          <a:xfrm>
            <a:off x="11734800" y="0"/>
            <a:ext cx="6146800" cy="100584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62967" tIns="210373" rIns="262967" bIns="210373" numCol="1" spcCol="0" rtlCol="0" fromWordArt="0" anchor="t" anchorCtr="0" forceAA="0" compatLnSpc="1">
            <a:prstTxWarp prst="textNoShape">
              <a:avLst/>
            </a:prstTxWarp>
            <a:noAutofit/>
          </a:bodyPr>
          <a:lstStyle/>
          <a:p>
            <a:pPr algn="ctr" defTabSz="1340851" fontAlgn="base">
              <a:lnSpc>
                <a:spcPct val="90000"/>
              </a:lnSpc>
              <a:spcBef>
                <a:spcPct val="0"/>
              </a:spcBef>
              <a:spcAft>
                <a:spcPct val="0"/>
              </a:spcAft>
            </a:pPr>
            <a:endParaRPr lang="en-US" sz="3520">
              <a:gradFill>
                <a:gsLst>
                  <a:gs pos="0">
                    <a:srgbClr val="FFFFFF"/>
                  </a:gs>
                  <a:gs pos="100000">
                    <a:srgbClr val="FFFFFF"/>
                  </a:gs>
                </a:gsLst>
                <a:lin ang="5400000" scaled="0"/>
              </a:gradFill>
              <a:ea typeface="Segoe UI" pitchFamily="34" charset="0"/>
              <a:cs typeface="Arial" panose="020B0604020202020204" pitchFamily="34" charset="0"/>
            </a:endParaRPr>
          </a:p>
        </p:txBody>
      </p:sp>
      <p:pic>
        <p:nvPicPr>
          <p:cNvPr id="8" name="Picture 7">
            <a:extLst>
              <a:ext uri="{FF2B5EF4-FFF2-40B4-BE49-F238E27FC236}">
                <a16:creationId xmlns:a16="http://schemas.microsoft.com/office/drawing/2014/main" id="{6323795B-315D-40E0-8657-DA4CE38547C5}"/>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575833" y="9186271"/>
            <a:ext cx="2091110" cy="651982"/>
          </a:xfrm>
          <a:prstGeom prst="rect">
            <a:avLst/>
          </a:prstGeom>
        </p:spPr>
      </p:pic>
    </p:spTree>
    <p:extLst>
      <p:ext uri="{BB962C8B-B14F-4D97-AF65-F5344CB8AC3E}">
        <p14:creationId xmlns:p14="http://schemas.microsoft.com/office/powerpoint/2010/main" val="3380553194"/>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type="secHead" preserve="1">
  <p:cSld name="Title or Section Header - Dk Gray">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a:xfrm>
            <a:off x="754380" y="2682241"/>
            <a:ext cx="10528057" cy="3122294"/>
          </a:xfrm>
        </p:spPr>
        <p:txBody>
          <a:bodyPr anchor="b"/>
          <a:lstStyle>
            <a:lvl1pPr>
              <a:defRPr sz="7040"/>
            </a:lvl1pPr>
          </a:lstStyle>
          <a:p>
            <a:r>
              <a:rPr lang="en-US"/>
              <a:t>Section title in sentence case </a:t>
            </a:r>
          </a:p>
        </p:txBody>
      </p:sp>
      <p:sp>
        <p:nvSpPr>
          <p:cNvPr id="3" name="Text Placeholder 2"/>
          <p:cNvSpPr>
            <a:spLocks noGrp="1"/>
          </p:cNvSpPr>
          <p:nvPr>
            <p:ph type="body" idx="1" hasCustomPrompt="1"/>
          </p:nvPr>
        </p:nvSpPr>
        <p:spPr bwMode="gray">
          <a:xfrm>
            <a:off x="754380" y="6045685"/>
            <a:ext cx="10528057" cy="2615716"/>
          </a:xfrm>
        </p:spPr>
        <p:txBody>
          <a:bodyPr/>
          <a:lstStyle>
            <a:lvl1pPr marL="0" indent="0">
              <a:buNone/>
              <a:defRPr sz="4107">
                <a:solidFill>
                  <a:schemeClr val="tx1"/>
                </a:solidFill>
              </a:defRPr>
            </a:lvl1pPr>
            <a:lvl2pPr marL="670575" indent="0">
              <a:buNone/>
              <a:defRPr sz="2933">
                <a:solidFill>
                  <a:schemeClr val="tx1">
                    <a:tint val="75000"/>
                  </a:schemeClr>
                </a:solidFill>
              </a:defRPr>
            </a:lvl2pPr>
            <a:lvl3pPr marL="1341150" indent="0">
              <a:buNone/>
              <a:defRPr sz="2640">
                <a:solidFill>
                  <a:schemeClr val="tx1">
                    <a:tint val="75000"/>
                  </a:schemeClr>
                </a:solidFill>
              </a:defRPr>
            </a:lvl3pPr>
            <a:lvl4pPr marL="2011726" indent="0">
              <a:buNone/>
              <a:defRPr sz="2347">
                <a:solidFill>
                  <a:schemeClr val="tx1">
                    <a:tint val="75000"/>
                  </a:schemeClr>
                </a:solidFill>
              </a:defRPr>
            </a:lvl4pPr>
            <a:lvl5pPr marL="2682301" indent="0">
              <a:buNone/>
              <a:defRPr sz="2347">
                <a:solidFill>
                  <a:schemeClr val="tx1">
                    <a:tint val="75000"/>
                  </a:schemeClr>
                </a:solidFill>
              </a:defRPr>
            </a:lvl5pPr>
            <a:lvl6pPr marL="3352876" indent="0">
              <a:buNone/>
              <a:defRPr sz="2347">
                <a:solidFill>
                  <a:schemeClr val="tx1">
                    <a:tint val="75000"/>
                  </a:schemeClr>
                </a:solidFill>
              </a:defRPr>
            </a:lvl6pPr>
            <a:lvl7pPr marL="4023451" indent="0">
              <a:buNone/>
              <a:defRPr sz="2347">
                <a:solidFill>
                  <a:schemeClr val="tx1">
                    <a:tint val="75000"/>
                  </a:schemeClr>
                </a:solidFill>
              </a:defRPr>
            </a:lvl7pPr>
            <a:lvl8pPr marL="4694027" indent="0">
              <a:buNone/>
              <a:defRPr sz="2347">
                <a:solidFill>
                  <a:schemeClr val="tx1">
                    <a:tint val="75000"/>
                  </a:schemeClr>
                </a:solidFill>
              </a:defRPr>
            </a:lvl8pPr>
            <a:lvl9pPr marL="5364602" indent="0">
              <a:buNone/>
              <a:defRPr sz="2347">
                <a:solidFill>
                  <a:schemeClr val="tx1">
                    <a:tint val="75000"/>
                  </a:schemeClr>
                </a:solidFill>
              </a:defRPr>
            </a:lvl9pPr>
          </a:lstStyle>
          <a:p>
            <a:pPr lvl="0"/>
            <a:r>
              <a:rPr lang="en-US"/>
              <a:t>Subhead if needed or speaker name </a:t>
            </a:r>
          </a:p>
        </p:txBody>
      </p:sp>
      <p:sp>
        <p:nvSpPr>
          <p:cNvPr id="12" name="Rectangle 11">
            <a:extLst>
              <a:ext uri="{FF2B5EF4-FFF2-40B4-BE49-F238E27FC236}">
                <a16:creationId xmlns:a16="http://schemas.microsoft.com/office/drawing/2014/main" id="{D9B94BD7-F6CB-4633-B827-DCC8BE5FE864}"/>
              </a:ext>
            </a:extLst>
          </p:cNvPr>
          <p:cNvSpPr/>
          <p:nvPr/>
        </p:nvSpPr>
        <p:spPr bwMode="gray">
          <a:xfrm>
            <a:off x="11734800" y="0"/>
            <a:ext cx="6146800" cy="1005840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62967" tIns="210373" rIns="262967" bIns="210373" numCol="1" spcCol="0" rtlCol="0" fromWordArt="0" anchor="t" anchorCtr="0" forceAA="0" compatLnSpc="1">
            <a:prstTxWarp prst="textNoShape">
              <a:avLst/>
            </a:prstTxWarp>
            <a:noAutofit/>
          </a:bodyPr>
          <a:lstStyle/>
          <a:p>
            <a:pPr algn="ctr" defTabSz="1340851" fontAlgn="base">
              <a:lnSpc>
                <a:spcPct val="90000"/>
              </a:lnSpc>
              <a:spcBef>
                <a:spcPct val="0"/>
              </a:spcBef>
              <a:spcAft>
                <a:spcPct val="0"/>
              </a:spcAft>
            </a:pPr>
            <a:endParaRPr lang="en-US" sz="3520">
              <a:gradFill>
                <a:gsLst>
                  <a:gs pos="0">
                    <a:srgbClr val="FFFFFF"/>
                  </a:gs>
                  <a:gs pos="100000">
                    <a:srgbClr val="FFFFFF"/>
                  </a:gs>
                </a:gsLst>
                <a:lin ang="5400000" scaled="0"/>
              </a:gradFill>
              <a:ea typeface="Segoe UI" pitchFamily="34" charset="0"/>
              <a:cs typeface="Arial" panose="020B0604020202020204" pitchFamily="34" charset="0"/>
            </a:endParaRPr>
          </a:p>
        </p:txBody>
      </p:sp>
      <p:sp>
        <p:nvSpPr>
          <p:cNvPr id="7" name="Rectangle 6">
            <a:extLst>
              <a:ext uri="{FF2B5EF4-FFF2-40B4-BE49-F238E27FC236}">
                <a16:creationId xmlns:a16="http://schemas.microsoft.com/office/drawing/2014/main" id="{B70C7A8F-AE53-4820-A109-E17355C4C028}"/>
              </a:ext>
            </a:extLst>
          </p:cNvPr>
          <p:cNvSpPr/>
          <p:nvPr userDrawn="1"/>
        </p:nvSpPr>
        <p:spPr bwMode="gray">
          <a:xfrm>
            <a:off x="11734800" y="0"/>
            <a:ext cx="6146800" cy="1005840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62967" tIns="210373" rIns="262967" bIns="210373" numCol="1" spcCol="0" rtlCol="0" fromWordArt="0" anchor="t" anchorCtr="0" forceAA="0" compatLnSpc="1">
            <a:prstTxWarp prst="textNoShape">
              <a:avLst/>
            </a:prstTxWarp>
            <a:noAutofit/>
          </a:bodyPr>
          <a:lstStyle/>
          <a:p>
            <a:pPr algn="ctr" defTabSz="1340851" fontAlgn="base">
              <a:lnSpc>
                <a:spcPct val="90000"/>
              </a:lnSpc>
              <a:spcBef>
                <a:spcPct val="0"/>
              </a:spcBef>
              <a:spcAft>
                <a:spcPct val="0"/>
              </a:spcAft>
            </a:pPr>
            <a:endParaRPr lang="en-US" sz="3520">
              <a:gradFill>
                <a:gsLst>
                  <a:gs pos="0">
                    <a:srgbClr val="FFFFFF"/>
                  </a:gs>
                  <a:gs pos="100000">
                    <a:srgbClr val="FFFFFF"/>
                  </a:gs>
                </a:gsLst>
                <a:lin ang="5400000" scaled="0"/>
              </a:gradFill>
              <a:ea typeface="Segoe UI" pitchFamily="34" charset="0"/>
              <a:cs typeface="Arial" panose="020B0604020202020204" pitchFamily="34" charset="0"/>
            </a:endParaRPr>
          </a:p>
        </p:txBody>
      </p:sp>
      <p:pic>
        <p:nvPicPr>
          <p:cNvPr id="8" name="Picture 7">
            <a:extLst>
              <a:ext uri="{FF2B5EF4-FFF2-40B4-BE49-F238E27FC236}">
                <a16:creationId xmlns:a16="http://schemas.microsoft.com/office/drawing/2014/main" id="{C240E585-40DF-4776-A7CC-4AAC028AA209}"/>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575833" y="9186271"/>
            <a:ext cx="2091110" cy="651982"/>
          </a:xfrm>
          <a:prstGeom prst="rect">
            <a:avLst/>
          </a:prstGeom>
        </p:spPr>
      </p:pic>
    </p:spTree>
    <p:extLst>
      <p:ext uri="{BB962C8B-B14F-4D97-AF65-F5344CB8AC3E}">
        <p14:creationId xmlns:p14="http://schemas.microsoft.com/office/powerpoint/2010/main" val="3400402080"/>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type="secHead" preserve="1">
  <p:cSld name="Title or Section Header - Med Gray">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a:xfrm>
            <a:off x="754380" y="2682241"/>
            <a:ext cx="10528057" cy="3122294"/>
          </a:xfrm>
        </p:spPr>
        <p:txBody>
          <a:bodyPr anchor="b"/>
          <a:lstStyle>
            <a:lvl1pPr>
              <a:defRPr sz="7040"/>
            </a:lvl1pPr>
          </a:lstStyle>
          <a:p>
            <a:r>
              <a:rPr lang="en-US"/>
              <a:t>Section title in sentence case </a:t>
            </a:r>
          </a:p>
        </p:txBody>
      </p:sp>
      <p:sp>
        <p:nvSpPr>
          <p:cNvPr id="3" name="Text Placeholder 2"/>
          <p:cNvSpPr>
            <a:spLocks noGrp="1"/>
          </p:cNvSpPr>
          <p:nvPr>
            <p:ph type="body" idx="1" hasCustomPrompt="1"/>
          </p:nvPr>
        </p:nvSpPr>
        <p:spPr bwMode="gray">
          <a:xfrm>
            <a:off x="754380" y="6045685"/>
            <a:ext cx="10528057" cy="2615716"/>
          </a:xfrm>
        </p:spPr>
        <p:txBody>
          <a:bodyPr/>
          <a:lstStyle>
            <a:lvl1pPr marL="0" indent="0">
              <a:buNone/>
              <a:defRPr sz="4107">
                <a:solidFill>
                  <a:schemeClr val="tx1"/>
                </a:solidFill>
              </a:defRPr>
            </a:lvl1pPr>
            <a:lvl2pPr marL="670575" indent="0">
              <a:buNone/>
              <a:defRPr sz="2933">
                <a:solidFill>
                  <a:schemeClr val="tx1">
                    <a:tint val="75000"/>
                  </a:schemeClr>
                </a:solidFill>
              </a:defRPr>
            </a:lvl2pPr>
            <a:lvl3pPr marL="1341150" indent="0">
              <a:buNone/>
              <a:defRPr sz="2640">
                <a:solidFill>
                  <a:schemeClr val="tx1">
                    <a:tint val="75000"/>
                  </a:schemeClr>
                </a:solidFill>
              </a:defRPr>
            </a:lvl3pPr>
            <a:lvl4pPr marL="2011726" indent="0">
              <a:buNone/>
              <a:defRPr sz="2347">
                <a:solidFill>
                  <a:schemeClr val="tx1">
                    <a:tint val="75000"/>
                  </a:schemeClr>
                </a:solidFill>
              </a:defRPr>
            </a:lvl4pPr>
            <a:lvl5pPr marL="2682301" indent="0">
              <a:buNone/>
              <a:defRPr sz="2347">
                <a:solidFill>
                  <a:schemeClr val="tx1">
                    <a:tint val="75000"/>
                  </a:schemeClr>
                </a:solidFill>
              </a:defRPr>
            </a:lvl5pPr>
            <a:lvl6pPr marL="3352876" indent="0">
              <a:buNone/>
              <a:defRPr sz="2347">
                <a:solidFill>
                  <a:schemeClr val="tx1">
                    <a:tint val="75000"/>
                  </a:schemeClr>
                </a:solidFill>
              </a:defRPr>
            </a:lvl6pPr>
            <a:lvl7pPr marL="4023451" indent="0">
              <a:buNone/>
              <a:defRPr sz="2347">
                <a:solidFill>
                  <a:schemeClr val="tx1">
                    <a:tint val="75000"/>
                  </a:schemeClr>
                </a:solidFill>
              </a:defRPr>
            </a:lvl7pPr>
            <a:lvl8pPr marL="4694027" indent="0">
              <a:buNone/>
              <a:defRPr sz="2347">
                <a:solidFill>
                  <a:schemeClr val="tx1">
                    <a:tint val="75000"/>
                  </a:schemeClr>
                </a:solidFill>
              </a:defRPr>
            </a:lvl8pPr>
            <a:lvl9pPr marL="5364602" indent="0">
              <a:buNone/>
              <a:defRPr sz="2347">
                <a:solidFill>
                  <a:schemeClr val="tx1">
                    <a:tint val="75000"/>
                  </a:schemeClr>
                </a:solidFill>
              </a:defRPr>
            </a:lvl9pPr>
          </a:lstStyle>
          <a:p>
            <a:pPr lvl="0"/>
            <a:r>
              <a:rPr lang="en-US"/>
              <a:t>Subhead if needed or speaker name </a:t>
            </a:r>
          </a:p>
        </p:txBody>
      </p:sp>
      <p:sp>
        <p:nvSpPr>
          <p:cNvPr id="11" name="Rectangle 10">
            <a:extLst>
              <a:ext uri="{FF2B5EF4-FFF2-40B4-BE49-F238E27FC236}">
                <a16:creationId xmlns:a16="http://schemas.microsoft.com/office/drawing/2014/main" id="{23B694CC-B592-44F3-8181-C62CCD2755B7}"/>
              </a:ext>
            </a:extLst>
          </p:cNvPr>
          <p:cNvSpPr/>
          <p:nvPr/>
        </p:nvSpPr>
        <p:spPr bwMode="gray">
          <a:xfrm>
            <a:off x="11734800" y="0"/>
            <a:ext cx="6146800" cy="1005840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62967" tIns="210373" rIns="262967" bIns="210373" numCol="1" spcCol="0" rtlCol="0" fromWordArt="0" anchor="t" anchorCtr="0" forceAA="0" compatLnSpc="1">
            <a:prstTxWarp prst="textNoShape">
              <a:avLst/>
            </a:prstTxWarp>
            <a:noAutofit/>
          </a:bodyPr>
          <a:lstStyle/>
          <a:p>
            <a:pPr algn="ctr" defTabSz="1340851" fontAlgn="base">
              <a:lnSpc>
                <a:spcPct val="90000"/>
              </a:lnSpc>
              <a:spcBef>
                <a:spcPct val="0"/>
              </a:spcBef>
              <a:spcAft>
                <a:spcPct val="0"/>
              </a:spcAft>
            </a:pPr>
            <a:endParaRPr lang="en-US" sz="3520">
              <a:gradFill>
                <a:gsLst>
                  <a:gs pos="0">
                    <a:srgbClr val="FFFFFF"/>
                  </a:gs>
                  <a:gs pos="100000">
                    <a:srgbClr val="FFFFFF"/>
                  </a:gs>
                </a:gsLst>
                <a:lin ang="5400000" scaled="0"/>
              </a:gradFill>
              <a:ea typeface="Segoe UI" pitchFamily="34" charset="0"/>
              <a:cs typeface="Arial" panose="020B0604020202020204" pitchFamily="34" charset="0"/>
            </a:endParaRPr>
          </a:p>
        </p:txBody>
      </p:sp>
      <p:sp>
        <p:nvSpPr>
          <p:cNvPr id="7" name="Rectangle 6">
            <a:extLst>
              <a:ext uri="{FF2B5EF4-FFF2-40B4-BE49-F238E27FC236}">
                <a16:creationId xmlns:a16="http://schemas.microsoft.com/office/drawing/2014/main" id="{61BC29CE-FDE1-4EE7-87CF-02422434B872}"/>
              </a:ext>
            </a:extLst>
          </p:cNvPr>
          <p:cNvSpPr/>
          <p:nvPr userDrawn="1"/>
        </p:nvSpPr>
        <p:spPr bwMode="gray">
          <a:xfrm>
            <a:off x="11734800" y="0"/>
            <a:ext cx="6146800" cy="1005840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62967" tIns="210373" rIns="262967" bIns="210373" numCol="1" spcCol="0" rtlCol="0" fromWordArt="0" anchor="t" anchorCtr="0" forceAA="0" compatLnSpc="1">
            <a:prstTxWarp prst="textNoShape">
              <a:avLst/>
            </a:prstTxWarp>
            <a:noAutofit/>
          </a:bodyPr>
          <a:lstStyle/>
          <a:p>
            <a:pPr algn="ctr" defTabSz="1340851" fontAlgn="base">
              <a:lnSpc>
                <a:spcPct val="90000"/>
              </a:lnSpc>
              <a:spcBef>
                <a:spcPct val="0"/>
              </a:spcBef>
              <a:spcAft>
                <a:spcPct val="0"/>
              </a:spcAft>
            </a:pPr>
            <a:endParaRPr lang="en-US" sz="3520">
              <a:gradFill>
                <a:gsLst>
                  <a:gs pos="0">
                    <a:srgbClr val="FFFFFF"/>
                  </a:gs>
                  <a:gs pos="100000">
                    <a:srgbClr val="FFFFFF"/>
                  </a:gs>
                </a:gsLst>
                <a:lin ang="5400000" scaled="0"/>
              </a:gradFill>
              <a:ea typeface="Segoe UI" pitchFamily="34" charset="0"/>
              <a:cs typeface="Arial" panose="020B0604020202020204" pitchFamily="34" charset="0"/>
            </a:endParaRPr>
          </a:p>
        </p:txBody>
      </p:sp>
      <p:pic>
        <p:nvPicPr>
          <p:cNvPr id="8" name="Picture 7">
            <a:extLst>
              <a:ext uri="{FF2B5EF4-FFF2-40B4-BE49-F238E27FC236}">
                <a16:creationId xmlns:a16="http://schemas.microsoft.com/office/drawing/2014/main" id="{839E92DE-FB09-4887-9870-C8EA7C39077F}"/>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575833" y="9186271"/>
            <a:ext cx="2091110" cy="651982"/>
          </a:xfrm>
          <a:prstGeom prst="rect">
            <a:avLst/>
          </a:prstGeom>
        </p:spPr>
      </p:pic>
    </p:spTree>
    <p:extLst>
      <p:ext uri="{BB962C8B-B14F-4D97-AF65-F5344CB8AC3E}">
        <p14:creationId xmlns:p14="http://schemas.microsoft.com/office/powerpoint/2010/main" val="3356864521"/>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p:cSld name="Section Header - Customized Photo">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a:xfrm>
            <a:off x="754379" y="1620521"/>
            <a:ext cx="7888395" cy="4184014"/>
          </a:xfrm>
        </p:spPr>
        <p:txBody>
          <a:bodyPr anchor="b"/>
          <a:lstStyle>
            <a:lvl1pPr>
              <a:defRPr sz="7040"/>
            </a:lvl1pPr>
          </a:lstStyle>
          <a:p>
            <a:r>
              <a:rPr lang="en-US"/>
              <a:t>Section title in sentence case </a:t>
            </a:r>
          </a:p>
        </p:txBody>
      </p:sp>
      <p:sp>
        <p:nvSpPr>
          <p:cNvPr id="3" name="Text Placeholder 2"/>
          <p:cNvSpPr>
            <a:spLocks noGrp="1"/>
          </p:cNvSpPr>
          <p:nvPr>
            <p:ph type="body" idx="1" hasCustomPrompt="1"/>
          </p:nvPr>
        </p:nvSpPr>
        <p:spPr bwMode="gray">
          <a:xfrm>
            <a:off x="754379" y="6045685"/>
            <a:ext cx="7888395" cy="2615716"/>
          </a:xfrm>
        </p:spPr>
        <p:txBody>
          <a:bodyPr/>
          <a:lstStyle>
            <a:lvl1pPr marL="0" indent="0">
              <a:buNone/>
              <a:defRPr sz="4107">
                <a:solidFill>
                  <a:schemeClr val="tx1"/>
                </a:solidFill>
              </a:defRPr>
            </a:lvl1pPr>
            <a:lvl2pPr marL="670575" indent="0">
              <a:buNone/>
              <a:defRPr sz="2933">
                <a:solidFill>
                  <a:schemeClr val="tx1">
                    <a:tint val="75000"/>
                  </a:schemeClr>
                </a:solidFill>
              </a:defRPr>
            </a:lvl2pPr>
            <a:lvl3pPr marL="1341150" indent="0">
              <a:buNone/>
              <a:defRPr sz="2640">
                <a:solidFill>
                  <a:schemeClr val="tx1">
                    <a:tint val="75000"/>
                  </a:schemeClr>
                </a:solidFill>
              </a:defRPr>
            </a:lvl3pPr>
            <a:lvl4pPr marL="2011726" indent="0">
              <a:buNone/>
              <a:defRPr sz="2347">
                <a:solidFill>
                  <a:schemeClr val="tx1">
                    <a:tint val="75000"/>
                  </a:schemeClr>
                </a:solidFill>
              </a:defRPr>
            </a:lvl4pPr>
            <a:lvl5pPr marL="2682301" indent="0">
              <a:buNone/>
              <a:defRPr sz="2347">
                <a:solidFill>
                  <a:schemeClr val="tx1">
                    <a:tint val="75000"/>
                  </a:schemeClr>
                </a:solidFill>
              </a:defRPr>
            </a:lvl5pPr>
            <a:lvl6pPr marL="3352876" indent="0">
              <a:buNone/>
              <a:defRPr sz="2347">
                <a:solidFill>
                  <a:schemeClr val="tx1">
                    <a:tint val="75000"/>
                  </a:schemeClr>
                </a:solidFill>
              </a:defRPr>
            </a:lvl6pPr>
            <a:lvl7pPr marL="4023451" indent="0">
              <a:buNone/>
              <a:defRPr sz="2347">
                <a:solidFill>
                  <a:schemeClr val="tx1">
                    <a:tint val="75000"/>
                  </a:schemeClr>
                </a:solidFill>
              </a:defRPr>
            </a:lvl7pPr>
            <a:lvl8pPr marL="4694027" indent="0">
              <a:buNone/>
              <a:defRPr sz="2347">
                <a:solidFill>
                  <a:schemeClr val="tx1">
                    <a:tint val="75000"/>
                  </a:schemeClr>
                </a:solidFill>
              </a:defRPr>
            </a:lvl8pPr>
            <a:lvl9pPr marL="5364602" indent="0">
              <a:buNone/>
              <a:defRPr sz="2347">
                <a:solidFill>
                  <a:schemeClr val="tx1">
                    <a:tint val="75000"/>
                  </a:schemeClr>
                </a:solidFill>
              </a:defRPr>
            </a:lvl9pPr>
          </a:lstStyle>
          <a:p>
            <a:pPr lvl="0"/>
            <a:r>
              <a:rPr lang="en-US"/>
              <a:t>Subhead if needed or speaker name </a:t>
            </a:r>
          </a:p>
        </p:txBody>
      </p:sp>
      <p:sp>
        <p:nvSpPr>
          <p:cNvPr id="5" name="Picture Placeholder 4"/>
          <p:cNvSpPr>
            <a:spLocks noGrp="1"/>
          </p:cNvSpPr>
          <p:nvPr>
            <p:ph type="pic" sz="quarter" idx="10" hasCustomPrompt="1"/>
          </p:nvPr>
        </p:nvSpPr>
        <p:spPr bwMode="gray">
          <a:xfrm>
            <a:off x="8996680" y="0"/>
            <a:ext cx="8884920" cy="10058400"/>
          </a:xfrm>
          <a:blipFill>
            <a:blip r:embed="rId2" cstate="email">
              <a:extLst>
                <a:ext uri="{28A0092B-C50C-407E-A947-70E740481C1C}">
                  <a14:useLocalDpi xmlns:a14="http://schemas.microsoft.com/office/drawing/2010/main"/>
                </a:ext>
              </a:extLst>
            </a:blip>
            <a:stretch>
              <a:fillRect/>
            </a:stretch>
          </a:blipFill>
        </p:spPr>
        <p:txBody>
          <a:bodyPr lIns="914400" rIns="914400" anchor="ctr"/>
          <a:lstStyle>
            <a:lvl1pPr algn="ctr">
              <a:defRPr>
                <a:solidFill>
                  <a:schemeClr val="accent2"/>
                </a:solidFill>
              </a:defRPr>
            </a:lvl1pPr>
          </a:lstStyle>
          <a:p>
            <a:r>
              <a:rPr lang="en-US"/>
              <a:t> </a:t>
            </a:r>
          </a:p>
        </p:txBody>
      </p:sp>
      <p:pic>
        <p:nvPicPr>
          <p:cNvPr id="7" name="Picture 6">
            <a:extLst>
              <a:ext uri="{FF2B5EF4-FFF2-40B4-BE49-F238E27FC236}">
                <a16:creationId xmlns:a16="http://schemas.microsoft.com/office/drawing/2014/main" id="{463490F0-33E6-40B1-9A45-00D99AF7321C}"/>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575833" y="9186271"/>
            <a:ext cx="2091110" cy="651982"/>
          </a:xfrm>
          <a:prstGeom prst="rect">
            <a:avLst/>
          </a:prstGeom>
        </p:spPr>
      </p:pic>
    </p:spTree>
    <p:extLst>
      <p:ext uri="{BB962C8B-B14F-4D97-AF65-F5344CB8AC3E}">
        <p14:creationId xmlns:p14="http://schemas.microsoft.com/office/powerpoint/2010/main" val="211742919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4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4 Column | Type insightful headline in sentence case | One line</a:t>
            </a:r>
          </a:p>
        </p:txBody>
      </p:sp>
      <p:sp>
        <p:nvSpPr>
          <p:cNvPr id="3" name="Date Placeholder 2"/>
          <p:cNvSpPr>
            <a:spLocks noGrp="1"/>
          </p:cNvSpPr>
          <p:nvPr>
            <p:ph type="dt" sz="half" idx="10"/>
          </p:nvPr>
        </p:nvSpPr>
        <p:spPr/>
        <p:txBody>
          <a:bodyPr/>
          <a:lstStyle/>
          <a:p>
            <a:fld id="{A9953690-9C6C-3B40-B3E2-94FA806662F2}" type="datetime1">
              <a:rPr lang="en-US" smtClean="0"/>
              <a:t>4/21/21</a:t>
            </a:fld>
            <a:endParaRPr lang="en-US"/>
          </a:p>
        </p:txBody>
      </p:sp>
      <p:sp>
        <p:nvSpPr>
          <p:cNvPr id="5" name="Slide Number Placeholder 4"/>
          <p:cNvSpPr>
            <a:spLocks noGrp="1"/>
          </p:cNvSpPr>
          <p:nvPr>
            <p:ph type="sldNum" sz="quarter" idx="12"/>
          </p:nvPr>
        </p:nvSpPr>
        <p:spPr/>
        <p:txBody>
          <a:bodyPr/>
          <a:lstStyle/>
          <a:p>
            <a:fld id="{3310D8EA-3107-4873-B9AB-DD7D3E79053A}" type="slidenum">
              <a:rPr lang="en-US" smtClean="0"/>
              <a:t>‹#›</a:t>
            </a:fld>
            <a:endParaRPr lang="en-US"/>
          </a:p>
        </p:txBody>
      </p:sp>
      <p:sp>
        <p:nvSpPr>
          <p:cNvPr id="6" name="Text Placeholder 7"/>
          <p:cNvSpPr>
            <a:spLocks noGrp="1"/>
          </p:cNvSpPr>
          <p:nvPr>
            <p:ph type="body" sz="quarter" idx="13" hasCustomPrompt="1"/>
          </p:nvPr>
        </p:nvSpPr>
        <p:spPr>
          <a:xfrm>
            <a:off x="726439" y="1640149"/>
            <a:ext cx="16596361" cy="721783"/>
          </a:xfrm>
        </p:spPr>
        <p:txBody>
          <a:bodyPr/>
          <a:lstStyle>
            <a:lvl1pPr>
              <a:defRPr sz="3315">
                <a:solidFill>
                  <a:schemeClr val="accent4"/>
                </a:solidFill>
              </a:defRPr>
            </a:lvl1pPr>
          </a:lstStyle>
          <a:p>
            <a:pPr lvl="0"/>
            <a:r>
              <a:rPr lang="en-US" dirty="0"/>
              <a:t>Use this space for one line subhead if needed | One line</a:t>
            </a:r>
          </a:p>
        </p:txBody>
      </p:sp>
      <p:sp>
        <p:nvSpPr>
          <p:cNvPr id="8" name="Text Placeholder 7"/>
          <p:cNvSpPr>
            <a:spLocks noGrp="1"/>
          </p:cNvSpPr>
          <p:nvPr>
            <p:ph type="body" sz="quarter" idx="14" hasCustomPrompt="1"/>
          </p:nvPr>
        </p:nvSpPr>
        <p:spPr>
          <a:xfrm>
            <a:off x="726441" y="2682238"/>
            <a:ext cx="4023360" cy="973243"/>
          </a:xfrm>
          <a:solidFill>
            <a:schemeClr val="tx2"/>
          </a:solidFill>
        </p:spPr>
        <p:txBody>
          <a:bodyPr lIns="137160" anchor="ctr"/>
          <a:lstStyle>
            <a:lvl1pPr algn="l">
              <a:lnSpc>
                <a:spcPct val="90000"/>
              </a:lnSpc>
              <a:spcBef>
                <a:spcPts val="0"/>
              </a:spcBef>
              <a:spcAft>
                <a:spcPts val="0"/>
              </a:spcAft>
              <a:defRPr sz="2295">
                <a:solidFill>
                  <a:schemeClr val="bg1"/>
                </a:solidFill>
              </a:defRPr>
            </a:lvl1pPr>
          </a:lstStyle>
          <a:p>
            <a:pPr lvl="0"/>
            <a:r>
              <a:rPr lang="en-US" dirty="0"/>
              <a:t>Header</a:t>
            </a:r>
          </a:p>
        </p:txBody>
      </p:sp>
      <p:sp>
        <p:nvSpPr>
          <p:cNvPr id="27" name="Text Placeholder 7"/>
          <p:cNvSpPr>
            <a:spLocks noGrp="1"/>
          </p:cNvSpPr>
          <p:nvPr>
            <p:ph type="body" sz="quarter" idx="15" hasCustomPrompt="1"/>
          </p:nvPr>
        </p:nvSpPr>
        <p:spPr>
          <a:xfrm>
            <a:off x="4922986" y="2682239"/>
            <a:ext cx="4023360" cy="973243"/>
          </a:xfrm>
          <a:solidFill>
            <a:schemeClr val="accent2"/>
          </a:solidFill>
        </p:spPr>
        <p:txBody>
          <a:bodyPr lIns="137160" anchor="ctr"/>
          <a:lstStyle>
            <a:lvl1pPr>
              <a:lnSpc>
                <a:spcPct val="90000"/>
              </a:lnSpc>
              <a:spcBef>
                <a:spcPts val="0"/>
              </a:spcBef>
              <a:spcAft>
                <a:spcPts val="0"/>
              </a:spcAft>
              <a:defRPr sz="2295">
                <a:solidFill>
                  <a:schemeClr val="bg1"/>
                </a:solidFill>
              </a:defRPr>
            </a:lvl1pPr>
          </a:lstStyle>
          <a:p>
            <a:pPr lvl="0"/>
            <a:r>
              <a:rPr lang="en-US" dirty="0"/>
              <a:t>Header</a:t>
            </a:r>
          </a:p>
        </p:txBody>
      </p:sp>
      <p:sp>
        <p:nvSpPr>
          <p:cNvPr id="28" name="Text Placeholder 7"/>
          <p:cNvSpPr>
            <a:spLocks noGrp="1"/>
          </p:cNvSpPr>
          <p:nvPr>
            <p:ph type="body" sz="quarter" idx="16" hasCustomPrompt="1"/>
          </p:nvPr>
        </p:nvSpPr>
        <p:spPr>
          <a:xfrm>
            <a:off x="9119531" y="2682239"/>
            <a:ext cx="4023360" cy="973243"/>
          </a:xfrm>
          <a:solidFill>
            <a:schemeClr val="accent4"/>
          </a:solidFill>
        </p:spPr>
        <p:txBody>
          <a:bodyPr lIns="137160" anchor="ctr"/>
          <a:lstStyle>
            <a:lvl1pPr>
              <a:lnSpc>
                <a:spcPct val="90000"/>
              </a:lnSpc>
              <a:spcBef>
                <a:spcPts val="0"/>
              </a:spcBef>
              <a:spcAft>
                <a:spcPts val="0"/>
              </a:spcAft>
              <a:defRPr sz="2295">
                <a:solidFill>
                  <a:schemeClr val="bg1"/>
                </a:solidFill>
              </a:defRPr>
            </a:lvl1pPr>
          </a:lstStyle>
          <a:p>
            <a:pPr lvl="0"/>
            <a:r>
              <a:rPr lang="en-US" dirty="0"/>
              <a:t>Header</a:t>
            </a:r>
          </a:p>
        </p:txBody>
      </p:sp>
      <p:sp>
        <p:nvSpPr>
          <p:cNvPr id="29" name="Text Placeholder 7"/>
          <p:cNvSpPr>
            <a:spLocks noGrp="1"/>
          </p:cNvSpPr>
          <p:nvPr>
            <p:ph type="body" sz="quarter" idx="17" hasCustomPrompt="1"/>
          </p:nvPr>
        </p:nvSpPr>
        <p:spPr>
          <a:xfrm>
            <a:off x="13316076" y="2682239"/>
            <a:ext cx="4023360" cy="973243"/>
          </a:xfrm>
          <a:solidFill>
            <a:schemeClr val="accent1"/>
          </a:solidFill>
        </p:spPr>
        <p:txBody>
          <a:bodyPr lIns="137160" anchor="ctr"/>
          <a:lstStyle>
            <a:lvl1pPr>
              <a:lnSpc>
                <a:spcPct val="90000"/>
              </a:lnSpc>
              <a:spcBef>
                <a:spcPts val="0"/>
              </a:spcBef>
              <a:spcAft>
                <a:spcPts val="0"/>
              </a:spcAft>
              <a:defRPr sz="2295">
                <a:solidFill>
                  <a:schemeClr val="bg1"/>
                </a:solidFill>
              </a:defRPr>
            </a:lvl1pPr>
          </a:lstStyle>
          <a:p>
            <a:pPr lvl="0"/>
            <a:r>
              <a:rPr lang="en-US" dirty="0"/>
              <a:t>Header</a:t>
            </a:r>
          </a:p>
        </p:txBody>
      </p:sp>
      <p:sp>
        <p:nvSpPr>
          <p:cNvPr id="31" name="Text Placeholder 7"/>
          <p:cNvSpPr>
            <a:spLocks noGrp="1"/>
          </p:cNvSpPr>
          <p:nvPr>
            <p:ph type="body" sz="quarter" idx="19" hasCustomPrompt="1"/>
          </p:nvPr>
        </p:nvSpPr>
        <p:spPr>
          <a:xfrm>
            <a:off x="726441" y="3655480"/>
            <a:ext cx="4023360" cy="5005921"/>
          </a:xfrm>
          <a:solidFill>
            <a:schemeClr val="accent3">
              <a:lumMod val="20000"/>
              <a:lumOff val="80000"/>
            </a:schemeClr>
          </a:solidFill>
        </p:spPr>
        <p:txBody>
          <a:bodyPr lIns="137160" tIns="137160" anchor="t"/>
          <a:lstStyle>
            <a:lvl1pPr marL="0" indent="0" algn="l">
              <a:lnSpc>
                <a:spcPct val="90000"/>
              </a:lnSpc>
              <a:spcBef>
                <a:spcPts val="0"/>
              </a:spcBef>
              <a:spcAft>
                <a:spcPts val="0"/>
              </a:spcAft>
              <a:buFont typeface="Arial" panose="020B0604020202020204" pitchFamily="34" charset="0"/>
              <a:buNone/>
              <a:defRPr sz="2295">
                <a:solidFill>
                  <a:schemeClr val="tx1"/>
                </a:solidFill>
              </a:defRPr>
            </a:lvl1pPr>
          </a:lstStyle>
          <a:p>
            <a:pPr lvl="0"/>
            <a:r>
              <a:rPr lang="en-US" dirty="0"/>
              <a:t>Text – add bullet if needed</a:t>
            </a:r>
          </a:p>
        </p:txBody>
      </p:sp>
      <p:sp>
        <p:nvSpPr>
          <p:cNvPr id="32" name="Text Placeholder 7"/>
          <p:cNvSpPr>
            <a:spLocks noGrp="1"/>
          </p:cNvSpPr>
          <p:nvPr>
            <p:ph type="body" sz="quarter" idx="20" hasCustomPrompt="1"/>
          </p:nvPr>
        </p:nvSpPr>
        <p:spPr>
          <a:xfrm>
            <a:off x="4922986" y="3655480"/>
            <a:ext cx="4023360" cy="5005921"/>
          </a:xfrm>
          <a:solidFill>
            <a:schemeClr val="accent3">
              <a:lumMod val="20000"/>
              <a:lumOff val="80000"/>
            </a:schemeClr>
          </a:solidFill>
        </p:spPr>
        <p:txBody>
          <a:bodyPr lIns="137160" tIns="137160" anchor="t"/>
          <a:lstStyle>
            <a:lvl1pPr marL="0" indent="0" algn="l">
              <a:lnSpc>
                <a:spcPct val="90000"/>
              </a:lnSpc>
              <a:spcBef>
                <a:spcPts val="0"/>
              </a:spcBef>
              <a:spcAft>
                <a:spcPts val="0"/>
              </a:spcAft>
              <a:buFont typeface="Arial" panose="020B0604020202020204" pitchFamily="34" charset="0"/>
              <a:buNone/>
              <a:defRPr sz="2295">
                <a:solidFill>
                  <a:schemeClr val="tx1"/>
                </a:solidFill>
              </a:defRPr>
            </a:lvl1pPr>
          </a:lstStyle>
          <a:p>
            <a:pPr lvl="0"/>
            <a:r>
              <a:rPr lang="en-US" dirty="0"/>
              <a:t>Text – add bullet if needed</a:t>
            </a:r>
          </a:p>
        </p:txBody>
      </p:sp>
      <p:sp>
        <p:nvSpPr>
          <p:cNvPr id="33" name="Text Placeholder 7"/>
          <p:cNvSpPr>
            <a:spLocks noGrp="1"/>
          </p:cNvSpPr>
          <p:nvPr>
            <p:ph type="body" sz="quarter" idx="21" hasCustomPrompt="1"/>
          </p:nvPr>
        </p:nvSpPr>
        <p:spPr>
          <a:xfrm>
            <a:off x="9119531" y="3655480"/>
            <a:ext cx="4023360" cy="5005921"/>
          </a:xfrm>
          <a:solidFill>
            <a:schemeClr val="accent3">
              <a:lumMod val="20000"/>
              <a:lumOff val="80000"/>
            </a:schemeClr>
          </a:solidFill>
        </p:spPr>
        <p:txBody>
          <a:bodyPr lIns="137160" tIns="137160" anchor="t"/>
          <a:lstStyle>
            <a:lvl1pPr marL="0" indent="0" algn="l">
              <a:lnSpc>
                <a:spcPct val="90000"/>
              </a:lnSpc>
              <a:spcBef>
                <a:spcPts val="0"/>
              </a:spcBef>
              <a:spcAft>
                <a:spcPts val="0"/>
              </a:spcAft>
              <a:buFont typeface="Arial" panose="020B0604020202020204" pitchFamily="34" charset="0"/>
              <a:buNone/>
              <a:defRPr sz="2295">
                <a:solidFill>
                  <a:schemeClr val="tx1"/>
                </a:solidFill>
              </a:defRPr>
            </a:lvl1pPr>
          </a:lstStyle>
          <a:p>
            <a:pPr lvl="0"/>
            <a:r>
              <a:rPr lang="en-US" dirty="0"/>
              <a:t>Text – add bullet if needed</a:t>
            </a:r>
          </a:p>
        </p:txBody>
      </p:sp>
      <p:sp>
        <p:nvSpPr>
          <p:cNvPr id="34" name="Text Placeholder 7"/>
          <p:cNvSpPr>
            <a:spLocks noGrp="1"/>
          </p:cNvSpPr>
          <p:nvPr>
            <p:ph type="body" sz="quarter" idx="22" hasCustomPrompt="1"/>
          </p:nvPr>
        </p:nvSpPr>
        <p:spPr>
          <a:xfrm>
            <a:off x="13316076" y="3655480"/>
            <a:ext cx="4023360" cy="5005921"/>
          </a:xfrm>
          <a:solidFill>
            <a:schemeClr val="accent3">
              <a:lumMod val="20000"/>
              <a:lumOff val="80000"/>
            </a:schemeClr>
          </a:solidFill>
        </p:spPr>
        <p:txBody>
          <a:bodyPr lIns="137160" tIns="137160" anchor="t"/>
          <a:lstStyle>
            <a:lvl1pPr marL="0" indent="0" algn="l">
              <a:lnSpc>
                <a:spcPct val="90000"/>
              </a:lnSpc>
              <a:spcBef>
                <a:spcPts val="0"/>
              </a:spcBef>
              <a:spcAft>
                <a:spcPts val="0"/>
              </a:spcAft>
              <a:buFont typeface="Arial" panose="020B0604020202020204" pitchFamily="34" charset="0"/>
              <a:buNone/>
              <a:defRPr sz="2295">
                <a:solidFill>
                  <a:schemeClr val="tx1"/>
                </a:solidFill>
              </a:defRPr>
            </a:lvl1pPr>
          </a:lstStyle>
          <a:p>
            <a:pPr lvl="0"/>
            <a:r>
              <a:rPr lang="en-US" dirty="0"/>
              <a:t>Text – add bullet if needed</a:t>
            </a:r>
          </a:p>
        </p:txBody>
      </p:sp>
    </p:spTree>
    <p:extLst>
      <p:ext uri="{BB962C8B-B14F-4D97-AF65-F5344CB8AC3E}">
        <p14:creationId xmlns:p14="http://schemas.microsoft.com/office/powerpoint/2010/main" val="805682666"/>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p:cSld name="Closing Slide">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9384CC8E-C163-4D27-8E8B-087072A6A505}"/>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950961" y="3352798"/>
            <a:ext cx="7979680" cy="3352807"/>
          </a:xfrm>
          <a:prstGeom prst="rect">
            <a:avLst/>
          </a:prstGeom>
        </p:spPr>
      </p:pic>
      <p:sp>
        <p:nvSpPr>
          <p:cNvPr id="2" name="Date Placeholder 1"/>
          <p:cNvSpPr>
            <a:spLocks noGrp="1"/>
          </p:cNvSpPr>
          <p:nvPr>
            <p:ph type="dt" sz="half" idx="10"/>
          </p:nvPr>
        </p:nvSpPr>
        <p:spPr bwMode="gray"/>
        <p:txBody>
          <a:bodyPr/>
          <a:lstStyle/>
          <a:p>
            <a:fld id="{00AF8D2C-76F0-D549-A0B8-B671FEC30492}" type="datetime1">
              <a:rPr lang="en-US" smtClean="0"/>
              <a:t>4/21/21</a:t>
            </a:fld>
            <a:endParaRPr lang="en-US"/>
          </a:p>
        </p:txBody>
      </p:sp>
      <p:sp>
        <p:nvSpPr>
          <p:cNvPr id="4" name="Slide Number Placeholder 3"/>
          <p:cNvSpPr>
            <a:spLocks noGrp="1"/>
          </p:cNvSpPr>
          <p:nvPr>
            <p:ph type="sldNum" sz="quarter" idx="12"/>
          </p:nvPr>
        </p:nvSpPr>
        <p:spPr bwMode="gray"/>
        <p:txBody>
          <a:bodyPr/>
          <a:lstStyle/>
          <a:p>
            <a:fld id="{3310D8EA-3107-4873-B9AB-DD7D3E79053A}" type="slidenum">
              <a:rPr lang="en-US" smtClean="0"/>
              <a:t>‹#›</a:t>
            </a:fld>
            <a:endParaRPr lang="en-US"/>
          </a:p>
        </p:txBody>
      </p:sp>
    </p:spTree>
    <p:extLst>
      <p:ext uri="{BB962C8B-B14F-4D97-AF65-F5344CB8AC3E}">
        <p14:creationId xmlns:p14="http://schemas.microsoft.com/office/powerpoint/2010/main" val="1060744184"/>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type="secHead" preserve="1">
  <p:cSld name="Closing / Thank You">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a:xfrm>
            <a:off x="754380" y="5726371"/>
            <a:ext cx="10528057" cy="708234"/>
          </a:xfrm>
        </p:spPr>
        <p:txBody>
          <a:bodyPr anchor="ctr"/>
          <a:lstStyle>
            <a:lvl1pPr>
              <a:defRPr sz="3520">
                <a:solidFill>
                  <a:schemeClr val="accent1"/>
                </a:solidFill>
              </a:defRPr>
            </a:lvl1pPr>
          </a:lstStyle>
          <a:p>
            <a:r>
              <a:rPr lang="en-US"/>
              <a:t>First Name Last Name</a:t>
            </a:r>
          </a:p>
        </p:txBody>
      </p:sp>
      <p:sp>
        <p:nvSpPr>
          <p:cNvPr id="3" name="Text Placeholder 2"/>
          <p:cNvSpPr>
            <a:spLocks noGrp="1"/>
          </p:cNvSpPr>
          <p:nvPr>
            <p:ph type="body" idx="1" hasCustomPrompt="1"/>
          </p:nvPr>
        </p:nvSpPr>
        <p:spPr bwMode="gray">
          <a:xfrm>
            <a:off x="754380" y="6530983"/>
            <a:ext cx="10528057" cy="710794"/>
          </a:xfrm>
        </p:spPr>
        <p:txBody>
          <a:bodyPr anchor="ctr"/>
          <a:lstStyle>
            <a:lvl1pPr marL="0" indent="0">
              <a:buNone/>
              <a:defRPr sz="3520">
                <a:solidFill>
                  <a:schemeClr val="tx1"/>
                </a:solidFill>
              </a:defRPr>
            </a:lvl1pPr>
            <a:lvl2pPr marL="670575" indent="0">
              <a:buNone/>
              <a:defRPr sz="2933">
                <a:solidFill>
                  <a:schemeClr val="tx1">
                    <a:tint val="75000"/>
                  </a:schemeClr>
                </a:solidFill>
              </a:defRPr>
            </a:lvl2pPr>
            <a:lvl3pPr marL="1341150" indent="0">
              <a:buNone/>
              <a:defRPr sz="2640">
                <a:solidFill>
                  <a:schemeClr val="tx1">
                    <a:tint val="75000"/>
                  </a:schemeClr>
                </a:solidFill>
              </a:defRPr>
            </a:lvl3pPr>
            <a:lvl4pPr marL="2011726" indent="0">
              <a:buNone/>
              <a:defRPr sz="2347">
                <a:solidFill>
                  <a:schemeClr val="tx1">
                    <a:tint val="75000"/>
                  </a:schemeClr>
                </a:solidFill>
              </a:defRPr>
            </a:lvl4pPr>
            <a:lvl5pPr marL="2682301" indent="0">
              <a:buNone/>
              <a:defRPr sz="2347">
                <a:solidFill>
                  <a:schemeClr val="tx1">
                    <a:tint val="75000"/>
                  </a:schemeClr>
                </a:solidFill>
              </a:defRPr>
            </a:lvl5pPr>
            <a:lvl6pPr marL="3352876" indent="0">
              <a:buNone/>
              <a:defRPr sz="2347">
                <a:solidFill>
                  <a:schemeClr val="tx1">
                    <a:tint val="75000"/>
                  </a:schemeClr>
                </a:solidFill>
              </a:defRPr>
            </a:lvl6pPr>
            <a:lvl7pPr marL="4023451" indent="0">
              <a:buNone/>
              <a:defRPr sz="2347">
                <a:solidFill>
                  <a:schemeClr val="tx1">
                    <a:tint val="75000"/>
                  </a:schemeClr>
                </a:solidFill>
              </a:defRPr>
            </a:lvl7pPr>
            <a:lvl8pPr marL="4694027" indent="0">
              <a:buNone/>
              <a:defRPr sz="2347">
                <a:solidFill>
                  <a:schemeClr val="tx1">
                    <a:tint val="75000"/>
                  </a:schemeClr>
                </a:solidFill>
              </a:defRPr>
            </a:lvl8pPr>
            <a:lvl9pPr marL="5364602" indent="0">
              <a:buNone/>
              <a:defRPr sz="2347">
                <a:solidFill>
                  <a:schemeClr val="tx1">
                    <a:tint val="75000"/>
                  </a:schemeClr>
                </a:solidFill>
              </a:defRPr>
            </a:lvl9pPr>
          </a:lstStyle>
          <a:p>
            <a:pPr lvl="0"/>
            <a:r>
              <a:rPr lang="en-US"/>
              <a:t>Title</a:t>
            </a:r>
          </a:p>
        </p:txBody>
      </p:sp>
      <p:sp>
        <p:nvSpPr>
          <p:cNvPr id="4" name="TextBox 3"/>
          <p:cNvSpPr txBox="1"/>
          <p:nvPr/>
        </p:nvSpPr>
        <p:spPr bwMode="gray">
          <a:xfrm>
            <a:off x="726438" y="3718078"/>
            <a:ext cx="4464364" cy="1083374"/>
          </a:xfrm>
          <a:prstGeom prst="rect">
            <a:avLst/>
          </a:prstGeom>
          <a:noFill/>
        </p:spPr>
        <p:txBody>
          <a:bodyPr wrap="none" lIns="0" tIns="0" rIns="0" bIns="0" rtlCol="0">
            <a:spAutoFit/>
          </a:bodyPr>
          <a:lstStyle/>
          <a:p>
            <a:r>
              <a:rPr lang="en-US" sz="7040"/>
              <a:t>Thank you.</a:t>
            </a:r>
          </a:p>
        </p:txBody>
      </p:sp>
      <p:sp>
        <p:nvSpPr>
          <p:cNvPr id="8" name="TextBox 7"/>
          <p:cNvSpPr txBox="1"/>
          <p:nvPr/>
        </p:nvSpPr>
        <p:spPr bwMode="gray">
          <a:xfrm>
            <a:off x="726439" y="5058378"/>
            <a:ext cx="4712829" cy="632033"/>
          </a:xfrm>
          <a:prstGeom prst="rect">
            <a:avLst/>
          </a:prstGeom>
          <a:noFill/>
        </p:spPr>
        <p:txBody>
          <a:bodyPr wrap="none" lIns="0" tIns="0" rIns="0" bIns="0" rtlCol="0">
            <a:spAutoFit/>
          </a:bodyPr>
          <a:lstStyle/>
          <a:p>
            <a:r>
              <a:rPr lang="en-US" sz="4107"/>
              <a:t>Contact information:</a:t>
            </a:r>
          </a:p>
        </p:txBody>
      </p:sp>
      <p:sp>
        <p:nvSpPr>
          <p:cNvPr id="9" name="Text Placeholder 2"/>
          <p:cNvSpPr>
            <a:spLocks noGrp="1"/>
          </p:cNvSpPr>
          <p:nvPr>
            <p:ph type="body" idx="10" hasCustomPrompt="1"/>
          </p:nvPr>
        </p:nvSpPr>
        <p:spPr bwMode="gray">
          <a:xfrm>
            <a:off x="754378" y="7338156"/>
            <a:ext cx="10528057" cy="710794"/>
          </a:xfrm>
        </p:spPr>
        <p:txBody>
          <a:bodyPr anchor="ctr"/>
          <a:lstStyle>
            <a:lvl1pPr marL="0" indent="0">
              <a:buNone/>
              <a:defRPr sz="3520">
                <a:solidFill>
                  <a:schemeClr val="tx1"/>
                </a:solidFill>
              </a:defRPr>
            </a:lvl1pPr>
            <a:lvl2pPr marL="670575" indent="0">
              <a:buNone/>
              <a:defRPr sz="2933">
                <a:solidFill>
                  <a:schemeClr val="tx1">
                    <a:tint val="75000"/>
                  </a:schemeClr>
                </a:solidFill>
              </a:defRPr>
            </a:lvl2pPr>
            <a:lvl3pPr marL="1341150" indent="0">
              <a:buNone/>
              <a:defRPr sz="2640">
                <a:solidFill>
                  <a:schemeClr val="tx1">
                    <a:tint val="75000"/>
                  </a:schemeClr>
                </a:solidFill>
              </a:defRPr>
            </a:lvl3pPr>
            <a:lvl4pPr marL="2011726" indent="0">
              <a:buNone/>
              <a:defRPr sz="2347">
                <a:solidFill>
                  <a:schemeClr val="tx1">
                    <a:tint val="75000"/>
                  </a:schemeClr>
                </a:solidFill>
              </a:defRPr>
            </a:lvl4pPr>
            <a:lvl5pPr marL="2682301" indent="0">
              <a:buNone/>
              <a:defRPr sz="2347">
                <a:solidFill>
                  <a:schemeClr val="tx1">
                    <a:tint val="75000"/>
                  </a:schemeClr>
                </a:solidFill>
              </a:defRPr>
            </a:lvl5pPr>
            <a:lvl6pPr marL="3352876" indent="0">
              <a:buNone/>
              <a:defRPr sz="2347">
                <a:solidFill>
                  <a:schemeClr val="tx1">
                    <a:tint val="75000"/>
                  </a:schemeClr>
                </a:solidFill>
              </a:defRPr>
            </a:lvl6pPr>
            <a:lvl7pPr marL="4023451" indent="0">
              <a:buNone/>
              <a:defRPr sz="2347">
                <a:solidFill>
                  <a:schemeClr val="tx1">
                    <a:tint val="75000"/>
                  </a:schemeClr>
                </a:solidFill>
              </a:defRPr>
            </a:lvl7pPr>
            <a:lvl8pPr marL="4694027" indent="0">
              <a:buNone/>
              <a:defRPr sz="2347">
                <a:solidFill>
                  <a:schemeClr val="tx1">
                    <a:tint val="75000"/>
                  </a:schemeClr>
                </a:solidFill>
              </a:defRPr>
            </a:lvl8pPr>
            <a:lvl9pPr marL="5364602" indent="0">
              <a:buNone/>
              <a:defRPr sz="2347">
                <a:solidFill>
                  <a:schemeClr val="tx1">
                    <a:tint val="75000"/>
                  </a:schemeClr>
                </a:solidFill>
              </a:defRPr>
            </a:lvl9pPr>
          </a:lstStyle>
          <a:p>
            <a:pPr lvl="0"/>
            <a:r>
              <a:rPr lang="en-US"/>
              <a:t>Tel: 123-456-7890</a:t>
            </a:r>
          </a:p>
        </p:txBody>
      </p:sp>
      <p:sp>
        <p:nvSpPr>
          <p:cNvPr id="13" name="TextBox 12"/>
          <p:cNvSpPr txBox="1"/>
          <p:nvPr/>
        </p:nvSpPr>
        <p:spPr bwMode="gray">
          <a:xfrm>
            <a:off x="726438" y="3718078"/>
            <a:ext cx="4464364" cy="1083374"/>
          </a:xfrm>
          <a:prstGeom prst="rect">
            <a:avLst/>
          </a:prstGeom>
          <a:noFill/>
        </p:spPr>
        <p:txBody>
          <a:bodyPr wrap="none" lIns="0" tIns="0" rIns="0" bIns="0" rtlCol="0">
            <a:spAutoFit/>
          </a:bodyPr>
          <a:lstStyle/>
          <a:p>
            <a:r>
              <a:rPr lang="en-US" sz="7040"/>
              <a:t>Thank you.</a:t>
            </a:r>
          </a:p>
        </p:txBody>
      </p:sp>
      <p:sp>
        <p:nvSpPr>
          <p:cNvPr id="14" name="TextBox 13"/>
          <p:cNvSpPr txBox="1"/>
          <p:nvPr/>
        </p:nvSpPr>
        <p:spPr bwMode="gray">
          <a:xfrm>
            <a:off x="726439" y="5058378"/>
            <a:ext cx="4712829" cy="632033"/>
          </a:xfrm>
          <a:prstGeom prst="rect">
            <a:avLst/>
          </a:prstGeom>
          <a:noFill/>
        </p:spPr>
        <p:txBody>
          <a:bodyPr wrap="none" lIns="0" tIns="0" rIns="0" bIns="0" rtlCol="0">
            <a:spAutoFit/>
          </a:bodyPr>
          <a:lstStyle/>
          <a:p>
            <a:r>
              <a:rPr lang="en-US" sz="4107"/>
              <a:t>Contact information:</a:t>
            </a:r>
          </a:p>
        </p:txBody>
      </p:sp>
      <p:sp>
        <p:nvSpPr>
          <p:cNvPr id="15" name="TextBox 14"/>
          <p:cNvSpPr txBox="1"/>
          <p:nvPr/>
        </p:nvSpPr>
        <p:spPr bwMode="gray">
          <a:xfrm>
            <a:off x="726438" y="3718078"/>
            <a:ext cx="4464364" cy="1083374"/>
          </a:xfrm>
          <a:prstGeom prst="rect">
            <a:avLst/>
          </a:prstGeom>
          <a:noFill/>
        </p:spPr>
        <p:txBody>
          <a:bodyPr wrap="none" lIns="0" tIns="0" rIns="0" bIns="0" rtlCol="0">
            <a:spAutoFit/>
          </a:bodyPr>
          <a:lstStyle/>
          <a:p>
            <a:r>
              <a:rPr lang="en-US" sz="7040"/>
              <a:t>Thank you.</a:t>
            </a:r>
          </a:p>
        </p:txBody>
      </p:sp>
      <p:sp>
        <p:nvSpPr>
          <p:cNvPr id="16" name="TextBox 15"/>
          <p:cNvSpPr txBox="1"/>
          <p:nvPr/>
        </p:nvSpPr>
        <p:spPr bwMode="gray">
          <a:xfrm>
            <a:off x="726439" y="5058378"/>
            <a:ext cx="4712829" cy="632033"/>
          </a:xfrm>
          <a:prstGeom prst="rect">
            <a:avLst/>
          </a:prstGeom>
          <a:noFill/>
        </p:spPr>
        <p:txBody>
          <a:bodyPr wrap="none" lIns="0" tIns="0" rIns="0" bIns="0" rtlCol="0">
            <a:spAutoFit/>
          </a:bodyPr>
          <a:lstStyle/>
          <a:p>
            <a:r>
              <a:rPr lang="en-US" sz="4107"/>
              <a:t>Contact information:</a:t>
            </a:r>
          </a:p>
        </p:txBody>
      </p:sp>
      <p:sp>
        <p:nvSpPr>
          <p:cNvPr id="18" name="TextBox 17">
            <a:extLst>
              <a:ext uri="{FF2B5EF4-FFF2-40B4-BE49-F238E27FC236}">
                <a16:creationId xmlns:a16="http://schemas.microsoft.com/office/drawing/2014/main" id="{3697C69B-4D50-4474-802F-EE8A4106F084}"/>
              </a:ext>
            </a:extLst>
          </p:cNvPr>
          <p:cNvSpPr txBox="1"/>
          <p:nvPr/>
        </p:nvSpPr>
        <p:spPr bwMode="gray">
          <a:xfrm>
            <a:off x="726438" y="3718078"/>
            <a:ext cx="4464364" cy="1083374"/>
          </a:xfrm>
          <a:prstGeom prst="rect">
            <a:avLst/>
          </a:prstGeom>
          <a:noFill/>
        </p:spPr>
        <p:txBody>
          <a:bodyPr wrap="none" lIns="0" tIns="0" rIns="0" bIns="0" rtlCol="0">
            <a:spAutoFit/>
          </a:bodyPr>
          <a:lstStyle/>
          <a:p>
            <a:r>
              <a:rPr lang="en-US" sz="7040"/>
              <a:t>Thank you.</a:t>
            </a:r>
          </a:p>
        </p:txBody>
      </p:sp>
      <p:sp>
        <p:nvSpPr>
          <p:cNvPr id="19" name="TextBox 18">
            <a:extLst>
              <a:ext uri="{FF2B5EF4-FFF2-40B4-BE49-F238E27FC236}">
                <a16:creationId xmlns:a16="http://schemas.microsoft.com/office/drawing/2014/main" id="{F8DBCD9B-C393-41E3-B75C-B8AA746A67C6}"/>
              </a:ext>
            </a:extLst>
          </p:cNvPr>
          <p:cNvSpPr txBox="1"/>
          <p:nvPr/>
        </p:nvSpPr>
        <p:spPr bwMode="gray">
          <a:xfrm>
            <a:off x="726439" y="5058378"/>
            <a:ext cx="4712829" cy="632033"/>
          </a:xfrm>
          <a:prstGeom prst="rect">
            <a:avLst/>
          </a:prstGeom>
          <a:noFill/>
        </p:spPr>
        <p:txBody>
          <a:bodyPr wrap="none" lIns="0" tIns="0" rIns="0" bIns="0" rtlCol="0">
            <a:spAutoFit/>
          </a:bodyPr>
          <a:lstStyle/>
          <a:p>
            <a:r>
              <a:rPr lang="en-US" sz="4107"/>
              <a:t>Contact information:</a:t>
            </a:r>
          </a:p>
        </p:txBody>
      </p:sp>
      <p:sp>
        <p:nvSpPr>
          <p:cNvPr id="21" name="TextBox 20">
            <a:extLst>
              <a:ext uri="{FF2B5EF4-FFF2-40B4-BE49-F238E27FC236}">
                <a16:creationId xmlns:a16="http://schemas.microsoft.com/office/drawing/2014/main" id="{467D2FEC-DAF3-4875-94E0-8EBF2A513F69}"/>
              </a:ext>
            </a:extLst>
          </p:cNvPr>
          <p:cNvSpPr txBox="1"/>
          <p:nvPr/>
        </p:nvSpPr>
        <p:spPr bwMode="gray">
          <a:xfrm>
            <a:off x="726438" y="3718078"/>
            <a:ext cx="4464364" cy="1083374"/>
          </a:xfrm>
          <a:prstGeom prst="rect">
            <a:avLst/>
          </a:prstGeom>
          <a:noFill/>
        </p:spPr>
        <p:txBody>
          <a:bodyPr wrap="none" lIns="0" tIns="0" rIns="0" bIns="0" rtlCol="0">
            <a:spAutoFit/>
          </a:bodyPr>
          <a:lstStyle/>
          <a:p>
            <a:r>
              <a:rPr lang="en-US" sz="7040"/>
              <a:t>Thank you.</a:t>
            </a:r>
          </a:p>
        </p:txBody>
      </p:sp>
      <p:sp>
        <p:nvSpPr>
          <p:cNvPr id="22" name="TextBox 21">
            <a:extLst>
              <a:ext uri="{FF2B5EF4-FFF2-40B4-BE49-F238E27FC236}">
                <a16:creationId xmlns:a16="http://schemas.microsoft.com/office/drawing/2014/main" id="{8FD6F8B7-CA47-4CE4-A386-3119AE35CA2B}"/>
              </a:ext>
            </a:extLst>
          </p:cNvPr>
          <p:cNvSpPr txBox="1"/>
          <p:nvPr/>
        </p:nvSpPr>
        <p:spPr bwMode="gray">
          <a:xfrm>
            <a:off x="726439" y="5058378"/>
            <a:ext cx="4712829" cy="632033"/>
          </a:xfrm>
          <a:prstGeom prst="rect">
            <a:avLst/>
          </a:prstGeom>
          <a:noFill/>
        </p:spPr>
        <p:txBody>
          <a:bodyPr wrap="none" lIns="0" tIns="0" rIns="0" bIns="0" rtlCol="0">
            <a:spAutoFit/>
          </a:bodyPr>
          <a:lstStyle/>
          <a:p>
            <a:r>
              <a:rPr lang="en-US" sz="4107"/>
              <a:t>Contact information:</a:t>
            </a:r>
          </a:p>
        </p:txBody>
      </p:sp>
      <p:sp>
        <p:nvSpPr>
          <p:cNvPr id="23" name="Rectangle 22">
            <a:extLst>
              <a:ext uri="{FF2B5EF4-FFF2-40B4-BE49-F238E27FC236}">
                <a16:creationId xmlns:a16="http://schemas.microsoft.com/office/drawing/2014/main" id="{ECF35A84-66E1-4F72-848D-DB6EF4825F09}"/>
              </a:ext>
            </a:extLst>
          </p:cNvPr>
          <p:cNvSpPr/>
          <p:nvPr/>
        </p:nvSpPr>
        <p:spPr bwMode="gray">
          <a:xfrm>
            <a:off x="11734800" y="0"/>
            <a:ext cx="6146800" cy="100584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62967" tIns="210373" rIns="262967" bIns="210373" numCol="1" spcCol="0" rtlCol="0" fromWordArt="0" anchor="t" anchorCtr="0" forceAA="0" compatLnSpc="1">
            <a:prstTxWarp prst="textNoShape">
              <a:avLst/>
            </a:prstTxWarp>
            <a:noAutofit/>
          </a:bodyPr>
          <a:lstStyle/>
          <a:p>
            <a:pPr algn="ctr" defTabSz="1340851" fontAlgn="base">
              <a:lnSpc>
                <a:spcPct val="90000"/>
              </a:lnSpc>
              <a:spcBef>
                <a:spcPct val="0"/>
              </a:spcBef>
              <a:spcAft>
                <a:spcPct val="0"/>
              </a:spcAft>
            </a:pPr>
            <a:endParaRPr lang="en-US" sz="3520">
              <a:gradFill>
                <a:gsLst>
                  <a:gs pos="0">
                    <a:srgbClr val="FFFFFF"/>
                  </a:gs>
                  <a:gs pos="100000">
                    <a:srgbClr val="FFFFFF"/>
                  </a:gs>
                </a:gsLst>
                <a:lin ang="5400000" scaled="0"/>
              </a:gradFill>
              <a:ea typeface="Segoe UI" pitchFamily="34" charset="0"/>
              <a:cs typeface="Arial" panose="020B0604020202020204" pitchFamily="34" charset="0"/>
            </a:endParaRPr>
          </a:p>
        </p:txBody>
      </p:sp>
      <p:sp>
        <p:nvSpPr>
          <p:cNvPr id="20" name="TextBox 19">
            <a:extLst>
              <a:ext uri="{FF2B5EF4-FFF2-40B4-BE49-F238E27FC236}">
                <a16:creationId xmlns:a16="http://schemas.microsoft.com/office/drawing/2014/main" id="{9B5C631F-7697-4F1B-8714-C0FB92455C90}"/>
              </a:ext>
            </a:extLst>
          </p:cNvPr>
          <p:cNvSpPr txBox="1"/>
          <p:nvPr userDrawn="1"/>
        </p:nvSpPr>
        <p:spPr bwMode="gray">
          <a:xfrm>
            <a:off x="726438" y="3718078"/>
            <a:ext cx="4464364" cy="1083374"/>
          </a:xfrm>
          <a:prstGeom prst="rect">
            <a:avLst/>
          </a:prstGeom>
          <a:noFill/>
        </p:spPr>
        <p:txBody>
          <a:bodyPr wrap="none" lIns="0" tIns="0" rIns="0" bIns="0" rtlCol="0">
            <a:spAutoFit/>
          </a:bodyPr>
          <a:lstStyle/>
          <a:p>
            <a:r>
              <a:rPr lang="en-US" sz="7040"/>
              <a:t>Thank you.</a:t>
            </a:r>
          </a:p>
        </p:txBody>
      </p:sp>
      <p:sp>
        <p:nvSpPr>
          <p:cNvPr id="24" name="TextBox 23">
            <a:extLst>
              <a:ext uri="{FF2B5EF4-FFF2-40B4-BE49-F238E27FC236}">
                <a16:creationId xmlns:a16="http://schemas.microsoft.com/office/drawing/2014/main" id="{27064FA5-4491-4A03-9A51-22D3BD408E7B}"/>
              </a:ext>
            </a:extLst>
          </p:cNvPr>
          <p:cNvSpPr txBox="1"/>
          <p:nvPr userDrawn="1"/>
        </p:nvSpPr>
        <p:spPr bwMode="gray">
          <a:xfrm>
            <a:off x="726439" y="5058378"/>
            <a:ext cx="4712829" cy="632033"/>
          </a:xfrm>
          <a:prstGeom prst="rect">
            <a:avLst/>
          </a:prstGeom>
          <a:noFill/>
        </p:spPr>
        <p:txBody>
          <a:bodyPr wrap="none" lIns="0" tIns="0" rIns="0" bIns="0" rtlCol="0">
            <a:spAutoFit/>
          </a:bodyPr>
          <a:lstStyle/>
          <a:p>
            <a:r>
              <a:rPr lang="en-US" sz="4107"/>
              <a:t>Contact information:</a:t>
            </a:r>
          </a:p>
        </p:txBody>
      </p:sp>
      <p:sp>
        <p:nvSpPr>
          <p:cNvPr id="25" name="Rectangle 24">
            <a:extLst>
              <a:ext uri="{FF2B5EF4-FFF2-40B4-BE49-F238E27FC236}">
                <a16:creationId xmlns:a16="http://schemas.microsoft.com/office/drawing/2014/main" id="{C3AAB011-BE67-4CF8-9EF1-35D61D12B95A}"/>
              </a:ext>
            </a:extLst>
          </p:cNvPr>
          <p:cNvSpPr/>
          <p:nvPr userDrawn="1"/>
        </p:nvSpPr>
        <p:spPr bwMode="gray">
          <a:xfrm>
            <a:off x="11734800" y="0"/>
            <a:ext cx="6146800" cy="100584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62967" tIns="210373" rIns="262967" bIns="210373" numCol="1" spcCol="0" rtlCol="0" fromWordArt="0" anchor="t" anchorCtr="0" forceAA="0" compatLnSpc="1">
            <a:prstTxWarp prst="textNoShape">
              <a:avLst/>
            </a:prstTxWarp>
            <a:noAutofit/>
          </a:bodyPr>
          <a:lstStyle/>
          <a:p>
            <a:pPr algn="ctr" defTabSz="1340851" fontAlgn="base">
              <a:lnSpc>
                <a:spcPct val="90000"/>
              </a:lnSpc>
              <a:spcBef>
                <a:spcPct val="0"/>
              </a:spcBef>
              <a:spcAft>
                <a:spcPct val="0"/>
              </a:spcAft>
            </a:pPr>
            <a:endParaRPr lang="en-US" sz="3520">
              <a:gradFill>
                <a:gsLst>
                  <a:gs pos="0">
                    <a:srgbClr val="FFFFFF"/>
                  </a:gs>
                  <a:gs pos="100000">
                    <a:srgbClr val="FFFFFF"/>
                  </a:gs>
                </a:gsLst>
                <a:lin ang="5400000" scaled="0"/>
              </a:gradFill>
              <a:ea typeface="Segoe UI" pitchFamily="34" charset="0"/>
              <a:cs typeface="Arial" panose="020B0604020202020204" pitchFamily="34" charset="0"/>
            </a:endParaRPr>
          </a:p>
        </p:txBody>
      </p:sp>
      <p:pic>
        <p:nvPicPr>
          <p:cNvPr id="26" name="Picture 25">
            <a:extLst>
              <a:ext uri="{FF2B5EF4-FFF2-40B4-BE49-F238E27FC236}">
                <a16:creationId xmlns:a16="http://schemas.microsoft.com/office/drawing/2014/main" id="{575566DA-C2EA-4020-A279-586AEBF51D51}"/>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575833" y="9186271"/>
            <a:ext cx="2091110" cy="651982"/>
          </a:xfrm>
          <a:prstGeom prst="rect">
            <a:avLst/>
          </a:prstGeom>
        </p:spPr>
      </p:pic>
    </p:spTree>
    <p:extLst>
      <p:ext uri="{BB962C8B-B14F-4D97-AF65-F5344CB8AC3E}">
        <p14:creationId xmlns:p14="http://schemas.microsoft.com/office/powerpoint/2010/main" val="1951513590"/>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blank">
  <p:cSld name="1_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E225FB8-2FE1-6946-B66C-01D2C3213A04}"/>
              </a:ext>
            </a:extLst>
          </p:cNvPr>
          <p:cNvSpPr>
            <a:spLocks noGrp="1"/>
          </p:cNvSpPr>
          <p:nvPr>
            <p:ph type="dt" sz="half" idx="10"/>
          </p:nvPr>
        </p:nvSpPr>
        <p:spPr/>
        <p:txBody>
          <a:bodyPr/>
          <a:lstStyle/>
          <a:p>
            <a:fld id="{4C4F3DFC-9AB4-D541-AA87-128DF357DCD9}" type="datetimeFigureOut">
              <a:rPr lang="en-US" smtClean="0"/>
              <a:t>4/21/21</a:t>
            </a:fld>
            <a:endParaRPr lang="en-US"/>
          </a:p>
        </p:txBody>
      </p:sp>
      <p:sp>
        <p:nvSpPr>
          <p:cNvPr id="3" name="Footer Placeholder 2">
            <a:extLst>
              <a:ext uri="{FF2B5EF4-FFF2-40B4-BE49-F238E27FC236}">
                <a16:creationId xmlns:a16="http://schemas.microsoft.com/office/drawing/2014/main" id="{E44DB7E7-E09E-F043-95F8-10650C6726C4}"/>
              </a:ext>
            </a:extLst>
          </p:cNvPr>
          <p:cNvSpPr>
            <a:spLocks noGrp="1"/>
          </p:cNvSpPr>
          <p:nvPr>
            <p:ph type="ftr" sz="quarter" idx="11"/>
          </p:nvPr>
        </p:nvSpPr>
        <p:spPr>
          <a:xfrm>
            <a:off x="7767321" y="9514241"/>
            <a:ext cx="8689339" cy="535517"/>
          </a:xfrm>
          <a:prstGeom prst="rect">
            <a:avLst/>
          </a:prstGeom>
        </p:spPr>
        <p:txBody>
          <a:bodyPr/>
          <a:lstStyle/>
          <a:p>
            <a:endParaRPr lang="en-US"/>
          </a:p>
        </p:txBody>
      </p:sp>
      <p:sp>
        <p:nvSpPr>
          <p:cNvPr id="4" name="Slide Number Placeholder 3">
            <a:extLst>
              <a:ext uri="{FF2B5EF4-FFF2-40B4-BE49-F238E27FC236}">
                <a16:creationId xmlns:a16="http://schemas.microsoft.com/office/drawing/2014/main" id="{470F0BFE-6B3A-2444-AFF2-8AE06351E74F}"/>
              </a:ext>
            </a:extLst>
          </p:cNvPr>
          <p:cNvSpPr>
            <a:spLocks noGrp="1"/>
          </p:cNvSpPr>
          <p:nvPr>
            <p:ph type="sldNum" sz="quarter" idx="12"/>
          </p:nvPr>
        </p:nvSpPr>
        <p:spPr/>
        <p:txBody>
          <a:bodyPr/>
          <a:lstStyle/>
          <a:p>
            <a:fld id="{5952A4A0-65D5-344F-99FC-E17A353021EA}" type="slidenum">
              <a:rPr lang="en-US" smtClean="0"/>
              <a:t>‹#›</a:t>
            </a:fld>
            <a:endParaRPr lang="en-US"/>
          </a:p>
        </p:txBody>
      </p:sp>
    </p:spTree>
    <p:extLst>
      <p:ext uri="{BB962C8B-B14F-4D97-AF65-F5344CB8AC3E}">
        <p14:creationId xmlns:p14="http://schemas.microsoft.com/office/powerpoint/2010/main" val="1161208876"/>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B256CB5-CA45-A647-8B97-0DE194934A2B}"/>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3F99F695-06CA-0D48-A0BD-0C4B047F25C3}"/>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1B3E3B9-0FE0-7348-99BF-EF7F005742CF}"/>
              </a:ext>
            </a:extLst>
          </p:cNvPr>
          <p:cNvSpPr>
            <a:spLocks noGrp="1"/>
          </p:cNvSpPr>
          <p:nvPr>
            <p:ph type="dt" sz="half" idx="10"/>
          </p:nvPr>
        </p:nvSpPr>
        <p:spPr/>
        <p:txBody>
          <a:bodyPr/>
          <a:lstStyle/>
          <a:p>
            <a:fld id="{1D92C821-336A-ED43-AEA2-356CF1A3EF3F}" type="datetimeFigureOut">
              <a:rPr lang="en-US" smtClean="0"/>
              <a:t>4/21/21</a:t>
            </a:fld>
            <a:endParaRPr lang="en-US"/>
          </a:p>
        </p:txBody>
      </p:sp>
      <p:sp>
        <p:nvSpPr>
          <p:cNvPr id="5" name="Footer Placeholder 4">
            <a:extLst>
              <a:ext uri="{FF2B5EF4-FFF2-40B4-BE49-F238E27FC236}">
                <a16:creationId xmlns:a16="http://schemas.microsoft.com/office/drawing/2014/main" id="{42C83D3B-F02C-D942-8118-D1453FD91562}"/>
              </a:ext>
            </a:extLst>
          </p:cNvPr>
          <p:cNvSpPr>
            <a:spLocks noGrp="1"/>
          </p:cNvSpPr>
          <p:nvPr>
            <p:ph type="ftr" sz="quarter" idx="11"/>
          </p:nvPr>
        </p:nvSpPr>
        <p:spPr>
          <a:xfrm>
            <a:off x="7767321" y="9514241"/>
            <a:ext cx="8689339" cy="535517"/>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D974455F-3E83-8746-9342-6D12B6E932A2}"/>
              </a:ext>
            </a:extLst>
          </p:cNvPr>
          <p:cNvSpPr>
            <a:spLocks noGrp="1"/>
          </p:cNvSpPr>
          <p:nvPr>
            <p:ph type="sldNum" sz="quarter" idx="12"/>
          </p:nvPr>
        </p:nvSpPr>
        <p:spPr/>
        <p:txBody>
          <a:bodyPr/>
          <a:lstStyle/>
          <a:p>
            <a:fld id="{2F3B8A30-34A2-9B49-B6D8-6EAAD5478F99}" type="slidenum">
              <a:rPr lang="en-US" smtClean="0"/>
              <a:t>‹#›</a:t>
            </a:fld>
            <a:endParaRPr lang="en-US"/>
          </a:p>
        </p:txBody>
      </p:sp>
    </p:spTree>
    <p:extLst>
      <p:ext uri="{BB962C8B-B14F-4D97-AF65-F5344CB8AC3E}">
        <p14:creationId xmlns:p14="http://schemas.microsoft.com/office/powerpoint/2010/main" val="17756659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3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3 Column | Type insightful headline in sentence case | One line</a:t>
            </a:r>
          </a:p>
        </p:txBody>
      </p:sp>
      <p:sp>
        <p:nvSpPr>
          <p:cNvPr id="3" name="Date Placeholder 2"/>
          <p:cNvSpPr>
            <a:spLocks noGrp="1"/>
          </p:cNvSpPr>
          <p:nvPr>
            <p:ph type="dt" sz="half" idx="10"/>
          </p:nvPr>
        </p:nvSpPr>
        <p:spPr/>
        <p:txBody>
          <a:bodyPr/>
          <a:lstStyle/>
          <a:p>
            <a:fld id="{3C2D1DD2-59B6-174B-8731-70C534CA7B1B}" type="datetime1">
              <a:rPr lang="en-US" smtClean="0"/>
              <a:t>4/21/21</a:t>
            </a:fld>
            <a:endParaRPr lang="en-US"/>
          </a:p>
        </p:txBody>
      </p:sp>
      <p:sp>
        <p:nvSpPr>
          <p:cNvPr id="5" name="Slide Number Placeholder 4"/>
          <p:cNvSpPr>
            <a:spLocks noGrp="1"/>
          </p:cNvSpPr>
          <p:nvPr>
            <p:ph type="sldNum" sz="quarter" idx="12"/>
          </p:nvPr>
        </p:nvSpPr>
        <p:spPr/>
        <p:txBody>
          <a:bodyPr/>
          <a:lstStyle/>
          <a:p>
            <a:fld id="{3310D8EA-3107-4873-B9AB-DD7D3E79053A}" type="slidenum">
              <a:rPr lang="en-US" smtClean="0"/>
              <a:t>‹#›</a:t>
            </a:fld>
            <a:endParaRPr lang="en-US"/>
          </a:p>
        </p:txBody>
      </p:sp>
      <p:sp>
        <p:nvSpPr>
          <p:cNvPr id="6" name="Text Placeholder 7"/>
          <p:cNvSpPr>
            <a:spLocks noGrp="1"/>
          </p:cNvSpPr>
          <p:nvPr>
            <p:ph type="body" sz="quarter" idx="13" hasCustomPrompt="1"/>
          </p:nvPr>
        </p:nvSpPr>
        <p:spPr>
          <a:xfrm>
            <a:off x="726439" y="1640149"/>
            <a:ext cx="16596361" cy="721783"/>
          </a:xfrm>
        </p:spPr>
        <p:txBody>
          <a:bodyPr/>
          <a:lstStyle>
            <a:lvl1pPr>
              <a:defRPr sz="3315">
                <a:solidFill>
                  <a:schemeClr val="accent4"/>
                </a:solidFill>
              </a:defRPr>
            </a:lvl1pPr>
          </a:lstStyle>
          <a:p>
            <a:pPr lvl="0"/>
            <a:r>
              <a:rPr lang="en-US" dirty="0"/>
              <a:t>Use this space for one line subhead if needed | One line</a:t>
            </a:r>
          </a:p>
        </p:txBody>
      </p:sp>
      <p:sp>
        <p:nvSpPr>
          <p:cNvPr id="8" name="Text Placeholder 7"/>
          <p:cNvSpPr>
            <a:spLocks noGrp="1"/>
          </p:cNvSpPr>
          <p:nvPr>
            <p:ph type="body" sz="quarter" idx="14" hasCustomPrompt="1"/>
          </p:nvPr>
        </p:nvSpPr>
        <p:spPr>
          <a:xfrm>
            <a:off x="726441" y="2682238"/>
            <a:ext cx="5364480" cy="973243"/>
          </a:xfrm>
          <a:solidFill>
            <a:schemeClr val="tx2"/>
          </a:solidFill>
        </p:spPr>
        <p:txBody>
          <a:bodyPr lIns="137160" anchor="ctr"/>
          <a:lstStyle>
            <a:lvl1pPr algn="l">
              <a:lnSpc>
                <a:spcPct val="90000"/>
              </a:lnSpc>
              <a:spcBef>
                <a:spcPts val="0"/>
              </a:spcBef>
              <a:spcAft>
                <a:spcPts val="0"/>
              </a:spcAft>
              <a:defRPr sz="2295">
                <a:solidFill>
                  <a:schemeClr val="bg1"/>
                </a:solidFill>
              </a:defRPr>
            </a:lvl1pPr>
          </a:lstStyle>
          <a:p>
            <a:pPr lvl="0"/>
            <a:r>
              <a:rPr lang="en-US" dirty="0"/>
              <a:t>Header</a:t>
            </a:r>
          </a:p>
        </p:txBody>
      </p:sp>
      <p:sp>
        <p:nvSpPr>
          <p:cNvPr id="27" name="Text Placeholder 7"/>
          <p:cNvSpPr>
            <a:spLocks noGrp="1"/>
          </p:cNvSpPr>
          <p:nvPr>
            <p:ph type="body" sz="quarter" idx="15" hasCustomPrompt="1"/>
          </p:nvPr>
        </p:nvSpPr>
        <p:spPr>
          <a:xfrm>
            <a:off x="6359897" y="2682238"/>
            <a:ext cx="5364480" cy="973243"/>
          </a:xfrm>
          <a:solidFill>
            <a:schemeClr val="accent2"/>
          </a:solidFill>
        </p:spPr>
        <p:txBody>
          <a:bodyPr lIns="137160" anchor="ctr"/>
          <a:lstStyle>
            <a:lvl1pPr>
              <a:lnSpc>
                <a:spcPct val="90000"/>
              </a:lnSpc>
              <a:spcBef>
                <a:spcPts val="0"/>
              </a:spcBef>
              <a:spcAft>
                <a:spcPts val="0"/>
              </a:spcAft>
              <a:defRPr sz="2295">
                <a:solidFill>
                  <a:schemeClr val="bg1"/>
                </a:solidFill>
              </a:defRPr>
            </a:lvl1pPr>
          </a:lstStyle>
          <a:p>
            <a:pPr lvl="0"/>
            <a:r>
              <a:rPr lang="en-US" dirty="0"/>
              <a:t>Header</a:t>
            </a:r>
          </a:p>
        </p:txBody>
      </p:sp>
      <p:sp>
        <p:nvSpPr>
          <p:cNvPr id="28" name="Text Placeholder 7"/>
          <p:cNvSpPr>
            <a:spLocks noGrp="1"/>
          </p:cNvSpPr>
          <p:nvPr>
            <p:ph type="body" sz="quarter" idx="16" hasCustomPrompt="1"/>
          </p:nvPr>
        </p:nvSpPr>
        <p:spPr>
          <a:xfrm>
            <a:off x="11993351" y="2682238"/>
            <a:ext cx="5364480" cy="973243"/>
          </a:xfrm>
          <a:solidFill>
            <a:schemeClr val="accent4"/>
          </a:solidFill>
        </p:spPr>
        <p:txBody>
          <a:bodyPr lIns="137160" anchor="ctr"/>
          <a:lstStyle>
            <a:lvl1pPr>
              <a:lnSpc>
                <a:spcPct val="90000"/>
              </a:lnSpc>
              <a:spcBef>
                <a:spcPts val="0"/>
              </a:spcBef>
              <a:spcAft>
                <a:spcPts val="0"/>
              </a:spcAft>
              <a:defRPr sz="2295">
                <a:solidFill>
                  <a:schemeClr val="bg1"/>
                </a:solidFill>
              </a:defRPr>
            </a:lvl1pPr>
          </a:lstStyle>
          <a:p>
            <a:pPr lvl="0"/>
            <a:r>
              <a:rPr lang="en-US" dirty="0"/>
              <a:t>Header</a:t>
            </a:r>
          </a:p>
        </p:txBody>
      </p:sp>
      <p:sp>
        <p:nvSpPr>
          <p:cNvPr id="31" name="Text Placeholder 7"/>
          <p:cNvSpPr>
            <a:spLocks noGrp="1"/>
          </p:cNvSpPr>
          <p:nvPr>
            <p:ph type="body" sz="quarter" idx="19" hasCustomPrompt="1"/>
          </p:nvPr>
        </p:nvSpPr>
        <p:spPr>
          <a:xfrm>
            <a:off x="726441" y="3655480"/>
            <a:ext cx="5364480" cy="5005921"/>
          </a:xfrm>
          <a:solidFill>
            <a:schemeClr val="accent3">
              <a:lumMod val="20000"/>
              <a:lumOff val="80000"/>
            </a:schemeClr>
          </a:solidFill>
        </p:spPr>
        <p:txBody>
          <a:bodyPr lIns="137160" tIns="137160" anchor="t"/>
          <a:lstStyle>
            <a:lvl1pPr marL="0" indent="0" algn="l">
              <a:lnSpc>
                <a:spcPct val="90000"/>
              </a:lnSpc>
              <a:spcBef>
                <a:spcPts val="0"/>
              </a:spcBef>
              <a:spcAft>
                <a:spcPts val="0"/>
              </a:spcAft>
              <a:buFont typeface="Arial" panose="020B0604020202020204" pitchFamily="34" charset="0"/>
              <a:buNone/>
              <a:defRPr sz="2295">
                <a:solidFill>
                  <a:schemeClr val="tx1"/>
                </a:solidFill>
              </a:defRPr>
            </a:lvl1pPr>
          </a:lstStyle>
          <a:p>
            <a:pPr lvl="0"/>
            <a:r>
              <a:rPr lang="en-US" dirty="0"/>
              <a:t>Text – add bullet if needed</a:t>
            </a:r>
          </a:p>
        </p:txBody>
      </p:sp>
      <p:sp>
        <p:nvSpPr>
          <p:cNvPr id="32" name="Text Placeholder 7"/>
          <p:cNvSpPr>
            <a:spLocks noGrp="1"/>
          </p:cNvSpPr>
          <p:nvPr>
            <p:ph type="body" sz="quarter" idx="20" hasCustomPrompt="1"/>
          </p:nvPr>
        </p:nvSpPr>
        <p:spPr>
          <a:xfrm>
            <a:off x="6359897" y="3655480"/>
            <a:ext cx="5364480" cy="5005921"/>
          </a:xfrm>
          <a:solidFill>
            <a:schemeClr val="accent3">
              <a:lumMod val="20000"/>
              <a:lumOff val="80000"/>
            </a:schemeClr>
          </a:solidFill>
        </p:spPr>
        <p:txBody>
          <a:bodyPr lIns="137160" tIns="137160" anchor="t"/>
          <a:lstStyle>
            <a:lvl1pPr marL="0" indent="0" algn="l">
              <a:lnSpc>
                <a:spcPct val="90000"/>
              </a:lnSpc>
              <a:spcBef>
                <a:spcPts val="0"/>
              </a:spcBef>
              <a:spcAft>
                <a:spcPts val="0"/>
              </a:spcAft>
              <a:buFont typeface="Arial" panose="020B0604020202020204" pitchFamily="34" charset="0"/>
              <a:buNone/>
              <a:defRPr sz="2295">
                <a:solidFill>
                  <a:schemeClr val="tx1"/>
                </a:solidFill>
              </a:defRPr>
            </a:lvl1pPr>
          </a:lstStyle>
          <a:p>
            <a:pPr lvl="0"/>
            <a:r>
              <a:rPr lang="en-US" dirty="0"/>
              <a:t>Text – add bullet if needed</a:t>
            </a:r>
          </a:p>
        </p:txBody>
      </p:sp>
      <p:sp>
        <p:nvSpPr>
          <p:cNvPr id="33" name="Text Placeholder 7"/>
          <p:cNvSpPr>
            <a:spLocks noGrp="1"/>
          </p:cNvSpPr>
          <p:nvPr>
            <p:ph type="body" sz="quarter" idx="21" hasCustomPrompt="1"/>
          </p:nvPr>
        </p:nvSpPr>
        <p:spPr>
          <a:xfrm>
            <a:off x="11993351" y="3655480"/>
            <a:ext cx="5364480" cy="5005921"/>
          </a:xfrm>
          <a:solidFill>
            <a:schemeClr val="accent3">
              <a:lumMod val="20000"/>
              <a:lumOff val="80000"/>
            </a:schemeClr>
          </a:solidFill>
        </p:spPr>
        <p:txBody>
          <a:bodyPr lIns="137160" tIns="137160" anchor="t"/>
          <a:lstStyle>
            <a:lvl1pPr marL="0" indent="0" algn="l">
              <a:lnSpc>
                <a:spcPct val="90000"/>
              </a:lnSpc>
              <a:spcBef>
                <a:spcPts val="0"/>
              </a:spcBef>
              <a:spcAft>
                <a:spcPts val="0"/>
              </a:spcAft>
              <a:buFont typeface="Arial" panose="020B0604020202020204" pitchFamily="34" charset="0"/>
              <a:buNone/>
              <a:defRPr sz="2295">
                <a:solidFill>
                  <a:schemeClr val="tx1"/>
                </a:solidFill>
              </a:defRPr>
            </a:lvl1pPr>
          </a:lstStyle>
          <a:p>
            <a:pPr lvl="0"/>
            <a:r>
              <a:rPr lang="en-US" dirty="0"/>
              <a:t>Text – add bullet if needed</a:t>
            </a:r>
          </a:p>
        </p:txBody>
      </p:sp>
    </p:spTree>
    <p:extLst>
      <p:ext uri="{BB962C8B-B14F-4D97-AF65-F5344CB8AC3E}">
        <p14:creationId xmlns:p14="http://schemas.microsoft.com/office/powerpoint/2010/main" val="6328911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2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2 Column | Type insightful headline in sentence case | One line</a:t>
            </a:r>
          </a:p>
        </p:txBody>
      </p:sp>
      <p:sp>
        <p:nvSpPr>
          <p:cNvPr id="3" name="Date Placeholder 2"/>
          <p:cNvSpPr>
            <a:spLocks noGrp="1"/>
          </p:cNvSpPr>
          <p:nvPr>
            <p:ph type="dt" sz="half" idx="10"/>
          </p:nvPr>
        </p:nvSpPr>
        <p:spPr/>
        <p:txBody>
          <a:bodyPr/>
          <a:lstStyle/>
          <a:p>
            <a:fld id="{7CDF68E2-839F-6C4B-BC8D-7D42D0F25DFD}" type="datetime1">
              <a:rPr lang="en-US" smtClean="0"/>
              <a:t>4/21/21</a:t>
            </a:fld>
            <a:endParaRPr lang="en-US"/>
          </a:p>
        </p:txBody>
      </p:sp>
      <p:sp>
        <p:nvSpPr>
          <p:cNvPr id="5" name="Slide Number Placeholder 4"/>
          <p:cNvSpPr>
            <a:spLocks noGrp="1"/>
          </p:cNvSpPr>
          <p:nvPr>
            <p:ph type="sldNum" sz="quarter" idx="12"/>
          </p:nvPr>
        </p:nvSpPr>
        <p:spPr/>
        <p:txBody>
          <a:bodyPr/>
          <a:lstStyle/>
          <a:p>
            <a:fld id="{3310D8EA-3107-4873-B9AB-DD7D3E79053A}" type="slidenum">
              <a:rPr lang="en-US" smtClean="0"/>
              <a:t>‹#›</a:t>
            </a:fld>
            <a:endParaRPr lang="en-US"/>
          </a:p>
        </p:txBody>
      </p:sp>
      <p:sp>
        <p:nvSpPr>
          <p:cNvPr id="6" name="Text Placeholder 7"/>
          <p:cNvSpPr>
            <a:spLocks noGrp="1"/>
          </p:cNvSpPr>
          <p:nvPr>
            <p:ph type="body" sz="quarter" idx="13" hasCustomPrompt="1"/>
          </p:nvPr>
        </p:nvSpPr>
        <p:spPr>
          <a:xfrm>
            <a:off x="726439" y="1640149"/>
            <a:ext cx="16596361" cy="721783"/>
          </a:xfrm>
        </p:spPr>
        <p:txBody>
          <a:bodyPr/>
          <a:lstStyle>
            <a:lvl1pPr>
              <a:defRPr sz="3315">
                <a:solidFill>
                  <a:schemeClr val="accent4"/>
                </a:solidFill>
              </a:defRPr>
            </a:lvl1pPr>
          </a:lstStyle>
          <a:p>
            <a:pPr lvl="0"/>
            <a:r>
              <a:rPr lang="en-US" dirty="0"/>
              <a:t>Use this space for one line subhead if needed | One line</a:t>
            </a:r>
          </a:p>
        </p:txBody>
      </p:sp>
      <p:sp>
        <p:nvSpPr>
          <p:cNvPr id="8" name="Text Placeholder 7"/>
          <p:cNvSpPr>
            <a:spLocks noGrp="1"/>
          </p:cNvSpPr>
          <p:nvPr>
            <p:ph type="body" sz="quarter" idx="14" hasCustomPrompt="1"/>
          </p:nvPr>
        </p:nvSpPr>
        <p:spPr>
          <a:xfrm>
            <a:off x="726438" y="2682242"/>
            <a:ext cx="8046720" cy="973243"/>
          </a:xfrm>
          <a:solidFill>
            <a:schemeClr val="tx2"/>
          </a:solidFill>
        </p:spPr>
        <p:txBody>
          <a:bodyPr lIns="137160" anchor="ctr"/>
          <a:lstStyle>
            <a:lvl1pPr algn="l">
              <a:lnSpc>
                <a:spcPct val="90000"/>
              </a:lnSpc>
              <a:spcBef>
                <a:spcPts val="0"/>
              </a:spcBef>
              <a:spcAft>
                <a:spcPts val="0"/>
              </a:spcAft>
              <a:defRPr sz="2295">
                <a:solidFill>
                  <a:schemeClr val="bg1"/>
                </a:solidFill>
              </a:defRPr>
            </a:lvl1pPr>
          </a:lstStyle>
          <a:p>
            <a:pPr lvl="0"/>
            <a:r>
              <a:rPr lang="en-US" dirty="0"/>
              <a:t>Header</a:t>
            </a:r>
          </a:p>
        </p:txBody>
      </p:sp>
      <p:sp>
        <p:nvSpPr>
          <p:cNvPr id="28" name="Text Placeholder 7"/>
          <p:cNvSpPr>
            <a:spLocks noGrp="1"/>
          </p:cNvSpPr>
          <p:nvPr>
            <p:ph type="body" sz="quarter" idx="16" hasCustomPrompt="1"/>
          </p:nvPr>
        </p:nvSpPr>
        <p:spPr>
          <a:xfrm>
            <a:off x="9260111" y="2682238"/>
            <a:ext cx="8046720" cy="973243"/>
          </a:xfrm>
          <a:solidFill>
            <a:schemeClr val="accent2"/>
          </a:solidFill>
        </p:spPr>
        <p:txBody>
          <a:bodyPr lIns="137160" anchor="ctr"/>
          <a:lstStyle>
            <a:lvl1pPr>
              <a:lnSpc>
                <a:spcPct val="90000"/>
              </a:lnSpc>
              <a:spcBef>
                <a:spcPts val="0"/>
              </a:spcBef>
              <a:spcAft>
                <a:spcPts val="0"/>
              </a:spcAft>
              <a:defRPr sz="2295">
                <a:solidFill>
                  <a:schemeClr val="bg1"/>
                </a:solidFill>
              </a:defRPr>
            </a:lvl1pPr>
          </a:lstStyle>
          <a:p>
            <a:pPr lvl="0"/>
            <a:r>
              <a:rPr lang="en-US" dirty="0"/>
              <a:t>Header</a:t>
            </a:r>
          </a:p>
        </p:txBody>
      </p:sp>
      <p:sp>
        <p:nvSpPr>
          <p:cNvPr id="31" name="Text Placeholder 7"/>
          <p:cNvSpPr>
            <a:spLocks noGrp="1"/>
          </p:cNvSpPr>
          <p:nvPr>
            <p:ph type="body" sz="quarter" idx="19" hasCustomPrompt="1"/>
          </p:nvPr>
        </p:nvSpPr>
        <p:spPr>
          <a:xfrm>
            <a:off x="726438" y="3655480"/>
            <a:ext cx="8046720" cy="5005921"/>
          </a:xfrm>
          <a:solidFill>
            <a:schemeClr val="accent3">
              <a:lumMod val="20000"/>
              <a:lumOff val="80000"/>
            </a:schemeClr>
          </a:solidFill>
        </p:spPr>
        <p:txBody>
          <a:bodyPr lIns="137160" tIns="137160" anchor="t"/>
          <a:lstStyle>
            <a:lvl1pPr marL="0" indent="0" algn="l">
              <a:lnSpc>
                <a:spcPct val="90000"/>
              </a:lnSpc>
              <a:spcBef>
                <a:spcPts val="0"/>
              </a:spcBef>
              <a:spcAft>
                <a:spcPts val="0"/>
              </a:spcAft>
              <a:buFont typeface="Arial" panose="020B0604020202020204" pitchFamily="34" charset="0"/>
              <a:buNone/>
              <a:defRPr sz="2295">
                <a:solidFill>
                  <a:schemeClr val="tx1"/>
                </a:solidFill>
              </a:defRPr>
            </a:lvl1pPr>
          </a:lstStyle>
          <a:p>
            <a:pPr lvl="0"/>
            <a:r>
              <a:rPr lang="en-US" dirty="0"/>
              <a:t>Text – add bullet if needed</a:t>
            </a:r>
          </a:p>
        </p:txBody>
      </p:sp>
      <p:sp>
        <p:nvSpPr>
          <p:cNvPr id="33" name="Text Placeholder 7"/>
          <p:cNvSpPr>
            <a:spLocks noGrp="1"/>
          </p:cNvSpPr>
          <p:nvPr>
            <p:ph type="body" sz="quarter" idx="21" hasCustomPrompt="1"/>
          </p:nvPr>
        </p:nvSpPr>
        <p:spPr>
          <a:xfrm>
            <a:off x="9260111" y="3655480"/>
            <a:ext cx="8046720" cy="5005921"/>
          </a:xfrm>
          <a:solidFill>
            <a:schemeClr val="accent3">
              <a:lumMod val="20000"/>
              <a:lumOff val="80000"/>
            </a:schemeClr>
          </a:solidFill>
        </p:spPr>
        <p:txBody>
          <a:bodyPr lIns="137160" tIns="137160" anchor="t"/>
          <a:lstStyle>
            <a:lvl1pPr marL="0" indent="0" algn="l">
              <a:lnSpc>
                <a:spcPct val="90000"/>
              </a:lnSpc>
              <a:spcBef>
                <a:spcPts val="0"/>
              </a:spcBef>
              <a:spcAft>
                <a:spcPts val="0"/>
              </a:spcAft>
              <a:buFont typeface="Arial" panose="020B0604020202020204" pitchFamily="34" charset="0"/>
              <a:buNone/>
              <a:defRPr sz="2295">
                <a:solidFill>
                  <a:schemeClr val="tx1"/>
                </a:solidFill>
              </a:defRPr>
            </a:lvl1pPr>
          </a:lstStyle>
          <a:p>
            <a:pPr lvl="0"/>
            <a:r>
              <a:rPr lang="en-US" dirty="0"/>
              <a:t>Text – add bullet if needed</a:t>
            </a:r>
          </a:p>
        </p:txBody>
      </p:sp>
    </p:spTree>
    <p:extLst>
      <p:ext uri="{BB962C8B-B14F-4D97-AF65-F5344CB8AC3E}">
        <p14:creationId xmlns:p14="http://schemas.microsoft.com/office/powerpoint/2010/main" val="41518817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2 Photo w/Captio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2 Photo | Type insightful headline in sentence case | One line</a:t>
            </a:r>
          </a:p>
        </p:txBody>
      </p:sp>
      <p:sp>
        <p:nvSpPr>
          <p:cNvPr id="3" name="Date Placeholder 2"/>
          <p:cNvSpPr>
            <a:spLocks noGrp="1"/>
          </p:cNvSpPr>
          <p:nvPr>
            <p:ph type="dt" sz="half" idx="10"/>
          </p:nvPr>
        </p:nvSpPr>
        <p:spPr/>
        <p:txBody>
          <a:bodyPr/>
          <a:lstStyle/>
          <a:p>
            <a:fld id="{4E8021CB-BA01-9A4F-81AF-2846AD614058}" type="datetime1">
              <a:rPr lang="en-US" smtClean="0"/>
              <a:t>4/21/21</a:t>
            </a:fld>
            <a:endParaRPr lang="en-US"/>
          </a:p>
        </p:txBody>
      </p:sp>
      <p:sp>
        <p:nvSpPr>
          <p:cNvPr id="5" name="Slide Number Placeholder 4"/>
          <p:cNvSpPr>
            <a:spLocks noGrp="1"/>
          </p:cNvSpPr>
          <p:nvPr>
            <p:ph type="sldNum" sz="quarter" idx="12"/>
          </p:nvPr>
        </p:nvSpPr>
        <p:spPr/>
        <p:txBody>
          <a:bodyPr/>
          <a:lstStyle/>
          <a:p>
            <a:fld id="{3310D8EA-3107-4873-B9AB-DD7D3E79053A}" type="slidenum">
              <a:rPr lang="en-US" smtClean="0"/>
              <a:t>‹#›</a:t>
            </a:fld>
            <a:endParaRPr lang="en-US"/>
          </a:p>
        </p:txBody>
      </p:sp>
      <p:sp>
        <p:nvSpPr>
          <p:cNvPr id="6" name="Text Placeholder 7"/>
          <p:cNvSpPr>
            <a:spLocks noGrp="1"/>
          </p:cNvSpPr>
          <p:nvPr>
            <p:ph type="body" sz="quarter" idx="13" hasCustomPrompt="1"/>
          </p:nvPr>
        </p:nvSpPr>
        <p:spPr>
          <a:xfrm>
            <a:off x="726439" y="1640149"/>
            <a:ext cx="16596361" cy="721783"/>
          </a:xfrm>
        </p:spPr>
        <p:txBody>
          <a:bodyPr/>
          <a:lstStyle>
            <a:lvl1pPr>
              <a:defRPr sz="3315">
                <a:solidFill>
                  <a:schemeClr val="accent4"/>
                </a:solidFill>
              </a:defRPr>
            </a:lvl1pPr>
          </a:lstStyle>
          <a:p>
            <a:pPr lvl="0"/>
            <a:r>
              <a:rPr lang="en-US" dirty="0"/>
              <a:t>Use this space for one line subhead if needed | One line</a:t>
            </a:r>
          </a:p>
        </p:txBody>
      </p:sp>
      <p:sp>
        <p:nvSpPr>
          <p:cNvPr id="15" name="Picture Placeholder 8"/>
          <p:cNvSpPr>
            <a:spLocks noGrp="1"/>
          </p:cNvSpPr>
          <p:nvPr>
            <p:ph type="pic" sz="quarter" idx="23"/>
          </p:nvPr>
        </p:nvSpPr>
        <p:spPr>
          <a:xfrm>
            <a:off x="769016" y="2682240"/>
            <a:ext cx="8171785" cy="5979160"/>
          </a:xfrm>
          <a:solidFill>
            <a:schemeClr val="accent3">
              <a:lumMod val="20000"/>
              <a:lumOff val="80000"/>
            </a:schemeClr>
          </a:solidFill>
        </p:spPr>
        <p:txBody>
          <a:bodyPr/>
          <a:lstStyle>
            <a:lvl1pPr>
              <a:defRPr sz="2040">
                <a:solidFill>
                  <a:schemeClr val="tx1"/>
                </a:solidFill>
              </a:defRPr>
            </a:lvl1pPr>
          </a:lstStyle>
          <a:p>
            <a:r>
              <a:rPr lang="en-US"/>
              <a:t>Click icon to add picture</a:t>
            </a:r>
            <a:endParaRPr lang="en-US" dirty="0"/>
          </a:p>
        </p:txBody>
      </p:sp>
      <p:sp>
        <p:nvSpPr>
          <p:cNvPr id="16" name="Text Placeholder 7"/>
          <p:cNvSpPr>
            <a:spLocks noGrp="1"/>
          </p:cNvSpPr>
          <p:nvPr>
            <p:ph type="body" sz="quarter" idx="24" hasCustomPrompt="1"/>
          </p:nvPr>
        </p:nvSpPr>
        <p:spPr>
          <a:xfrm>
            <a:off x="3682758" y="6556588"/>
            <a:ext cx="5258041" cy="2104813"/>
          </a:xfrm>
          <a:solidFill>
            <a:schemeClr val="accent2"/>
          </a:solidFill>
        </p:spPr>
        <p:txBody>
          <a:bodyPr lIns="137160" tIns="137160" anchor="t"/>
          <a:lstStyle>
            <a:lvl1pPr algn="l">
              <a:lnSpc>
                <a:spcPct val="90000"/>
              </a:lnSpc>
              <a:spcBef>
                <a:spcPts val="0"/>
              </a:spcBef>
              <a:spcAft>
                <a:spcPts val="0"/>
              </a:spcAft>
              <a:defRPr sz="2040">
                <a:solidFill>
                  <a:schemeClr val="bg1"/>
                </a:solidFill>
              </a:defRPr>
            </a:lvl1pPr>
          </a:lstStyle>
          <a:p>
            <a:pPr lvl="0"/>
            <a:r>
              <a:rPr lang="en-US" dirty="0"/>
              <a:t>Type caption here | Remove if not needed</a:t>
            </a:r>
          </a:p>
        </p:txBody>
      </p:sp>
      <p:sp>
        <p:nvSpPr>
          <p:cNvPr id="17" name="Picture Placeholder 8"/>
          <p:cNvSpPr>
            <a:spLocks noGrp="1"/>
          </p:cNvSpPr>
          <p:nvPr>
            <p:ph type="pic" sz="quarter" idx="25"/>
          </p:nvPr>
        </p:nvSpPr>
        <p:spPr>
          <a:xfrm>
            <a:off x="8940801" y="2682240"/>
            <a:ext cx="8382000" cy="5979160"/>
          </a:xfrm>
          <a:solidFill>
            <a:schemeClr val="accent3">
              <a:lumMod val="20000"/>
              <a:lumOff val="80000"/>
            </a:schemeClr>
          </a:solidFill>
        </p:spPr>
        <p:txBody>
          <a:bodyPr/>
          <a:lstStyle>
            <a:lvl1pPr>
              <a:defRPr sz="2040">
                <a:solidFill>
                  <a:schemeClr val="tx1"/>
                </a:solidFill>
              </a:defRPr>
            </a:lvl1pPr>
          </a:lstStyle>
          <a:p>
            <a:r>
              <a:rPr lang="en-US"/>
              <a:t>Click icon to add picture</a:t>
            </a:r>
            <a:endParaRPr lang="en-US" dirty="0"/>
          </a:p>
        </p:txBody>
      </p:sp>
      <p:sp>
        <p:nvSpPr>
          <p:cNvPr id="18" name="Text Placeholder 7"/>
          <p:cNvSpPr>
            <a:spLocks noGrp="1"/>
          </p:cNvSpPr>
          <p:nvPr>
            <p:ph type="body" sz="quarter" idx="26" hasCustomPrompt="1"/>
          </p:nvPr>
        </p:nvSpPr>
        <p:spPr>
          <a:xfrm>
            <a:off x="12065610" y="6556588"/>
            <a:ext cx="5257190" cy="2104813"/>
          </a:xfrm>
          <a:solidFill>
            <a:schemeClr val="accent4"/>
          </a:solidFill>
        </p:spPr>
        <p:txBody>
          <a:bodyPr lIns="137160" tIns="137160" anchor="t"/>
          <a:lstStyle>
            <a:lvl1pPr algn="l">
              <a:lnSpc>
                <a:spcPct val="90000"/>
              </a:lnSpc>
              <a:spcBef>
                <a:spcPts val="0"/>
              </a:spcBef>
              <a:spcAft>
                <a:spcPts val="0"/>
              </a:spcAft>
              <a:defRPr sz="2040">
                <a:solidFill>
                  <a:schemeClr val="bg1"/>
                </a:solidFill>
              </a:defRPr>
            </a:lvl1pPr>
          </a:lstStyle>
          <a:p>
            <a:pPr lvl="0"/>
            <a:r>
              <a:rPr lang="en-US" dirty="0"/>
              <a:t>Type caption here | Remove if not needed</a:t>
            </a:r>
          </a:p>
        </p:txBody>
      </p:sp>
      <p:sp>
        <p:nvSpPr>
          <p:cNvPr id="11" name="Rectangle 10">
            <a:extLst>
              <a:ext uri="{FF2B5EF4-FFF2-40B4-BE49-F238E27FC236}">
                <a16:creationId xmlns:a16="http://schemas.microsoft.com/office/drawing/2014/main" id="{BEE817BE-EAFE-488D-818F-3A834185D3B9}"/>
              </a:ext>
            </a:extLst>
          </p:cNvPr>
          <p:cNvSpPr/>
          <p:nvPr userDrawn="1"/>
        </p:nvSpPr>
        <p:spPr bwMode="gray">
          <a:xfrm>
            <a:off x="17979576" y="-8643"/>
            <a:ext cx="3203788" cy="10058400"/>
          </a:xfrm>
          <a:prstGeom prst="rect">
            <a:avLst/>
          </a:prstGeom>
          <a:solidFill>
            <a:schemeClr val="accent3"/>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r>
              <a:rPr lang="en-US" sz="1785" dirty="0"/>
              <a:t>For Image / Photography options. navigate to https://hub.uhg.com/sites/hub/Optum/Resources/Brand/Documents/Photo%20Library%20Overview_June2017.docx</a:t>
            </a:r>
          </a:p>
        </p:txBody>
      </p:sp>
    </p:spTree>
    <p:extLst>
      <p:ext uri="{BB962C8B-B14F-4D97-AF65-F5344CB8AC3E}">
        <p14:creationId xmlns:p14="http://schemas.microsoft.com/office/powerpoint/2010/main" val="192439419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image" Target="../media/image1.png"/></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41.xml"/><Relationship Id="rId18" Type="http://schemas.openxmlformats.org/officeDocument/2006/relationships/slideLayout" Target="../slideLayouts/slideLayout46.xml"/><Relationship Id="rId26" Type="http://schemas.openxmlformats.org/officeDocument/2006/relationships/slideLayout" Target="../slideLayouts/slideLayout54.xml"/><Relationship Id="rId21" Type="http://schemas.openxmlformats.org/officeDocument/2006/relationships/slideLayout" Target="../slideLayouts/slideLayout49.xml"/><Relationship Id="rId34" Type="http://schemas.openxmlformats.org/officeDocument/2006/relationships/slideLayout" Target="../slideLayouts/slideLayout62.xml"/><Relationship Id="rId7" Type="http://schemas.openxmlformats.org/officeDocument/2006/relationships/slideLayout" Target="../slideLayouts/slideLayout35.xml"/><Relationship Id="rId12" Type="http://schemas.openxmlformats.org/officeDocument/2006/relationships/slideLayout" Target="../slideLayouts/slideLayout40.xml"/><Relationship Id="rId17" Type="http://schemas.openxmlformats.org/officeDocument/2006/relationships/slideLayout" Target="../slideLayouts/slideLayout45.xml"/><Relationship Id="rId25" Type="http://schemas.openxmlformats.org/officeDocument/2006/relationships/slideLayout" Target="../slideLayouts/slideLayout53.xml"/><Relationship Id="rId33" Type="http://schemas.openxmlformats.org/officeDocument/2006/relationships/slideLayout" Target="../slideLayouts/slideLayout61.xml"/><Relationship Id="rId2" Type="http://schemas.openxmlformats.org/officeDocument/2006/relationships/slideLayout" Target="../slideLayouts/slideLayout30.xml"/><Relationship Id="rId16" Type="http://schemas.openxmlformats.org/officeDocument/2006/relationships/slideLayout" Target="../slideLayouts/slideLayout44.xml"/><Relationship Id="rId20" Type="http://schemas.openxmlformats.org/officeDocument/2006/relationships/slideLayout" Target="../slideLayouts/slideLayout48.xml"/><Relationship Id="rId29" Type="http://schemas.openxmlformats.org/officeDocument/2006/relationships/slideLayout" Target="../slideLayouts/slideLayout57.xml"/><Relationship Id="rId1" Type="http://schemas.openxmlformats.org/officeDocument/2006/relationships/slideLayout" Target="../slideLayouts/slideLayout29.xml"/><Relationship Id="rId6" Type="http://schemas.openxmlformats.org/officeDocument/2006/relationships/slideLayout" Target="../slideLayouts/slideLayout34.xml"/><Relationship Id="rId11" Type="http://schemas.openxmlformats.org/officeDocument/2006/relationships/slideLayout" Target="../slideLayouts/slideLayout39.xml"/><Relationship Id="rId24" Type="http://schemas.openxmlformats.org/officeDocument/2006/relationships/slideLayout" Target="../slideLayouts/slideLayout52.xml"/><Relationship Id="rId32" Type="http://schemas.openxmlformats.org/officeDocument/2006/relationships/slideLayout" Target="../slideLayouts/slideLayout60.xml"/><Relationship Id="rId37" Type="http://schemas.openxmlformats.org/officeDocument/2006/relationships/image" Target="../media/image5.png"/><Relationship Id="rId5" Type="http://schemas.openxmlformats.org/officeDocument/2006/relationships/slideLayout" Target="../slideLayouts/slideLayout33.xml"/><Relationship Id="rId15" Type="http://schemas.openxmlformats.org/officeDocument/2006/relationships/slideLayout" Target="../slideLayouts/slideLayout43.xml"/><Relationship Id="rId23" Type="http://schemas.openxmlformats.org/officeDocument/2006/relationships/slideLayout" Target="../slideLayouts/slideLayout51.xml"/><Relationship Id="rId28" Type="http://schemas.openxmlformats.org/officeDocument/2006/relationships/slideLayout" Target="../slideLayouts/slideLayout56.xml"/><Relationship Id="rId36" Type="http://schemas.openxmlformats.org/officeDocument/2006/relationships/theme" Target="../theme/theme2.xml"/><Relationship Id="rId10" Type="http://schemas.openxmlformats.org/officeDocument/2006/relationships/slideLayout" Target="../slideLayouts/slideLayout38.xml"/><Relationship Id="rId19" Type="http://schemas.openxmlformats.org/officeDocument/2006/relationships/slideLayout" Target="../slideLayouts/slideLayout47.xml"/><Relationship Id="rId31" Type="http://schemas.openxmlformats.org/officeDocument/2006/relationships/slideLayout" Target="../slideLayouts/slideLayout59.xml"/><Relationship Id="rId4" Type="http://schemas.openxmlformats.org/officeDocument/2006/relationships/slideLayout" Target="../slideLayouts/slideLayout32.xml"/><Relationship Id="rId9" Type="http://schemas.openxmlformats.org/officeDocument/2006/relationships/slideLayout" Target="../slideLayouts/slideLayout37.xml"/><Relationship Id="rId14" Type="http://schemas.openxmlformats.org/officeDocument/2006/relationships/slideLayout" Target="../slideLayouts/slideLayout42.xml"/><Relationship Id="rId22" Type="http://schemas.openxmlformats.org/officeDocument/2006/relationships/slideLayout" Target="../slideLayouts/slideLayout50.xml"/><Relationship Id="rId27" Type="http://schemas.openxmlformats.org/officeDocument/2006/relationships/slideLayout" Target="../slideLayouts/slideLayout55.xml"/><Relationship Id="rId30" Type="http://schemas.openxmlformats.org/officeDocument/2006/relationships/slideLayout" Target="../slideLayouts/slideLayout58.xml"/><Relationship Id="rId35" Type="http://schemas.openxmlformats.org/officeDocument/2006/relationships/slideLayout" Target="../slideLayouts/slideLayout63.xml"/><Relationship Id="rId8" Type="http://schemas.openxmlformats.org/officeDocument/2006/relationships/slideLayout" Target="../slideLayouts/slideLayout36.xml"/><Relationship Id="rId3" Type="http://schemas.openxmlformats.org/officeDocument/2006/relationships/slideLayout" Target="../slideLayouts/slideLayout3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364D087D-EF83-4A62-AD98-E31A422A9423}"/>
              </a:ext>
            </a:extLst>
          </p:cNvPr>
          <p:cNvPicPr>
            <a:picLocks noChangeAspect="1"/>
          </p:cNvPicPr>
          <p:nvPr userDrawn="1"/>
        </p:nvPicPr>
        <p:blipFill rotWithShape="1">
          <a:blip r:embed="rId30" cstate="screen">
            <a:extLst>
              <a:ext uri="{28A0092B-C50C-407E-A947-70E740481C1C}">
                <a14:useLocalDpi xmlns:a14="http://schemas.microsoft.com/office/drawing/2010/main"/>
              </a:ext>
            </a:extLst>
          </a:blip>
          <a:srcRect l="7994" t="18631" r="7973" b="19012"/>
          <a:stretch/>
        </p:blipFill>
        <p:spPr>
          <a:xfrm>
            <a:off x="575833" y="9186271"/>
            <a:ext cx="2091110" cy="651982"/>
          </a:xfrm>
          <a:prstGeom prst="rect">
            <a:avLst/>
          </a:prstGeom>
        </p:spPr>
      </p:pic>
      <p:sp>
        <p:nvSpPr>
          <p:cNvPr id="2" name="Title Placeholder 1"/>
          <p:cNvSpPr>
            <a:spLocks noGrp="1"/>
          </p:cNvSpPr>
          <p:nvPr>
            <p:ph type="title"/>
          </p:nvPr>
        </p:nvSpPr>
        <p:spPr bwMode="gray">
          <a:xfrm>
            <a:off x="726439" y="1"/>
            <a:ext cx="16596361" cy="1575285"/>
          </a:xfrm>
          <a:prstGeom prst="rect">
            <a:avLst/>
          </a:prstGeom>
        </p:spPr>
        <p:txBody>
          <a:bodyPr vert="horz" lIns="0" tIns="0" rIns="0" bIns="0" rtlCol="0" anchor="b">
            <a:noAutofit/>
          </a:bodyPr>
          <a:lstStyle/>
          <a:p>
            <a:r>
              <a:rPr lang="en-US" dirty="0"/>
              <a:t>Click to edit Master title style</a:t>
            </a:r>
          </a:p>
        </p:txBody>
      </p:sp>
      <p:sp>
        <p:nvSpPr>
          <p:cNvPr id="3" name="Text Placeholder 2"/>
          <p:cNvSpPr>
            <a:spLocks noGrp="1"/>
          </p:cNvSpPr>
          <p:nvPr>
            <p:ph type="body" idx="1"/>
          </p:nvPr>
        </p:nvSpPr>
        <p:spPr bwMode="gray">
          <a:xfrm>
            <a:off x="726439" y="2024743"/>
            <a:ext cx="16596361" cy="6628674"/>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p:txBody>
      </p:sp>
      <p:sp>
        <p:nvSpPr>
          <p:cNvPr id="4" name="Date Placeholder 3"/>
          <p:cNvSpPr>
            <a:spLocks noGrp="1"/>
          </p:cNvSpPr>
          <p:nvPr>
            <p:ph type="dt" sz="half" idx="2"/>
          </p:nvPr>
        </p:nvSpPr>
        <p:spPr bwMode="gray">
          <a:xfrm>
            <a:off x="558800" y="10834070"/>
            <a:ext cx="4023360" cy="535517"/>
          </a:xfrm>
          <a:prstGeom prst="rect">
            <a:avLst/>
          </a:prstGeom>
        </p:spPr>
        <p:txBody>
          <a:bodyPr vert="horz" lIns="0" tIns="0" rIns="0" bIns="0" rtlCol="0" anchor="ctr"/>
          <a:lstStyle>
            <a:lvl1pPr algn="l">
              <a:defRPr sz="1530">
                <a:solidFill>
                  <a:schemeClr val="tx1">
                    <a:tint val="75000"/>
                  </a:schemeClr>
                </a:solidFill>
              </a:defRPr>
            </a:lvl1pPr>
          </a:lstStyle>
          <a:p>
            <a:fld id="{A8722DC8-B1BF-2442-8313-C11ED6EF1741}" type="datetime1">
              <a:rPr lang="en-US" smtClean="0"/>
              <a:t>4/21/21</a:t>
            </a:fld>
            <a:endParaRPr lang="en-US"/>
          </a:p>
        </p:txBody>
      </p:sp>
      <p:sp>
        <p:nvSpPr>
          <p:cNvPr id="6" name="Slide Number Placeholder 5"/>
          <p:cNvSpPr>
            <a:spLocks noGrp="1"/>
          </p:cNvSpPr>
          <p:nvPr>
            <p:ph type="sldNum" sz="quarter" idx="4"/>
          </p:nvPr>
        </p:nvSpPr>
        <p:spPr bwMode="gray">
          <a:xfrm>
            <a:off x="16521853" y="9514242"/>
            <a:ext cx="795626" cy="535517"/>
          </a:xfrm>
          <a:prstGeom prst="rect">
            <a:avLst/>
          </a:prstGeom>
        </p:spPr>
        <p:txBody>
          <a:bodyPr vert="horz" lIns="0" tIns="0" rIns="0" bIns="0" rtlCol="0" anchor="ctr"/>
          <a:lstStyle>
            <a:lvl1pPr algn="r">
              <a:defRPr sz="1530">
                <a:solidFill>
                  <a:schemeClr val="tx1">
                    <a:tint val="75000"/>
                  </a:schemeClr>
                </a:solidFill>
              </a:defRPr>
            </a:lvl1pPr>
          </a:lstStyle>
          <a:p>
            <a:fld id="{3310D8EA-3107-4873-B9AB-DD7D3E79053A}" type="slidenum">
              <a:rPr lang="en-US" smtClean="0"/>
              <a:t>‹#›</a:t>
            </a:fld>
            <a:endParaRPr lang="en-US" dirty="0"/>
          </a:p>
        </p:txBody>
      </p:sp>
      <p:cxnSp>
        <p:nvCxnSpPr>
          <p:cNvPr id="8" name="Straight Connector 7"/>
          <p:cNvCxnSpPr>
            <a:cxnSpLocks/>
          </p:cNvCxnSpPr>
          <p:nvPr/>
        </p:nvCxnSpPr>
        <p:spPr bwMode="gray">
          <a:xfrm>
            <a:off x="670561" y="1614310"/>
            <a:ext cx="16652240" cy="0"/>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0" name="Straight Connector 9"/>
          <p:cNvCxnSpPr>
            <a:cxnSpLocks/>
          </p:cNvCxnSpPr>
          <p:nvPr/>
        </p:nvCxnSpPr>
        <p:spPr bwMode="gray">
          <a:xfrm>
            <a:off x="670561" y="1614310"/>
            <a:ext cx="16652240" cy="0"/>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a:cxnSpLocks/>
          </p:cNvCxnSpPr>
          <p:nvPr/>
        </p:nvCxnSpPr>
        <p:spPr bwMode="gray">
          <a:xfrm>
            <a:off x="670561" y="1614310"/>
            <a:ext cx="16652240" cy="0"/>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EDB2CE75-020D-45A1-B141-8BC43E0F6356}"/>
              </a:ext>
            </a:extLst>
          </p:cNvPr>
          <p:cNvCxnSpPr>
            <a:cxnSpLocks/>
          </p:cNvCxnSpPr>
          <p:nvPr/>
        </p:nvCxnSpPr>
        <p:spPr bwMode="gray">
          <a:xfrm>
            <a:off x="670561" y="1614310"/>
            <a:ext cx="16652240" cy="0"/>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4E70631-2200-435E-8B78-C15380687CB2}"/>
              </a:ext>
            </a:extLst>
          </p:cNvPr>
          <p:cNvCxnSpPr>
            <a:cxnSpLocks/>
          </p:cNvCxnSpPr>
          <p:nvPr/>
        </p:nvCxnSpPr>
        <p:spPr bwMode="gray">
          <a:xfrm>
            <a:off x="670561" y="1614310"/>
            <a:ext cx="16652240" cy="0"/>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0EB69FDF-A621-430B-ADCC-6492A766DF3E}"/>
              </a:ext>
            </a:extLst>
          </p:cNvPr>
          <p:cNvCxnSpPr>
            <a:cxnSpLocks/>
          </p:cNvCxnSpPr>
          <p:nvPr userDrawn="1"/>
        </p:nvCxnSpPr>
        <p:spPr bwMode="gray">
          <a:xfrm>
            <a:off x="670561" y="1614310"/>
            <a:ext cx="16652240" cy="0"/>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sp>
        <p:nvSpPr>
          <p:cNvPr id="5" name="TextBox 4">
            <a:extLst>
              <a:ext uri="{FF2B5EF4-FFF2-40B4-BE49-F238E27FC236}">
                <a16:creationId xmlns:a16="http://schemas.microsoft.com/office/drawing/2014/main" id="{EBD3F11E-43FC-824C-A6B3-B1895049F895}"/>
              </a:ext>
            </a:extLst>
          </p:cNvPr>
          <p:cNvSpPr txBox="1"/>
          <p:nvPr userDrawn="1"/>
        </p:nvSpPr>
        <p:spPr>
          <a:xfrm>
            <a:off x="5254172" y="9499699"/>
            <a:ext cx="7053943" cy="338554"/>
          </a:xfrm>
          <a:prstGeom prst="rect">
            <a:avLst/>
          </a:prstGeom>
          <a:noFill/>
        </p:spPr>
        <p:txBody>
          <a:bodyPr wrap="square" rtlCol="0">
            <a:spAutoFit/>
          </a:bodyPr>
          <a:lstStyle/>
          <a:p>
            <a:pPr algn="ctr"/>
            <a:r>
              <a:rPr lang="en-US" sz="1600" b="1" dirty="0">
                <a:solidFill>
                  <a:schemeClr val="tx1">
                    <a:lumMod val="60000"/>
                    <a:lumOff val="40000"/>
                  </a:schemeClr>
                </a:solidFill>
              </a:rPr>
              <a:t>License: Creative Commons BY-NC-SA 3.0</a:t>
            </a:r>
            <a:endParaRPr lang="en-US" sz="1600" dirty="0">
              <a:solidFill>
                <a:schemeClr val="tx1">
                  <a:lumMod val="60000"/>
                  <a:lumOff val="40000"/>
                </a:schemeClr>
              </a:solidFill>
            </a:endParaRPr>
          </a:p>
        </p:txBody>
      </p:sp>
    </p:spTree>
    <p:extLst>
      <p:ext uri="{BB962C8B-B14F-4D97-AF65-F5344CB8AC3E}">
        <p14:creationId xmlns:p14="http://schemas.microsoft.com/office/powerpoint/2010/main" val="3129217218"/>
      </p:ext>
    </p:extLst>
  </p:cSld>
  <p:clrMap bg1="lt1" tx1="dk1" bg2="lt2" tx2="dk2" accent1="accent1" accent2="accent2" accent3="accent3" accent4="accent4" accent5="accent5" accent6="accent6" hlink="hlink" folHlink="folHlink"/>
  <p:sldLayoutIdLst>
    <p:sldLayoutId id="2147483850" r:id="rId1"/>
    <p:sldLayoutId id="2147483852" r:id="rId2"/>
    <p:sldLayoutId id="2147483853" r:id="rId3"/>
    <p:sldLayoutId id="2147483854" r:id="rId4"/>
    <p:sldLayoutId id="2147483856" r:id="rId5"/>
    <p:sldLayoutId id="2147483857" r:id="rId6"/>
    <p:sldLayoutId id="2147483858" r:id="rId7"/>
    <p:sldLayoutId id="2147483859" r:id="rId8"/>
    <p:sldLayoutId id="2147483860" r:id="rId9"/>
    <p:sldLayoutId id="2147483861" r:id="rId10"/>
    <p:sldLayoutId id="2147483862" r:id="rId11"/>
    <p:sldLayoutId id="2147483863" r:id="rId12"/>
    <p:sldLayoutId id="2147483864" r:id="rId13"/>
    <p:sldLayoutId id="2147483865" r:id="rId14"/>
    <p:sldLayoutId id="2147483866" r:id="rId15"/>
    <p:sldLayoutId id="2147483867" r:id="rId16"/>
    <p:sldLayoutId id="2147483871" r:id="rId17"/>
    <p:sldLayoutId id="2147483877" r:id="rId18"/>
    <p:sldLayoutId id="2147483878" r:id="rId19"/>
    <p:sldLayoutId id="2147483880" r:id="rId20"/>
    <p:sldLayoutId id="2147483885" r:id="rId21"/>
    <p:sldLayoutId id="2147483895" r:id="rId22"/>
    <p:sldLayoutId id="2147483896" r:id="rId23"/>
    <p:sldLayoutId id="2147483897" r:id="rId24"/>
    <p:sldLayoutId id="2147483898" r:id="rId25"/>
    <p:sldLayoutId id="2147483943" r:id="rId26"/>
    <p:sldLayoutId id="2147483944" r:id="rId27"/>
    <p:sldLayoutId id="2147483945" r:id="rId28"/>
  </p:sldLayoutIdLst>
  <p:hf hdr="0" dt="0"/>
  <p:txStyles>
    <p:titleStyle>
      <a:lvl1pPr algn="l" defTabSz="1165860" rtl="0" eaLnBrk="1" latinLnBrk="0" hangingPunct="1">
        <a:lnSpc>
          <a:spcPct val="90000"/>
        </a:lnSpc>
        <a:spcBef>
          <a:spcPct val="0"/>
        </a:spcBef>
        <a:buNone/>
        <a:defRPr sz="3825" b="1" kern="1200">
          <a:solidFill>
            <a:srgbClr val="55565A"/>
          </a:solidFill>
          <a:latin typeface="+mj-lt"/>
          <a:ea typeface="+mj-ea"/>
          <a:cs typeface="+mj-cs"/>
        </a:defRPr>
      </a:lvl1pPr>
    </p:titleStyle>
    <p:bodyStyle>
      <a:lvl1pPr marL="234950" indent="-234950" algn="l" defTabSz="1165860" rtl="0" eaLnBrk="1" latinLnBrk="0" hangingPunct="1">
        <a:lnSpc>
          <a:spcPct val="95000"/>
        </a:lnSpc>
        <a:spcBef>
          <a:spcPts val="1020"/>
        </a:spcBef>
        <a:spcAft>
          <a:spcPts val="765"/>
        </a:spcAft>
        <a:buClr>
          <a:schemeClr val="accent1"/>
        </a:buClr>
        <a:buSzPct val="130000"/>
        <a:buFont typeface="Arial" panose="020B0604020202020204" pitchFamily="34" charset="0"/>
        <a:buChar char="•"/>
        <a:tabLst/>
        <a:defRPr sz="2805" kern="1200">
          <a:solidFill>
            <a:schemeClr val="tx2"/>
          </a:solidFill>
          <a:latin typeface="+mn-lt"/>
          <a:ea typeface="+mn-ea"/>
          <a:cs typeface="+mn-cs"/>
        </a:defRPr>
      </a:lvl1pPr>
      <a:lvl2pPr marL="701675" indent="-227013" algn="l" defTabSz="1165860" rtl="0" eaLnBrk="1" latinLnBrk="0" hangingPunct="1">
        <a:lnSpc>
          <a:spcPct val="95000"/>
        </a:lnSpc>
        <a:spcBef>
          <a:spcPts val="0"/>
        </a:spcBef>
        <a:spcAft>
          <a:spcPts val="765"/>
        </a:spcAft>
        <a:buClr>
          <a:schemeClr val="accent1"/>
        </a:buClr>
        <a:buFont typeface="Arial" panose="020B0604020202020204" pitchFamily="34" charset="0"/>
        <a:buChar char="•"/>
        <a:tabLst/>
        <a:defRPr sz="2805" kern="1200">
          <a:solidFill>
            <a:schemeClr val="tx1"/>
          </a:solidFill>
          <a:latin typeface="+mn-lt"/>
          <a:ea typeface="+mn-ea"/>
          <a:cs typeface="+mn-cs"/>
        </a:defRPr>
      </a:lvl2pPr>
      <a:lvl3pPr marL="1087438" indent="-158750" algn="l" defTabSz="1165860" rtl="0" eaLnBrk="1" latinLnBrk="0" hangingPunct="1">
        <a:lnSpc>
          <a:spcPct val="95000"/>
        </a:lnSpc>
        <a:spcBef>
          <a:spcPts val="0"/>
        </a:spcBef>
        <a:spcAft>
          <a:spcPts val="765"/>
        </a:spcAft>
        <a:buClr>
          <a:schemeClr val="accent1"/>
        </a:buClr>
        <a:buFont typeface="Arial" panose="020B0604020202020204" pitchFamily="34" charset="0"/>
        <a:buChar char="•"/>
        <a:tabLst/>
        <a:defRPr sz="2805" kern="1200">
          <a:solidFill>
            <a:schemeClr val="tx1"/>
          </a:solidFill>
          <a:latin typeface="+mn-lt"/>
          <a:ea typeface="+mn-ea"/>
          <a:cs typeface="+mn-cs"/>
        </a:defRPr>
      </a:lvl3pPr>
      <a:lvl4pPr marL="1609725" indent="-295275" algn="l" defTabSz="1165860" rtl="0" eaLnBrk="1" latinLnBrk="0" hangingPunct="1">
        <a:lnSpc>
          <a:spcPct val="95000"/>
        </a:lnSpc>
        <a:spcBef>
          <a:spcPts val="0"/>
        </a:spcBef>
        <a:spcAft>
          <a:spcPts val="765"/>
        </a:spcAft>
        <a:buFont typeface="Arial" panose="020B0604020202020204" pitchFamily="34" charset="0"/>
        <a:buChar char="•"/>
        <a:tabLst/>
        <a:defRPr sz="2550" kern="1200">
          <a:solidFill>
            <a:schemeClr val="tx1"/>
          </a:solidFill>
          <a:latin typeface="+mn-lt"/>
          <a:ea typeface="+mn-ea"/>
          <a:cs typeface="+mn-cs"/>
        </a:defRPr>
      </a:lvl4pPr>
      <a:lvl5pPr marL="1903413" indent="-293688" algn="l" defTabSz="1165860" rtl="0" eaLnBrk="1" latinLnBrk="0" hangingPunct="1">
        <a:lnSpc>
          <a:spcPct val="95000"/>
        </a:lnSpc>
        <a:spcBef>
          <a:spcPts val="0"/>
        </a:spcBef>
        <a:spcAft>
          <a:spcPts val="765"/>
        </a:spcAft>
        <a:buFont typeface="Arial" panose="020B0604020202020204" pitchFamily="34" charset="0"/>
        <a:buChar char="•"/>
        <a:tabLst/>
        <a:defRPr sz="2295" kern="1200">
          <a:solidFill>
            <a:schemeClr val="tx1"/>
          </a:solidFill>
          <a:latin typeface="+mn-lt"/>
          <a:ea typeface="+mn-ea"/>
          <a:cs typeface="+mn-cs"/>
        </a:defRPr>
      </a:lvl5pPr>
      <a:lvl6pPr marL="1903413" indent="-293688" algn="l" defTabSz="1165860" rtl="0" eaLnBrk="1" latinLnBrk="0" hangingPunct="1">
        <a:lnSpc>
          <a:spcPct val="95000"/>
        </a:lnSpc>
        <a:spcBef>
          <a:spcPts val="0"/>
        </a:spcBef>
        <a:spcAft>
          <a:spcPts val="765"/>
        </a:spcAft>
        <a:buFont typeface="Arial" panose="020B0604020202020204" pitchFamily="34" charset="0"/>
        <a:buChar char="−"/>
        <a:tabLst/>
        <a:defRPr sz="2040" kern="1200">
          <a:solidFill>
            <a:schemeClr val="tx1"/>
          </a:solidFill>
          <a:latin typeface="+mn-lt"/>
          <a:ea typeface="+mn-ea"/>
          <a:cs typeface="+mn-cs"/>
        </a:defRPr>
      </a:lvl6pPr>
      <a:lvl7pPr marL="1903413" indent="-293688" algn="l" defTabSz="1165860" rtl="0" eaLnBrk="1" latinLnBrk="0" hangingPunct="1">
        <a:lnSpc>
          <a:spcPct val="95000"/>
        </a:lnSpc>
        <a:spcBef>
          <a:spcPts val="0"/>
        </a:spcBef>
        <a:spcAft>
          <a:spcPts val="765"/>
        </a:spcAft>
        <a:buFont typeface="Arial" panose="020B0604020202020204" pitchFamily="34" charset="0"/>
        <a:buChar char="−"/>
        <a:tabLst/>
        <a:defRPr sz="2040" kern="1200">
          <a:solidFill>
            <a:schemeClr val="tx1"/>
          </a:solidFill>
          <a:latin typeface="+mn-lt"/>
          <a:ea typeface="+mn-ea"/>
          <a:cs typeface="+mn-cs"/>
        </a:defRPr>
      </a:lvl7pPr>
      <a:lvl8pPr marL="1903413" indent="-293688" algn="l" defTabSz="1165860" rtl="0" eaLnBrk="1" latinLnBrk="0" hangingPunct="1">
        <a:lnSpc>
          <a:spcPct val="95000"/>
        </a:lnSpc>
        <a:spcBef>
          <a:spcPts val="0"/>
        </a:spcBef>
        <a:spcAft>
          <a:spcPts val="765"/>
        </a:spcAft>
        <a:buFont typeface="Arial" panose="020B0604020202020204" pitchFamily="34" charset="0"/>
        <a:buChar char="−"/>
        <a:tabLst/>
        <a:defRPr sz="2040" kern="1200">
          <a:solidFill>
            <a:schemeClr val="tx1"/>
          </a:solidFill>
          <a:latin typeface="+mn-lt"/>
          <a:ea typeface="+mn-ea"/>
          <a:cs typeface="+mn-cs"/>
        </a:defRPr>
      </a:lvl8pPr>
      <a:lvl9pPr marL="1903413" indent="-293688" algn="l" defTabSz="1165860" rtl="0" eaLnBrk="1" latinLnBrk="0" hangingPunct="1">
        <a:lnSpc>
          <a:spcPct val="95000"/>
        </a:lnSpc>
        <a:spcBef>
          <a:spcPts val="0"/>
        </a:spcBef>
        <a:spcAft>
          <a:spcPts val="765"/>
        </a:spcAft>
        <a:buFont typeface="Arial" panose="020B0604020202020204" pitchFamily="34" charset="0"/>
        <a:buChar char="−"/>
        <a:tabLst/>
        <a:defRPr sz="2040" kern="1200">
          <a:solidFill>
            <a:schemeClr val="tx1"/>
          </a:solidFill>
          <a:latin typeface="+mn-lt"/>
          <a:ea typeface="+mn-ea"/>
          <a:cs typeface="+mn-cs"/>
        </a:defRPr>
      </a:lvl9pPr>
    </p:bodyStyle>
    <p:otherStyle>
      <a:defPPr>
        <a:defRPr lang="en-US"/>
      </a:defPPr>
      <a:lvl1pPr marL="0" algn="l" defTabSz="1165860" rtl="0" eaLnBrk="1" latinLnBrk="0" hangingPunct="1">
        <a:defRPr sz="2295" kern="1200">
          <a:solidFill>
            <a:schemeClr val="tx1"/>
          </a:solidFill>
          <a:latin typeface="+mn-lt"/>
          <a:ea typeface="+mn-ea"/>
          <a:cs typeface="+mn-cs"/>
        </a:defRPr>
      </a:lvl1pPr>
      <a:lvl2pPr marL="582930" algn="l" defTabSz="1165860" rtl="0" eaLnBrk="1" latinLnBrk="0" hangingPunct="1">
        <a:defRPr sz="2295" kern="1200">
          <a:solidFill>
            <a:schemeClr val="tx1"/>
          </a:solidFill>
          <a:latin typeface="+mn-lt"/>
          <a:ea typeface="+mn-ea"/>
          <a:cs typeface="+mn-cs"/>
        </a:defRPr>
      </a:lvl2pPr>
      <a:lvl3pPr marL="1165860" algn="l" defTabSz="1165860" rtl="0" eaLnBrk="1" latinLnBrk="0" hangingPunct="1">
        <a:defRPr sz="2295" kern="1200">
          <a:solidFill>
            <a:schemeClr val="tx1"/>
          </a:solidFill>
          <a:latin typeface="+mn-lt"/>
          <a:ea typeface="+mn-ea"/>
          <a:cs typeface="+mn-cs"/>
        </a:defRPr>
      </a:lvl3pPr>
      <a:lvl4pPr marL="1748790" algn="l" defTabSz="1165860" rtl="0" eaLnBrk="1" latinLnBrk="0" hangingPunct="1">
        <a:defRPr sz="2295" kern="1200">
          <a:solidFill>
            <a:schemeClr val="tx1"/>
          </a:solidFill>
          <a:latin typeface="+mn-lt"/>
          <a:ea typeface="+mn-ea"/>
          <a:cs typeface="+mn-cs"/>
        </a:defRPr>
      </a:lvl4pPr>
      <a:lvl5pPr marL="2331720" algn="l" defTabSz="1165860" rtl="0" eaLnBrk="1" latinLnBrk="0" hangingPunct="1">
        <a:defRPr sz="2295" kern="1200">
          <a:solidFill>
            <a:schemeClr val="tx1"/>
          </a:solidFill>
          <a:latin typeface="+mn-lt"/>
          <a:ea typeface="+mn-ea"/>
          <a:cs typeface="+mn-cs"/>
        </a:defRPr>
      </a:lvl5pPr>
      <a:lvl6pPr marL="2914650" algn="l" defTabSz="1165860" rtl="0" eaLnBrk="1" latinLnBrk="0" hangingPunct="1">
        <a:defRPr sz="2295" kern="1200">
          <a:solidFill>
            <a:schemeClr val="tx1"/>
          </a:solidFill>
          <a:latin typeface="+mn-lt"/>
          <a:ea typeface="+mn-ea"/>
          <a:cs typeface="+mn-cs"/>
        </a:defRPr>
      </a:lvl6pPr>
      <a:lvl7pPr marL="3497580" algn="l" defTabSz="1165860" rtl="0" eaLnBrk="1" latinLnBrk="0" hangingPunct="1">
        <a:defRPr sz="2295" kern="1200">
          <a:solidFill>
            <a:schemeClr val="tx1"/>
          </a:solidFill>
          <a:latin typeface="+mn-lt"/>
          <a:ea typeface="+mn-ea"/>
          <a:cs typeface="+mn-cs"/>
        </a:defRPr>
      </a:lvl7pPr>
      <a:lvl8pPr marL="4080510" algn="l" defTabSz="1165860" rtl="0" eaLnBrk="1" latinLnBrk="0" hangingPunct="1">
        <a:defRPr sz="2295" kern="1200">
          <a:solidFill>
            <a:schemeClr val="tx1"/>
          </a:solidFill>
          <a:latin typeface="+mn-lt"/>
          <a:ea typeface="+mn-ea"/>
          <a:cs typeface="+mn-cs"/>
        </a:defRPr>
      </a:lvl8pPr>
      <a:lvl9pPr marL="4663440" algn="l" defTabSz="1165860" rtl="0" eaLnBrk="1" latinLnBrk="0" hangingPunct="1">
        <a:defRPr sz="2295" kern="1200">
          <a:solidFill>
            <a:schemeClr val="tx1"/>
          </a:solidFill>
          <a:latin typeface="+mn-lt"/>
          <a:ea typeface="+mn-ea"/>
          <a:cs typeface="+mn-cs"/>
        </a:defRPr>
      </a:lvl9pPr>
    </p:otherStyle>
  </p:txStyles>
  <p:extLst>
    <p:ext uri="{27BBF7A9-308A-43DC-89C8-2F10F3537804}">
      <p15:sldGuideLst xmlns:p15="http://schemas.microsoft.com/office/powerpoint/2012/main">
        <p15:guide id="72" pos="5596" userDrawn="1">
          <p15:clr>
            <a:srgbClr val="FDE53C"/>
          </p15:clr>
        </p15:guide>
        <p15:guide id="73" orient="horz" pos="5456" userDrawn="1">
          <p15:clr>
            <a:srgbClr val="F26B43"/>
          </p15:clr>
        </p15:guide>
        <p15:guide id="74" userDrawn="1">
          <p15:clr>
            <a:srgbClr val="F26B43"/>
          </p15:clr>
        </p15:guide>
        <p15:guide id="75" pos="10912" userDrawn="1">
          <p15:clr>
            <a:srgbClr val="F26B43"/>
          </p15:clr>
        </p15:guide>
        <p15:guide id="76" pos="388" userDrawn="1">
          <p15:clr>
            <a:srgbClr val="F26B43"/>
          </p15:clr>
        </p15:guide>
        <p15:guide id="77" orient="horz" pos="5984" userDrawn="1">
          <p15:clr>
            <a:srgbClr val="F26B43"/>
          </p15:clr>
        </p15:guide>
        <p15:guide id="78" pos="458" userDrawn="1">
          <p15:clr>
            <a:srgbClr val="F26B43"/>
          </p15:clr>
        </p15:guide>
        <p15:guide id="79" orient="horz" pos="352" userDrawn="1">
          <p15:clr>
            <a:srgbClr val="F26B43"/>
          </p15:clr>
        </p15:guide>
        <p15:guide id="80" orient="horz" pos="528" userDrawn="1">
          <p15:clr>
            <a:srgbClr val="F26B43"/>
          </p15:clr>
        </p15:guide>
        <p15:guide id="81" orient="horz" pos="1021" userDrawn="1">
          <p15:clr>
            <a:srgbClr val="F26B43"/>
          </p15:clr>
        </p15:guide>
        <p15:guide id="82" orient="horz" pos="3626" userDrawn="1">
          <p15:clr>
            <a:srgbClr val="F26B43"/>
          </p15:clr>
        </p15:guide>
        <p15:guide id="83" orient="horz" pos="6195" userDrawn="1">
          <p15:clr>
            <a:srgbClr val="F26B43"/>
          </p15:clr>
        </p15:guide>
        <p15:guide id="84" pos="10842" userDrawn="1">
          <p15:clr>
            <a:srgbClr val="F26B43"/>
          </p15:clr>
        </p15:guide>
        <p15:guide id="85" pos="5668" userDrawn="1">
          <p15:clr>
            <a:srgbClr val="FDE53C"/>
          </p15:clr>
        </p15:guide>
        <p15:guide id="86" pos="3942" userDrawn="1">
          <p15:clr>
            <a:srgbClr val="F26B43"/>
          </p15:clr>
        </p15:guide>
        <p15:guide id="87" pos="7322" userDrawn="1">
          <p15:clr>
            <a:srgbClr val="F26B43"/>
          </p15:clr>
        </p15:guide>
        <p15:guide id="88" pos="3872" userDrawn="1">
          <p15:clr>
            <a:srgbClr val="F26B43"/>
          </p15:clr>
        </p15:guide>
        <p15:guide id="89" pos="7392" userDrawn="1">
          <p15:clr>
            <a:srgbClr val="F26B43"/>
          </p15:clr>
        </p15:guide>
        <p15:guide id="90" orient="horz" pos="3555" userDrawn="1">
          <p15:clr>
            <a:srgbClr val="F26B43"/>
          </p15:clr>
        </p15:guide>
        <p15:guide id="91" orient="horz" pos="1690"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364D087D-EF83-4A62-AD98-E31A422A9423}"/>
              </a:ext>
            </a:extLst>
          </p:cNvPr>
          <p:cNvPicPr>
            <a:picLocks noChangeAspect="1"/>
          </p:cNvPicPr>
          <p:nvPr userDrawn="1"/>
        </p:nvPicPr>
        <p:blipFill rotWithShape="1">
          <a:blip r:embed="rId37" cstate="email">
            <a:extLst>
              <a:ext uri="{28A0092B-C50C-407E-A947-70E740481C1C}">
                <a14:useLocalDpi xmlns:a14="http://schemas.microsoft.com/office/drawing/2010/main"/>
              </a:ext>
            </a:extLst>
          </a:blip>
          <a:srcRect/>
          <a:stretch/>
        </p:blipFill>
        <p:spPr>
          <a:xfrm>
            <a:off x="575833" y="9186271"/>
            <a:ext cx="2091110" cy="651982"/>
          </a:xfrm>
          <a:prstGeom prst="rect">
            <a:avLst/>
          </a:prstGeom>
        </p:spPr>
      </p:pic>
      <p:sp>
        <p:nvSpPr>
          <p:cNvPr id="2" name="Title Placeholder 1"/>
          <p:cNvSpPr>
            <a:spLocks noGrp="1"/>
          </p:cNvSpPr>
          <p:nvPr>
            <p:ph type="title"/>
          </p:nvPr>
        </p:nvSpPr>
        <p:spPr bwMode="gray">
          <a:xfrm>
            <a:off x="726440" y="0"/>
            <a:ext cx="16596360" cy="1575285"/>
          </a:xfrm>
          <a:prstGeom prst="rect">
            <a:avLst/>
          </a:prstGeom>
        </p:spPr>
        <p:txBody>
          <a:bodyPr vert="horz" lIns="0" tIns="0" rIns="0" bIns="0" rtlCol="0" anchor="b">
            <a:noAutofit/>
          </a:bodyPr>
          <a:lstStyle/>
          <a:p>
            <a:r>
              <a:rPr lang="en-US"/>
              <a:t>Click to edit Master title style</a:t>
            </a:r>
          </a:p>
        </p:txBody>
      </p:sp>
      <p:sp>
        <p:nvSpPr>
          <p:cNvPr id="3" name="Text Placeholder 2"/>
          <p:cNvSpPr>
            <a:spLocks noGrp="1"/>
          </p:cNvSpPr>
          <p:nvPr>
            <p:ph type="body" idx="1"/>
          </p:nvPr>
        </p:nvSpPr>
        <p:spPr bwMode="gray">
          <a:xfrm>
            <a:off x="726440" y="2677583"/>
            <a:ext cx="16596360" cy="5975834"/>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4" name="Date Placeholder 3"/>
          <p:cNvSpPr>
            <a:spLocks noGrp="1"/>
          </p:cNvSpPr>
          <p:nvPr>
            <p:ph type="dt" sz="half" idx="2"/>
          </p:nvPr>
        </p:nvSpPr>
        <p:spPr bwMode="gray">
          <a:xfrm>
            <a:off x="558800" y="10834069"/>
            <a:ext cx="4023360" cy="535517"/>
          </a:xfrm>
          <a:prstGeom prst="rect">
            <a:avLst/>
          </a:prstGeom>
        </p:spPr>
        <p:txBody>
          <a:bodyPr vert="horz" lIns="0" tIns="0" rIns="0" bIns="0" rtlCol="0" anchor="ctr"/>
          <a:lstStyle>
            <a:lvl1pPr algn="l">
              <a:defRPr sz="1760">
                <a:solidFill>
                  <a:schemeClr val="tx1">
                    <a:tint val="75000"/>
                  </a:schemeClr>
                </a:solidFill>
              </a:defRPr>
            </a:lvl1pPr>
          </a:lstStyle>
          <a:p>
            <a:fld id="{915958EA-D2E5-6B40-9C49-1CF399DB248A}" type="datetime1">
              <a:rPr lang="en-US" smtClean="0"/>
              <a:t>4/21/21</a:t>
            </a:fld>
            <a:endParaRPr lang="en-US"/>
          </a:p>
        </p:txBody>
      </p:sp>
      <p:sp>
        <p:nvSpPr>
          <p:cNvPr id="6" name="Slide Number Placeholder 5"/>
          <p:cNvSpPr>
            <a:spLocks noGrp="1"/>
          </p:cNvSpPr>
          <p:nvPr>
            <p:ph type="sldNum" sz="quarter" idx="4"/>
          </p:nvPr>
        </p:nvSpPr>
        <p:spPr bwMode="gray">
          <a:xfrm>
            <a:off x="16521853" y="9514241"/>
            <a:ext cx="795626" cy="535517"/>
          </a:xfrm>
          <a:prstGeom prst="rect">
            <a:avLst/>
          </a:prstGeom>
        </p:spPr>
        <p:txBody>
          <a:bodyPr vert="horz" lIns="0" tIns="0" rIns="0" bIns="0" rtlCol="0" anchor="ctr"/>
          <a:lstStyle>
            <a:lvl1pPr algn="r">
              <a:defRPr sz="1760">
                <a:solidFill>
                  <a:schemeClr val="tx1">
                    <a:tint val="75000"/>
                  </a:schemeClr>
                </a:solidFill>
              </a:defRPr>
            </a:lvl1pPr>
          </a:lstStyle>
          <a:p>
            <a:fld id="{3310D8EA-3107-4873-B9AB-DD7D3E79053A}" type="slidenum">
              <a:rPr lang="en-US" smtClean="0"/>
              <a:t>‹#›</a:t>
            </a:fld>
            <a:endParaRPr lang="en-US"/>
          </a:p>
        </p:txBody>
      </p:sp>
      <p:cxnSp>
        <p:nvCxnSpPr>
          <p:cNvPr id="8" name="Straight Connector 7"/>
          <p:cNvCxnSpPr>
            <a:cxnSpLocks/>
          </p:cNvCxnSpPr>
          <p:nvPr/>
        </p:nvCxnSpPr>
        <p:spPr bwMode="gray">
          <a:xfrm>
            <a:off x="670560" y="1614310"/>
            <a:ext cx="16652240" cy="0"/>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0" name="Straight Connector 9"/>
          <p:cNvCxnSpPr>
            <a:cxnSpLocks/>
          </p:cNvCxnSpPr>
          <p:nvPr/>
        </p:nvCxnSpPr>
        <p:spPr bwMode="gray">
          <a:xfrm>
            <a:off x="670560" y="1614310"/>
            <a:ext cx="16652240" cy="0"/>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a:cxnSpLocks/>
          </p:cNvCxnSpPr>
          <p:nvPr/>
        </p:nvCxnSpPr>
        <p:spPr bwMode="gray">
          <a:xfrm>
            <a:off x="670560" y="1614310"/>
            <a:ext cx="16652240" cy="0"/>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EDB2CE75-020D-45A1-B141-8BC43E0F6356}"/>
              </a:ext>
            </a:extLst>
          </p:cNvPr>
          <p:cNvCxnSpPr>
            <a:cxnSpLocks/>
          </p:cNvCxnSpPr>
          <p:nvPr/>
        </p:nvCxnSpPr>
        <p:spPr bwMode="gray">
          <a:xfrm>
            <a:off x="670560" y="1614310"/>
            <a:ext cx="16652240" cy="0"/>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4E70631-2200-435E-8B78-C15380687CB2}"/>
              </a:ext>
            </a:extLst>
          </p:cNvPr>
          <p:cNvCxnSpPr>
            <a:cxnSpLocks/>
          </p:cNvCxnSpPr>
          <p:nvPr/>
        </p:nvCxnSpPr>
        <p:spPr bwMode="gray">
          <a:xfrm>
            <a:off x="670560" y="1614310"/>
            <a:ext cx="16652240" cy="0"/>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0EB69FDF-A621-430B-ADCC-6492A766DF3E}"/>
              </a:ext>
            </a:extLst>
          </p:cNvPr>
          <p:cNvCxnSpPr>
            <a:cxnSpLocks/>
          </p:cNvCxnSpPr>
          <p:nvPr userDrawn="1"/>
        </p:nvCxnSpPr>
        <p:spPr bwMode="gray">
          <a:xfrm>
            <a:off x="670560" y="1614310"/>
            <a:ext cx="16652240" cy="0"/>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92592571"/>
      </p:ext>
    </p:extLst>
  </p:cSld>
  <p:clrMap bg1="lt1" tx1="dk1" bg2="lt2" tx2="dk2" accent1="accent1" accent2="accent2" accent3="accent3" accent4="accent4" accent5="accent5" accent6="accent6" hlink="hlink" folHlink="folHlink"/>
  <p:sldLayoutIdLst>
    <p:sldLayoutId id="2147483908" r:id="rId1"/>
    <p:sldLayoutId id="2147483909" r:id="rId2"/>
    <p:sldLayoutId id="2147483910" r:id="rId3"/>
    <p:sldLayoutId id="2147483911" r:id="rId4"/>
    <p:sldLayoutId id="2147483912" r:id="rId5"/>
    <p:sldLayoutId id="2147483913" r:id="rId6"/>
    <p:sldLayoutId id="2147483914" r:id="rId7"/>
    <p:sldLayoutId id="2147483915" r:id="rId8"/>
    <p:sldLayoutId id="2147483916" r:id="rId9"/>
    <p:sldLayoutId id="2147483917" r:id="rId10"/>
    <p:sldLayoutId id="2147483918" r:id="rId11"/>
    <p:sldLayoutId id="2147483919" r:id="rId12"/>
    <p:sldLayoutId id="2147483920" r:id="rId13"/>
    <p:sldLayoutId id="2147483921" r:id="rId14"/>
    <p:sldLayoutId id="2147483922" r:id="rId15"/>
    <p:sldLayoutId id="2147483923" r:id="rId16"/>
    <p:sldLayoutId id="2147483924" r:id="rId17"/>
    <p:sldLayoutId id="2147483925" r:id="rId18"/>
    <p:sldLayoutId id="2147483926" r:id="rId19"/>
    <p:sldLayoutId id="2147483927" r:id="rId20"/>
    <p:sldLayoutId id="2147483928" r:id="rId21"/>
    <p:sldLayoutId id="2147483929" r:id="rId22"/>
    <p:sldLayoutId id="2147483930" r:id="rId23"/>
    <p:sldLayoutId id="2147483931" r:id="rId24"/>
    <p:sldLayoutId id="2147483932" r:id="rId25"/>
    <p:sldLayoutId id="2147483933" r:id="rId26"/>
    <p:sldLayoutId id="2147483934" r:id="rId27"/>
    <p:sldLayoutId id="2147483935" r:id="rId28"/>
    <p:sldLayoutId id="2147483936" r:id="rId29"/>
    <p:sldLayoutId id="2147483937" r:id="rId30"/>
    <p:sldLayoutId id="2147483938" r:id="rId31"/>
    <p:sldLayoutId id="2147483939" r:id="rId32"/>
    <p:sldLayoutId id="2147483940" r:id="rId33"/>
    <p:sldLayoutId id="2147483941" r:id="rId34"/>
    <p:sldLayoutId id="2147483942" r:id="rId35"/>
  </p:sldLayoutIdLst>
  <p:hf hdr="0" dt="0"/>
  <p:txStyles>
    <p:titleStyle>
      <a:lvl1pPr algn="l" defTabSz="1341150" rtl="0" eaLnBrk="1" latinLnBrk="0" hangingPunct="1">
        <a:lnSpc>
          <a:spcPct val="90000"/>
        </a:lnSpc>
        <a:spcBef>
          <a:spcPct val="0"/>
        </a:spcBef>
        <a:buNone/>
        <a:defRPr sz="4400" kern="1200">
          <a:solidFill>
            <a:srgbClr val="55565A"/>
          </a:solidFill>
          <a:latin typeface="+mj-lt"/>
          <a:ea typeface="+mj-ea"/>
          <a:cs typeface="+mj-cs"/>
        </a:defRPr>
      </a:lvl1pPr>
    </p:titleStyle>
    <p:bodyStyle>
      <a:lvl1pPr marL="0" indent="0" algn="l" defTabSz="1341150" rtl="0" eaLnBrk="1" latinLnBrk="0" hangingPunct="1">
        <a:lnSpc>
          <a:spcPct val="95000"/>
        </a:lnSpc>
        <a:spcBef>
          <a:spcPts val="1173"/>
        </a:spcBef>
        <a:spcAft>
          <a:spcPts val="880"/>
        </a:spcAft>
        <a:buFont typeface="Arial" panose="020B0604020202020204" pitchFamily="34" charset="0"/>
        <a:buChar char="​"/>
        <a:defRPr sz="3227" kern="1200">
          <a:solidFill>
            <a:schemeClr val="tx2"/>
          </a:solidFill>
          <a:latin typeface="+mn-lt"/>
          <a:ea typeface="+mn-ea"/>
          <a:cs typeface="+mn-cs"/>
        </a:defRPr>
      </a:lvl1pPr>
      <a:lvl2pPr marL="337617" indent="-337617" algn="l" defTabSz="1341150" rtl="0" eaLnBrk="1" latinLnBrk="0" hangingPunct="1">
        <a:lnSpc>
          <a:spcPct val="95000"/>
        </a:lnSpc>
        <a:spcBef>
          <a:spcPts val="0"/>
        </a:spcBef>
        <a:spcAft>
          <a:spcPts val="880"/>
        </a:spcAft>
        <a:buClr>
          <a:schemeClr val="accent1"/>
        </a:buClr>
        <a:buFont typeface="Arial" panose="020B0604020202020204" pitchFamily="34" charset="0"/>
        <a:buChar char="•"/>
        <a:defRPr sz="3227" kern="1200">
          <a:solidFill>
            <a:schemeClr val="tx1"/>
          </a:solidFill>
          <a:latin typeface="+mn-lt"/>
          <a:ea typeface="+mn-ea"/>
          <a:cs typeface="+mn-cs"/>
        </a:defRPr>
      </a:lvl2pPr>
      <a:lvl3pPr marL="335288" indent="-335288" algn="l" defTabSz="1341150" rtl="0" eaLnBrk="1" latinLnBrk="0" hangingPunct="1">
        <a:lnSpc>
          <a:spcPct val="95000"/>
        </a:lnSpc>
        <a:spcBef>
          <a:spcPts val="0"/>
        </a:spcBef>
        <a:spcAft>
          <a:spcPts val="880"/>
        </a:spcAft>
        <a:buClr>
          <a:schemeClr val="accent1"/>
        </a:buClr>
        <a:buFont typeface="Arial" panose="020B0604020202020204" pitchFamily="34" charset="0"/>
        <a:buChar char="​"/>
        <a:defRPr sz="3227" kern="1200">
          <a:solidFill>
            <a:schemeClr val="tx1"/>
          </a:solidFill>
          <a:latin typeface="+mn-lt"/>
          <a:ea typeface="+mn-ea"/>
          <a:cs typeface="+mn-cs"/>
        </a:defRPr>
      </a:lvl3pPr>
      <a:lvl4pPr marL="672904" indent="-337617" algn="l" defTabSz="1341150" rtl="0" eaLnBrk="1" latinLnBrk="0" hangingPunct="1">
        <a:lnSpc>
          <a:spcPct val="95000"/>
        </a:lnSpc>
        <a:spcBef>
          <a:spcPts val="0"/>
        </a:spcBef>
        <a:spcAft>
          <a:spcPts val="880"/>
        </a:spcAft>
        <a:buFont typeface="Arial" panose="020B0604020202020204" pitchFamily="34" charset="0"/>
        <a:buChar char="−"/>
        <a:defRPr sz="2933" kern="1200">
          <a:solidFill>
            <a:schemeClr val="tx1"/>
          </a:solidFill>
          <a:latin typeface="+mn-lt"/>
          <a:ea typeface="+mn-ea"/>
          <a:cs typeface="+mn-cs"/>
        </a:defRPr>
      </a:lvl4pPr>
      <a:lvl5pPr marL="1005863" indent="-335288" algn="l" defTabSz="1341150" rtl="0" eaLnBrk="1" latinLnBrk="0" hangingPunct="1">
        <a:lnSpc>
          <a:spcPct val="95000"/>
        </a:lnSpc>
        <a:spcBef>
          <a:spcPts val="0"/>
        </a:spcBef>
        <a:spcAft>
          <a:spcPts val="880"/>
        </a:spcAft>
        <a:buFont typeface="Arial" panose="020B0604020202020204" pitchFamily="34" charset="0"/>
        <a:buChar char="•"/>
        <a:defRPr sz="2640" kern="1200">
          <a:solidFill>
            <a:schemeClr val="tx1"/>
          </a:solidFill>
          <a:latin typeface="+mn-lt"/>
          <a:ea typeface="+mn-ea"/>
          <a:cs typeface="+mn-cs"/>
        </a:defRPr>
      </a:lvl5pPr>
      <a:lvl6pPr marL="1341150" indent="-335288" algn="l" defTabSz="1341150" rtl="0" eaLnBrk="1" latinLnBrk="0" hangingPunct="1">
        <a:lnSpc>
          <a:spcPct val="95000"/>
        </a:lnSpc>
        <a:spcBef>
          <a:spcPts val="0"/>
        </a:spcBef>
        <a:spcAft>
          <a:spcPts val="880"/>
        </a:spcAft>
        <a:buFont typeface="Arial" panose="020B0604020202020204" pitchFamily="34" charset="0"/>
        <a:buChar char="−"/>
        <a:defRPr sz="2347" kern="1200">
          <a:solidFill>
            <a:schemeClr val="tx1"/>
          </a:solidFill>
          <a:latin typeface="+mn-lt"/>
          <a:ea typeface="+mn-ea"/>
          <a:cs typeface="+mn-cs"/>
        </a:defRPr>
      </a:lvl6pPr>
      <a:lvl7pPr marL="1341150" indent="-335288" algn="l" defTabSz="1341150" rtl="0" eaLnBrk="1" latinLnBrk="0" hangingPunct="1">
        <a:lnSpc>
          <a:spcPct val="95000"/>
        </a:lnSpc>
        <a:spcBef>
          <a:spcPts val="0"/>
        </a:spcBef>
        <a:spcAft>
          <a:spcPts val="880"/>
        </a:spcAft>
        <a:buFont typeface="Arial" panose="020B0604020202020204" pitchFamily="34" charset="0"/>
        <a:buChar char="−"/>
        <a:defRPr sz="2347" kern="1200">
          <a:solidFill>
            <a:schemeClr val="tx1"/>
          </a:solidFill>
          <a:latin typeface="+mn-lt"/>
          <a:ea typeface="+mn-ea"/>
          <a:cs typeface="+mn-cs"/>
        </a:defRPr>
      </a:lvl7pPr>
      <a:lvl8pPr marL="1341150" indent="-335288" algn="l" defTabSz="1341150" rtl="0" eaLnBrk="1" latinLnBrk="0" hangingPunct="1">
        <a:lnSpc>
          <a:spcPct val="95000"/>
        </a:lnSpc>
        <a:spcBef>
          <a:spcPts val="0"/>
        </a:spcBef>
        <a:spcAft>
          <a:spcPts val="880"/>
        </a:spcAft>
        <a:buFont typeface="Arial" panose="020B0604020202020204" pitchFamily="34" charset="0"/>
        <a:buChar char="−"/>
        <a:defRPr sz="2347" kern="1200">
          <a:solidFill>
            <a:schemeClr val="tx1"/>
          </a:solidFill>
          <a:latin typeface="+mn-lt"/>
          <a:ea typeface="+mn-ea"/>
          <a:cs typeface="+mn-cs"/>
        </a:defRPr>
      </a:lvl8pPr>
      <a:lvl9pPr marL="1341150" indent="-335288" algn="l" defTabSz="1341150" rtl="0" eaLnBrk="1" latinLnBrk="0" hangingPunct="1">
        <a:lnSpc>
          <a:spcPct val="95000"/>
        </a:lnSpc>
        <a:spcBef>
          <a:spcPts val="0"/>
        </a:spcBef>
        <a:spcAft>
          <a:spcPts val="880"/>
        </a:spcAft>
        <a:buFont typeface="Arial" panose="020B0604020202020204" pitchFamily="34" charset="0"/>
        <a:buChar char="−"/>
        <a:defRPr sz="2347" kern="1200">
          <a:solidFill>
            <a:schemeClr val="tx1"/>
          </a:solidFill>
          <a:latin typeface="+mn-lt"/>
          <a:ea typeface="+mn-ea"/>
          <a:cs typeface="+mn-cs"/>
        </a:defRPr>
      </a:lvl9pPr>
    </p:bodyStyle>
    <p:otherStyle>
      <a:defPPr>
        <a:defRPr lang="en-US"/>
      </a:defPPr>
      <a:lvl1pPr marL="0" algn="l" defTabSz="1341150" rtl="0" eaLnBrk="1" latinLnBrk="0" hangingPunct="1">
        <a:defRPr sz="2640" kern="1200">
          <a:solidFill>
            <a:schemeClr val="tx1"/>
          </a:solidFill>
          <a:latin typeface="+mn-lt"/>
          <a:ea typeface="+mn-ea"/>
          <a:cs typeface="+mn-cs"/>
        </a:defRPr>
      </a:lvl1pPr>
      <a:lvl2pPr marL="670575" algn="l" defTabSz="1341150" rtl="0" eaLnBrk="1" latinLnBrk="0" hangingPunct="1">
        <a:defRPr sz="2640" kern="1200">
          <a:solidFill>
            <a:schemeClr val="tx1"/>
          </a:solidFill>
          <a:latin typeface="+mn-lt"/>
          <a:ea typeface="+mn-ea"/>
          <a:cs typeface="+mn-cs"/>
        </a:defRPr>
      </a:lvl2pPr>
      <a:lvl3pPr marL="1341150" algn="l" defTabSz="1341150" rtl="0" eaLnBrk="1" latinLnBrk="0" hangingPunct="1">
        <a:defRPr sz="2640" kern="1200">
          <a:solidFill>
            <a:schemeClr val="tx1"/>
          </a:solidFill>
          <a:latin typeface="+mn-lt"/>
          <a:ea typeface="+mn-ea"/>
          <a:cs typeface="+mn-cs"/>
        </a:defRPr>
      </a:lvl3pPr>
      <a:lvl4pPr marL="2011726" algn="l" defTabSz="1341150" rtl="0" eaLnBrk="1" latinLnBrk="0" hangingPunct="1">
        <a:defRPr sz="2640" kern="1200">
          <a:solidFill>
            <a:schemeClr val="tx1"/>
          </a:solidFill>
          <a:latin typeface="+mn-lt"/>
          <a:ea typeface="+mn-ea"/>
          <a:cs typeface="+mn-cs"/>
        </a:defRPr>
      </a:lvl4pPr>
      <a:lvl5pPr marL="2682301" algn="l" defTabSz="1341150" rtl="0" eaLnBrk="1" latinLnBrk="0" hangingPunct="1">
        <a:defRPr sz="2640" kern="1200">
          <a:solidFill>
            <a:schemeClr val="tx1"/>
          </a:solidFill>
          <a:latin typeface="+mn-lt"/>
          <a:ea typeface="+mn-ea"/>
          <a:cs typeface="+mn-cs"/>
        </a:defRPr>
      </a:lvl5pPr>
      <a:lvl6pPr marL="3352876" algn="l" defTabSz="1341150" rtl="0" eaLnBrk="1" latinLnBrk="0" hangingPunct="1">
        <a:defRPr sz="2640" kern="1200">
          <a:solidFill>
            <a:schemeClr val="tx1"/>
          </a:solidFill>
          <a:latin typeface="+mn-lt"/>
          <a:ea typeface="+mn-ea"/>
          <a:cs typeface="+mn-cs"/>
        </a:defRPr>
      </a:lvl6pPr>
      <a:lvl7pPr marL="4023451" algn="l" defTabSz="1341150" rtl="0" eaLnBrk="1" latinLnBrk="0" hangingPunct="1">
        <a:defRPr sz="2640" kern="1200">
          <a:solidFill>
            <a:schemeClr val="tx1"/>
          </a:solidFill>
          <a:latin typeface="+mn-lt"/>
          <a:ea typeface="+mn-ea"/>
          <a:cs typeface="+mn-cs"/>
        </a:defRPr>
      </a:lvl7pPr>
      <a:lvl8pPr marL="4694027" algn="l" defTabSz="1341150" rtl="0" eaLnBrk="1" latinLnBrk="0" hangingPunct="1">
        <a:defRPr sz="2640" kern="1200">
          <a:solidFill>
            <a:schemeClr val="tx1"/>
          </a:solidFill>
          <a:latin typeface="+mn-lt"/>
          <a:ea typeface="+mn-ea"/>
          <a:cs typeface="+mn-cs"/>
        </a:defRPr>
      </a:lvl8pPr>
      <a:lvl9pPr marL="5364602" algn="l" defTabSz="1341150" rtl="0" eaLnBrk="1" latinLnBrk="0" hangingPunct="1">
        <a:defRPr sz="2640" kern="1200">
          <a:solidFill>
            <a:schemeClr val="tx1"/>
          </a:solidFill>
          <a:latin typeface="+mn-lt"/>
          <a:ea typeface="+mn-ea"/>
          <a:cs typeface="+mn-cs"/>
        </a:defRPr>
      </a:lvl9pPr>
    </p:otherStyle>
  </p:txStyles>
  <p:extLst>
    <p:ext uri="{27BBF7A9-308A-43DC-89C8-2F10F3537804}">
      <p15:sldGuideLst xmlns:p15="http://schemas.microsoft.com/office/powerpoint/2012/main">
        <p15:guide id="72" pos="3816">
          <p15:clr>
            <a:srgbClr val="FDE53C"/>
          </p15:clr>
        </p15:guide>
        <p15:guide id="73" orient="horz" pos="3720">
          <p15:clr>
            <a:srgbClr val="F26B43"/>
          </p15:clr>
        </p15:guide>
        <p15:guide id="74">
          <p15:clr>
            <a:srgbClr val="F26B43"/>
          </p15:clr>
        </p15:guide>
        <p15:guide id="75" pos="7440">
          <p15:clr>
            <a:srgbClr val="F26B43"/>
          </p15:clr>
        </p15:guide>
        <p15:guide id="76" pos="264">
          <p15:clr>
            <a:srgbClr val="F26B43"/>
          </p15:clr>
        </p15:guide>
        <p15:guide id="77" orient="horz" pos="4080">
          <p15:clr>
            <a:srgbClr val="F26B43"/>
          </p15:clr>
        </p15:guide>
        <p15:guide id="78" pos="312">
          <p15:clr>
            <a:srgbClr val="F26B43"/>
          </p15:clr>
        </p15:guide>
        <p15:guide id="79" orient="horz" pos="240">
          <p15:clr>
            <a:srgbClr val="F26B43"/>
          </p15:clr>
        </p15:guide>
        <p15:guide id="80" orient="horz" pos="360">
          <p15:clr>
            <a:srgbClr val="F26B43"/>
          </p15:clr>
        </p15:guide>
        <p15:guide id="81" orient="horz" pos="696">
          <p15:clr>
            <a:srgbClr val="F26B43"/>
          </p15:clr>
        </p15:guide>
        <p15:guide id="82" orient="horz" pos="2472">
          <p15:clr>
            <a:srgbClr val="F26B43"/>
          </p15:clr>
        </p15:guide>
        <p15:guide id="83" orient="horz" pos="4224">
          <p15:clr>
            <a:srgbClr val="F26B43"/>
          </p15:clr>
        </p15:guide>
        <p15:guide id="84" pos="7392">
          <p15:clr>
            <a:srgbClr val="F26B43"/>
          </p15:clr>
        </p15:guide>
        <p15:guide id="85" pos="3864">
          <p15:clr>
            <a:srgbClr val="FDE53C"/>
          </p15:clr>
        </p15:guide>
        <p15:guide id="86" pos="2688">
          <p15:clr>
            <a:srgbClr val="F26B43"/>
          </p15:clr>
        </p15:guide>
        <p15:guide id="87" pos="4992">
          <p15:clr>
            <a:srgbClr val="F26B43"/>
          </p15:clr>
        </p15:guide>
        <p15:guide id="88" pos="2640">
          <p15:clr>
            <a:srgbClr val="F26B43"/>
          </p15:clr>
        </p15:guide>
        <p15:guide id="89" pos="5040">
          <p15:clr>
            <a:srgbClr val="F26B43"/>
          </p15:clr>
        </p15:guide>
        <p15:guide id="90" orient="horz" pos="2424">
          <p15:clr>
            <a:srgbClr val="F26B43"/>
          </p15:clr>
        </p15:guide>
        <p15:guide id="91" orient="horz" pos="1152">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1.xml"/><Relationship Id="rId1" Type="http://schemas.openxmlformats.org/officeDocument/2006/relationships/slideLayout" Target="../slideLayouts/slideLayout24.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2.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notesSlide" Target="../notesSlides/notesSlide6.xml"/><Relationship Id="rId1" Type="http://schemas.openxmlformats.org/officeDocument/2006/relationships/slideLayout" Target="../slideLayouts/slideLayout1.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1.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19.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1.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2.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8.xml"/><Relationship Id="rId1" Type="http://schemas.openxmlformats.org/officeDocument/2006/relationships/slideLayout" Target="../slideLayouts/slideLayout26.xml"/></Relationships>
</file>

<file path=ppt/slides/_rels/slide23.xml.rels><?xml version="1.0" encoding="UTF-8" standalone="yes"?>
<Relationships xmlns="http://schemas.openxmlformats.org/package/2006/relationships"><Relationship Id="rId2" Type="http://schemas.openxmlformats.org/officeDocument/2006/relationships/image" Target="../media/image23.tiff"/><Relationship Id="rId1" Type="http://schemas.openxmlformats.org/officeDocument/2006/relationships/slideLayout" Target="../slideLayouts/slideLayout26.xml"/></Relationships>
</file>

<file path=ppt/slides/_rels/slide24.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26.xml"/></Relationships>
</file>

<file path=ppt/slides/_rels/slide25.xml.rels><?xml version="1.0" encoding="UTF-8" standalone="yes"?>
<Relationships xmlns="http://schemas.openxmlformats.org/package/2006/relationships"><Relationship Id="rId3" Type="http://schemas.openxmlformats.org/officeDocument/2006/relationships/image" Target="../media/image26.tiff"/><Relationship Id="rId2" Type="http://schemas.openxmlformats.org/officeDocument/2006/relationships/image" Target="../media/image25.tiff"/><Relationship Id="rId1" Type="http://schemas.openxmlformats.org/officeDocument/2006/relationships/slideLayout" Target="../slideLayouts/slideLayout26.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6.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28.xml.rels><?xml version="1.0" encoding="UTF-8" standalone="yes"?>
<Relationships xmlns="http://schemas.openxmlformats.org/package/2006/relationships"><Relationship Id="rId2" Type="http://schemas.openxmlformats.org/officeDocument/2006/relationships/image" Target="../media/image27.tiff"/><Relationship Id="rId1" Type="http://schemas.openxmlformats.org/officeDocument/2006/relationships/slideLayout" Target="../slideLayouts/slideLayout1.xml"/></Relationships>
</file>

<file path=ppt/slides/_rels/slide29.xml.rels><?xml version="1.0" encoding="UTF-8" standalone="yes"?>
<Relationships xmlns="http://schemas.openxmlformats.org/package/2006/relationships"><Relationship Id="rId2" Type="http://schemas.openxmlformats.org/officeDocument/2006/relationships/image" Target="../media/image23.tiff"/><Relationship Id="rId1" Type="http://schemas.openxmlformats.org/officeDocument/2006/relationships/slideLayout" Target="../slideLayouts/slideLayout26.xml"/></Relationships>
</file>

<file path=ppt/slides/_rels/slide3.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2.xml"/><Relationship Id="rId1" Type="http://schemas.openxmlformats.org/officeDocument/2006/relationships/slideLayout" Target="../slideLayouts/slideLayout1.xml"/><Relationship Id="rId5" Type="http://schemas.openxmlformats.org/officeDocument/2006/relationships/image" Target="../media/image16.jpeg"/><Relationship Id="rId4" Type="http://schemas.openxmlformats.org/officeDocument/2006/relationships/image" Target="../media/image15.jpeg"/></Relationships>
</file>

<file path=ppt/slides/_rels/slide30.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10.xml"/><Relationship Id="rId1" Type="http://schemas.openxmlformats.org/officeDocument/2006/relationships/slideLayout" Target="../slideLayouts/slideLayout26.xml"/></Relationships>
</file>

<file path=ppt/slides/_rels/slide31.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png"/><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xml"/></Relationships>
</file>

<file path=ppt/slides/_rels/slide34.xml.rels><?xml version="1.0" encoding="UTF-8" standalone="yes"?>
<Relationships xmlns="http://schemas.openxmlformats.org/package/2006/relationships"><Relationship Id="rId3" Type="http://schemas.openxmlformats.org/officeDocument/2006/relationships/image" Target="../media/image30.tiff"/><Relationship Id="rId2" Type="http://schemas.openxmlformats.org/officeDocument/2006/relationships/notesSlide" Target="../notesSlides/notesSlide13.xml"/><Relationship Id="rId1" Type="http://schemas.openxmlformats.org/officeDocument/2006/relationships/slideLayout" Target="../slideLayouts/slideLayout1.xml"/><Relationship Id="rId4" Type="http://schemas.openxmlformats.org/officeDocument/2006/relationships/image" Target="../media/image31.png"/></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6.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14.xml"/><Relationship Id="rId1" Type="http://schemas.openxmlformats.org/officeDocument/2006/relationships/slideLayout" Target="../slideLayouts/slideLayout1.xml"/><Relationship Id="rId4" Type="http://schemas.openxmlformats.org/officeDocument/2006/relationships/image" Target="../media/image33.png"/></Relationships>
</file>

<file path=ppt/slides/_rels/slide37.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Layout" Target="../slideLayouts/slideLayout26.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6.xml"/></Relationships>
</file>

<file path=ppt/slides/_rels/slide39.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3.xml"/><Relationship Id="rId1" Type="http://schemas.openxmlformats.org/officeDocument/2006/relationships/slideLayout" Target="../slideLayouts/slideLayout26.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1.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36.png"/><Relationship Id="rId1" Type="http://schemas.openxmlformats.org/officeDocument/2006/relationships/slideLayout" Target="../slideLayouts/slideLayout19.xml"/><Relationship Id="rId4" Type="http://schemas.openxmlformats.org/officeDocument/2006/relationships/image" Target="../media/image38.png"/></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itle"/>
          <p:cNvSpPr/>
          <p:nvPr/>
        </p:nvSpPr>
        <p:spPr>
          <a:xfrm>
            <a:off x="731529" y="1856560"/>
            <a:ext cx="16418541" cy="3172640"/>
          </a:xfrm>
          <a:prstGeom prst="rect">
            <a:avLst/>
          </a:prstGeom>
          <a:solidFill>
            <a:schemeClr val="bg1">
              <a:lumMod val="95000"/>
              <a:alpha val="4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8293" rIns="58293" rtlCol="0" anchor="ctr"/>
          <a:lstStyle/>
          <a:p>
            <a:r>
              <a:rPr lang="en-US" sz="8000" b="1" dirty="0">
                <a:solidFill>
                  <a:schemeClr val="tx1"/>
                </a:solidFill>
                <a:latin typeface="+mj-lt"/>
              </a:rPr>
              <a:t>Graph Hardware is Coming!</a:t>
            </a:r>
            <a:br>
              <a:rPr lang="en-US" sz="4800" b="1" dirty="0">
                <a:solidFill>
                  <a:schemeClr val="tx1"/>
                </a:solidFill>
                <a:latin typeface="+mj-lt"/>
              </a:rPr>
            </a:br>
            <a:r>
              <a:rPr lang="en-US" sz="2800" b="1" dirty="0">
                <a:solidFill>
                  <a:schemeClr val="tx1">
                    <a:lumMod val="60000"/>
                    <a:lumOff val="40000"/>
                  </a:schemeClr>
                </a:solidFill>
                <a:latin typeface="+mj-lt"/>
              </a:rPr>
              <a:t>April 20, 2021 </a:t>
            </a:r>
            <a:endParaRPr lang="en-US" sz="3200" b="1" dirty="0">
              <a:solidFill>
                <a:schemeClr val="tx1">
                  <a:lumMod val="60000"/>
                  <a:lumOff val="40000"/>
                </a:schemeClr>
              </a:solidFill>
              <a:latin typeface="+mj-lt"/>
            </a:endParaRPr>
          </a:p>
        </p:txBody>
      </p:sp>
      <p:sp>
        <p:nvSpPr>
          <p:cNvPr id="2" name="TextBox 1"/>
          <p:cNvSpPr txBox="1"/>
          <p:nvPr/>
        </p:nvSpPr>
        <p:spPr>
          <a:xfrm>
            <a:off x="4409538" y="8849138"/>
            <a:ext cx="7505061" cy="646331"/>
          </a:xfrm>
          <a:prstGeom prst="rect">
            <a:avLst/>
          </a:prstGeom>
          <a:solidFill>
            <a:schemeClr val="bg1">
              <a:lumMod val="95000"/>
              <a:alpha val="63000"/>
            </a:schemeClr>
          </a:solidFill>
        </p:spPr>
        <p:txBody>
          <a:bodyPr wrap="square" rtlCol="0">
            <a:spAutoFit/>
          </a:bodyPr>
          <a:lstStyle/>
          <a:p>
            <a:r>
              <a:rPr lang="en-US" sz="3600" dirty="0"/>
              <a:t>Advanced Technology Collaborative</a:t>
            </a:r>
          </a:p>
        </p:txBody>
      </p:sp>
      <p:pic>
        <p:nvPicPr>
          <p:cNvPr id="4" name="Picture 3">
            <a:extLst>
              <a:ext uri="{FF2B5EF4-FFF2-40B4-BE49-F238E27FC236}">
                <a16:creationId xmlns:a16="http://schemas.microsoft.com/office/drawing/2014/main" id="{9D0F56D9-35D3-F94B-A324-0336D6BCEDAC}"/>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l="7994" t="18631" r="7973" b="19012"/>
          <a:stretch/>
        </p:blipFill>
        <p:spPr>
          <a:xfrm>
            <a:off x="804433" y="8308093"/>
            <a:ext cx="3470604" cy="1082091"/>
          </a:xfrm>
          <a:prstGeom prst="rect">
            <a:avLst/>
          </a:prstGeom>
        </p:spPr>
      </p:pic>
      <p:sp>
        <p:nvSpPr>
          <p:cNvPr id="6" name="TextBox 5">
            <a:extLst>
              <a:ext uri="{FF2B5EF4-FFF2-40B4-BE49-F238E27FC236}">
                <a16:creationId xmlns:a16="http://schemas.microsoft.com/office/drawing/2014/main" id="{53EE26DB-005D-AA4D-B2F9-E4A00220658D}"/>
              </a:ext>
            </a:extLst>
          </p:cNvPr>
          <p:cNvSpPr txBox="1"/>
          <p:nvPr/>
        </p:nvSpPr>
        <p:spPr>
          <a:xfrm>
            <a:off x="837178" y="6266406"/>
            <a:ext cx="7144719" cy="1569660"/>
          </a:xfrm>
          <a:prstGeom prst="rect">
            <a:avLst/>
          </a:prstGeom>
          <a:noFill/>
        </p:spPr>
        <p:txBody>
          <a:bodyPr wrap="square" rtlCol="0">
            <a:spAutoFit/>
          </a:bodyPr>
          <a:lstStyle/>
          <a:p>
            <a:endParaRPr lang="en-US" sz="3200" b="1" dirty="0"/>
          </a:p>
          <a:p>
            <a:r>
              <a:rPr lang="en-US" sz="3200" b="1" dirty="0"/>
              <a:t>Dan McCreary</a:t>
            </a:r>
          </a:p>
          <a:p>
            <a:r>
              <a:rPr lang="en-US" sz="3200" dirty="0"/>
              <a:t>Distinguished Engineer</a:t>
            </a:r>
          </a:p>
        </p:txBody>
      </p:sp>
    </p:spTree>
    <p:extLst>
      <p:ext uri="{BB962C8B-B14F-4D97-AF65-F5344CB8AC3E}">
        <p14:creationId xmlns:p14="http://schemas.microsoft.com/office/powerpoint/2010/main" val="605989602"/>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19845EA0-4928-8B4C-848A-9975F83B1157}"/>
              </a:ext>
            </a:extLst>
          </p:cNvPr>
          <p:cNvSpPr>
            <a:spLocks noGrp="1"/>
          </p:cNvSpPr>
          <p:nvPr>
            <p:ph type="title"/>
          </p:nvPr>
        </p:nvSpPr>
        <p:spPr/>
        <p:txBody>
          <a:bodyPr/>
          <a:lstStyle/>
          <a:p>
            <a:r>
              <a:rPr lang="en-US" dirty="0"/>
              <a:t>Single Node Graph to Distributed Graph Summary</a:t>
            </a:r>
          </a:p>
        </p:txBody>
      </p:sp>
      <p:sp>
        <p:nvSpPr>
          <p:cNvPr id="9" name="Content Placeholder 8">
            <a:extLst>
              <a:ext uri="{FF2B5EF4-FFF2-40B4-BE49-F238E27FC236}">
                <a16:creationId xmlns:a16="http://schemas.microsoft.com/office/drawing/2014/main" id="{CF092E03-8AE8-FD44-8420-43A2406B738F}"/>
              </a:ext>
            </a:extLst>
          </p:cNvPr>
          <p:cNvSpPr>
            <a:spLocks noGrp="1"/>
          </p:cNvSpPr>
          <p:nvPr>
            <p:ph idx="1"/>
          </p:nvPr>
        </p:nvSpPr>
        <p:spPr>
          <a:xfrm>
            <a:off x="721118" y="6098246"/>
            <a:ext cx="15800735" cy="2323687"/>
          </a:xfrm>
        </p:spPr>
        <p:txBody>
          <a:bodyPr/>
          <a:lstStyle/>
          <a:p>
            <a:r>
              <a:rPr lang="en-US" dirty="0"/>
              <a:t>Moving from </a:t>
            </a:r>
            <a:r>
              <a:rPr lang="en-US" b="1" dirty="0"/>
              <a:t>Single Node Graph </a:t>
            </a:r>
            <a:r>
              <a:rPr lang="en-US" dirty="0"/>
              <a:t>to</a:t>
            </a:r>
            <a:r>
              <a:rPr lang="en-US" b="1" dirty="0"/>
              <a:t> Distributed Graph </a:t>
            </a:r>
            <a:r>
              <a:rPr lang="en-US" dirty="0"/>
              <a:t>gives us a 100x increase in relational traversal performance</a:t>
            </a:r>
          </a:p>
          <a:p>
            <a:r>
              <a:rPr lang="en-US" dirty="0"/>
              <a:t>Five orders-of-magnitude total speedup</a:t>
            </a:r>
          </a:p>
          <a:p>
            <a:r>
              <a:rPr lang="en-US" dirty="0"/>
              <a:t>What next?</a:t>
            </a:r>
          </a:p>
        </p:txBody>
      </p:sp>
      <p:sp>
        <p:nvSpPr>
          <p:cNvPr id="5" name="Slide Number Placeholder 4">
            <a:extLst>
              <a:ext uri="{FF2B5EF4-FFF2-40B4-BE49-F238E27FC236}">
                <a16:creationId xmlns:a16="http://schemas.microsoft.com/office/drawing/2014/main" id="{4EDC8B17-1E84-F841-9005-0A261043E723}"/>
              </a:ext>
            </a:extLst>
          </p:cNvPr>
          <p:cNvSpPr>
            <a:spLocks noGrp="1"/>
          </p:cNvSpPr>
          <p:nvPr>
            <p:ph type="sldNum" sz="quarter" idx="12"/>
          </p:nvPr>
        </p:nvSpPr>
        <p:spPr/>
        <p:txBody>
          <a:bodyPr/>
          <a:lstStyle/>
          <a:p>
            <a:fld id="{3310D8EA-3107-4873-B9AB-DD7D3E79053A}" type="slidenum">
              <a:rPr lang="en-US" smtClean="0"/>
              <a:t>10</a:t>
            </a:fld>
            <a:endParaRPr lang="en-US"/>
          </a:p>
        </p:txBody>
      </p:sp>
      <p:sp>
        <p:nvSpPr>
          <p:cNvPr id="10" name="Oval 9">
            <a:extLst>
              <a:ext uri="{FF2B5EF4-FFF2-40B4-BE49-F238E27FC236}">
                <a16:creationId xmlns:a16="http://schemas.microsoft.com/office/drawing/2014/main" id="{1769D696-2D6B-F34B-A685-5E39EA775539}"/>
              </a:ext>
            </a:extLst>
          </p:cNvPr>
          <p:cNvSpPr/>
          <p:nvPr/>
        </p:nvSpPr>
        <p:spPr>
          <a:xfrm>
            <a:off x="1092410" y="3223977"/>
            <a:ext cx="2584240" cy="1428750"/>
          </a:xfrm>
          <a:prstGeom prst="ellipse">
            <a:avLst/>
          </a:prstGeom>
          <a:solidFill>
            <a:srgbClr val="73FEFF"/>
          </a:solidFill>
          <a:ln>
            <a:solidFill>
              <a:schemeClr val="tx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b="1" dirty="0">
                <a:solidFill>
                  <a:schemeClr val="tx1">
                    <a:lumMod val="50000"/>
                  </a:schemeClr>
                </a:solidFill>
              </a:rPr>
              <a:t>Relational</a:t>
            </a:r>
          </a:p>
          <a:p>
            <a:pPr algn="ctr"/>
            <a:r>
              <a:rPr lang="en-US" b="1" dirty="0">
                <a:solidFill>
                  <a:schemeClr val="tx1">
                    <a:lumMod val="50000"/>
                  </a:schemeClr>
                </a:solidFill>
              </a:rPr>
              <a:t>Database</a:t>
            </a:r>
          </a:p>
        </p:txBody>
      </p:sp>
      <p:sp>
        <p:nvSpPr>
          <p:cNvPr id="11" name="Oval 10">
            <a:extLst>
              <a:ext uri="{FF2B5EF4-FFF2-40B4-BE49-F238E27FC236}">
                <a16:creationId xmlns:a16="http://schemas.microsoft.com/office/drawing/2014/main" id="{A64D79F5-C393-0844-B9A6-E91DA95855B0}"/>
              </a:ext>
            </a:extLst>
          </p:cNvPr>
          <p:cNvSpPr/>
          <p:nvPr/>
        </p:nvSpPr>
        <p:spPr>
          <a:xfrm>
            <a:off x="5609431" y="3223977"/>
            <a:ext cx="2905919" cy="1428750"/>
          </a:xfrm>
          <a:prstGeom prst="ellipse">
            <a:avLst/>
          </a:prstGeom>
          <a:solidFill>
            <a:schemeClr val="accent1"/>
          </a:solidFill>
          <a:ln w="28575">
            <a:solidFill>
              <a:schemeClr val="tx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sz="2800" b="1" dirty="0">
                <a:solidFill>
                  <a:schemeClr val="bg1"/>
                </a:solidFill>
              </a:rPr>
              <a:t>Single Node</a:t>
            </a:r>
          </a:p>
          <a:p>
            <a:pPr algn="ctr"/>
            <a:r>
              <a:rPr lang="en-US" sz="2800" b="1" dirty="0">
                <a:solidFill>
                  <a:schemeClr val="bg1"/>
                </a:solidFill>
              </a:rPr>
              <a:t>Graph</a:t>
            </a:r>
          </a:p>
        </p:txBody>
      </p:sp>
      <p:cxnSp>
        <p:nvCxnSpPr>
          <p:cNvPr id="13" name="Straight Arrow Connector 12">
            <a:extLst>
              <a:ext uri="{FF2B5EF4-FFF2-40B4-BE49-F238E27FC236}">
                <a16:creationId xmlns:a16="http://schemas.microsoft.com/office/drawing/2014/main" id="{B682E1D1-9E0C-E24A-9280-E65D8942C19C}"/>
              </a:ext>
            </a:extLst>
          </p:cNvPr>
          <p:cNvCxnSpPr>
            <a:cxnSpLocks/>
            <a:stCxn id="10" idx="6"/>
            <a:endCxn id="11" idx="2"/>
          </p:cNvCxnSpPr>
          <p:nvPr/>
        </p:nvCxnSpPr>
        <p:spPr>
          <a:xfrm>
            <a:off x="3676650" y="3938352"/>
            <a:ext cx="1932781" cy="0"/>
          </a:xfrm>
          <a:prstGeom prst="straightConnector1">
            <a:avLst/>
          </a:prstGeom>
          <a:ln w="762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4" name="TextBox 13">
            <a:extLst>
              <a:ext uri="{FF2B5EF4-FFF2-40B4-BE49-F238E27FC236}">
                <a16:creationId xmlns:a16="http://schemas.microsoft.com/office/drawing/2014/main" id="{667B42FD-0E3F-AE43-9E5E-D760692134DE}"/>
              </a:ext>
            </a:extLst>
          </p:cNvPr>
          <p:cNvSpPr txBox="1"/>
          <p:nvPr/>
        </p:nvSpPr>
        <p:spPr>
          <a:xfrm>
            <a:off x="3848102" y="3363280"/>
            <a:ext cx="1471612" cy="464614"/>
          </a:xfrm>
          <a:prstGeom prst="rect">
            <a:avLst/>
          </a:prstGeom>
          <a:noFill/>
        </p:spPr>
        <p:txBody>
          <a:bodyPr wrap="square" rtlCol="0">
            <a:spAutoFit/>
          </a:bodyPr>
          <a:lstStyle/>
          <a:p>
            <a:pPr algn="ctr"/>
            <a:r>
              <a:rPr lang="en-US" b="1" dirty="0"/>
              <a:t>1,000x</a:t>
            </a:r>
          </a:p>
        </p:txBody>
      </p:sp>
      <p:sp>
        <p:nvSpPr>
          <p:cNvPr id="15" name="TextBox 14">
            <a:extLst>
              <a:ext uri="{FF2B5EF4-FFF2-40B4-BE49-F238E27FC236}">
                <a16:creationId xmlns:a16="http://schemas.microsoft.com/office/drawing/2014/main" id="{288C8525-B65E-B743-A9C9-DC17775F0512}"/>
              </a:ext>
            </a:extLst>
          </p:cNvPr>
          <p:cNvSpPr txBox="1"/>
          <p:nvPr/>
        </p:nvSpPr>
        <p:spPr>
          <a:xfrm>
            <a:off x="3907234" y="4048811"/>
            <a:ext cx="1471612" cy="464614"/>
          </a:xfrm>
          <a:prstGeom prst="rect">
            <a:avLst/>
          </a:prstGeom>
          <a:noFill/>
        </p:spPr>
        <p:txBody>
          <a:bodyPr wrap="square" rtlCol="0">
            <a:spAutoFit/>
          </a:bodyPr>
          <a:lstStyle/>
          <a:p>
            <a:pPr algn="ctr"/>
            <a:r>
              <a:rPr lang="en-US" b="1" dirty="0"/>
              <a:t>GTEPS</a:t>
            </a:r>
          </a:p>
        </p:txBody>
      </p:sp>
      <p:sp>
        <p:nvSpPr>
          <p:cNvPr id="12" name="Oval 11">
            <a:extLst>
              <a:ext uri="{FF2B5EF4-FFF2-40B4-BE49-F238E27FC236}">
                <a16:creationId xmlns:a16="http://schemas.microsoft.com/office/drawing/2014/main" id="{D8F7594C-3300-544E-8050-B9C1FB9DAC13}"/>
              </a:ext>
            </a:extLst>
          </p:cNvPr>
          <p:cNvSpPr/>
          <p:nvPr/>
        </p:nvSpPr>
        <p:spPr>
          <a:xfrm>
            <a:off x="10071099" y="3083819"/>
            <a:ext cx="2755692" cy="1709065"/>
          </a:xfrm>
          <a:prstGeom prst="ellipse">
            <a:avLst/>
          </a:prstGeom>
          <a:solidFill>
            <a:srgbClr val="00B050"/>
          </a:solidFill>
          <a:ln w="28575">
            <a:solidFill>
              <a:schemeClr val="tx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sz="2800" b="1" dirty="0"/>
              <a:t>Distributed</a:t>
            </a:r>
          </a:p>
          <a:p>
            <a:pPr algn="ctr"/>
            <a:r>
              <a:rPr lang="en-US" sz="2800" b="1" dirty="0"/>
              <a:t>Graph</a:t>
            </a:r>
          </a:p>
        </p:txBody>
      </p:sp>
      <p:cxnSp>
        <p:nvCxnSpPr>
          <p:cNvPr id="16" name="Straight Arrow Connector 15">
            <a:extLst>
              <a:ext uri="{FF2B5EF4-FFF2-40B4-BE49-F238E27FC236}">
                <a16:creationId xmlns:a16="http://schemas.microsoft.com/office/drawing/2014/main" id="{70B23B9F-CF1C-8247-8F44-E0E637FE1381}"/>
              </a:ext>
            </a:extLst>
          </p:cNvPr>
          <p:cNvCxnSpPr>
            <a:cxnSpLocks/>
            <a:stCxn id="11" idx="6"/>
            <a:endCxn id="12" idx="2"/>
          </p:cNvCxnSpPr>
          <p:nvPr/>
        </p:nvCxnSpPr>
        <p:spPr>
          <a:xfrm>
            <a:off x="8515350" y="3938352"/>
            <a:ext cx="1555749" cy="0"/>
          </a:xfrm>
          <a:prstGeom prst="straightConnector1">
            <a:avLst/>
          </a:prstGeom>
          <a:ln w="762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D6242FDA-70BE-0D42-A2C5-CDB754DE60FE}"/>
              </a:ext>
            </a:extLst>
          </p:cNvPr>
          <p:cNvSpPr txBox="1"/>
          <p:nvPr/>
        </p:nvSpPr>
        <p:spPr>
          <a:xfrm>
            <a:off x="8417714" y="3388922"/>
            <a:ext cx="1471612" cy="464614"/>
          </a:xfrm>
          <a:prstGeom prst="rect">
            <a:avLst/>
          </a:prstGeom>
          <a:noFill/>
        </p:spPr>
        <p:txBody>
          <a:bodyPr wrap="square" rtlCol="0">
            <a:spAutoFit/>
          </a:bodyPr>
          <a:lstStyle/>
          <a:p>
            <a:pPr algn="ctr"/>
            <a:r>
              <a:rPr lang="en-US" b="1" dirty="0"/>
              <a:t>100x</a:t>
            </a:r>
          </a:p>
        </p:txBody>
      </p:sp>
      <p:sp>
        <p:nvSpPr>
          <p:cNvPr id="18" name="TextBox 17">
            <a:extLst>
              <a:ext uri="{FF2B5EF4-FFF2-40B4-BE49-F238E27FC236}">
                <a16:creationId xmlns:a16="http://schemas.microsoft.com/office/drawing/2014/main" id="{F2C3685A-AC32-F145-A807-7EF546779CF7}"/>
              </a:ext>
            </a:extLst>
          </p:cNvPr>
          <p:cNvSpPr txBox="1"/>
          <p:nvPr/>
        </p:nvSpPr>
        <p:spPr>
          <a:xfrm>
            <a:off x="8428035" y="4007463"/>
            <a:ext cx="1471612" cy="464614"/>
          </a:xfrm>
          <a:prstGeom prst="rect">
            <a:avLst/>
          </a:prstGeom>
          <a:noFill/>
        </p:spPr>
        <p:txBody>
          <a:bodyPr wrap="square" rtlCol="0">
            <a:spAutoFit/>
          </a:bodyPr>
          <a:lstStyle/>
          <a:p>
            <a:pPr algn="ctr"/>
            <a:r>
              <a:rPr lang="en-US" b="1" dirty="0"/>
              <a:t>GTEPS</a:t>
            </a:r>
          </a:p>
        </p:txBody>
      </p:sp>
      <p:cxnSp>
        <p:nvCxnSpPr>
          <p:cNvPr id="19" name="Straight Arrow Connector 18">
            <a:extLst>
              <a:ext uri="{FF2B5EF4-FFF2-40B4-BE49-F238E27FC236}">
                <a16:creationId xmlns:a16="http://schemas.microsoft.com/office/drawing/2014/main" id="{D6A0EAEA-6137-FE40-9612-BDA5AB683F94}"/>
              </a:ext>
            </a:extLst>
          </p:cNvPr>
          <p:cNvCxnSpPr>
            <a:cxnSpLocks/>
            <a:stCxn id="12" idx="6"/>
          </p:cNvCxnSpPr>
          <p:nvPr/>
        </p:nvCxnSpPr>
        <p:spPr>
          <a:xfrm flipV="1">
            <a:off x="12826791" y="3927451"/>
            <a:ext cx="1087646" cy="10901"/>
          </a:xfrm>
          <a:prstGeom prst="straightConnector1">
            <a:avLst/>
          </a:prstGeom>
          <a:ln w="762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F77E9DE6-671B-A940-B028-32286C05E46E}"/>
              </a:ext>
            </a:extLst>
          </p:cNvPr>
          <p:cNvSpPr txBox="1"/>
          <p:nvPr/>
        </p:nvSpPr>
        <p:spPr>
          <a:xfrm>
            <a:off x="13948359" y="3428319"/>
            <a:ext cx="527709" cy="830997"/>
          </a:xfrm>
          <a:prstGeom prst="rect">
            <a:avLst/>
          </a:prstGeom>
          <a:noFill/>
        </p:spPr>
        <p:txBody>
          <a:bodyPr wrap="none" rtlCol="0">
            <a:spAutoFit/>
          </a:bodyPr>
          <a:lstStyle/>
          <a:p>
            <a:r>
              <a:rPr lang="en-US" sz="4800" dirty="0"/>
              <a:t>?</a:t>
            </a:r>
          </a:p>
        </p:txBody>
      </p:sp>
      <p:sp>
        <p:nvSpPr>
          <p:cNvPr id="25" name="Oval 24">
            <a:extLst>
              <a:ext uri="{FF2B5EF4-FFF2-40B4-BE49-F238E27FC236}">
                <a16:creationId xmlns:a16="http://schemas.microsoft.com/office/drawing/2014/main" id="{3EE655D9-E529-DB46-B331-E8B1B761A8D5}"/>
              </a:ext>
            </a:extLst>
          </p:cNvPr>
          <p:cNvSpPr/>
          <p:nvPr/>
        </p:nvSpPr>
        <p:spPr>
          <a:xfrm>
            <a:off x="13914437" y="3123730"/>
            <a:ext cx="2755692" cy="1528997"/>
          </a:xfrm>
          <a:prstGeom prst="ellipse">
            <a:avLst/>
          </a:prstGeom>
          <a:solidFill>
            <a:srgbClr val="00549F"/>
          </a:solidFill>
          <a:ln w="28575">
            <a:solidFill>
              <a:schemeClr val="tx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sz="2800" b="1" dirty="0"/>
              <a:t>Hardware</a:t>
            </a:r>
          </a:p>
          <a:p>
            <a:pPr algn="ctr"/>
            <a:r>
              <a:rPr lang="en-US" sz="2800" b="1" dirty="0"/>
              <a:t>Graph</a:t>
            </a:r>
          </a:p>
        </p:txBody>
      </p:sp>
    </p:spTree>
    <p:extLst>
      <p:ext uri="{BB962C8B-B14F-4D97-AF65-F5344CB8AC3E}">
        <p14:creationId xmlns:p14="http://schemas.microsoft.com/office/powerpoint/2010/main" val="198073555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5"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ED6BEE-E37B-AD4C-969E-18EA24325FDD}"/>
              </a:ext>
            </a:extLst>
          </p:cNvPr>
          <p:cNvSpPr>
            <a:spLocks noGrp="1"/>
          </p:cNvSpPr>
          <p:nvPr>
            <p:ph type="title"/>
          </p:nvPr>
        </p:nvSpPr>
        <p:spPr>
          <a:xfrm>
            <a:off x="668218" y="365106"/>
            <a:ext cx="15913683" cy="1128739"/>
          </a:xfrm>
        </p:spPr>
        <p:txBody>
          <a:bodyPr/>
          <a:lstStyle/>
          <a:p>
            <a:r>
              <a:rPr lang="en-US" dirty="0"/>
              <a:t>Queryability vs Scale Out</a:t>
            </a:r>
          </a:p>
        </p:txBody>
      </p:sp>
      <p:sp>
        <p:nvSpPr>
          <p:cNvPr id="4" name="Slide Number Placeholder 3">
            <a:extLst>
              <a:ext uri="{FF2B5EF4-FFF2-40B4-BE49-F238E27FC236}">
                <a16:creationId xmlns:a16="http://schemas.microsoft.com/office/drawing/2014/main" id="{34BFD2BA-C8D2-9E45-8EBD-C03EC08FE9A2}"/>
              </a:ext>
            </a:extLst>
          </p:cNvPr>
          <p:cNvSpPr>
            <a:spLocks noGrp="1"/>
          </p:cNvSpPr>
          <p:nvPr>
            <p:ph type="sldNum" sz="quarter" idx="12"/>
          </p:nvPr>
        </p:nvSpPr>
        <p:spPr/>
        <p:txBody>
          <a:bodyPr/>
          <a:lstStyle/>
          <a:p>
            <a:fld id="{89680184-36F0-7340-B2B6-917CC4ADF00C}" type="slidenum">
              <a:rPr lang="en-US" smtClean="0"/>
              <a:t>11</a:t>
            </a:fld>
            <a:endParaRPr lang="en-US" dirty="0"/>
          </a:p>
        </p:txBody>
      </p:sp>
      <p:sp>
        <p:nvSpPr>
          <p:cNvPr id="3" name="Oval 2">
            <a:extLst>
              <a:ext uri="{FF2B5EF4-FFF2-40B4-BE49-F238E27FC236}">
                <a16:creationId xmlns:a16="http://schemas.microsoft.com/office/drawing/2014/main" id="{F94070EA-AA5E-494B-AE7C-423AB31A7BAD}"/>
              </a:ext>
            </a:extLst>
          </p:cNvPr>
          <p:cNvSpPr/>
          <p:nvPr/>
        </p:nvSpPr>
        <p:spPr>
          <a:xfrm>
            <a:off x="3904938" y="3881357"/>
            <a:ext cx="3147935" cy="1139253"/>
          </a:xfrm>
          <a:prstGeom prst="ellipse">
            <a:avLst/>
          </a:prstGeom>
          <a:solidFill>
            <a:schemeClr val="accent1"/>
          </a:solidFill>
          <a:ln w="28575">
            <a:solidFill>
              <a:schemeClr val="tx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sz="2800" b="1" dirty="0">
                <a:solidFill>
                  <a:schemeClr val="bg1"/>
                </a:solidFill>
              </a:rPr>
              <a:t>Single Node</a:t>
            </a:r>
          </a:p>
          <a:p>
            <a:pPr algn="ctr"/>
            <a:r>
              <a:rPr lang="en-US" sz="2800" b="1" dirty="0">
                <a:solidFill>
                  <a:schemeClr val="bg1"/>
                </a:solidFill>
              </a:rPr>
              <a:t>Graph</a:t>
            </a:r>
          </a:p>
        </p:txBody>
      </p:sp>
      <p:sp>
        <p:nvSpPr>
          <p:cNvPr id="9" name="Oval 8">
            <a:extLst>
              <a:ext uri="{FF2B5EF4-FFF2-40B4-BE49-F238E27FC236}">
                <a16:creationId xmlns:a16="http://schemas.microsoft.com/office/drawing/2014/main" id="{4DC8025B-4038-FA49-AAD6-62BD2BD53CE9}"/>
              </a:ext>
            </a:extLst>
          </p:cNvPr>
          <p:cNvSpPr/>
          <p:nvPr/>
        </p:nvSpPr>
        <p:spPr>
          <a:xfrm>
            <a:off x="7285221" y="7238473"/>
            <a:ext cx="2600839" cy="764499"/>
          </a:xfrm>
          <a:prstGeom prst="ellipse">
            <a:avLst/>
          </a:prstGeom>
          <a:solidFill>
            <a:srgbClr val="FF0000"/>
          </a:solidFill>
          <a:ln w="28575">
            <a:solidFill>
              <a:schemeClr val="tx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sz="2800" b="1" dirty="0"/>
              <a:t>Data Lake</a:t>
            </a:r>
          </a:p>
        </p:txBody>
      </p:sp>
      <p:cxnSp>
        <p:nvCxnSpPr>
          <p:cNvPr id="11" name="Straight Arrow Connector 10">
            <a:extLst>
              <a:ext uri="{FF2B5EF4-FFF2-40B4-BE49-F238E27FC236}">
                <a16:creationId xmlns:a16="http://schemas.microsoft.com/office/drawing/2014/main" id="{6D7A8121-6ACF-9040-B533-717D0B60E308}"/>
              </a:ext>
            </a:extLst>
          </p:cNvPr>
          <p:cNvCxnSpPr/>
          <p:nvPr/>
        </p:nvCxnSpPr>
        <p:spPr>
          <a:xfrm flipV="1">
            <a:off x="3672590" y="2820856"/>
            <a:ext cx="0" cy="5483695"/>
          </a:xfrm>
          <a:prstGeom prst="straightConnector1">
            <a:avLst/>
          </a:prstGeom>
          <a:ln w="127000">
            <a:solidFill>
              <a:srgbClr val="55565A"/>
            </a:solidFill>
            <a:tailEnd type="triangle"/>
          </a:ln>
        </p:spPr>
        <p:style>
          <a:lnRef idx="1">
            <a:schemeClr val="accent1"/>
          </a:lnRef>
          <a:fillRef idx="0">
            <a:schemeClr val="accent1"/>
          </a:fillRef>
          <a:effectRef idx="0">
            <a:schemeClr val="accent1"/>
          </a:effectRef>
          <a:fontRef idx="minor">
            <a:schemeClr val="tx1"/>
          </a:fontRef>
        </p:style>
      </p:cxnSp>
      <p:cxnSp>
        <p:nvCxnSpPr>
          <p:cNvPr id="12" name="Straight Arrow Connector 11">
            <a:extLst>
              <a:ext uri="{FF2B5EF4-FFF2-40B4-BE49-F238E27FC236}">
                <a16:creationId xmlns:a16="http://schemas.microsoft.com/office/drawing/2014/main" id="{09340416-CADB-0447-8E06-6E986EF5442B}"/>
              </a:ext>
            </a:extLst>
          </p:cNvPr>
          <p:cNvCxnSpPr>
            <a:cxnSpLocks/>
          </p:cNvCxnSpPr>
          <p:nvPr/>
        </p:nvCxnSpPr>
        <p:spPr>
          <a:xfrm flipV="1">
            <a:off x="3672590" y="8303311"/>
            <a:ext cx="9566683" cy="1240"/>
          </a:xfrm>
          <a:prstGeom prst="straightConnector1">
            <a:avLst/>
          </a:prstGeom>
          <a:ln w="127000">
            <a:solidFill>
              <a:srgbClr val="55565A"/>
            </a:solidFill>
            <a:tailEnd type="triangle"/>
          </a:ln>
        </p:spPr>
        <p:style>
          <a:lnRef idx="1">
            <a:schemeClr val="accent1"/>
          </a:lnRef>
          <a:fillRef idx="0">
            <a:schemeClr val="accent1"/>
          </a:fillRef>
          <a:effectRef idx="0">
            <a:schemeClr val="accent1"/>
          </a:effectRef>
          <a:fontRef idx="minor">
            <a:schemeClr val="tx1"/>
          </a:fontRef>
        </p:style>
      </p:cxnSp>
      <p:sp>
        <p:nvSpPr>
          <p:cNvPr id="14" name="TextBox 13">
            <a:extLst>
              <a:ext uri="{FF2B5EF4-FFF2-40B4-BE49-F238E27FC236}">
                <a16:creationId xmlns:a16="http://schemas.microsoft.com/office/drawing/2014/main" id="{3FA608B2-F971-7443-B969-E9AE95AA7E71}"/>
              </a:ext>
            </a:extLst>
          </p:cNvPr>
          <p:cNvSpPr txBox="1"/>
          <p:nvPr/>
        </p:nvSpPr>
        <p:spPr>
          <a:xfrm>
            <a:off x="4003680" y="2415229"/>
            <a:ext cx="2411558" cy="1200329"/>
          </a:xfrm>
          <a:prstGeom prst="rect">
            <a:avLst/>
          </a:prstGeom>
          <a:noFill/>
        </p:spPr>
        <p:txBody>
          <a:bodyPr wrap="none" rtlCol="0">
            <a:spAutoFit/>
          </a:bodyPr>
          <a:lstStyle/>
          <a:p>
            <a:r>
              <a:rPr lang="en-US" sz="3600" b="1" dirty="0"/>
              <a:t>Algorithmic</a:t>
            </a:r>
          </a:p>
          <a:p>
            <a:r>
              <a:rPr lang="en-US" sz="3600" b="1" dirty="0"/>
              <a:t>Richness</a:t>
            </a:r>
          </a:p>
        </p:txBody>
      </p:sp>
      <p:sp>
        <p:nvSpPr>
          <p:cNvPr id="15" name="TextBox 14">
            <a:extLst>
              <a:ext uri="{FF2B5EF4-FFF2-40B4-BE49-F238E27FC236}">
                <a16:creationId xmlns:a16="http://schemas.microsoft.com/office/drawing/2014/main" id="{257F70D4-2D6F-254F-9751-44DCA6DCAA17}"/>
              </a:ext>
            </a:extLst>
          </p:cNvPr>
          <p:cNvSpPr txBox="1"/>
          <p:nvPr/>
        </p:nvSpPr>
        <p:spPr>
          <a:xfrm>
            <a:off x="11569444" y="7506810"/>
            <a:ext cx="2313454" cy="646331"/>
          </a:xfrm>
          <a:prstGeom prst="rect">
            <a:avLst/>
          </a:prstGeom>
          <a:noFill/>
        </p:spPr>
        <p:txBody>
          <a:bodyPr wrap="none" rtlCol="0">
            <a:spAutoFit/>
          </a:bodyPr>
          <a:lstStyle/>
          <a:p>
            <a:r>
              <a:rPr lang="en-US" sz="3600" b="1" dirty="0"/>
              <a:t>Scale Out</a:t>
            </a:r>
          </a:p>
        </p:txBody>
      </p:sp>
      <p:grpSp>
        <p:nvGrpSpPr>
          <p:cNvPr id="13" name="Group 12">
            <a:extLst>
              <a:ext uri="{FF2B5EF4-FFF2-40B4-BE49-F238E27FC236}">
                <a16:creationId xmlns:a16="http://schemas.microsoft.com/office/drawing/2014/main" id="{BAB77E0E-A0F5-AC44-9666-844C30730B4A}"/>
              </a:ext>
            </a:extLst>
          </p:cNvPr>
          <p:cNvGrpSpPr/>
          <p:nvPr/>
        </p:nvGrpSpPr>
        <p:grpSpPr>
          <a:xfrm>
            <a:off x="10762939" y="3369580"/>
            <a:ext cx="3854180" cy="1528997"/>
            <a:chOff x="10762939" y="3479310"/>
            <a:chExt cx="3854180" cy="1528997"/>
          </a:xfrm>
        </p:grpSpPr>
        <p:sp>
          <p:nvSpPr>
            <p:cNvPr id="7" name="Oval 6">
              <a:extLst>
                <a:ext uri="{FF2B5EF4-FFF2-40B4-BE49-F238E27FC236}">
                  <a16:creationId xmlns:a16="http://schemas.microsoft.com/office/drawing/2014/main" id="{7B5A4E6F-DB7F-0243-BB7D-F572203A15D9}"/>
                </a:ext>
              </a:extLst>
            </p:cNvPr>
            <p:cNvSpPr/>
            <p:nvPr/>
          </p:nvSpPr>
          <p:spPr>
            <a:xfrm>
              <a:off x="11861427" y="3479310"/>
              <a:ext cx="2755692" cy="1528997"/>
            </a:xfrm>
            <a:prstGeom prst="ellipse">
              <a:avLst/>
            </a:prstGeom>
            <a:solidFill>
              <a:srgbClr val="00549F"/>
            </a:solidFill>
            <a:ln w="28575">
              <a:solidFill>
                <a:schemeClr val="tx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sz="2800" b="1" dirty="0"/>
                <a:t>Hardware</a:t>
              </a:r>
            </a:p>
            <a:p>
              <a:pPr algn="ctr"/>
              <a:r>
                <a:rPr lang="en-US" sz="2800" b="1" dirty="0"/>
                <a:t>Graph</a:t>
              </a:r>
            </a:p>
          </p:txBody>
        </p:sp>
        <p:cxnSp>
          <p:nvCxnSpPr>
            <p:cNvPr id="18" name="Straight Arrow Connector 17">
              <a:extLst>
                <a:ext uri="{FF2B5EF4-FFF2-40B4-BE49-F238E27FC236}">
                  <a16:creationId xmlns:a16="http://schemas.microsoft.com/office/drawing/2014/main" id="{5E6BE457-F23E-D745-B120-775248D1C0E3}"/>
                </a:ext>
              </a:extLst>
            </p:cNvPr>
            <p:cNvCxnSpPr>
              <a:cxnSpLocks/>
              <a:endCxn id="7" idx="2"/>
            </p:cNvCxnSpPr>
            <p:nvPr/>
          </p:nvCxnSpPr>
          <p:spPr>
            <a:xfrm flipV="1">
              <a:off x="10762939" y="4243809"/>
              <a:ext cx="1098488" cy="90033"/>
            </a:xfrm>
            <a:prstGeom prst="straightConnector1">
              <a:avLst/>
            </a:prstGeom>
            <a:ln w="127000">
              <a:solidFill>
                <a:srgbClr val="55565A"/>
              </a:solidFill>
              <a:tailEnd type="triangle"/>
            </a:ln>
          </p:spPr>
          <p:style>
            <a:lnRef idx="1">
              <a:schemeClr val="accent1"/>
            </a:lnRef>
            <a:fillRef idx="0">
              <a:schemeClr val="accent1"/>
            </a:fillRef>
            <a:effectRef idx="0">
              <a:schemeClr val="accent1"/>
            </a:effectRef>
            <a:fontRef idx="minor">
              <a:schemeClr val="tx1"/>
            </a:fontRef>
          </p:style>
        </p:cxnSp>
      </p:grpSp>
      <p:grpSp>
        <p:nvGrpSpPr>
          <p:cNvPr id="10" name="Group 9">
            <a:extLst>
              <a:ext uri="{FF2B5EF4-FFF2-40B4-BE49-F238E27FC236}">
                <a16:creationId xmlns:a16="http://schemas.microsoft.com/office/drawing/2014/main" id="{C88F618F-C268-A942-9DFA-CC1FD89DD9AE}"/>
              </a:ext>
            </a:extLst>
          </p:cNvPr>
          <p:cNvGrpSpPr/>
          <p:nvPr/>
        </p:nvGrpSpPr>
        <p:grpSpPr>
          <a:xfrm>
            <a:off x="7052873" y="3487391"/>
            <a:ext cx="3710066" cy="2308390"/>
            <a:chOff x="7052873" y="3487391"/>
            <a:chExt cx="3710066" cy="2308390"/>
          </a:xfrm>
        </p:grpSpPr>
        <p:sp>
          <p:nvSpPr>
            <p:cNvPr id="6" name="Oval 5">
              <a:extLst>
                <a:ext uri="{FF2B5EF4-FFF2-40B4-BE49-F238E27FC236}">
                  <a16:creationId xmlns:a16="http://schemas.microsoft.com/office/drawing/2014/main" id="{BA7437D3-879B-724D-96CB-A016E784C4C5}"/>
                </a:ext>
              </a:extLst>
            </p:cNvPr>
            <p:cNvSpPr/>
            <p:nvPr/>
          </p:nvSpPr>
          <p:spPr>
            <a:xfrm>
              <a:off x="8007247" y="3487391"/>
              <a:ext cx="2755692" cy="1709065"/>
            </a:xfrm>
            <a:prstGeom prst="ellipse">
              <a:avLst/>
            </a:prstGeom>
            <a:solidFill>
              <a:srgbClr val="00B050"/>
            </a:solidFill>
            <a:ln w="28575">
              <a:solidFill>
                <a:schemeClr val="tx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sz="2800" b="1" dirty="0"/>
                <a:t>Enterprise</a:t>
              </a:r>
            </a:p>
            <a:p>
              <a:pPr algn="ctr"/>
              <a:r>
                <a:rPr lang="en-US" sz="2800" b="1" dirty="0"/>
                <a:t>Knowledge</a:t>
              </a:r>
            </a:p>
            <a:p>
              <a:pPr algn="ctr"/>
              <a:r>
                <a:rPr lang="en-US" sz="2800" b="1" dirty="0"/>
                <a:t>Graph</a:t>
              </a:r>
            </a:p>
          </p:txBody>
        </p:sp>
        <p:cxnSp>
          <p:nvCxnSpPr>
            <p:cNvPr id="17" name="Straight Arrow Connector 16">
              <a:extLst>
                <a:ext uri="{FF2B5EF4-FFF2-40B4-BE49-F238E27FC236}">
                  <a16:creationId xmlns:a16="http://schemas.microsoft.com/office/drawing/2014/main" id="{D5300250-3401-9747-B410-619E462CBF1E}"/>
                </a:ext>
              </a:extLst>
            </p:cNvPr>
            <p:cNvCxnSpPr>
              <a:cxnSpLocks/>
              <a:stCxn id="3" idx="6"/>
              <a:endCxn id="6" idx="2"/>
            </p:cNvCxnSpPr>
            <p:nvPr/>
          </p:nvCxnSpPr>
          <p:spPr>
            <a:xfrm flipV="1">
              <a:off x="7052873" y="4341924"/>
              <a:ext cx="954374" cy="109060"/>
            </a:xfrm>
            <a:prstGeom prst="straightConnector1">
              <a:avLst/>
            </a:prstGeom>
            <a:ln w="127000">
              <a:solidFill>
                <a:srgbClr val="55565A"/>
              </a:solidFill>
              <a:tailEnd type="triangle"/>
            </a:ln>
          </p:spPr>
          <p:style>
            <a:lnRef idx="1">
              <a:schemeClr val="accent1"/>
            </a:lnRef>
            <a:fillRef idx="0">
              <a:schemeClr val="accent1"/>
            </a:fillRef>
            <a:effectRef idx="0">
              <a:schemeClr val="accent1"/>
            </a:effectRef>
            <a:fontRef idx="minor">
              <a:schemeClr val="tx1"/>
            </a:fontRef>
          </p:style>
        </p:cxnSp>
        <p:cxnSp>
          <p:nvCxnSpPr>
            <p:cNvPr id="22" name="Straight Arrow Connector 21">
              <a:extLst>
                <a:ext uri="{FF2B5EF4-FFF2-40B4-BE49-F238E27FC236}">
                  <a16:creationId xmlns:a16="http://schemas.microsoft.com/office/drawing/2014/main" id="{3D5DA796-221B-534B-82D9-8C35581BD75F}"/>
                </a:ext>
              </a:extLst>
            </p:cNvPr>
            <p:cNvCxnSpPr>
              <a:cxnSpLocks/>
              <a:stCxn id="8" idx="0"/>
              <a:endCxn id="6" idx="4"/>
            </p:cNvCxnSpPr>
            <p:nvPr/>
          </p:nvCxnSpPr>
          <p:spPr>
            <a:xfrm flipV="1">
              <a:off x="8967843" y="5196456"/>
              <a:ext cx="417250" cy="599325"/>
            </a:xfrm>
            <a:prstGeom prst="straightConnector1">
              <a:avLst/>
            </a:prstGeom>
            <a:ln w="127000">
              <a:solidFill>
                <a:srgbClr val="55565A"/>
              </a:solidFill>
              <a:tailEnd type="triangle"/>
            </a:ln>
          </p:spPr>
          <p:style>
            <a:lnRef idx="1">
              <a:schemeClr val="accent1"/>
            </a:lnRef>
            <a:fillRef idx="0">
              <a:schemeClr val="accent1"/>
            </a:fillRef>
            <a:effectRef idx="0">
              <a:schemeClr val="accent1"/>
            </a:effectRef>
            <a:fontRef idx="minor">
              <a:schemeClr val="tx1"/>
            </a:fontRef>
          </p:style>
        </p:cxnSp>
      </p:grpSp>
      <p:grpSp>
        <p:nvGrpSpPr>
          <p:cNvPr id="5" name="Group 4">
            <a:extLst>
              <a:ext uri="{FF2B5EF4-FFF2-40B4-BE49-F238E27FC236}">
                <a16:creationId xmlns:a16="http://schemas.microsoft.com/office/drawing/2014/main" id="{9968653E-0E5B-5543-9B7F-C3EAA6535F2C}"/>
              </a:ext>
            </a:extLst>
          </p:cNvPr>
          <p:cNvGrpSpPr/>
          <p:nvPr/>
        </p:nvGrpSpPr>
        <p:grpSpPr>
          <a:xfrm>
            <a:off x="7667423" y="5795781"/>
            <a:ext cx="2600839" cy="1442692"/>
            <a:chOff x="7667423" y="5795781"/>
            <a:chExt cx="2600839" cy="1442692"/>
          </a:xfrm>
        </p:grpSpPr>
        <p:sp>
          <p:nvSpPr>
            <p:cNvPr id="8" name="Oval 7">
              <a:extLst>
                <a:ext uri="{FF2B5EF4-FFF2-40B4-BE49-F238E27FC236}">
                  <a16:creationId xmlns:a16="http://schemas.microsoft.com/office/drawing/2014/main" id="{8F73767A-5135-E742-8A05-FB5890D85948}"/>
                </a:ext>
              </a:extLst>
            </p:cNvPr>
            <p:cNvSpPr/>
            <p:nvPr/>
          </p:nvSpPr>
          <p:spPr>
            <a:xfrm>
              <a:off x="7667423" y="5795781"/>
              <a:ext cx="2600839" cy="764499"/>
            </a:xfrm>
            <a:prstGeom prst="ellipse">
              <a:avLst/>
            </a:prstGeom>
            <a:solidFill>
              <a:srgbClr val="FFFF00"/>
            </a:solidFill>
            <a:ln w="28575">
              <a:solidFill>
                <a:schemeClr val="tx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sz="2800" b="1" dirty="0">
                  <a:solidFill>
                    <a:schemeClr val="tx1">
                      <a:lumMod val="50000"/>
                    </a:schemeClr>
                  </a:solidFill>
                </a:rPr>
                <a:t>Data Hubs</a:t>
              </a:r>
            </a:p>
          </p:txBody>
        </p:sp>
        <p:cxnSp>
          <p:nvCxnSpPr>
            <p:cNvPr id="25" name="Straight Arrow Connector 24">
              <a:extLst>
                <a:ext uri="{FF2B5EF4-FFF2-40B4-BE49-F238E27FC236}">
                  <a16:creationId xmlns:a16="http://schemas.microsoft.com/office/drawing/2014/main" id="{6A47BE18-AE4B-4841-85CE-C054B95F83A9}"/>
                </a:ext>
              </a:extLst>
            </p:cNvPr>
            <p:cNvCxnSpPr>
              <a:cxnSpLocks/>
              <a:stCxn id="9" idx="0"/>
              <a:endCxn id="8" idx="4"/>
            </p:cNvCxnSpPr>
            <p:nvPr/>
          </p:nvCxnSpPr>
          <p:spPr>
            <a:xfrm flipV="1">
              <a:off x="8585641" y="6560280"/>
              <a:ext cx="382202" cy="678193"/>
            </a:xfrm>
            <a:prstGeom prst="straightConnector1">
              <a:avLst/>
            </a:prstGeom>
            <a:ln w="127000">
              <a:solidFill>
                <a:srgbClr val="55565A"/>
              </a:solidFill>
              <a:tailEnd type="triangl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14380382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5"/>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0"/>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1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9"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D49FF25E-DC4F-2A45-96BC-FE0806E1D68A}"/>
              </a:ext>
            </a:extLst>
          </p:cNvPr>
          <p:cNvSpPr>
            <a:spLocks noGrp="1"/>
          </p:cNvSpPr>
          <p:nvPr>
            <p:ph type="title"/>
          </p:nvPr>
        </p:nvSpPr>
        <p:spPr/>
        <p:txBody>
          <a:bodyPr/>
          <a:lstStyle/>
          <a:p>
            <a:r>
              <a:rPr lang="en-US" dirty="0"/>
              <a:t>Are Current CPUs Optimized for Fast Graph Traversal?</a:t>
            </a:r>
          </a:p>
        </p:txBody>
      </p:sp>
      <p:sp>
        <p:nvSpPr>
          <p:cNvPr id="5" name="Slide Number Placeholder 4">
            <a:extLst>
              <a:ext uri="{FF2B5EF4-FFF2-40B4-BE49-F238E27FC236}">
                <a16:creationId xmlns:a16="http://schemas.microsoft.com/office/drawing/2014/main" id="{60BDD550-5D23-2A46-9C0E-82F93A3800D5}"/>
              </a:ext>
            </a:extLst>
          </p:cNvPr>
          <p:cNvSpPr>
            <a:spLocks noGrp="1"/>
          </p:cNvSpPr>
          <p:nvPr>
            <p:ph type="sldNum" sz="quarter" idx="12"/>
          </p:nvPr>
        </p:nvSpPr>
        <p:spPr/>
        <p:txBody>
          <a:bodyPr/>
          <a:lstStyle/>
          <a:p>
            <a:fld id="{3310D8EA-3107-4873-B9AB-DD7D3E79053A}" type="slidenum">
              <a:rPr lang="en-US" smtClean="0"/>
              <a:t>12</a:t>
            </a:fld>
            <a:endParaRPr lang="en-US"/>
          </a:p>
        </p:txBody>
      </p:sp>
      <p:sp>
        <p:nvSpPr>
          <p:cNvPr id="10" name="Content Placeholder 9">
            <a:extLst>
              <a:ext uri="{FF2B5EF4-FFF2-40B4-BE49-F238E27FC236}">
                <a16:creationId xmlns:a16="http://schemas.microsoft.com/office/drawing/2014/main" id="{D4E2EA85-4BDE-CC49-8E38-497C8495F6F9}"/>
              </a:ext>
            </a:extLst>
          </p:cNvPr>
          <p:cNvSpPr txBox="1">
            <a:spLocks noGrp="1"/>
          </p:cNvSpPr>
          <p:nvPr>
            <p:ph idx="1"/>
          </p:nvPr>
        </p:nvSpPr>
        <p:spPr>
          <a:xfrm>
            <a:off x="11876566" y="2357398"/>
            <a:ext cx="5440913" cy="6253956"/>
          </a:xfrm>
          <a:prstGeom prst="rect">
            <a:avLst/>
          </a:prstGeom>
          <a:noFill/>
        </p:spPr>
        <p:txBody>
          <a:bodyPr wrap="square" rtlCol="0">
            <a:spAutoFit/>
          </a:bodyPr>
          <a:lstStyle/>
          <a:p>
            <a:r>
              <a:rPr lang="en-US" dirty="0"/>
              <a:t>The current Intel x86 instruction set has over 1,500 instructions</a:t>
            </a:r>
          </a:p>
          <a:p>
            <a:r>
              <a:rPr lang="en-US" dirty="0"/>
              <a:t>Graph pointer hoping needs around 100 instructions</a:t>
            </a:r>
          </a:p>
          <a:p>
            <a:r>
              <a:rPr lang="en-US" dirty="0"/>
              <a:t>A large percentage of circuits are dedicated to branch prediction which are no longer used</a:t>
            </a:r>
          </a:p>
          <a:p>
            <a:r>
              <a:rPr lang="en-US" dirty="0"/>
              <a:t>Memory subsystems focus on caching which will not be used</a:t>
            </a:r>
          </a:p>
          <a:p>
            <a:r>
              <a:rPr lang="en-US" dirty="0"/>
              <a:t>Only about 10% of the transistors are used – the others waste silicon area and power</a:t>
            </a:r>
          </a:p>
        </p:txBody>
      </p:sp>
      <p:pic>
        <p:nvPicPr>
          <p:cNvPr id="2050" name="Picture 2" descr="r/pics - This nano-scale photograph of an Intel Xeon processor looks like something out of Tron.">
            <a:extLst>
              <a:ext uri="{FF2B5EF4-FFF2-40B4-BE49-F238E27FC236}">
                <a16:creationId xmlns:a16="http://schemas.microsoft.com/office/drawing/2014/main" id="{2BCF5B55-ED78-5247-A594-86E1981246EE}"/>
              </a:ext>
            </a:extLst>
          </p:cNvPr>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726439" y="2171366"/>
            <a:ext cx="10695987" cy="5715668"/>
          </a:xfrm>
          <a:prstGeom prst="rect">
            <a:avLst/>
          </a:prstGeom>
          <a:noFill/>
          <a:extLst>
            <a:ext uri="{909E8E84-426E-40DD-AFC4-6F175D3DCCD1}">
              <a14:hiddenFill xmlns:a14="http://schemas.microsoft.com/office/drawing/2010/main">
                <a:solidFill>
                  <a:srgbClr val="FFFFFF"/>
                </a:solidFill>
              </a14:hiddenFill>
            </a:ext>
          </a:extLst>
        </p:spPr>
      </p:pic>
      <p:sp>
        <p:nvSpPr>
          <p:cNvPr id="11" name="TextBox 10">
            <a:extLst>
              <a:ext uri="{FF2B5EF4-FFF2-40B4-BE49-F238E27FC236}">
                <a16:creationId xmlns:a16="http://schemas.microsoft.com/office/drawing/2014/main" id="{8DE13F60-B67D-374E-B64C-044D53C4AF70}"/>
              </a:ext>
            </a:extLst>
          </p:cNvPr>
          <p:cNvSpPr txBox="1"/>
          <p:nvPr/>
        </p:nvSpPr>
        <p:spPr>
          <a:xfrm>
            <a:off x="3312983" y="8018500"/>
            <a:ext cx="5440913" cy="464614"/>
          </a:xfrm>
          <a:prstGeom prst="rect">
            <a:avLst/>
          </a:prstGeom>
          <a:noFill/>
        </p:spPr>
        <p:txBody>
          <a:bodyPr wrap="none" rtlCol="0">
            <a:spAutoFit/>
          </a:bodyPr>
          <a:lstStyle/>
          <a:p>
            <a:r>
              <a:rPr lang="en-US" dirty="0"/>
              <a:t>Intel Xeon with over 1,500 instructions</a:t>
            </a:r>
          </a:p>
        </p:txBody>
      </p:sp>
      <p:sp>
        <p:nvSpPr>
          <p:cNvPr id="12" name="Rectangle 11">
            <a:extLst>
              <a:ext uri="{FF2B5EF4-FFF2-40B4-BE49-F238E27FC236}">
                <a16:creationId xmlns:a16="http://schemas.microsoft.com/office/drawing/2014/main" id="{EB779CF5-9604-3545-B711-190A9DF68355}"/>
              </a:ext>
            </a:extLst>
          </p:cNvPr>
          <p:cNvSpPr/>
          <p:nvPr/>
        </p:nvSpPr>
        <p:spPr>
          <a:xfrm>
            <a:off x="4466459" y="8611354"/>
            <a:ext cx="3215945" cy="338554"/>
          </a:xfrm>
          <a:prstGeom prst="rect">
            <a:avLst/>
          </a:prstGeom>
        </p:spPr>
        <p:txBody>
          <a:bodyPr wrap="none">
            <a:spAutoFit/>
          </a:bodyPr>
          <a:lstStyle/>
          <a:p>
            <a:r>
              <a:rPr lang="en-US" sz="1600" dirty="0">
                <a:solidFill>
                  <a:schemeClr val="bg1">
                    <a:lumMod val="50000"/>
                  </a:schemeClr>
                </a:solidFill>
              </a:rPr>
              <a:t>https://</a:t>
            </a:r>
            <a:r>
              <a:rPr lang="en-US" sz="1600" dirty="0" err="1">
                <a:solidFill>
                  <a:schemeClr val="bg1">
                    <a:lumMod val="50000"/>
                  </a:schemeClr>
                </a:solidFill>
              </a:rPr>
              <a:t>en.wikipedia.org</a:t>
            </a:r>
            <a:r>
              <a:rPr lang="en-US" sz="1600" dirty="0">
                <a:solidFill>
                  <a:schemeClr val="bg1">
                    <a:lumMod val="50000"/>
                  </a:schemeClr>
                </a:solidFill>
              </a:rPr>
              <a:t>/wiki/Xeon</a:t>
            </a:r>
          </a:p>
        </p:txBody>
      </p:sp>
    </p:spTree>
    <p:extLst>
      <p:ext uri="{BB962C8B-B14F-4D97-AF65-F5344CB8AC3E}">
        <p14:creationId xmlns:p14="http://schemas.microsoft.com/office/powerpoint/2010/main" val="90402040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9D13F8-29B8-4748-A224-04FB20C6C0A6}"/>
              </a:ext>
            </a:extLst>
          </p:cNvPr>
          <p:cNvSpPr>
            <a:spLocks noGrp="1"/>
          </p:cNvSpPr>
          <p:nvPr>
            <p:ph type="title"/>
          </p:nvPr>
        </p:nvSpPr>
        <p:spPr/>
        <p:txBody>
          <a:bodyPr/>
          <a:lstStyle/>
          <a:p>
            <a:r>
              <a:rPr lang="en-US" dirty="0"/>
              <a:t>Graph Traversal is Memory Pointer Hopping</a:t>
            </a:r>
          </a:p>
        </p:txBody>
      </p:sp>
      <p:sp>
        <p:nvSpPr>
          <p:cNvPr id="3" name="Content Placeholder 2">
            <a:extLst>
              <a:ext uri="{FF2B5EF4-FFF2-40B4-BE49-F238E27FC236}">
                <a16:creationId xmlns:a16="http://schemas.microsoft.com/office/drawing/2014/main" id="{3F1384E4-14BD-4143-84E5-C5FED8017DB4}"/>
              </a:ext>
            </a:extLst>
          </p:cNvPr>
          <p:cNvSpPr>
            <a:spLocks noGrp="1"/>
          </p:cNvSpPr>
          <p:nvPr>
            <p:ph idx="1"/>
          </p:nvPr>
        </p:nvSpPr>
        <p:spPr>
          <a:xfrm>
            <a:off x="6443834" y="2305623"/>
            <a:ext cx="9433139" cy="6729888"/>
          </a:xfrm>
        </p:spPr>
        <p:txBody>
          <a:bodyPr/>
          <a:lstStyle/>
          <a:p>
            <a:pPr marL="457198" indent="-457198"/>
            <a:r>
              <a:rPr lang="en-US" dirty="0"/>
              <a:t>Graph traversal can be reduced to a set of small </a:t>
            </a:r>
            <a:r>
              <a:rPr lang="en-US" b="1" dirty="0"/>
              <a:t>pointer lookup</a:t>
            </a:r>
            <a:r>
              <a:rPr lang="en-US" dirty="0"/>
              <a:t> operations (aka </a:t>
            </a:r>
            <a:r>
              <a:rPr lang="en-US" b="1" dirty="0"/>
              <a:t>pointer hopping, pointer chasing)</a:t>
            </a:r>
            <a:endParaRPr lang="en-US" dirty="0"/>
          </a:p>
          <a:p>
            <a:pPr marL="457198" indent="-457198"/>
            <a:r>
              <a:rPr lang="en-US" dirty="0"/>
              <a:t>The key is that they must scale in parallel</a:t>
            </a:r>
          </a:p>
          <a:p>
            <a:pPr marL="457198" indent="-457198"/>
            <a:r>
              <a:rPr lang="en-US" dirty="0"/>
              <a:t>Our goal is to optimized the design of the</a:t>
            </a:r>
            <a:r>
              <a:rPr lang="en-US" b="1" dirty="0"/>
              <a:t> instruction set </a:t>
            </a:r>
            <a:r>
              <a:rPr lang="en-US" dirty="0"/>
              <a:t>and the </a:t>
            </a:r>
            <a:r>
              <a:rPr lang="en-US" b="1" dirty="0"/>
              <a:t>memory access patterns</a:t>
            </a:r>
            <a:r>
              <a:rPr lang="en-US" dirty="0"/>
              <a:t> to optimize graph traversal</a:t>
            </a:r>
          </a:p>
          <a:p>
            <a:pPr marL="457198" indent="-457198"/>
            <a:r>
              <a:rPr lang="en-US" dirty="0"/>
              <a:t>We needed a new </a:t>
            </a:r>
            <a:r>
              <a:rPr lang="en-US" b="1" dirty="0"/>
              <a:t>distributed</a:t>
            </a:r>
            <a:r>
              <a:rPr lang="en-US" dirty="0"/>
              <a:t> graph architecture with </a:t>
            </a:r>
            <a:r>
              <a:rPr lang="en-US" b="1" dirty="0"/>
              <a:t>many cores </a:t>
            </a:r>
            <a:r>
              <a:rPr lang="en-US" dirty="0"/>
              <a:t>and faster </a:t>
            </a:r>
            <a:r>
              <a:rPr lang="en-US" b="1" dirty="0"/>
              <a:t>memory</a:t>
            </a:r>
            <a:r>
              <a:rPr lang="en-US" dirty="0"/>
              <a:t> access patterns</a:t>
            </a:r>
          </a:p>
        </p:txBody>
      </p:sp>
      <p:sp>
        <p:nvSpPr>
          <p:cNvPr id="5" name="Slide Number Placeholder 4">
            <a:extLst>
              <a:ext uri="{FF2B5EF4-FFF2-40B4-BE49-F238E27FC236}">
                <a16:creationId xmlns:a16="http://schemas.microsoft.com/office/drawing/2014/main" id="{12A7F1D2-60DF-C841-9D18-945BE78984BE}"/>
              </a:ext>
            </a:extLst>
          </p:cNvPr>
          <p:cNvSpPr>
            <a:spLocks noGrp="1"/>
          </p:cNvSpPr>
          <p:nvPr>
            <p:ph type="sldNum" sz="quarter" idx="12"/>
          </p:nvPr>
        </p:nvSpPr>
        <p:spPr/>
        <p:txBody>
          <a:bodyPr/>
          <a:lstStyle/>
          <a:p>
            <a:pPr defTabSz="1228949"/>
            <a:fld id="{3310D8EA-3107-4873-B9AB-DD7D3E79053A}" type="slidenum">
              <a:rPr lang="en-US" kern="1200">
                <a:solidFill>
                  <a:srgbClr val="55565A">
                    <a:tint val="75000"/>
                  </a:srgbClr>
                </a:solidFill>
                <a:latin typeface="Arial" panose="020B0604020202020204"/>
              </a:rPr>
              <a:pPr defTabSz="1228949"/>
              <a:t>13</a:t>
            </a:fld>
            <a:endParaRPr lang="en-US" kern="1200">
              <a:solidFill>
                <a:srgbClr val="55565A">
                  <a:tint val="75000"/>
                </a:srgbClr>
              </a:solidFill>
              <a:latin typeface="Arial" panose="020B0604020202020204"/>
            </a:endParaRPr>
          </a:p>
        </p:txBody>
      </p:sp>
      <p:sp>
        <p:nvSpPr>
          <p:cNvPr id="7" name="Rectangle 6">
            <a:extLst>
              <a:ext uri="{FF2B5EF4-FFF2-40B4-BE49-F238E27FC236}">
                <a16:creationId xmlns:a16="http://schemas.microsoft.com/office/drawing/2014/main" id="{BE97ED7A-2ADB-FB42-AD85-D1C513EC0AFC}"/>
              </a:ext>
            </a:extLst>
          </p:cNvPr>
          <p:cNvSpPr/>
          <p:nvPr/>
        </p:nvSpPr>
        <p:spPr>
          <a:xfrm>
            <a:off x="2456528" y="2144702"/>
            <a:ext cx="3162892" cy="7051730"/>
          </a:xfrm>
          <a:prstGeom prst="rect">
            <a:avLst/>
          </a:prstGeom>
          <a:solidFill>
            <a:schemeClr val="bg1">
              <a:lumMod val="95000"/>
            </a:schemeClr>
          </a:solidFill>
          <a:ln>
            <a:solidFill>
              <a:schemeClr val="tx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9" tIns="45720" rIns="91439" bIns="45720" numCol="1" spcCol="0" rtlCol="0" fromWordArt="0" anchor="ctr" anchorCtr="0" forceAA="0" compatLnSpc="1">
            <a:prstTxWarp prst="textNoShape">
              <a:avLst/>
            </a:prstTxWarp>
            <a:noAutofit/>
          </a:bodyPr>
          <a:lstStyle/>
          <a:p>
            <a:pPr algn="ctr" defTabSz="1228949"/>
            <a:endParaRPr lang="en-US" dirty="0" err="1">
              <a:solidFill>
                <a:srgbClr val="FFFFFF"/>
              </a:solidFill>
              <a:latin typeface="Arial" panose="020B0604020202020204"/>
            </a:endParaRPr>
          </a:p>
        </p:txBody>
      </p:sp>
      <p:grpSp>
        <p:nvGrpSpPr>
          <p:cNvPr id="264" name="Group 263">
            <a:extLst>
              <a:ext uri="{FF2B5EF4-FFF2-40B4-BE49-F238E27FC236}">
                <a16:creationId xmlns:a16="http://schemas.microsoft.com/office/drawing/2014/main" id="{8AAC87D4-8691-1E4A-AFE8-9903240142C0}"/>
              </a:ext>
            </a:extLst>
          </p:cNvPr>
          <p:cNvGrpSpPr/>
          <p:nvPr/>
        </p:nvGrpSpPr>
        <p:grpSpPr>
          <a:xfrm>
            <a:off x="2746671" y="2437977"/>
            <a:ext cx="2514600" cy="6455046"/>
            <a:chOff x="1565329" y="2399849"/>
            <a:chExt cx="2514600" cy="6455046"/>
          </a:xfrm>
          <a:solidFill>
            <a:schemeClr val="bg1">
              <a:lumMod val="65000"/>
            </a:schemeClr>
          </a:solidFill>
        </p:grpSpPr>
        <p:sp>
          <p:nvSpPr>
            <p:cNvPr id="8" name="Rectangle 7">
              <a:extLst>
                <a:ext uri="{FF2B5EF4-FFF2-40B4-BE49-F238E27FC236}">
                  <a16:creationId xmlns:a16="http://schemas.microsoft.com/office/drawing/2014/main" id="{3EE885CA-7B5D-234B-A928-9CEE674224D2}"/>
                </a:ext>
              </a:extLst>
            </p:cNvPr>
            <p:cNvSpPr/>
            <p:nvPr/>
          </p:nvSpPr>
          <p:spPr>
            <a:xfrm>
              <a:off x="1565329" y="2399849"/>
              <a:ext cx="309966" cy="201478"/>
            </a:xfrm>
            <a:prstGeom prst="rect">
              <a:avLst/>
            </a:prstGeom>
            <a:grp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9" tIns="45720" rIns="91439" bIns="45720" numCol="1" spcCol="0" rtlCol="0" fromWordArt="0" anchor="ctr" anchorCtr="0" forceAA="0" compatLnSpc="1">
              <a:prstTxWarp prst="textNoShape">
                <a:avLst/>
              </a:prstTxWarp>
              <a:noAutofit/>
            </a:bodyPr>
            <a:lstStyle/>
            <a:p>
              <a:pPr algn="ctr" defTabSz="1228949"/>
              <a:endParaRPr lang="en-US" dirty="0" err="1">
                <a:solidFill>
                  <a:srgbClr val="FFFFFF"/>
                </a:solidFill>
                <a:latin typeface="Arial" panose="020B0604020202020204"/>
              </a:endParaRPr>
            </a:p>
          </p:txBody>
        </p:sp>
        <p:sp>
          <p:nvSpPr>
            <p:cNvPr id="9" name="Rectangle 8">
              <a:extLst>
                <a:ext uri="{FF2B5EF4-FFF2-40B4-BE49-F238E27FC236}">
                  <a16:creationId xmlns:a16="http://schemas.microsoft.com/office/drawing/2014/main" id="{16BCBCAF-3064-DA42-BE91-71C376E7B83E}"/>
                </a:ext>
              </a:extLst>
            </p:cNvPr>
            <p:cNvSpPr/>
            <p:nvPr/>
          </p:nvSpPr>
          <p:spPr>
            <a:xfrm>
              <a:off x="1875295" y="2399849"/>
              <a:ext cx="309966" cy="201478"/>
            </a:xfrm>
            <a:prstGeom prst="rect">
              <a:avLst/>
            </a:prstGeom>
            <a:grp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9" tIns="45720" rIns="91439" bIns="45720" numCol="1" spcCol="0" rtlCol="0" fromWordArt="0" anchor="ctr" anchorCtr="0" forceAA="0" compatLnSpc="1">
              <a:prstTxWarp prst="textNoShape">
                <a:avLst/>
              </a:prstTxWarp>
              <a:noAutofit/>
            </a:bodyPr>
            <a:lstStyle/>
            <a:p>
              <a:pPr algn="ctr" defTabSz="1228949"/>
              <a:endParaRPr lang="en-US" dirty="0" err="1">
                <a:solidFill>
                  <a:srgbClr val="FFFFFF"/>
                </a:solidFill>
                <a:latin typeface="Arial" panose="020B0604020202020204"/>
              </a:endParaRPr>
            </a:p>
          </p:txBody>
        </p:sp>
        <p:sp>
          <p:nvSpPr>
            <p:cNvPr id="10" name="Rectangle 9">
              <a:extLst>
                <a:ext uri="{FF2B5EF4-FFF2-40B4-BE49-F238E27FC236}">
                  <a16:creationId xmlns:a16="http://schemas.microsoft.com/office/drawing/2014/main" id="{E61F9293-FE3C-FD44-B825-A859ACDCB907}"/>
                </a:ext>
              </a:extLst>
            </p:cNvPr>
            <p:cNvSpPr/>
            <p:nvPr/>
          </p:nvSpPr>
          <p:spPr>
            <a:xfrm>
              <a:off x="2193010" y="2399849"/>
              <a:ext cx="309966" cy="201478"/>
            </a:xfrm>
            <a:prstGeom prst="rect">
              <a:avLst/>
            </a:prstGeom>
            <a:grp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9" tIns="45720" rIns="91439" bIns="45720" numCol="1" spcCol="0" rtlCol="0" fromWordArt="0" anchor="ctr" anchorCtr="0" forceAA="0" compatLnSpc="1">
              <a:prstTxWarp prst="textNoShape">
                <a:avLst/>
              </a:prstTxWarp>
              <a:noAutofit/>
            </a:bodyPr>
            <a:lstStyle/>
            <a:p>
              <a:pPr algn="ctr" defTabSz="1228949"/>
              <a:endParaRPr lang="en-US" dirty="0" err="1">
                <a:solidFill>
                  <a:srgbClr val="FFFFFF"/>
                </a:solidFill>
                <a:latin typeface="Arial" panose="020B0604020202020204"/>
              </a:endParaRPr>
            </a:p>
          </p:txBody>
        </p:sp>
        <p:sp>
          <p:nvSpPr>
            <p:cNvPr id="11" name="Rectangle 10">
              <a:extLst>
                <a:ext uri="{FF2B5EF4-FFF2-40B4-BE49-F238E27FC236}">
                  <a16:creationId xmlns:a16="http://schemas.microsoft.com/office/drawing/2014/main" id="{825FB246-8343-7542-9EF7-0D17CEC785C8}"/>
                </a:ext>
              </a:extLst>
            </p:cNvPr>
            <p:cNvSpPr/>
            <p:nvPr/>
          </p:nvSpPr>
          <p:spPr>
            <a:xfrm>
              <a:off x="2502977" y="2399849"/>
              <a:ext cx="309966" cy="201478"/>
            </a:xfrm>
            <a:prstGeom prst="rect">
              <a:avLst/>
            </a:prstGeom>
            <a:grp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9" tIns="45720" rIns="91439" bIns="45720" numCol="1" spcCol="0" rtlCol="0" fromWordArt="0" anchor="ctr" anchorCtr="0" forceAA="0" compatLnSpc="1">
              <a:prstTxWarp prst="textNoShape">
                <a:avLst/>
              </a:prstTxWarp>
              <a:noAutofit/>
            </a:bodyPr>
            <a:lstStyle/>
            <a:p>
              <a:pPr algn="ctr" defTabSz="1228949"/>
              <a:endParaRPr lang="en-US" dirty="0" err="1">
                <a:solidFill>
                  <a:srgbClr val="FFFFFF"/>
                </a:solidFill>
                <a:latin typeface="Arial" panose="020B0604020202020204"/>
              </a:endParaRPr>
            </a:p>
          </p:txBody>
        </p:sp>
        <p:sp>
          <p:nvSpPr>
            <p:cNvPr id="12" name="Rectangle 11">
              <a:extLst>
                <a:ext uri="{FF2B5EF4-FFF2-40B4-BE49-F238E27FC236}">
                  <a16:creationId xmlns:a16="http://schemas.microsoft.com/office/drawing/2014/main" id="{34AE2A07-2836-BC4E-93C8-974EF7BD0D32}"/>
                </a:ext>
              </a:extLst>
            </p:cNvPr>
            <p:cNvSpPr/>
            <p:nvPr/>
          </p:nvSpPr>
          <p:spPr>
            <a:xfrm>
              <a:off x="2812943" y="2399849"/>
              <a:ext cx="309966" cy="201478"/>
            </a:xfrm>
            <a:prstGeom prst="rect">
              <a:avLst/>
            </a:prstGeom>
            <a:grp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9" tIns="45720" rIns="91439" bIns="45720" numCol="1" spcCol="0" rtlCol="0" fromWordArt="0" anchor="ctr" anchorCtr="0" forceAA="0" compatLnSpc="1">
              <a:prstTxWarp prst="textNoShape">
                <a:avLst/>
              </a:prstTxWarp>
              <a:noAutofit/>
            </a:bodyPr>
            <a:lstStyle/>
            <a:p>
              <a:pPr algn="ctr" defTabSz="1228949"/>
              <a:endParaRPr lang="en-US" dirty="0" err="1">
                <a:solidFill>
                  <a:srgbClr val="FFFFFF"/>
                </a:solidFill>
                <a:latin typeface="Arial" panose="020B0604020202020204"/>
              </a:endParaRPr>
            </a:p>
          </p:txBody>
        </p:sp>
        <p:sp>
          <p:nvSpPr>
            <p:cNvPr id="13" name="Rectangle 12">
              <a:extLst>
                <a:ext uri="{FF2B5EF4-FFF2-40B4-BE49-F238E27FC236}">
                  <a16:creationId xmlns:a16="http://schemas.microsoft.com/office/drawing/2014/main" id="{8BB3B04D-7E33-B043-961B-C7870AFAD1F4}"/>
                </a:ext>
              </a:extLst>
            </p:cNvPr>
            <p:cNvSpPr/>
            <p:nvPr/>
          </p:nvSpPr>
          <p:spPr>
            <a:xfrm>
              <a:off x="3130658" y="2399849"/>
              <a:ext cx="309966" cy="201478"/>
            </a:xfrm>
            <a:prstGeom prst="rect">
              <a:avLst/>
            </a:prstGeom>
            <a:grp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9" tIns="45720" rIns="91439" bIns="45720" numCol="1" spcCol="0" rtlCol="0" fromWordArt="0" anchor="ctr" anchorCtr="0" forceAA="0" compatLnSpc="1">
              <a:prstTxWarp prst="textNoShape">
                <a:avLst/>
              </a:prstTxWarp>
              <a:noAutofit/>
            </a:bodyPr>
            <a:lstStyle/>
            <a:p>
              <a:pPr algn="ctr" defTabSz="1228949"/>
              <a:endParaRPr lang="en-US" dirty="0" err="1">
                <a:solidFill>
                  <a:srgbClr val="FFFFFF"/>
                </a:solidFill>
                <a:latin typeface="Arial" panose="020B0604020202020204"/>
              </a:endParaRPr>
            </a:p>
          </p:txBody>
        </p:sp>
        <p:sp>
          <p:nvSpPr>
            <p:cNvPr id="14" name="Rectangle 13">
              <a:extLst>
                <a:ext uri="{FF2B5EF4-FFF2-40B4-BE49-F238E27FC236}">
                  <a16:creationId xmlns:a16="http://schemas.microsoft.com/office/drawing/2014/main" id="{A1DC94E1-3F84-A14C-90EB-5329A5194276}"/>
                </a:ext>
              </a:extLst>
            </p:cNvPr>
            <p:cNvSpPr/>
            <p:nvPr/>
          </p:nvSpPr>
          <p:spPr>
            <a:xfrm>
              <a:off x="1565329" y="2601327"/>
              <a:ext cx="309966" cy="201478"/>
            </a:xfrm>
            <a:prstGeom prst="rect">
              <a:avLst/>
            </a:prstGeom>
            <a:grp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9" tIns="45720" rIns="91439" bIns="45720" numCol="1" spcCol="0" rtlCol="0" fromWordArt="0" anchor="ctr" anchorCtr="0" forceAA="0" compatLnSpc="1">
              <a:prstTxWarp prst="textNoShape">
                <a:avLst/>
              </a:prstTxWarp>
              <a:noAutofit/>
            </a:bodyPr>
            <a:lstStyle/>
            <a:p>
              <a:pPr algn="ctr" defTabSz="1228949"/>
              <a:endParaRPr lang="en-US" dirty="0" err="1">
                <a:solidFill>
                  <a:srgbClr val="FFFFFF"/>
                </a:solidFill>
                <a:latin typeface="Arial" panose="020B0604020202020204"/>
              </a:endParaRPr>
            </a:p>
          </p:txBody>
        </p:sp>
        <p:sp>
          <p:nvSpPr>
            <p:cNvPr id="15" name="Rectangle 14">
              <a:extLst>
                <a:ext uri="{FF2B5EF4-FFF2-40B4-BE49-F238E27FC236}">
                  <a16:creationId xmlns:a16="http://schemas.microsoft.com/office/drawing/2014/main" id="{4B012520-1DAF-7A4A-9E27-DAEDA06222BE}"/>
                </a:ext>
              </a:extLst>
            </p:cNvPr>
            <p:cNvSpPr/>
            <p:nvPr/>
          </p:nvSpPr>
          <p:spPr>
            <a:xfrm>
              <a:off x="1875295" y="2601327"/>
              <a:ext cx="309966" cy="201478"/>
            </a:xfrm>
            <a:prstGeom prst="rect">
              <a:avLst/>
            </a:prstGeom>
            <a:grp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9" tIns="45720" rIns="91439" bIns="45720" numCol="1" spcCol="0" rtlCol="0" fromWordArt="0" anchor="ctr" anchorCtr="0" forceAA="0" compatLnSpc="1">
              <a:prstTxWarp prst="textNoShape">
                <a:avLst/>
              </a:prstTxWarp>
              <a:noAutofit/>
            </a:bodyPr>
            <a:lstStyle/>
            <a:p>
              <a:pPr algn="ctr" defTabSz="1228949"/>
              <a:endParaRPr lang="en-US" dirty="0" err="1">
                <a:solidFill>
                  <a:srgbClr val="FFFFFF"/>
                </a:solidFill>
                <a:latin typeface="Arial" panose="020B0604020202020204"/>
              </a:endParaRPr>
            </a:p>
          </p:txBody>
        </p:sp>
        <p:sp>
          <p:nvSpPr>
            <p:cNvPr id="16" name="Rectangle 15">
              <a:extLst>
                <a:ext uri="{FF2B5EF4-FFF2-40B4-BE49-F238E27FC236}">
                  <a16:creationId xmlns:a16="http://schemas.microsoft.com/office/drawing/2014/main" id="{25127B80-D8AA-1249-B902-7C0269A9E41A}"/>
                </a:ext>
              </a:extLst>
            </p:cNvPr>
            <p:cNvSpPr/>
            <p:nvPr/>
          </p:nvSpPr>
          <p:spPr>
            <a:xfrm>
              <a:off x="2193010" y="2601327"/>
              <a:ext cx="309966" cy="201478"/>
            </a:xfrm>
            <a:prstGeom prst="rect">
              <a:avLst/>
            </a:prstGeom>
            <a:grp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9" tIns="45720" rIns="91439" bIns="45720" numCol="1" spcCol="0" rtlCol="0" fromWordArt="0" anchor="ctr" anchorCtr="0" forceAA="0" compatLnSpc="1">
              <a:prstTxWarp prst="textNoShape">
                <a:avLst/>
              </a:prstTxWarp>
              <a:noAutofit/>
            </a:bodyPr>
            <a:lstStyle/>
            <a:p>
              <a:pPr algn="ctr" defTabSz="1228949"/>
              <a:endParaRPr lang="en-US" dirty="0" err="1">
                <a:solidFill>
                  <a:srgbClr val="FFFFFF"/>
                </a:solidFill>
                <a:latin typeface="Arial" panose="020B0604020202020204"/>
              </a:endParaRPr>
            </a:p>
          </p:txBody>
        </p:sp>
        <p:sp>
          <p:nvSpPr>
            <p:cNvPr id="17" name="Rectangle 16">
              <a:extLst>
                <a:ext uri="{FF2B5EF4-FFF2-40B4-BE49-F238E27FC236}">
                  <a16:creationId xmlns:a16="http://schemas.microsoft.com/office/drawing/2014/main" id="{BB309F4E-26E1-984B-9DEB-E7DC9206D46C}"/>
                </a:ext>
              </a:extLst>
            </p:cNvPr>
            <p:cNvSpPr/>
            <p:nvPr/>
          </p:nvSpPr>
          <p:spPr>
            <a:xfrm>
              <a:off x="2502977" y="2601327"/>
              <a:ext cx="309966" cy="201478"/>
            </a:xfrm>
            <a:prstGeom prst="rect">
              <a:avLst/>
            </a:prstGeom>
            <a:grp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9" tIns="45720" rIns="91439" bIns="45720" numCol="1" spcCol="0" rtlCol="0" fromWordArt="0" anchor="ctr" anchorCtr="0" forceAA="0" compatLnSpc="1">
              <a:prstTxWarp prst="textNoShape">
                <a:avLst/>
              </a:prstTxWarp>
              <a:noAutofit/>
            </a:bodyPr>
            <a:lstStyle/>
            <a:p>
              <a:pPr algn="ctr" defTabSz="1228949"/>
              <a:endParaRPr lang="en-US" dirty="0" err="1">
                <a:solidFill>
                  <a:srgbClr val="FFFFFF"/>
                </a:solidFill>
                <a:latin typeface="Arial" panose="020B0604020202020204"/>
              </a:endParaRPr>
            </a:p>
          </p:txBody>
        </p:sp>
        <p:sp>
          <p:nvSpPr>
            <p:cNvPr id="18" name="Rectangle 17">
              <a:extLst>
                <a:ext uri="{FF2B5EF4-FFF2-40B4-BE49-F238E27FC236}">
                  <a16:creationId xmlns:a16="http://schemas.microsoft.com/office/drawing/2014/main" id="{8BF98932-34D1-EA47-A883-92844756A2E5}"/>
                </a:ext>
              </a:extLst>
            </p:cNvPr>
            <p:cNvSpPr/>
            <p:nvPr/>
          </p:nvSpPr>
          <p:spPr>
            <a:xfrm>
              <a:off x="2812943" y="2601327"/>
              <a:ext cx="309966" cy="201478"/>
            </a:xfrm>
            <a:prstGeom prst="rect">
              <a:avLst/>
            </a:prstGeom>
            <a:grp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9" tIns="45720" rIns="91439" bIns="45720" numCol="1" spcCol="0" rtlCol="0" fromWordArt="0" anchor="ctr" anchorCtr="0" forceAA="0" compatLnSpc="1">
              <a:prstTxWarp prst="textNoShape">
                <a:avLst/>
              </a:prstTxWarp>
              <a:noAutofit/>
            </a:bodyPr>
            <a:lstStyle/>
            <a:p>
              <a:pPr algn="ctr" defTabSz="1228949"/>
              <a:endParaRPr lang="en-US" dirty="0" err="1">
                <a:solidFill>
                  <a:srgbClr val="FFFFFF"/>
                </a:solidFill>
                <a:latin typeface="Arial" panose="020B0604020202020204"/>
              </a:endParaRPr>
            </a:p>
          </p:txBody>
        </p:sp>
        <p:sp>
          <p:nvSpPr>
            <p:cNvPr id="19" name="Rectangle 18">
              <a:extLst>
                <a:ext uri="{FF2B5EF4-FFF2-40B4-BE49-F238E27FC236}">
                  <a16:creationId xmlns:a16="http://schemas.microsoft.com/office/drawing/2014/main" id="{B4755108-312A-9C49-A7D3-05F01022EE98}"/>
                </a:ext>
              </a:extLst>
            </p:cNvPr>
            <p:cNvSpPr/>
            <p:nvPr/>
          </p:nvSpPr>
          <p:spPr>
            <a:xfrm>
              <a:off x="3130658" y="2601327"/>
              <a:ext cx="309966" cy="201478"/>
            </a:xfrm>
            <a:prstGeom prst="rect">
              <a:avLst/>
            </a:prstGeom>
            <a:grp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9" tIns="45720" rIns="91439" bIns="45720" numCol="1" spcCol="0" rtlCol="0" fromWordArt="0" anchor="ctr" anchorCtr="0" forceAA="0" compatLnSpc="1">
              <a:prstTxWarp prst="textNoShape">
                <a:avLst/>
              </a:prstTxWarp>
              <a:noAutofit/>
            </a:bodyPr>
            <a:lstStyle/>
            <a:p>
              <a:pPr algn="ctr" defTabSz="1228949"/>
              <a:endParaRPr lang="en-US" dirty="0" err="1">
                <a:solidFill>
                  <a:srgbClr val="FFFFFF"/>
                </a:solidFill>
                <a:latin typeface="Arial" panose="020B0604020202020204"/>
              </a:endParaRPr>
            </a:p>
          </p:txBody>
        </p:sp>
        <p:sp>
          <p:nvSpPr>
            <p:cNvPr id="20" name="Rectangle 19">
              <a:extLst>
                <a:ext uri="{FF2B5EF4-FFF2-40B4-BE49-F238E27FC236}">
                  <a16:creationId xmlns:a16="http://schemas.microsoft.com/office/drawing/2014/main" id="{8509178C-FB40-5044-BEBF-376290EDFF39}"/>
                </a:ext>
              </a:extLst>
            </p:cNvPr>
            <p:cNvSpPr/>
            <p:nvPr/>
          </p:nvSpPr>
          <p:spPr>
            <a:xfrm>
              <a:off x="3452248" y="2399849"/>
              <a:ext cx="309966" cy="201478"/>
            </a:xfrm>
            <a:prstGeom prst="rect">
              <a:avLst/>
            </a:prstGeom>
            <a:grp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9" tIns="45720" rIns="91439" bIns="45720" numCol="1" spcCol="0" rtlCol="0" fromWordArt="0" anchor="ctr" anchorCtr="0" forceAA="0" compatLnSpc="1">
              <a:prstTxWarp prst="textNoShape">
                <a:avLst/>
              </a:prstTxWarp>
              <a:noAutofit/>
            </a:bodyPr>
            <a:lstStyle/>
            <a:p>
              <a:pPr algn="ctr" defTabSz="1228949"/>
              <a:endParaRPr lang="en-US" dirty="0" err="1">
                <a:solidFill>
                  <a:srgbClr val="FFFFFF"/>
                </a:solidFill>
                <a:latin typeface="Arial" panose="020B0604020202020204"/>
              </a:endParaRPr>
            </a:p>
          </p:txBody>
        </p:sp>
        <p:sp>
          <p:nvSpPr>
            <p:cNvPr id="21" name="Rectangle 20">
              <a:extLst>
                <a:ext uri="{FF2B5EF4-FFF2-40B4-BE49-F238E27FC236}">
                  <a16:creationId xmlns:a16="http://schemas.microsoft.com/office/drawing/2014/main" id="{D89080ED-B4A9-3242-844A-A2E5DE7AAF0A}"/>
                </a:ext>
              </a:extLst>
            </p:cNvPr>
            <p:cNvSpPr/>
            <p:nvPr/>
          </p:nvSpPr>
          <p:spPr>
            <a:xfrm>
              <a:off x="3769963" y="2399849"/>
              <a:ext cx="309966" cy="201478"/>
            </a:xfrm>
            <a:prstGeom prst="rect">
              <a:avLst/>
            </a:prstGeom>
            <a:grp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9" tIns="45720" rIns="91439" bIns="45720" numCol="1" spcCol="0" rtlCol="0" fromWordArt="0" anchor="ctr" anchorCtr="0" forceAA="0" compatLnSpc="1">
              <a:prstTxWarp prst="textNoShape">
                <a:avLst/>
              </a:prstTxWarp>
              <a:noAutofit/>
            </a:bodyPr>
            <a:lstStyle/>
            <a:p>
              <a:pPr algn="ctr" defTabSz="1228949"/>
              <a:endParaRPr lang="en-US" dirty="0" err="1">
                <a:solidFill>
                  <a:srgbClr val="FFFFFF"/>
                </a:solidFill>
                <a:latin typeface="Arial" panose="020B0604020202020204"/>
              </a:endParaRPr>
            </a:p>
          </p:txBody>
        </p:sp>
        <p:sp>
          <p:nvSpPr>
            <p:cNvPr id="22" name="Rectangle 21">
              <a:extLst>
                <a:ext uri="{FF2B5EF4-FFF2-40B4-BE49-F238E27FC236}">
                  <a16:creationId xmlns:a16="http://schemas.microsoft.com/office/drawing/2014/main" id="{FF15FBF1-00AA-2D47-AFEA-AB346BBA344D}"/>
                </a:ext>
              </a:extLst>
            </p:cNvPr>
            <p:cNvSpPr/>
            <p:nvPr/>
          </p:nvSpPr>
          <p:spPr>
            <a:xfrm>
              <a:off x="3452248" y="2601327"/>
              <a:ext cx="309966" cy="201478"/>
            </a:xfrm>
            <a:prstGeom prst="rect">
              <a:avLst/>
            </a:prstGeom>
            <a:grp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9" tIns="45720" rIns="91439" bIns="45720" numCol="1" spcCol="0" rtlCol="0" fromWordArt="0" anchor="ctr" anchorCtr="0" forceAA="0" compatLnSpc="1">
              <a:prstTxWarp prst="textNoShape">
                <a:avLst/>
              </a:prstTxWarp>
              <a:noAutofit/>
            </a:bodyPr>
            <a:lstStyle/>
            <a:p>
              <a:pPr algn="ctr" defTabSz="1228949"/>
              <a:endParaRPr lang="en-US" dirty="0" err="1">
                <a:solidFill>
                  <a:srgbClr val="FFFFFF"/>
                </a:solidFill>
                <a:latin typeface="Arial" panose="020B0604020202020204"/>
              </a:endParaRPr>
            </a:p>
          </p:txBody>
        </p:sp>
        <p:sp>
          <p:nvSpPr>
            <p:cNvPr id="23" name="Rectangle 22">
              <a:extLst>
                <a:ext uri="{FF2B5EF4-FFF2-40B4-BE49-F238E27FC236}">
                  <a16:creationId xmlns:a16="http://schemas.microsoft.com/office/drawing/2014/main" id="{16195181-5D78-C749-A019-84AE949E43AF}"/>
                </a:ext>
              </a:extLst>
            </p:cNvPr>
            <p:cNvSpPr/>
            <p:nvPr/>
          </p:nvSpPr>
          <p:spPr>
            <a:xfrm>
              <a:off x="3769963" y="2601327"/>
              <a:ext cx="309966" cy="201478"/>
            </a:xfrm>
            <a:prstGeom prst="rect">
              <a:avLst/>
            </a:prstGeom>
            <a:grp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9" tIns="45720" rIns="91439" bIns="45720" numCol="1" spcCol="0" rtlCol="0" fromWordArt="0" anchor="ctr" anchorCtr="0" forceAA="0" compatLnSpc="1">
              <a:prstTxWarp prst="textNoShape">
                <a:avLst/>
              </a:prstTxWarp>
              <a:noAutofit/>
            </a:bodyPr>
            <a:lstStyle/>
            <a:p>
              <a:pPr algn="ctr" defTabSz="1228949"/>
              <a:endParaRPr lang="en-US" dirty="0" err="1">
                <a:solidFill>
                  <a:srgbClr val="FFFFFF"/>
                </a:solidFill>
                <a:latin typeface="Arial" panose="020B0604020202020204"/>
              </a:endParaRPr>
            </a:p>
          </p:txBody>
        </p:sp>
        <p:sp>
          <p:nvSpPr>
            <p:cNvPr id="24" name="Rectangle 23">
              <a:extLst>
                <a:ext uri="{FF2B5EF4-FFF2-40B4-BE49-F238E27FC236}">
                  <a16:creationId xmlns:a16="http://schemas.microsoft.com/office/drawing/2014/main" id="{7F63DB2C-CB27-4748-B15A-F204A66F96DC}"/>
                </a:ext>
              </a:extLst>
            </p:cNvPr>
            <p:cNvSpPr/>
            <p:nvPr/>
          </p:nvSpPr>
          <p:spPr>
            <a:xfrm>
              <a:off x="1565329" y="2802805"/>
              <a:ext cx="309966" cy="201478"/>
            </a:xfrm>
            <a:prstGeom prst="rect">
              <a:avLst/>
            </a:prstGeom>
            <a:grp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9" tIns="45720" rIns="91439" bIns="45720" numCol="1" spcCol="0" rtlCol="0" fromWordArt="0" anchor="ctr" anchorCtr="0" forceAA="0" compatLnSpc="1">
              <a:prstTxWarp prst="textNoShape">
                <a:avLst/>
              </a:prstTxWarp>
              <a:noAutofit/>
            </a:bodyPr>
            <a:lstStyle/>
            <a:p>
              <a:pPr algn="ctr" defTabSz="1228949"/>
              <a:endParaRPr lang="en-US" dirty="0" err="1">
                <a:solidFill>
                  <a:srgbClr val="FFFFFF"/>
                </a:solidFill>
                <a:latin typeface="Arial" panose="020B0604020202020204"/>
              </a:endParaRPr>
            </a:p>
          </p:txBody>
        </p:sp>
        <p:sp>
          <p:nvSpPr>
            <p:cNvPr id="25" name="Rectangle 24">
              <a:extLst>
                <a:ext uri="{FF2B5EF4-FFF2-40B4-BE49-F238E27FC236}">
                  <a16:creationId xmlns:a16="http://schemas.microsoft.com/office/drawing/2014/main" id="{803BEDDB-5AFA-0A4E-873C-E8AB3F9FE334}"/>
                </a:ext>
              </a:extLst>
            </p:cNvPr>
            <p:cNvSpPr/>
            <p:nvPr/>
          </p:nvSpPr>
          <p:spPr>
            <a:xfrm>
              <a:off x="1875295" y="2802805"/>
              <a:ext cx="309966" cy="201478"/>
            </a:xfrm>
            <a:prstGeom prst="rect">
              <a:avLst/>
            </a:prstGeom>
            <a:grp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9" tIns="45720" rIns="91439" bIns="45720" numCol="1" spcCol="0" rtlCol="0" fromWordArt="0" anchor="ctr" anchorCtr="0" forceAA="0" compatLnSpc="1">
              <a:prstTxWarp prst="textNoShape">
                <a:avLst/>
              </a:prstTxWarp>
              <a:noAutofit/>
            </a:bodyPr>
            <a:lstStyle/>
            <a:p>
              <a:pPr algn="ctr" defTabSz="1228949"/>
              <a:endParaRPr lang="en-US" dirty="0" err="1">
                <a:solidFill>
                  <a:srgbClr val="FFFFFF"/>
                </a:solidFill>
                <a:latin typeface="Arial" panose="020B0604020202020204"/>
              </a:endParaRPr>
            </a:p>
          </p:txBody>
        </p:sp>
        <p:sp>
          <p:nvSpPr>
            <p:cNvPr id="26" name="Rectangle 25">
              <a:extLst>
                <a:ext uri="{FF2B5EF4-FFF2-40B4-BE49-F238E27FC236}">
                  <a16:creationId xmlns:a16="http://schemas.microsoft.com/office/drawing/2014/main" id="{143E4DD5-6CE9-A348-841E-CE4D3A9EC0C0}"/>
                </a:ext>
              </a:extLst>
            </p:cNvPr>
            <p:cNvSpPr/>
            <p:nvPr/>
          </p:nvSpPr>
          <p:spPr>
            <a:xfrm>
              <a:off x="2193010" y="2802805"/>
              <a:ext cx="309966" cy="201478"/>
            </a:xfrm>
            <a:prstGeom prst="rect">
              <a:avLst/>
            </a:prstGeom>
            <a:grp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9" tIns="45720" rIns="91439" bIns="45720" numCol="1" spcCol="0" rtlCol="0" fromWordArt="0" anchor="ctr" anchorCtr="0" forceAA="0" compatLnSpc="1">
              <a:prstTxWarp prst="textNoShape">
                <a:avLst/>
              </a:prstTxWarp>
              <a:noAutofit/>
            </a:bodyPr>
            <a:lstStyle/>
            <a:p>
              <a:pPr algn="ctr" defTabSz="1228949"/>
              <a:endParaRPr lang="en-US" dirty="0" err="1">
                <a:solidFill>
                  <a:srgbClr val="FFFFFF"/>
                </a:solidFill>
                <a:latin typeface="Arial" panose="020B0604020202020204"/>
              </a:endParaRPr>
            </a:p>
          </p:txBody>
        </p:sp>
        <p:sp>
          <p:nvSpPr>
            <p:cNvPr id="27" name="Rectangle 26">
              <a:extLst>
                <a:ext uri="{FF2B5EF4-FFF2-40B4-BE49-F238E27FC236}">
                  <a16:creationId xmlns:a16="http://schemas.microsoft.com/office/drawing/2014/main" id="{A830DF35-C1FE-E541-B6B3-50C4671B176C}"/>
                </a:ext>
              </a:extLst>
            </p:cNvPr>
            <p:cNvSpPr/>
            <p:nvPr/>
          </p:nvSpPr>
          <p:spPr>
            <a:xfrm>
              <a:off x="2502977" y="2802805"/>
              <a:ext cx="309966" cy="201478"/>
            </a:xfrm>
            <a:prstGeom prst="rect">
              <a:avLst/>
            </a:prstGeom>
            <a:grp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9" tIns="45720" rIns="91439" bIns="45720" numCol="1" spcCol="0" rtlCol="0" fromWordArt="0" anchor="ctr" anchorCtr="0" forceAA="0" compatLnSpc="1">
              <a:prstTxWarp prst="textNoShape">
                <a:avLst/>
              </a:prstTxWarp>
              <a:noAutofit/>
            </a:bodyPr>
            <a:lstStyle/>
            <a:p>
              <a:pPr algn="ctr" defTabSz="1228949"/>
              <a:endParaRPr lang="en-US" dirty="0" err="1">
                <a:solidFill>
                  <a:srgbClr val="FFFFFF"/>
                </a:solidFill>
                <a:latin typeface="Arial" panose="020B0604020202020204"/>
              </a:endParaRPr>
            </a:p>
          </p:txBody>
        </p:sp>
        <p:sp>
          <p:nvSpPr>
            <p:cNvPr id="28" name="Rectangle 27">
              <a:extLst>
                <a:ext uri="{FF2B5EF4-FFF2-40B4-BE49-F238E27FC236}">
                  <a16:creationId xmlns:a16="http://schemas.microsoft.com/office/drawing/2014/main" id="{0D8DB687-27A8-614F-B4DF-C91553EE59B9}"/>
                </a:ext>
              </a:extLst>
            </p:cNvPr>
            <p:cNvSpPr/>
            <p:nvPr/>
          </p:nvSpPr>
          <p:spPr>
            <a:xfrm>
              <a:off x="2812943" y="2802805"/>
              <a:ext cx="309966" cy="201478"/>
            </a:xfrm>
            <a:prstGeom prst="rect">
              <a:avLst/>
            </a:prstGeom>
            <a:grp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9" tIns="45720" rIns="91439" bIns="45720" numCol="1" spcCol="0" rtlCol="0" fromWordArt="0" anchor="ctr" anchorCtr="0" forceAA="0" compatLnSpc="1">
              <a:prstTxWarp prst="textNoShape">
                <a:avLst/>
              </a:prstTxWarp>
              <a:noAutofit/>
            </a:bodyPr>
            <a:lstStyle/>
            <a:p>
              <a:pPr algn="ctr" defTabSz="1228949"/>
              <a:endParaRPr lang="en-US" dirty="0" err="1">
                <a:solidFill>
                  <a:srgbClr val="FFFFFF"/>
                </a:solidFill>
                <a:latin typeface="Arial" panose="020B0604020202020204"/>
              </a:endParaRPr>
            </a:p>
          </p:txBody>
        </p:sp>
        <p:sp>
          <p:nvSpPr>
            <p:cNvPr id="29" name="Rectangle 28">
              <a:extLst>
                <a:ext uri="{FF2B5EF4-FFF2-40B4-BE49-F238E27FC236}">
                  <a16:creationId xmlns:a16="http://schemas.microsoft.com/office/drawing/2014/main" id="{00807AA8-95E2-B347-A1A6-9A6C73746D2C}"/>
                </a:ext>
              </a:extLst>
            </p:cNvPr>
            <p:cNvSpPr/>
            <p:nvPr/>
          </p:nvSpPr>
          <p:spPr>
            <a:xfrm>
              <a:off x="3130658" y="2802805"/>
              <a:ext cx="309966" cy="201478"/>
            </a:xfrm>
            <a:prstGeom prst="rect">
              <a:avLst/>
            </a:prstGeom>
            <a:grp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9" tIns="45720" rIns="91439" bIns="45720" numCol="1" spcCol="0" rtlCol="0" fromWordArt="0" anchor="ctr" anchorCtr="0" forceAA="0" compatLnSpc="1">
              <a:prstTxWarp prst="textNoShape">
                <a:avLst/>
              </a:prstTxWarp>
              <a:noAutofit/>
            </a:bodyPr>
            <a:lstStyle/>
            <a:p>
              <a:pPr algn="ctr" defTabSz="1228949"/>
              <a:endParaRPr lang="en-US" dirty="0" err="1">
                <a:solidFill>
                  <a:srgbClr val="FFFFFF"/>
                </a:solidFill>
                <a:latin typeface="Arial" panose="020B0604020202020204"/>
              </a:endParaRPr>
            </a:p>
          </p:txBody>
        </p:sp>
        <p:sp>
          <p:nvSpPr>
            <p:cNvPr id="30" name="Rectangle 29">
              <a:extLst>
                <a:ext uri="{FF2B5EF4-FFF2-40B4-BE49-F238E27FC236}">
                  <a16:creationId xmlns:a16="http://schemas.microsoft.com/office/drawing/2014/main" id="{B901F080-3013-3F42-B0BF-00102CE1252F}"/>
                </a:ext>
              </a:extLst>
            </p:cNvPr>
            <p:cNvSpPr/>
            <p:nvPr/>
          </p:nvSpPr>
          <p:spPr>
            <a:xfrm>
              <a:off x="1565329" y="3004283"/>
              <a:ext cx="309966" cy="201478"/>
            </a:xfrm>
            <a:prstGeom prst="rect">
              <a:avLst/>
            </a:prstGeom>
            <a:grp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9" tIns="45720" rIns="91439" bIns="45720" numCol="1" spcCol="0" rtlCol="0" fromWordArt="0" anchor="ctr" anchorCtr="0" forceAA="0" compatLnSpc="1">
              <a:prstTxWarp prst="textNoShape">
                <a:avLst/>
              </a:prstTxWarp>
              <a:noAutofit/>
            </a:bodyPr>
            <a:lstStyle/>
            <a:p>
              <a:pPr algn="ctr" defTabSz="1228949"/>
              <a:endParaRPr lang="en-US" dirty="0" err="1">
                <a:solidFill>
                  <a:srgbClr val="FFFFFF"/>
                </a:solidFill>
                <a:latin typeface="Arial" panose="020B0604020202020204"/>
              </a:endParaRPr>
            </a:p>
          </p:txBody>
        </p:sp>
        <p:sp>
          <p:nvSpPr>
            <p:cNvPr id="31" name="Rectangle 30">
              <a:extLst>
                <a:ext uri="{FF2B5EF4-FFF2-40B4-BE49-F238E27FC236}">
                  <a16:creationId xmlns:a16="http://schemas.microsoft.com/office/drawing/2014/main" id="{23393BEE-6439-DC4B-B5FF-7705BA487FD7}"/>
                </a:ext>
              </a:extLst>
            </p:cNvPr>
            <p:cNvSpPr/>
            <p:nvPr/>
          </p:nvSpPr>
          <p:spPr>
            <a:xfrm>
              <a:off x="1875295" y="3004283"/>
              <a:ext cx="309966" cy="201478"/>
            </a:xfrm>
            <a:prstGeom prst="rect">
              <a:avLst/>
            </a:prstGeom>
            <a:grp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9" tIns="45720" rIns="91439" bIns="45720" numCol="1" spcCol="0" rtlCol="0" fromWordArt="0" anchor="ctr" anchorCtr="0" forceAA="0" compatLnSpc="1">
              <a:prstTxWarp prst="textNoShape">
                <a:avLst/>
              </a:prstTxWarp>
              <a:noAutofit/>
            </a:bodyPr>
            <a:lstStyle/>
            <a:p>
              <a:pPr algn="ctr" defTabSz="1228949"/>
              <a:endParaRPr lang="en-US" dirty="0" err="1">
                <a:solidFill>
                  <a:srgbClr val="FFFFFF"/>
                </a:solidFill>
                <a:latin typeface="Arial" panose="020B0604020202020204"/>
              </a:endParaRPr>
            </a:p>
          </p:txBody>
        </p:sp>
        <p:sp>
          <p:nvSpPr>
            <p:cNvPr id="32" name="Rectangle 31">
              <a:extLst>
                <a:ext uri="{FF2B5EF4-FFF2-40B4-BE49-F238E27FC236}">
                  <a16:creationId xmlns:a16="http://schemas.microsoft.com/office/drawing/2014/main" id="{71DE6C26-3382-4D42-AC08-AF85D4B72555}"/>
                </a:ext>
              </a:extLst>
            </p:cNvPr>
            <p:cNvSpPr/>
            <p:nvPr/>
          </p:nvSpPr>
          <p:spPr>
            <a:xfrm>
              <a:off x="2193010" y="3004283"/>
              <a:ext cx="309966" cy="201478"/>
            </a:xfrm>
            <a:prstGeom prst="rect">
              <a:avLst/>
            </a:prstGeom>
            <a:grp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9" tIns="45720" rIns="91439" bIns="45720" numCol="1" spcCol="0" rtlCol="0" fromWordArt="0" anchor="ctr" anchorCtr="0" forceAA="0" compatLnSpc="1">
              <a:prstTxWarp prst="textNoShape">
                <a:avLst/>
              </a:prstTxWarp>
              <a:noAutofit/>
            </a:bodyPr>
            <a:lstStyle/>
            <a:p>
              <a:pPr algn="ctr" defTabSz="1228949"/>
              <a:endParaRPr lang="en-US" dirty="0" err="1">
                <a:solidFill>
                  <a:srgbClr val="FFFFFF"/>
                </a:solidFill>
                <a:latin typeface="Arial" panose="020B0604020202020204"/>
              </a:endParaRPr>
            </a:p>
          </p:txBody>
        </p:sp>
        <p:sp>
          <p:nvSpPr>
            <p:cNvPr id="33" name="Rectangle 32">
              <a:extLst>
                <a:ext uri="{FF2B5EF4-FFF2-40B4-BE49-F238E27FC236}">
                  <a16:creationId xmlns:a16="http://schemas.microsoft.com/office/drawing/2014/main" id="{5E0DA8DA-5B4B-2E4E-8B3A-C2F63966005D}"/>
                </a:ext>
              </a:extLst>
            </p:cNvPr>
            <p:cNvSpPr/>
            <p:nvPr/>
          </p:nvSpPr>
          <p:spPr>
            <a:xfrm>
              <a:off x="2502977" y="3004283"/>
              <a:ext cx="309966" cy="201478"/>
            </a:xfrm>
            <a:prstGeom prst="rect">
              <a:avLst/>
            </a:prstGeom>
            <a:grp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9" tIns="45720" rIns="91439" bIns="45720" numCol="1" spcCol="0" rtlCol="0" fromWordArt="0" anchor="ctr" anchorCtr="0" forceAA="0" compatLnSpc="1">
              <a:prstTxWarp prst="textNoShape">
                <a:avLst/>
              </a:prstTxWarp>
              <a:noAutofit/>
            </a:bodyPr>
            <a:lstStyle/>
            <a:p>
              <a:pPr algn="ctr" defTabSz="1228949"/>
              <a:endParaRPr lang="en-US" dirty="0" err="1">
                <a:solidFill>
                  <a:srgbClr val="FFFFFF"/>
                </a:solidFill>
                <a:latin typeface="Arial" panose="020B0604020202020204"/>
              </a:endParaRPr>
            </a:p>
          </p:txBody>
        </p:sp>
        <p:sp>
          <p:nvSpPr>
            <p:cNvPr id="34" name="Rectangle 33">
              <a:extLst>
                <a:ext uri="{FF2B5EF4-FFF2-40B4-BE49-F238E27FC236}">
                  <a16:creationId xmlns:a16="http://schemas.microsoft.com/office/drawing/2014/main" id="{63969A3D-E222-7D4D-A814-F3CB17BE8997}"/>
                </a:ext>
              </a:extLst>
            </p:cNvPr>
            <p:cNvSpPr/>
            <p:nvPr/>
          </p:nvSpPr>
          <p:spPr>
            <a:xfrm>
              <a:off x="2812943" y="3004283"/>
              <a:ext cx="309966" cy="201478"/>
            </a:xfrm>
            <a:prstGeom prst="rect">
              <a:avLst/>
            </a:prstGeom>
            <a:grp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9" tIns="45720" rIns="91439" bIns="45720" numCol="1" spcCol="0" rtlCol="0" fromWordArt="0" anchor="ctr" anchorCtr="0" forceAA="0" compatLnSpc="1">
              <a:prstTxWarp prst="textNoShape">
                <a:avLst/>
              </a:prstTxWarp>
              <a:noAutofit/>
            </a:bodyPr>
            <a:lstStyle/>
            <a:p>
              <a:pPr algn="ctr" defTabSz="1228949"/>
              <a:endParaRPr lang="en-US" dirty="0" err="1">
                <a:solidFill>
                  <a:srgbClr val="FFFFFF"/>
                </a:solidFill>
                <a:latin typeface="Arial" panose="020B0604020202020204"/>
              </a:endParaRPr>
            </a:p>
          </p:txBody>
        </p:sp>
        <p:sp>
          <p:nvSpPr>
            <p:cNvPr id="35" name="Rectangle 34">
              <a:extLst>
                <a:ext uri="{FF2B5EF4-FFF2-40B4-BE49-F238E27FC236}">
                  <a16:creationId xmlns:a16="http://schemas.microsoft.com/office/drawing/2014/main" id="{5E8855AC-FA34-D648-9AB5-C3B1A1400CCA}"/>
                </a:ext>
              </a:extLst>
            </p:cNvPr>
            <p:cNvSpPr/>
            <p:nvPr/>
          </p:nvSpPr>
          <p:spPr>
            <a:xfrm>
              <a:off x="3130658" y="3004283"/>
              <a:ext cx="309966" cy="201478"/>
            </a:xfrm>
            <a:prstGeom prst="rect">
              <a:avLst/>
            </a:prstGeom>
            <a:grp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9" tIns="45720" rIns="91439" bIns="45720" numCol="1" spcCol="0" rtlCol="0" fromWordArt="0" anchor="ctr" anchorCtr="0" forceAA="0" compatLnSpc="1">
              <a:prstTxWarp prst="textNoShape">
                <a:avLst/>
              </a:prstTxWarp>
              <a:noAutofit/>
            </a:bodyPr>
            <a:lstStyle/>
            <a:p>
              <a:pPr algn="ctr" defTabSz="1228949"/>
              <a:endParaRPr lang="en-US" dirty="0" err="1">
                <a:solidFill>
                  <a:srgbClr val="FFFFFF"/>
                </a:solidFill>
                <a:latin typeface="Arial" panose="020B0604020202020204"/>
              </a:endParaRPr>
            </a:p>
          </p:txBody>
        </p:sp>
        <p:sp>
          <p:nvSpPr>
            <p:cNvPr id="36" name="Rectangle 35">
              <a:extLst>
                <a:ext uri="{FF2B5EF4-FFF2-40B4-BE49-F238E27FC236}">
                  <a16:creationId xmlns:a16="http://schemas.microsoft.com/office/drawing/2014/main" id="{A25A1C74-1AEC-704F-A537-EA4228326475}"/>
                </a:ext>
              </a:extLst>
            </p:cNvPr>
            <p:cNvSpPr/>
            <p:nvPr/>
          </p:nvSpPr>
          <p:spPr>
            <a:xfrm>
              <a:off x="3452248" y="2802805"/>
              <a:ext cx="309966" cy="201478"/>
            </a:xfrm>
            <a:prstGeom prst="rect">
              <a:avLst/>
            </a:prstGeom>
            <a:grp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9" tIns="45720" rIns="91439" bIns="45720" numCol="1" spcCol="0" rtlCol="0" fromWordArt="0" anchor="ctr" anchorCtr="0" forceAA="0" compatLnSpc="1">
              <a:prstTxWarp prst="textNoShape">
                <a:avLst/>
              </a:prstTxWarp>
              <a:noAutofit/>
            </a:bodyPr>
            <a:lstStyle/>
            <a:p>
              <a:pPr algn="ctr" defTabSz="1228949"/>
              <a:endParaRPr lang="en-US" dirty="0" err="1">
                <a:solidFill>
                  <a:srgbClr val="FFFFFF"/>
                </a:solidFill>
                <a:latin typeface="Arial" panose="020B0604020202020204"/>
              </a:endParaRPr>
            </a:p>
          </p:txBody>
        </p:sp>
        <p:sp>
          <p:nvSpPr>
            <p:cNvPr id="37" name="Rectangle 36">
              <a:extLst>
                <a:ext uri="{FF2B5EF4-FFF2-40B4-BE49-F238E27FC236}">
                  <a16:creationId xmlns:a16="http://schemas.microsoft.com/office/drawing/2014/main" id="{DC61A2C0-0BED-DB4E-9F50-7CAB6521532D}"/>
                </a:ext>
              </a:extLst>
            </p:cNvPr>
            <p:cNvSpPr/>
            <p:nvPr/>
          </p:nvSpPr>
          <p:spPr>
            <a:xfrm>
              <a:off x="3769963" y="2802805"/>
              <a:ext cx="309966" cy="201478"/>
            </a:xfrm>
            <a:prstGeom prst="rect">
              <a:avLst/>
            </a:prstGeom>
            <a:grp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9" tIns="45720" rIns="91439" bIns="45720" numCol="1" spcCol="0" rtlCol="0" fromWordArt="0" anchor="ctr" anchorCtr="0" forceAA="0" compatLnSpc="1">
              <a:prstTxWarp prst="textNoShape">
                <a:avLst/>
              </a:prstTxWarp>
              <a:noAutofit/>
            </a:bodyPr>
            <a:lstStyle/>
            <a:p>
              <a:pPr algn="ctr" defTabSz="1228949"/>
              <a:endParaRPr lang="en-US" dirty="0" err="1">
                <a:solidFill>
                  <a:srgbClr val="FFFFFF"/>
                </a:solidFill>
                <a:latin typeface="Arial" panose="020B0604020202020204"/>
              </a:endParaRPr>
            </a:p>
          </p:txBody>
        </p:sp>
        <p:sp>
          <p:nvSpPr>
            <p:cNvPr id="38" name="Rectangle 37">
              <a:extLst>
                <a:ext uri="{FF2B5EF4-FFF2-40B4-BE49-F238E27FC236}">
                  <a16:creationId xmlns:a16="http://schemas.microsoft.com/office/drawing/2014/main" id="{743BF04D-70B8-824B-A10B-61E131969BB6}"/>
                </a:ext>
              </a:extLst>
            </p:cNvPr>
            <p:cNvSpPr/>
            <p:nvPr/>
          </p:nvSpPr>
          <p:spPr>
            <a:xfrm>
              <a:off x="3452248" y="3004283"/>
              <a:ext cx="309966" cy="201478"/>
            </a:xfrm>
            <a:prstGeom prst="rect">
              <a:avLst/>
            </a:prstGeom>
            <a:grp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9" tIns="45720" rIns="91439" bIns="45720" numCol="1" spcCol="0" rtlCol="0" fromWordArt="0" anchor="ctr" anchorCtr="0" forceAA="0" compatLnSpc="1">
              <a:prstTxWarp prst="textNoShape">
                <a:avLst/>
              </a:prstTxWarp>
              <a:noAutofit/>
            </a:bodyPr>
            <a:lstStyle/>
            <a:p>
              <a:pPr algn="ctr" defTabSz="1228949"/>
              <a:endParaRPr lang="en-US" dirty="0" err="1">
                <a:solidFill>
                  <a:srgbClr val="FFFFFF"/>
                </a:solidFill>
                <a:latin typeface="Arial" panose="020B0604020202020204"/>
              </a:endParaRPr>
            </a:p>
          </p:txBody>
        </p:sp>
        <p:sp>
          <p:nvSpPr>
            <p:cNvPr id="39" name="Rectangle 38">
              <a:extLst>
                <a:ext uri="{FF2B5EF4-FFF2-40B4-BE49-F238E27FC236}">
                  <a16:creationId xmlns:a16="http://schemas.microsoft.com/office/drawing/2014/main" id="{1722921D-C1C5-0B48-A057-50A0041C51D7}"/>
                </a:ext>
              </a:extLst>
            </p:cNvPr>
            <p:cNvSpPr/>
            <p:nvPr/>
          </p:nvSpPr>
          <p:spPr>
            <a:xfrm>
              <a:off x="3769963" y="3004283"/>
              <a:ext cx="309966" cy="201478"/>
            </a:xfrm>
            <a:prstGeom prst="rect">
              <a:avLst/>
            </a:prstGeom>
            <a:grp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9" tIns="45720" rIns="91439" bIns="45720" numCol="1" spcCol="0" rtlCol="0" fromWordArt="0" anchor="ctr" anchorCtr="0" forceAA="0" compatLnSpc="1">
              <a:prstTxWarp prst="textNoShape">
                <a:avLst/>
              </a:prstTxWarp>
              <a:noAutofit/>
            </a:bodyPr>
            <a:lstStyle/>
            <a:p>
              <a:pPr algn="ctr" defTabSz="1228949"/>
              <a:endParaRPr lang="en-US" dirty="0" err="1">
                <a:solidFill>
                  <a:srgbClr val="FFFFFF"/>
                </a:solidFill>
                <a:latin typeface="Arial" panose="020B0604020202020204"/>
              </a:endParaRPr>
            </a:p>
          </p:txBody>
        </p:sp>
        <p:sp>
          <p:nvSpPr>
            <p:cNvPr id="40" name="Rectangle 39">
              <a:extLst>
                <a:ext uri="{FF2B5EF4-FFF2-40B4-BE49-F238E27FC236}">
                  <a16:creationId xmlns:a16="http://schemas.microsoft.com/office/drawing/2014/main" id="{CD7979FA-48B0-3046-981C-73EA1357D1E6}"/>
                </a:ext>
              </a:extLst>
            </p:cNvPr>
            <p:cNvSpPr/>
            <p:nvPr/>
          </p:nvSpPr>
          <p:spPr>
            <a:xfrm>
              <a:off x="1565329" y="3205761"/>
              <a:ext cx="309966" cy="201478"/>
            </a:xfrm>
            <a:prstGeom prst="rect">
              <a:avLst/>
            </a:prstGeom>
            <a:grp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9" tIns="45720" rIns="91439" bIns="45720" numCol="1" spcCol="0" rtlCol="0" fromWordArt="0" anchor="ctr" anchorCtr="0" forceAA="0" compatLnSpc="1">
              <a:prstTxWarp prst="textNoShape">
                <a:avLst/>
              </a:prstTxWarp>
              <a:noAutofit/>
            </a:bodyPr>
            <a:lstStyle/>
            <a:p>
              <a:pPr algn="ctr" defTabSz="1228949"/>
              <a:endParaRPr lang="en-US" dirty="0" err="1">
                <a:solidFill>
                  <a:srgbClr val="FFFFFF"/>
                </a:solidFill>
                <a:latin typeface="Arial" panose="020B0604020202020204"/>
              </a:endParaRPr>
            </a:p>
          </p:txBody>
        </p:sp>
        <p:sp>
          <p:nvSpPr>
            <p:cNvPr id="41" name="Rectangle 40">
              <a:extLst>
                <a:ext uri="{FF2B5EF4-FFF2-40B4-BE49-F238E27FC236}">
                  <a16:creationId xmlns:a16="http://schemas.microsoft.com/office/drawing/2014/main" id="{D4EC9E33-041D-3E42-A244-BB47EAE04E34}"/>
                </a:ext>
              </a:extLst>
            </p:cNvPr>
            <p:cNvSpPr/>
            <p:nvPr/>
          </p:nvSpPr>
          <p:spPr>
            <a:xfrm>
              <a:off x="1875295" y="3205761"/>
              <a:ext cx="309966" cy="201478"/>
            </a:xfrm>
            <a:prstGeom prst="rect">
              <a:avLst/>
            </a:prstGeom>
            <a:grp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9" tIns="45720" rIns="91439" bIns="45720" numCol="1" spcCol="0" rtlCol="0" fromWordArt="0" anchor="ctr" anchorCtr="0" forceAA="0" compatLnSpc="1">
              <a:prstTxWarp prst="textNoShape">
                <a:avLst/>
              </a:prstTxWarp>
              <a:noAutofit/>
            </a:bodyPr>
            <a:lstStyle/>
            <a:p>
              <a:pPr algn="ctr" defTabSz="1228949"/>
              <a:endParaRPr lang="en-US" dirty="0" err="1">
                <a:solidFill>
                  <a:srgbClr val="FFFFFF"/>
                </a:solidFill>
                <a:latin typeface="Arial" panose="020B0604020202020204"/>
              </a:endParaRPr>
            </a:p>
          </p:txBody>
        </p:sp>
        <p:sp>
          <p:nvSpPr>
            <p:cNvPr id="42" name="Rectangle 41">
              <a:extLst>
                <a:ext uri="{FF2B5EF4-FFF2-40B4-BE49-F238E27FC236}">
                  <a16:creationId xmlns:a16="http://schemas.microsoft.com/office/drawing/2014/main" id="{84CC185D-1F15-3C43-8CFC-D1FDB6B796D7}"/>
                </a:ext>
              </a:extLst>
            </p:cNvPr>
            <p:cNvSpPr/>
            <p:nvPr/>
          </p:nvSpPr>
          <p:spPr>
            <a:xfrm>
              <a:off x="2193010" y="3205761"/>
              <a:ext cx="309966" cy="201478"/>
            </a:xfrm>
            <a:prstGeom prst="rect">
              <a:avLst/>
            </a:prstGeom>
            <a:grp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9" tIns="45720" rIns="91439" bIns="45720" numCol="1" spcCol="0" rtlCol="0" fromWordArt="0" anchor="ctr" anchorCtr="0" forceAA="0" compatLnSpc="1">
              <a:prstTxWarp prst="textNoShape">
                <a:avLst/>
              </a:prstTxWarp>
              <a:noAutofit/>
            </a:bodyPr>
            <a:lstStyle/>
            <a:p>
              <a:pPr algn="ctr" defTabSz="1228949"/>
              <a:endParaRPr lang="en-US" dirty="0" err="1">
                <a:solidFill>
                  <a:srgbClr val="FFFFFF"/>
                </a:solidFill>
                <a:latin typeface="Arial" panose="020B0604020202020204"/>
              </a:endParaRPr>
            </a:p>
          </p:txBody>
        </p:sp>
        <p:sp>
          <p:nvSpPr>
            <p:cNvPr id="43" name="Rectangle 42">
              <a:extLst>
                <a:ext uri="{FF2B5EF4-FFF2-40B4-BE49-F238E27FC236}">
                  <a16:creationId xmlns:a16="http://schemas.microsoft.com/office/drawing/2014/main" id="{7A6FB4FA-B54A-BA4A-85AE-921A0E305CE5}"/>
                </a:ext>
              </a:extLst>
            </p:cNvPr>
            <p:cNvSpPr/>
            <p:nvPr/>
          </p:nvSpPr>
          <p:spPr>
            <a:xfrm>
              <a:off x="2502977" y="3205761"/>
              <a:ext cx="309966" cy="201478"/>
            </a:xfrm>
            <a:prstGeom prst="rect">
              <a:avLst/>
            </a:prstGeom>
            <a:grp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9" tIns="45720" rIns="91439" bIns="45720" numCol="1" spcCol="0" rtlCol="0" fromWordArt="0" anchor="ctr" anchorCtr="0" forceAA="0" compatLnSpc="1">
              <a:prstTxWarp prst="textNoShape">
                <a:avLst/>
              </a:prstTxWarp>
              <a:noAutofit/>
            </a:bodyPr>
            <a:lstStyle/>
            <a:p>
              <a:pPr algn="ctr" defTabSz="1228949"/>
              <a:endParaRPr lang="en-US" dirty="0" err="1">
                <a:solidFill>
                  <a:srgbClr val="FFFFFF"/>
                </a:solidFill>
                <a:latin typeface="Arial" panose="020B0604020202020204"/>
              </a:endParaRPr>
            </a:p>
          </p:txBody>
        </p:sp>
        <p:sp>
          <p:nvSpPr>
            <p:cNvPr id="44" name="Rectangle 43">
              <a:extLst>
                <a:ext uri="{FF2B5EF4-FFF2-40B4-BE49-F238E27FC236}">
                  <a16:creationId xmlns:a16="http://schemas.microsoft.com/office/drawing/2014/main" id="{CDAB8832-03EA-064E-AD4F-6A212C05F446}"/>
                </a:ext>
              </a:extLst>
            </p:cNvPr>
            <p:cNvSpPr/>
            <p:nvPr/>
          </p:nvSpPr>
          <p:spPr>
            <a:xfrm>
              <a:off x="2812943" y="3205761"/>
              <a:ext cx="309966" cy="201478"/>
            </a:xfrm>
            <a:prstGeom prst="rect">
              <a:avLst/>
            </a:prstGeom>
            <a:grp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9" tIns="45720" rIns="91439" bIns="45720" numCol="1" spcCol="0" rtlCol="0" fromWordArt="0" anchor="ctr" anchorCtr="0" forceAA="0" compatLnSpc="1">
              <a:prstTxWarp prst="textNoShape">
                <a:avLst/>
              </a:prstTxWarp>
              <a:noAutofit/>
            </a:bodyPr>
            <a:lstStyle/>
            <a:p>
              <a:pPr algn="ctr" defTabSz="1228949"/>
              <a:endParaRPr lang="en-US" dirty="0" err="1">
                <a:solidFill>
                  <a:srgbClr val="FFFFFF"/>
                </a:solidFill>
                <a:latin typeface="Arial" panose="020B0604020202020204"/>
              </a:endParaRPr>
            </a:p>
          </p:txBody>
        </p:sp>
        <p:sp>
          <p:nvSpPr>
            <p:cNvPr id="45" name="Rectangle 44">
              <a:extLst>
                <a:ext uri="{FF2B5EF4-FFF2-40B4-BE49-F238E27FC236}">
                  <a16:creationId xmlns:a16="http://schemas.microsoft.com/office/drawing/2014/main" id="{F1549E25-0D87-B44A-88BA-E5B04278B235}"/>
                </a:ext>
              </a:extLst>
            </p:cNvPr>
            <p:cNvSpPr/>
            <p:nvPr/>
          </p:nvSpPr>
          <p:spPr>
            <a:xfrm>
              <a:off x="3130658" y="3205761"/>
              <a:ext cx="309966" cy="201478"/>
            </a:xfrm>
            <a:prstGeom prst="rect">
              <a:avLst/>
            </a:prstGeom>
            <a:grp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9" tIns="45720" rIns="91439" bIns="45720" numCol="1" spcCol="0" rtlCol="0" fromWordArt="0" anchor="ctr" anchorCtr="0" forceAA="0" compatLnSpc="1">
              <a:prstTxWarp prst="textNoShape">
                <a:avLst/>
              </a:prstTxWarp>
              <a:noAutofit/>
            </a:bodyPr>
            <a:lstStyle/>
            <a:p>
              <a:pPr algn="ctr" defTabSz="1228949"/>
              <a:endParaRPr lang="en-US" dirty="0" err="1">
                <a:solidFill>
                  <a:srgbClr val="FFFFFF"/>
                </a:solidFill>
                <a:latin typeface="Arial" panose="020B0604020202020204"/>
              </a:endParaRPr>
            </a:p>
          </p:txBody>
        </p:sp>
        <p:sp>
          <p:nvSpPr>
            <p:cNvPr id="46" name="Rectangle 45">
              <a:extLst>
                <a:ext uri="{FF2B5EF4-FFF2-40B4-BE49-F238E27FC236}">
                  <a16:creationId xmlns:a16="http://schemas.microsoft.com/office/drawing/2014/main" id="{4E4EB181-F016-3348-9AFD-EE982A03FFB2}"/>
                </a:ext>
              </a:extLst>
            </p:cNvPr>
            <p:cNvSpPr/>
            <p:nvPr/>
          </p:nvSpPr>
          <p:spPr>
            <a:xfrm>
              <a:off x="1565329" y="3407239"/>
              <a:ext cx="309966" cy="201478"/>
            </a:xfrm>
            <a:prstGeom prst="rect">
              <a:avLst/>
            </a:prstGeom>
            <a:grp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9" tIns="45720" rIns="91439" bIns="45720" numCol="1" spcCol="0" rtlCol="0" fromWordArt="0" anchor="ctr" anchorCtr="0" forceAA="0" compatLnSpc="1">
              <a:prstTxWarp prst="textNoShape">
                <a:avLst/>
              </a:prstTxWarp>
              <a:noAutofit/>
            </a:bodyPr>
            <a:lstStyle/>
            <a:p>
              <a:pPr algn="ctr" defTabSz="1228949"/>
              <a:endParaRPr lang="en-US" dirty="0" err="1">
                <a:solidFill>
                  <a:srgbClr val="FFFFFF"/>
                </a:solidFill>
                <a:latin typeface="Arial" panose="020B0604020202020204"/>
              </a:endParaRPr>
            </a:p>
          </p:txBody>
        </p:sp>
        <p:sp>
          <p:nvSpPr>
            <p:cNvPr id="47" name="Rectangle 46">
              <a:extLst>
                <a:ext uri="{FF2B5EF4-FFF2-40B4-BE49-F238E27FC236}">
                  <a16:creationId xmlns:a16="http://schemas.microsoft.com/office/drawing/2014/main" id="{D77E2C90-3F5D-2342-8AB9-F5BF928613AB}"/>
                </a:ext>
              </a:extLst>
            </p:cNvPr>
            <p:cNvSpPr/>
            <p:nvPr/>
          </p:nvSpPr>
          <p:spPr>
            <a:xfrm>
              <a:off x="1875295" y="3407239"/>
              <a:ext cx="309966" cy="201478"/>
            </a:xfrm>
            <a:prstGeom prst="rect">
              <a:avLst/>
            </a:prstGeom>
            <a:grp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9" tIns="45720" rIns="91439" bIns="45720" numCol="1" spcCol="0" rtlCol="0" fromWordArt="0" anchor="ctr" anchorCtr="0" forceAA="0" compatLnSpc="1">
              <a:prstTxWarp prst="textNoShape">
                <a:avLst/>
              </a:prstTxWarp>
              <a:noAutofit/>
            </a:bodyPr>
            <a:lstStyle/>
            <a:p>
              <a:pPr algn="ctr" defTabSz="1228949"/>
              <a:endParaRPr lang="en-US" dirty="0" err="1">
                <a:solidFill>
                  <a:srgbClr val="FFFFFF"/>
                </a:solidFill>
                <a:latin typeface="Arial" panose="020B0604020202020204"/>
              </a:endParaRPr>
            </a:p>
          </p:txBody>
        </p:sp>
        <p:sp>
          <p:nvSpPr>
            <p:cNvPr id="48" name="Rectangle 47">
              <a:extLst>
                <a:ext uri="{FF2B5EF4-FFF2-40B4-BE49-F238E27FC236}">
                  <a16:creationId xmlns:a16="http://schemas.microsoft.com/office/drawing/2014/main" id="{04E11180-6FB5-EB48-A2FE-D6002A75C58C}"/>
                </a:ext>
              </a:extLst>
            </p:cNvPr>
            <p:cNvSpPr/>
            <p:nvPr/>
          </p:nvSpPr>
          <p:spPr>
            <a:xfrm>
              <a:off x="2193010" y="3407239"/>
              <a:ext cx="309966" cy="201478"/>
            </a:xfrm>
            <a:prstGeom prst="rect">
              <a:avLst/>
            </a:prstGeom>
            <a:grp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9" tIns="45720" rIns="91439" bIns="45720" numCol="1" spcCol="0" rtlCol="0" fromWordArt="0" anchor="ctr" anchorCtr="0" forceAA="0" compatLnSpc="1">
              <a:prstTxWarp prst="textNoShape">
                <a:avLst/>
              </a:prstTxWarp>
              <a:noAutofit/>
            </a:bodyPr>
            <a:lstStyle/>
            <a:p>
              <a:pPr algn="ctr" defTabSz="1228949"/>
              <a:endParaRPr lang="en-US" dirty="0" err="1">
                <a:solidFill>
                  <a:srgbClr val="FFFFFF"/>
                </a:solidFill>
                <a:latin typeface="Arial" panose="020B0604020202020204"/>
              </a:endParaRPr>
            </a:p>
          </p:txBody>
        </p:sp>
        <p:sp>
          <p:nvSpPr>
            <p:cNvPr id="49" name="Rectangle 48">
              <a:extLst>
                <a:ext uri="{FF2B5EF4-FFF2-40B4-BE49-F238E27FC236}">
                  <a16:creationId xmlns:a16="http://schemas.microsoft.com/office/drawing/2014/main" id="{5665F9C4-5060-314A-84D9-E58E94C43F40}"/>
                </a:ext>
              </a:extLst>
            </p:cNvPr>
            <p:cNvSpPr/>
            <p:nvPr/>
          </p:nvSpPr>
          <p:spPr>
            <a:xfrm>
              <a:off x="2502977" y="3407239"/>
              <a:ext cx="309966" cy="201478"/>
            </a:xfrm>
            <a:prstGeom prst="rect">
              <a:avLst/>
            </a:prstGeom>
            <a:grp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9" tIns="45720" rIns="91439" bIns="45720" numCol="1" spcCol="0" rtlCol="0" fromWordArt="0" anchor="ctr" anchorCtr="0" forceAA="0" compatLnSpc="1">
              <a:prstTxWarp prst="textNoShape">
                <a:avLst/>
              </a:prstTxWarp>
              <a:noAutofit/>
            </a:bodyPr>
            <a:lstStyle/>
            <a:p>
              <a:pPr algn="ctr" defTabSz="1228949"/>
              <a:endParaRPr lang="en-US" dirty="0" err="1">
                <a:solidFill>
                  <a:srgbClr val="FFFFFF"/>
                </a:solidFill>
                <a:latin typeface="Arial" panose="020B0604020202020204"/>
              </a:endParaRPr>
            </a:p>
          </p:txBody>
        </p:sp>
        <p:sp>
          <p:nvSpPr>
            <p:cNvPr id="50" name="Rectangle 49">
              <a:extLst>
                <a:ext uri="{FF2B5EF4-FFF2-40B4-BE49-F238E27FC236}">
                  <a16:creationId xmlns:a16="http://schemas.microsoft.com/office/drawing/2014/main" id="{BF38729B-84AC-114D-94AB-3A41BE15BD9D}"/>
                </a:ext>
              </a:extLst>
            </p:cNvPr>
            <p:cNvSpPr/>
            <p:nvPr/>
          </p:nvSpPr>
          <p:spPr>
            <a:xfrm>
              <a:off x="2812943" y="3407239"/>
              <a:ext cx="309966" cy="201478"/>
            </a:xfrm>
            <a:prstGeom prst="rect">
              <a:avLst/>
            </a:prstGeom>
            <a:grp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9" tIns="45720" rIns="91439" bIns="45720" numCol="1" spcCol="0" rtlCol="0" fromWordArt="0" anchor="ctr" anchorCtr="0" forceAA="0" compatLnSpc="1">
              <a:prstTxWarp prst="textNoShape">
                <a:avLst/>
              </a:prstTxWarp>
              <a:noAutofit/>
            </a:bodyPr>
            <a:lstStyle/>
            <a:p>
              <a:pPr algn="ctr" defTabSz="1228949"/>
              <a:endParaRPr lang="en-US" dirty="0" err="1">
                <a:solidFill>
                  <a:srgbClr val="FFFFFF"/>
                </a:solidFill>
                <a:latin typeface="Arial" panose="020B0604020202020204"/>
              </a:endParaRPr>
            </a:p>
          </p:txBody>
        </p:sp>
        <p:sp>
          <p:nvSpPr>
            <p:cNvPr id="51" name="Rectangle 50">
              <a:extLst>
                <a:ext uri="{FF2B5EF4-FFF2-40B4-BE49-F238E27FC236}">
                  <a16:creationId xmlns:a16="http://schemas.microsoft.com/office/drawing/2014/main" id="{357F0ECB-6CCD-414B-A9D7-95F997240A54}"/>
                </a:ext>
              </a:extLst>
            </p:cNvPr>
            <p:cNvSpPr/>
            <p:nvPr/>
          </p:nvSpPr>
          <p:spPr>
            <a:xfrm>
              <a:off x="3130658" y="3407239"/>
              <a:ext cx="309966" cy="201478"/>
            </a:xfrm>
            <a:prstGeom prst="rect">
              <a:avLst/>
            </a:prstGeom>
            <a:grp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9" tIns="45720" rIns="91439" bIns="45720" numCol="1" spcCol="0" rtlCol="0" fromWordArt="0" anchor="ctr" anchorCtr="0" forceAA="0" compatLnSpc="1">
              <a:prstTxWarp prst="textNoShape">
                <a:avLst/>
              </a:prstTxWarp>
              <a:noAutofit/>
            </a:bodyPr>
            <a:lstStyle/>
            <a:p>
              <a:pPr algn="ctr" defTabSz="1228949"/>
              <a:endParaRPr lang="en-US" dirty="0" err="1">
                <a:solidFill>
                  <a:srgbClr val="FFFFFF"/>
                </a:solidFill>
                <a:latin typeface="Arial" panose="020B0604020202020204"/>
              </a:endParaRPr>
            </a:p>
          </p:txBody>
        </p:sp>
        <p:sp>
          <p:nvSpPr>
            <p:cNvPr id="52" name="Rectangle 51">
              <a:extLst>
                <a:ext uri="{FF2B5EF4-FFF2-40B4-BE49-F238E27FC236}">
                  <a16:creationId xmlns:a16="http://schemas.microsoft.com/office/drawing/2014/main" id="{577FDDB8-AD4D-2F4C-884E-E2375A794938}"/>
                </a:ext>
              </a:extLst>
            </p:cNvPr>
            <p:cNvSpPr/>
            <p:nvPr/>
          </p:nvSpPr>
          <p:spPr>
            <a:xfrm>
              <a:off x="3452248" y="3205761"/>
              <a:ext cx="309966" cy="201478"/>
            </a:xfrm>
            <a:prstGeom prst="rect">
              <a:avLst/>
            </a:prstGeom>
            <a:grp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9" tIns="45720" rIns="91439" bIns="45720" numCol="1" spcCol="0" rtlCol="0" fromWordArt="0" anchor="ctr" anchorCtr="0" forceAA="0" compatLnSpc="1">
              <a:prstTxWarp prst="textNoShape">
                <a:avLst/>
              </a:prstTxWarp>
              <a:noAutofit/>
            </a:bodyPr>
            <a:lstStyle/>
            <a:p>
              <a:pPr algn="ctr" defTabSz="1228949"/>
              <a:endParaRPr lang="en-US" dirty="0" err="1">
                <a:solidFill>
                  <a:srgbClr val="FFFFFF"/>
                </a:solidFill>
                <a:latin typeface="Arial" panose="020B0604020202020204"/>
              </a:endParaRPr>
            </a:p>
          </p:txBody>
        </p:sp>
        <p:sp>
          <p:nvSpPr>
            <p:cNvPr id="53" name="Rectangle 52">
              <a:extLst>
                <a:ext uri="{FF2B5EF4-FFF2-40B4-BE49-F238E27FC236}">
                  <a16:creationId xmlns:a16="http://schemas.microsoft.com/office/drawing/2014/main" id="{A32EEF94-215D-A746-9BD1-6B45D7B7D5F6}"/>
                </a:ext>
              </a:extLst>
            </p:cNvPr>
            <p:cNvSpPr/>
            <p:nvPr/>
          </p:nvSpPr>
          <p:spPr>
            <a:xfrm>
              <a:off x="3769963" y="3205761"/>
              <a:ext cx="309966" cy="201478"/>
            </a:xfrm>
            <a:prstGeom prst="rect">
              <a:avLst/>
            </a:prstGeom>
            <a:grp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9" tIns="45720" rIns="91439" bIns="45720" numCol="1" spcCol="0" rtlCol="0" fromWordArt="0" anchor="ctr" anchorCtr="0" forceAA="0" compatLnSpc="1">
              <a:prstTxWarp prst="textNoShape">
                <a:avLst/>
              </a:prstTxWarp>
              <a:noAutofit/>
            </a:bodyPr>
            <a:lstStyle/>
            <a:p>
              <a:pPr algn="ctr" defTabSz="1228949"/>
              <a:endParaRPr lang="en-US" dirty="0" err="1">
                <a:solidFill>
                  <a:srgbClr val="FFFFFF"/>
                </a:solidFill>
                <a:latin typeface="Arial" panose="020B0604020202020204"/>
              </a:endParaRPr>
            </a:p>
          </p:txBody>
        </p:sp>
        <p:sp>
          <p:nvSpPr>
            <p:cNvPr id="54" name="Rectangle 53">
              <a:extLst>
                <a:ext uri="{FF2B5EF4-FFF2-40B4-BE49-F238E27FC236}">
                  <a16:creationId xmlns:a16="http://schemas.microsoft.com/office/drawing/2014/main" id="{DD275554-ECF9-284D-9A1E-1A011B4B3B23}"/>
                </a:ext>
              </a:extLst>
            </p:cNvPr>
            <p:cNvSpPr/>
            <p:nvPr/>
          </p:nvSpPr>
          <p:spPr>
            <a:xfrm>
              <a:off x="3452248" y="3407239"/>
              <a:ext cx="309966" cy="201478"/>
            </a:xfrm>
            <a:prstGeom prst="rect">
              <a:avLst/>
            </a:prstGeom>
            <a:grp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9" tIns="45720" rIns="91439" bIns="45720" numCol="1" spcCol="0" rtlCol="0" fromWordArt="0" anchor="ctr" anchorCtr="0" forceAA="0" compatLnSpc="1">
              <a:prstTxWarp prst="textNoShape">
                <a:avLst/>
              </a:prstTxWarp>
              <a:noAutofit/>
            </a:bodyPr>
            <a:lstStyle/>
            <a:p>
              <a:pPr algn="ctr" defTabSz="1228949"/>
              <a:endParaRPr lang="en-US" dirty="0" err="1">
                <a:solidFill>
                  <a:srgbClr val="FFFFFF"/>
                </a:solidFill>
                <a:latin typeface="Arial" panose="020B0604020202020204"/>
              </a:endParaRPr>
            </a:p>
          </p:txBody>
        </p:sp>
        <p:sp>
          <p:nvSpPr>
            <p:cNvPr id="55" name="Rectangle 54">
              <a:extLst>
                <a:ext uri="{FF2B5EF4-FFF2-40B4-BE49-F238E27FC236}">
                  <a16:creationId xmlns:a16="http://schemas.microsoft.com/office/drawing/2014/main" id="{847DB0DA-5F12-E246-BB1E-ADBD08DCA7E8}"/>
                </a:ext>
              </a:extLst>
            </p:cNvPr>
            <p:cNvSpPr/>
            <p:nvPr/>
          </p:nvSpPr>
          <p:spPr>
            <a:xfrm>
              <a:off x="3769963" y="3407239"/>
              <a:ext cx="309966" cy="201478"/>
            </a:xfrm>
            <a:prstGeom prst="rect">
              <a:avLst/>
            </a:prstGeom>
            <a:grp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9" tIns="45720" rIns="91439" bIns="45720" numCol="1" spcCol="0" rtlCol="0" fromWordArt="0" anchor="ctr" anchorCtr="0" forceAA="0" compatLnSpc="1">
              <a:prstTxWarp prst="textNoShape">
                <a:avLst/>
              </a:prstTxWarp>
              <a:noAutofit/>
            </a:bodyPr>
            <a:lstStyle/>
            <a:p>
              <a:pPr algn="ctr" defTabSz="1228949"/>
              <a:endParaRPr lang="en-US" dirty="0" err="1">
                <a:solidFill>
                  <a:srgbClr val="FFFFFF"/>
                </a:solidFill>
                <a:latin typeface="Arial" panose="020B0604020202020204"/>
              </a:endParaRPr>
            </a:p>
          </p:txBody>
        </p:sp>
        <p:sp>
          <p:nvSpPr>
            <p:cNvPr id="56" name="Rectangle 55">
              <a:extLst>
                <a:ext uri="{FF2B5EF4-FFF2-40B4-BE49-F238E27FC236}">
                  <a16:creationId xmlns:a16="http://schemas.microsoft.com/office/drawing/2014/main" id="{CBFB863A-4148-234F-AB1B-A28C5B27650C}"/>
                </a:ext>
              </a:extLst>
            </p:cNvPr>
            <p:cNvSpPr/>
            <p:nvPr/>
          </p:nvSpPr>
          <p:spPr>
            <a:xfrm>
              <a:off x="1565329" y="3608717"/>
              <a:ext cx="309966" cy="201478"/>
            </a:xfrm>
            <a:prstGeom prst="rect">
              <a:avLst/>
            </a:prstGeom>
            <a:grp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9" tIns="45720" rIns="91439" bIns="45720" numCol="1" spcCol="0" rtlCol="0" fromWordArt="0" anchor="ctr" anchorCtr="0" forceAA="0" compatLnSpc="1">
              <a:prstTxWarp prst="textNoShape">
                <a:avLst/>
              </a:prstTxWarp>
              <a:noAutofit/>
            </a:bodyPr>
            <a:lstStyle/>
            <a:p>
              <a:pPr algn="ctr" defTabSz="1228949"/>
              <a:endParaRPr lang="en-US" dirty="0" err="1">
                <a:solidFill>
                  <a:srgbClr val="FFFFFF"/>
                </a:solidFill>
                <a:latin typeface="Arial" panose="020B0604020202020204"/>
              </a:endParaRPr>
            </a:p>
          </p:txBody>
        </p:sp>
        <p:sp>
          <p:nvSpPr>
            <p:cNvPr id="57" name="Rectangle 56">
              <a:extLst>
                <a:ext uri="{FF2B5EF4-FFF2-40B4-BE49-F238E27FC236}">
                  <a16:creationId xmlns:a16="http://schemas.microsoft.com/office/drawing/2014/main" id="{B7C5592B-420E-274E-AAE3-2F95C8DDBE45}"/>
                </a:ext>
              </a:extLst>
            </p:cNvPr>
            <p:cNvSpPr/>
            <p:nvPr/>
          </p:nvSpPr>
          <p:spPr>
            <a:xfrm>
              <a:off x="1875295" y="3608717"/>
              <a:ext cx="309966" cy="201478"/>
            </a:xfrm>
            <a:prstGeom prst="rect">
              <a:avLst/>
            </a:prstGeom>
            <a:grp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9" tIns="45720" rIns="91439" bIns="45720" numCol="1" spcCol="0" rtlCol="0" fromWordArt="0" anchor="ctr" anchorCtr="0" forceAA="0" compatLnSpc="1">
              <a:prstTxWarp prst="textNoShape">
                <a:avLst/>
              </a:prstTxWarp>
              <a:noAutofit/>
            </a:bodyPr>
            <a:lstStyle/>
            <a:p>
              <a:pPr algn="ctr" defTabSz="1228949"/>
              <a:endParaRPr lang="en-US" dirty="0" err="1">
                <a:solidFill>
                  <a:srgbClr val="FFFFFF"/>
                </a:solidFill>
                <a:latin typeface="Arial" panose="020B0604020202020204"/>
              </a:endParaRPr>
            </a:p>
          </p:txBody>
        </p:sp>
        <p:sp>
          <p:nvSpPr>
            <p:cNvPr id="58" name="Rectangle 57">
              <a:extLst>
                <a:ext uri="{FF2B5EF4-FFF2-40B4-BE49-F238E27FC236}">
                  <a16:creationId xmlns:a16="http://schemas.microsoft.com/office/drawing/2014/main" id="{BFDFD4E8-0C75-7449-9956-7654B1EBB5CE}"/>
                </a:ext>
              </a:extLst>
            </p:cNvPr>
            <p:cNvSpPr/>
            <p:nvPr/>
          </p:nvSpPr>
          <p:spPr>
            <a:xfrm>
              <a:off x="2193010" y="3608717"/>
              <a:ext cx="309966" cy="201478"/>
            </a:xfrm>
            <a:prstGeom prst="rect">
              <a:avLst/>
            </a:prstGeom>
            <a:grp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9" tIns="45720" rIns="91439" bIns="45720" numCol="1" spcCol="0" rtlCol="0" fromWordArt="0" anchor="ctr" anchorCtr="0" forceAA="0" compatLnSpc="1">
              <a:prstTxWarp prst="textNoShape">
                <a:avLst/>
              </a:prstTxWarp>
              <a:noAutofit/>
            </a:bodyPr>
            <a:lstStyle/>
            <a:p>
              <a:pPr algn="ctr" defTabSz="1228949"/>
              <a:endParaRPr lang="en-US" dirty="0" err="1">
                <a:solidFill>
                  <a:srgbClr val="FFFFFF"/>
                </a:solidFill>
                <a:latin typeface="Arial" panose="020B0604020202020204"/>
              </a:endParaRPr>
            </a:p>
          </p:txBody>
        </p:sp>
        <p:sp>
          <p:nvSpPr>
            <p:cNvPr id="59" name="Rectangle 58">
              <a:extLst>
                <a:ext uri="{FF2B5EF4-FFF2-40B4-BE49-F238E27FC236}">
                  <a16:creationId xmlns:a16="http://schemas.microsoft.com/office/drawing/2014/main" id="{1CDC98AD-A1A0-4D4B-9BC6-AC8BA6784FEB}"/>
                </a:ext>
              </a:extLst>
            </p:cNvPr>
            <p:cNvSpPr/>
            <p:nvPr/>
          </p:nvSpPr>
          <p:spPr>
            <a:xfrm>
              <a:off x="2502977" y="3608717"/>
              <a:ext cx="309966" cy="201478"/>
            </a:xfrm>
            <a:prstGeom prst="rect">
              <a:avLst/>
            </a:prstGeom>
            <a:grp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9" tIns="45720" rIns="91439" bIns="45720" numCol="1" spcCol="0" rtlCol="0" fromWordArt="0" anchor="ctr" anchorCtr="0" forceAA="0" compatLnSpc="1">
              <a:prstTxWarp prst="textNoShape">
                <a:avLst/>
              </a:prstTxWarp>
              <a:noAutofit/>
            </a:bodyPr>
            <a:lstStyle/>
            <a:p>
              <a:pPr algn="ctr" defTabSz="1228949"/>
              <a:endParaRPr lang="en-US" dirty="0" err="1">
                <a:solidFill>
                  <a:srgbClr val="FFFFFF"/>
                </a:solidFill>
                <a:latin typeface="Arial" panose="020B0604020202020204"/>
              </a:endParaRPr>
            </a:p>
          </p:txBody>
        </p:sp>
        <p:sp>
          <p:nvSpPr>
            <p:cNvPr id="60" name="Rectangle 59">
              <a:extLst>
                <a:ext uri="{FF2B5EF4-FFF2-40B4-BE49-F238E27FC236}">
                  <a16:creationId xmlns:a16="http://schemas.microsoft.com/office/drawing/2014/main" id="{5216830D-F4C5-E640-96D2-AF867C4CE3FD}"/>
                </a:ext>
              </a:extLst>
            </p:cNvPr>
            <p:cNvSpPr/>
            <p:nvPr/>
          </p:nvSpPr>
          <p:spPr>
            <a:xfrm>
              <a:off x="2812943" y="3608717"/>
              <a:ext cx="309966" cy="201478"/>
            </a:xfrm>
            <a:prstGeom prst="rect">
              <a:avLst/>
            </a:prstGeom>
            <a:grp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9" tIns="45720" rIns="91439" bIns="45720" numCol="1" spcCol="0" rtlCol="0" fromWordArt="0" anchor="ctr" anchorCtr="0" forceAA="0" compatLnSpc="1">
              <a:prstTxWarp prst="textNoShape">
                <a:avLst/>
              </a:prstTxWarp>
              <a:noAutofit/>
            </a:bodyPr>
            <a:lstStyle/>
            <a:p>
              <a:pPr algn="ctr" defTabSz="1228949"/>
              <a:endParaRPr lang="en-US" dirty="0" err="1">
                <a:solidFill>
                  <a:srgbClr val="FFFFFF"/>
                </a:solidFill>
                <a:latin typeface="Arial" panose="020B0604020202020204"/>
              </a:endParaRPr>
            </a:p>
          </p:txBody>
        </p:sp>
        <p:sp>
          <p:nvSpPr>
            <p:cNvPr id="61" name="Rectangle 60">
              <a:extLst>
                <a:ext uri="{FF2B5EF4-FFF2-40B4-BE49-F238E27FC236}">
                  <a16:creationId xmlns:a16="http://schemas.microsoft.com/office/drawing/2014/main" id="{440707CD-1FCB-EE4E-8313-4F9C31244AF8}"/>
                </a:ext>
              </a:extLst>
            </p:cNvPr>
            <p:cNvSpPr/>
            <p:nvPr/>
          </p:nvSpPr>
          <p:spPr>
            <a:xfrm>
              <a:off x="3130658" y="3608717"/>
              <a:ext cx="309966" cy="201478"/>
            </a:xfrm>
            <a:prstGeom prst="rect">
              <a:avLst/>
            </a:prstGeom>
            <a:grp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9" tIns="45720" rIns="91439" bIns="45720" numCol="1" spcCol="0" rtlCol="0" fromWordArt="0" anchor="ctr" anchorCtr="0" forceAA="0" compatLnSpc="1">
              <a:prstTxWarp prst="textNoShape">
                <a:avLst/>
              </a:prstTxWarp>
              <a:noAutofit/>
            </a:bodyPr>
            <a:lstStyle/>
            <a:p>
              <a:pPr algn="ctr" defTabSz="1228949"/>
              <a:endParaRPr lang="en-US" dirty="0" err="1">
                <a:solidFill>
                  <a:srgbClr val="FFFFFF"/>
                </a:solidFill>
                <a:latin typeface="Arial" panose="020B0604020202020204"/>
              </a:endParaRPr>
            </a:p>
          </p:txBody>
        </p:sp>
        <p:sp>
          <p:nvSpPr>
            <p:cNvPr id="62" name="Rectangle 61">
              <a:extLst>
                <a:ext uri="{FF2B5EF4-FFF2-40B4-BE49-F238E27FC236}">
                  <a16:creationId xmlns:a16="http://schemas.microsoft.com/office/drawing/2014/main" id="{E2E9283F-1A8C-C142-9CB1-2CA060867679}"/>
                </a:ext>
              </a:extLst>
            </p:cNvPr>
            <p:cNvSpPr/>
            <p:nvPr/>
          </p:nvSpPr>
          <p:spPr>
            <a:xfrm>
              <a:off x="1565329" y="3810195"/>
              <a:ext cx="309966" cy="201478"/>
            </a:xfrm>
            <a:prstGeom prst="rect">
              <a:avLst/>
            </a:prstGeom>
            <a:grp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9" tIns="45720" rIns="91439" bIns="45720" numCol="1" spcCol="0" rtlCol="0" fromWordArt="0" anchor="ctr" anchorCtr="0" forceAA="0" compatLnSpc="1">
              <a:prstTxWarp prst="textNoShape">
                <a:avLst/>
              </a:prstTxWarp>
              <a:noAutofit/>
            </a:bodyPr>
            <a:lstStyle/>
            <a:p>
              <a:pPr algn="ctr" defTabSz="1228949"/>
              <a:endParaRPr lang="en-US" dirty="0" err="1">
                <a:solidFill>
                  <a:srgbClr val="FFFFFF"/>
                </a:solidFill>
                <a:latin typeface="Arial" panose="020B0604020202020204"/>
              </a:endParaRPr>
            </a:p>
          </p:txBody>
        </p:sp>
        <p:sp>
          <p:nvSpPr>
            <p:cNvPr id="63" name="Rectangle 62">
              <a:extLst>
                <a:ext uri="{FF2B5EF4-FFF2-40B4-BE49-F238E27FC236}">
                  <a16:creationId xmlns:a16="http://schemas.microsoft.com/office/drawing/2014/main" id="{30560F02-B0C6-F747-8BDE-3AF26A946642}"/>
                </a:ext>
              </a:extLst>
            </p:cNvPr>
            <p:cNvSpPr/>
            <p:nvPr/>
          </p:nvSpPr>
          <p:spPr>
            <a:xfrm>
              <a:off x="1875295" y="3810195"/>
              <a:ext cx="309966" cy="201478"/>
            </a:xfrm>
            <a:prstGeom prst="rect">
              <a:avLst/>
            </a:prstGeom>
            <a:grp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9" tIns="45720" rIns="91439" bIns="45720" numCol="1" spcCol="0" rtlCol="0" fromWordArt="0" anchor="ctr" anchorCtr="0" forceAA="0" compatLnSpc="1">
              <a:prstTxWarp prst="textNoShape">
                <a:avLst/>
              </a:prstTxWarp>
              <a:noAutofit/>
            </a:bodyPr>
            <a:lstStyle/>
            <a:p>
              <a:pPr algn="ctr" defTabSz="1228949"/>
              <a:endParaRPr lang="en-US" dirty="0" err="1">
                <a:solidFill>
                  <a:srgbClr val="FFFFFF"/>
                </a:solidFill>
                <a:latin typeface="Arial" panose="020B0604020202020204"/>
              </a:endParaRPr>
            </a:p>
          </p:txBody>
        </p:sp>
        <p:sp>
          <p:nvSpPr>
            <p:cNvPr id="64" name="Rectangle 63">
              <a:extLst>
                <a:ext uri="{FF2B5EF4-FFF2-40B4-BE49-F238E27FC236}">
                  <a16:creationId xmlns:a16="http://schemas.microsoft.com/office/drawing/2014/main" id="{0A376A64-9998-4541-BDF9-BBE1379F5F2E}"/>
                </a:ext>
              </a:extLst>
            </p:cNvPr>
            <p:cNvSpPr/>
            <p:nvPr/>
          </p:nvSpPr>
          <p:spPr>
            <a:xfrm>
              <a:off x="2193010" y="3810195"/>
              <a:ext cx="309966" cy="201478"/>
            </a:xfrm>
            <a:prstGeom prst="rect">
              <a:avLst/>
            </a:prstGeom>
            <a:grp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9" tIns="45720" rIns="91439" bIns="45720" numCol="1" spcCol="0" rtlCol="0" fromWordArt="0" anchor="ctr" anchorCtr="0" forceAA="0" compatLnSpc="1">
              <a:prstTxWarp prst="textNoShape">
                <a:avLst/>
              </a:prstTxWarp>
              <a:noAutofit/>
            </a:bodyPr>
            <a:lstStyle/>
            <a:p>
              <a:pPr algn="ctr" defTabSz="1228949"/>
              <a:endParaRPr lang="en-US" dirty="0" err="1">
                <a:solidFill>
                  <a:srgbClr val="FFFFFF"/>
                </a:solidFill>
                <a:latin typeface="Arial" panose="020B0604020202020204"/>
              </a:endParaRPr>
            </a:p>
          </p:txBody>
        </p:sp>
        <p:sp>
          <p:nvSpPr>
            <p:cNvPr id="65" name="Rectangle 64">
              <a:extLst>
                <a:ext uri="{FF2B5EF4-FFF2-40B4-BE49-F238E27FC236}">
                  <a16:creationId xmlns:a16="http://schemas.microsoft.com/office/drawing/2014/main" id="{DC2A5198-170A-6A4D-A3EF-B3D9199DF3FB}"/>
                </a:ext>
              </a:extLst>
            </p:cNvPr>
            <p:cNvSpPr/>
            <p:nvPr/>
          </p:nvSpPr>
          <p:spPr>
            <a:xfrm>
              <a:off x="2502977" y="3810195"/>
              <a:ext cx="309966" cy="201478"/>
            </a:xfrm>
            <a:prstGeom prst="rect">
              <a:avLst/>
            </a:prstGeom>
            <a:grp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9" tIns="45720" rIns="91439" bIns="45720" numCol="1" spcCol="0" rtlCol="0" fromWordArt="0" anchor="ctr" anchorCtr="0" forceAA="0" compatLnSpc="1">
              <a:prstTxWarp prst="textNoShape">
                <a:avLst/>
              </a:prstTxWarp>
              <a:noAutofit/>
            </a:bodyPr>
            <a:lstStyle/>
            <a:p>
              <a:pPr algn="ctr" defTabSz="1228949"/>
              <a:endParaRPr lang="en-US" dirty="0" err="1">
                <a:solidFill>
                  <a:srgbClr val="FFFFFF"/>
                </a:solidFill>
                <a:latin typeface="Arial" panose="020B0604020202020204"/>
              </a:endParaRPr>
            </a:p>
          </p:txBody>
        </p:sp>
        <p:sp>
          <p:nvSpPr>
            <p:cNvPr id="66" name="Rectangle 65">
              <a:extLst>
                <a:ext uri="{FF2B5EF4-FFF2-40B4-BE49-F238E27FC236}">
                  <a16:creationId xmlns:a16="http://schemas.microsoft.com/office/drawing/2014/main" id="{AC18BEDA-134B-5545-9510-681265AB8F24}"/>
                </a:ext>
              </a:extLst>
            </p:cNvPr>
            <p:cNvSpPr/>
            <p:nvPr/>
          </p:nvSpPr>
          <p:spPr>
            <a:xfrm>
              <a:off x="2812943" y="3810195"/>
              <a:ext cx="309966" cy="201478"/>
            </a:xfrm>
            <a:prstGeom prst="rect">
              <a:avLst/>
            </a:prstGeom>
            <a:grp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9" tIns="45720" rIns="91439" bIns="45720" numCol="1" spcCol="0" rtlCol="0" fromWordArt="0" anchor="ctr" anchorCtr="0" forceAA="0" compatLnSpc="1">
              <a:prstTxWarp prst="textNoShape">
                <a:avLst/>
              </a:prstTxWarp>
              <a:noAutofit/>
            </a:bodyPr>
            <a:lstStyle/>
            <a:p>
              <a:pPr algn="ctr" defTabSz="1228949"/>
              <a:endParaRPr lang="en-US" dirty="0" err="1">
                <a:solidFill>
                  <a:srgbClr val="FFFFFF"/>
                </a:solidFill>
                <a:latin typeface="Arial" panose="020B0604020202020204"/>
              </a:endParaRPr>
            </a:p>
          </p:txBody>
        </p:sp>
        <p:sp>
          <p:nvSpPr>
            <p:cNvPr id="67" name="Rectangle 66">
              <a:extLst>
                <a:ext uri="{FF2B5EF4-FFF2-40B4-BE49-F238E27FC236}">
                  <a16:creationId xmlns:a16="http://schemas.microsoft.com/office/drawing/2014/main" id="{89F180AA-7B54-054D-AD28-727EF4F196AA}"/>
                </a:ext>
              </a:extLst>
            </p:cNvPr>
            <p:cNvSpPr/>
            <p:nvPr/>
          </p:nvSpPr>
          <p:spPr>
            <a:xfrm>
              <a:off x="3130658" y="3810195"/>
              <a:ext cx="309966" cy="201478"/>
            </a:xfrm>
            <a:prstGeom prst="rect">
              <a:avLst/>
            </a:prstGeom>
            <a:grp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9" tIns="45720" rIns="91439" bIns="45720" numCol="1" spcCol="0" rtlCol="0" fromWordArt="0" anchor="ctr" anchorCtr="0" forceAA="0" compatLnSpc="1">
              <a:prstTxWarp prst="textNoShape">
                <a:avLst/>
              </a:prstTxWarp>
              <a:noAutofit/>
            </a:bodyPr>
            <a:lstStyle/>
            <a:p>
              <a:pPr algn="ctr" defTabSz="1228949"/>
              <a:endParaRPr lang="en-US" dirty="0" err="1">
                <a:solidFill>
                  <a:srgbClr val="FFFFFF"/>
                </a:solidFill>
                <a:latin typeface="Arial" panose="020B0604020202020204"/>
              </a:endParaRPr>
            </a:p>
          </p:txBody>
        </p:sp>
        <p:sp>
          <p:nvSpPr>
            <p:cNvPr id="68" name="Rectangle 67">
              <a:extLst>
                <a:ext uri="{FF2B5EF4-FFF2-40B4-BE49-F238E27FC236}">
                  <a16:creationId xmlns:a16="http://schemas.microsoft.com/office/drawing/2014/main" id="{E5789F1C-9B11-B044-A3BE-4C54333593FD}"/>
                </a:ext>
              </a:extLst>
            </p:cNvPr>
            <p:cNvSpPr/>
            <p:nvPr/>
          </p:nvSpPr>
          <p:spPr>
            <a:xfrm>
              <a:off x="3452248" y="3608717"/>
              <a:ext cx="309966" cy="201478"/>
            </a:xfrm>
            <a:prstGeom prst="rect">
              <a:avLst/>
            </a:prstGeom>
            <a:grp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9" tIns="45720" rIns="91439" bIns="45720" numCol="1" spcCol="0" rtlCol="0" fromWordArt="0" anchor="ctr" anchorCtr="0" forceAA="0" compatLnSpc="1">
              <a:prstTxWarp prst="textNoShape">
                <a:avLst/>
              </a:prstTxWarp>
              <a:noAutofit/>
            </a:bodyPr>
            <a:lstStyle/>
            <a:p>
              <a:pPr algn="ctr" defTabSz="1228949"/>
              <a:endParaRPr lang="en-US" dirty="0" err="1">
                <a:solidFill>
                  <a:srgbClr val="FFFFFF"/>
                </a:solidFill>
                <a:latin typeface="Arial" panose="020B0604020202020204"/>
              </a:endParaRPr>
            </a:p>
          </p:txBody>
        </p:sp>
        <p:sp>
          <p:nvSpPr>
            <p:cNvPr id="69" name="Rectangle 68">
              <a:extLst>
                <a:ext uri="{FF2B5EF4-FFF2-40B4-BE49-F238E27FC236}">
                  <a16:creationId xmlns:a16="http://schemas.microsoft.com/office/drawing/2014/main" id="{EBF5800B-B9CB-EF4A-B298-14BFDDFD9D42}"/>
                </a:ext>
              </a:extLst>
            </p:cNvPr>
            <p:cNvSpPr/>
            <p:nvPr/>
          </p:nvSpPr>
          <p:spPr>
            <a:xfrm>
              <a:off x="3769963" y="3608717"/>
              <a:ext cx="309966" cy="201478"/>
            </a:xfrm>
            <a:prstGeom prst="rect">
              <a:avLst/>
            </a:prstGeom>
            <a:grp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9" tIns="45720" rIns="91439" bIns="45720" numCol="1" spcCol="0" rtlCol="0" fromWordArt="0" anchor="ctr" anchorCtr="0" forceAA="0" compatLnSpc="1">
              <a:prstTxWarp prst="textNoShape">
                <a:avLst/>
              </a:prstTxWarp>
              <a:noAutofit/>
            </a:bodyPr>
            <a:lstStyle/>
            <a:p>
              <a:pPr algn="ctr" defTabSz="1228949"/>
              <a:endParaRPr lang="en-US" dirty="0" err="1">
                <a:solidFill>
                  <a:srgbClr val="FFFFFF"/>
                </a:solidFill>
                <a:latin typeface="Arial" panose="020B0604020202020204"/>
              </a:endParaRPr>
            </a:p>
          </p:txBody>
        </p:sp>
        <p:sp>
          <p:nvSpPr>
            <p:cNvPr id="70" name="Rectangle 69">
              <a:extLst>
                <a:ext uri="{FF2B5EF4-FFF2-40B4-BE49-F238E27FC236}">
                  <a16:creationId xmlns:a16="http://schemas.microsoft.com/office/drawing/2014/main" id="{679199F3-5919-5449-97EC-89051F094FE0}"/>
                </a:ext>
              </a:extLst>
            </p:cNvPr>
            <p:cNvSpPr/>
            <p:nvPr/>
          </p:nvSpPr>
          <p:spPr>
            <a:xfrm>
              <a:off x="3452248" y="3810195"/>
              <a:ext cx="309966" cy="201478"/>
            </a:xfrm>
            <a:prstGeom prst="rect">
              <a:avLst/>
            </a:prstGeom>
            <a:grp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9" tIns="45720" rIns="91439" bIns="45720" numCol="1" spcCol="0" rtlCol="0" fromWordArt="0" anchor="ctr" anchorCtr="0" forceAA="0" compatLnSpc="1">
              <a:prstTxWarp prst="textNoShape">
                <a:avLst/>
              </a:prstTxWarp>
              <a:noAutofit/>
            </a:bodyPr>
            <a:lstStyle/>
            <a:p>
              <a:pPr algn="ctr" defTabSz="1228949"/>
              <a:endParaRPr lang="en-US" dirty="0" err="1">
                <a:solidFill>
                  <a:srgbClr val="FFFFFF"/>
                </a:solidFill>
                <a:latin typeface="Arial" panose="020B0604020202020204"/>
              </a:endParaRPr>
            </a:p>
          </p:txBody>
        </p:sp>
        <p:sp>
          <p:nvSpPr>
            <p:cNvPr id="71" name="Rectangle 70">
              <a:extLst>
                <a:ext uri="{FF2B5EF4-FFF2-40B4-BE49-F238E27FC236}">
                  <a16:creationId xmlns:a16="http://schemas.microsoft.com/office/drawing/2014/main" id="{5837A092-512C-D346-A194-5CBF5BD53B75}"/>
                </a:ext>
              </a:extLst>
            </p:cNvPr>
            <p:cNvSpPr/>
            <p:nvPr/>
          </p:nvSpPr>
          <p:spPr>
            <a:xfrm>
              <a:off x="3769963" y="3810195"/>
              <a:ext cx="309966" cy="201478"/>
            </a:xfrm>
            <a:prstGeom prst="rect">
              <a:avLst/>
            </a:prstGeom>
            <a:grp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9" tIns="45720" rIns="91439" bIns="45720" numCol="1" spcCol="0" rtlCol="0" fromWordArt="0" anchor="ctr" anchorCtr="0" forceAA="0" compatLnSpc="1">
              <a:prstTxWarp prst="textNoShape">
                <a:avLst/>
              </a:prstTxWarp>
              <a:noAutofit/>
            </a:bodyPr>
            <a:lstStyle/>
            <a:p>
              <a:pPr algn="ctr" defTabSz="1228949"/>
              <a:endParaRPr lang="en-US" dirty="0" err="1">
                <a:solidFill>
                  <a:srgbClr val="FFFFFF"/>
                </a:solidFill>
                <a:latin typeface="Arial" panose="020B0604020202020204"/>
              </a:endParaRPr>
            </a:p>
          </p:txBody>
        </p:sp>
        <p:sp>
          <p:nvSpPr>
            <p:cNvPr id="72" name="Rectangle 71">
              <a:extLst>
                <a:ext uri="{FF2B5EF4-FFF2-40B4-BE49-F238E27FC236}">
                  <a16:creationId xmlns:a16="http://schemas.microsoft.com/office/drawing/2014/main" id="{1B91119D-F934-8A43-A324-DE84698DF44A}"/>
                </a:ext>
              </a:extLst>
            </p:cNvPr>
            <p:cNvSpPr/>
            <p:nvPr/>
          </p:nvSpPr>
          <p:spPr>
            <a:xfrm>
              <a:off x="1565329" y="4011673"/>
              <a:ext cx="309966" cy="201478"/>
            </a:xfrm>
            <a:prstGeom prst="rect">
              <a:avLst/>
            </a:prstGeom>
            <a:grp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9" tIns="45720" rIns="91439" bIns="45720" numCol="1" spcCol="0" rtlCol="0" fromWordArt="0" anchor="ctr" anchorCtr="0" forceAA="0" compatLnSpc="1">
              <a:prstTxWarp prst="textNoShape">
                <a:avLst/>
              </a:prstTxWarp>
              <a:noAutofit/>
            </a:bodyPr>
            <a:lstStyle/>
            <a:p>
              <a:pPr algn="ctr" defTabSz="1228949"/>
              <a:endParaRPr lang="en-US" dirty="0" err="1">
                <a:solidFill>
                  <a:srgbClr val="FFFFFF"/>
                </a:solidFill>
                <a:latin typeface="Arial" panose="020B0604020202020204"/>
              </a:endParaRPr>
            </a:p>
          </p:txBody>
        </p:sp>
        <p:sp>
          <p:nvSpPr>
            <p:cNvPr id="73" name="Rectangle 72">
              <a:extLst>
                <a:ext uri="{FF2B5EF4-FFF2-40B4-BE49-F238E27FC236}">
                  <a16:creationId xmlns:a16="http://schemas.microsoft.com/office/drawing/2014/main" id="{32F4F414-CD73-2044-9DDF-49F3F79692AE}"/>
                </a:ext>
              </a:extLst>
            </p:cNvPr>
            <p:cNvSpPr/>
            <p:nvPr/>
          </p:nvSpPr>
          <p:spPr>
            <a:xfrm>
              <a:off x="1875295" y="4011673"/>
              <a:ext cx="309966" cy="201478"/>
            </a:xfrm>
            <a:prstGeom prst="rect">
              <a:avLst/>
            </a:prstGeom>
            <a:grp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9" tIns="45720" rIns="91439" bIns="45720" numCol="1" spcCol="0" rtlCol="0" fromWordArt="0" anchor="ctr" anchorCtr="0" forceAA="0" compatLnSpc="1">
              <a:prstTxWarp prst="textNoShape">
                <a:avLst/>
              </a:prstTxWarp>
              <a:noAutofit/>
            </a:bodyPr>
            <a:lstStyle/>
            <a:p>
              <a:pPr algn="ctr" defTabSz="1228949"/>
              <a:endParaRPr lang="en-US" dirty="0" err="1">
                <a:solidFill>
                  <a:srgbClr val="FFFFFF"/>
                </a:solidFill>
                <a:latin typeface="Arial" panose="020B0604020202020204"/>
              </a:endParaRPr>
            </a:p>
          </p:txBody>
        </p:sp>
        <p:sp>
          <p:nvSpPr>
            <p:cNvPr id="74" name="Rectangle 73">
              <a:extLst>
                <a:ext uri="{FF2B5EF4-FFF2-40B4-BE49-F238E27FC236}">
                  <a16:creationId xmlns:a16="http://schemas.microsoft.com/office/drawing/2014/main" id="{8274FCC0-C59D-874D-9252-DFF15F8CD05E}"/>
                </a:ext>
              </a:extLst>
            </p:cNvPr>
            <p:cNvSpPr/>
            <p:nvPr/>
          </p:nvSpPr>
          <p:spPr>
            <a:xfrm>
              <a:off x="2193010" y="4011673"/>
              <a:ext cx="309966" cy="201478"/>
            </a:xfrm>
            <a:prstGeom prst="rect">
              <a:avLst/>
            </a:prstGeom>
            <a:grp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9" tIns="45720" rIns="91439" bIns="45720" numCol="1" spcCol="0" rtlCol="0" fromWordArt="0" anchor="ctr" anchorCtr="0" forceAA="0" compatLnSpc="1">
              <a:prstTxWarp prst="textNoShape">
                <a:avLst/>
              </a:prstTxWarp>
              <a:noAutofit/>
            </a:bodyPr>
            <a:lstStyle/>
            <a:p>
              <a:pPr algn="ctr" defTabSz="1228949"/>
              <a:endParaRPr lang="en-US" dirty="0" err="1">
                <a:solidFill>
                  <a:srgbClr val="FFFFFF"/>
                </a:solidFill>
                <a:latin typeface="Arial" panose="020B0604020202020204"/>
              </a:endParaRPr>
            </a:p>
          </p:txBody>
        </p:sp>
        <p:sp>
          <p:nvSpPr>
            <p:cNvPr id="75" name="Rectangle 74">
              <a:extLst>
                <a:ext uri="{FF2B5EF4-FFF2-40B4-BE49-F238E27FC236}">
                  <a16:creationId xmlns:a16="http://schemas.microsoft.com/office/drawing/2014/main" id="{8BF67180-8C9E-3142-A21D-E1FF984E847E}"/>
                </a:ext>
              </a:extLst>
            </p:cNvPr>
            <p:cNvSpPr/>
            <p:nvPr/>
          </p:nvSpPr>
          <p:spPr>
            <a:xfrm>
              <a:off x="2502977" y="4011673"/>
              <a:ext cx="309966" cy="201478"/>
            </a:xfrm>
            <a:prstGeom prst="rect">
              <a:avLst/>
            </a:prstGeom>
            <a:grp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9" tIns="45720" rIns="91439" bIns="45720" numCol="1" spcCol="0" rtlCol="0" fromWordArt="0" anchor="ctr" anchorCtr="0" forceAA="0" compatLnSpc="1">
              <a:prstTxWarp prst="textNoShape">
                <a:avLst/>
              </a:prstTxWarp>
              <a:noAutofit/>
            </a:bodyPr>
            <a:lstStyle/>
            <a:p>
              <a:pPr algn="ctr" defTabSz="1228949"/>
              <a:endParaRPr lang="en-US" dirty="0" err="1">
                <a:solidFill>
                  <a:srgbClr val="FFFFFF"/>
                </a:solidFill>
                <a:latin typeface="Arial" panose="020B0604020202020204"/>
              </a:endParaRPr>
            </a:p>
          </p:txBody>
        </p:sp>
        <p:sp>
          <p:nvSpPr>
            <p:cNvPr id="76" name="Rectangle 75">
              <a:extLst>
                <a:ext uri="{FF2B5EF4-FFF2-40B4-BE49-F238E27FC236}">
                  <a16:creationId xmlns:a16="http://schemas.microsoft.com/office/drawing/2014/main" id="{4FCE3A73-3971-784E-A08D-C82851E203DF}"/>
                </a:ext>
              </a:extLst>
            </p:cNvPr>
            <p:cNvSpPr/>
            <p:nvPr/>
          </p:nvSpPr>
          <p:spPr>
            <a:xfrm>
              <a:off x="2812943" y="4011673"/>
              <a:ext cx="309966" cy="201478"/>
            </a:xfrm>
            <a:prstGeom prst="rect">
              <a:avLst/>
            </a:prstGeom>
            <a:grp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9" tIns="45720" rIns="91439" bIns="45720" numCol="1" spcCol="0" rtlCol="0" fromWordArt="0" anchor="ctr" anchorCtr="0" forceAA="0" compatLnSpc="1">
              <a:prstTxWarp prst="textNoShape">
                <a:avLst/>
              </a:prstTxWarp>
              <a:noAutofit/>
            </a:bodyPr>
            <a:lstStyle/>
            <a:p>
              <a:pPr algn="ctr" defTabSz="1228949"/>
              <a:endParaRPr lang="en-US" dirty="0" err="1">
                <a:solidFill>
                  <a:srgbClr val="FFFFFF"/>
                </a:solidFill>
                <a:latin typeface="Arial" panose="020B0604020202020204"/>
              </a:endParaRPr>
            </a:p>
          </p:txBody>
        </p:sp>
        <p:sp>
          <p:nvSpPr>
            <p:cNvPr id="77" name="Rectangle 76">
              <a:extLst>
                <a:ext uri="{FF2B5EF4-FFF2-40B4-BE49-F238E27FC236}">
                  <a16:creationId xmlns:a16="http://schemas.microsoft.com/office/drawing/2014/main" id="{607CE89F-51CB-BB46-BA6C-672FC1600216}"/>
                </a:ext>
              </a:extLst>
            </p:cNvPr>
            <p:cNvSpPr/>
            <p:nvPr/>
          </p:nvSpPr>
          <p:spPr>
            <a:xfrm>
              <a:off x="3130658" y="4011673"/>
              <a:ext cx="309966" cy="201478"/>
            </a:xfrm>
            <a:prstGeom prst="rect">
              <a:avLst/>
            </a:prstGeom>
            <a:grp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9" tIns="45720" rIns="91439" bIns="45720" numCol="1" spcCol="0" rtlCol="0" fromWordArt="0" anchor="ctr" anchorCtr="0" forceAA="0" compatLnSpc="1">
              <a:prstTxWarp prst="textNoShape">
                <a:avLst/>
              </a:prstTxWarp>
              <a:noAutofit/>
            </a:bodyPr>
            <a:lstStyle/>
            <a:p>
              <a:pPr algn="ctr" defTabSz="1228949"/>
              <a:endParaRPr lang="en-US" dirty="0" err="1">
                <a:solidFill>
                  <a:srgbClr val="FFFFFF"/>
                </a:solidFill>
                <a:latin typeface="Arial" panose="020B0604020202020204"/>
              </a:endParaRPr>
            </a:p>
          </p:txBody>
        </p:sp>
        <p:sp>
          <p:nvSpPr>
            <p:cNvPr id="78" name="Rectangle 77">
              <a:extLst>
                <a:ext uri="{FF2B5EF4-FFF2-40B4-BE49-F238E27FC236}">
                  <a16:creationId xmlns:a16="http://schemas.microsoft.com/office/drawing/2014/main" id="{487C9B42-7894-D145-8FF0-D8C2BBF1E239}"/>
                </a:ext>
              </a:extLst>
            </p:cNvPr>
            <p:cNvSpPr/>
            <p:nvPr/>
          </p:nvSpPr>
          <p:spPr>
            <a:xfrm>
              <a:off x="1565329" y="4213151"/>
              <a:ext cx="309966" cy="201478"/>
            </a:xfrm>
            <a:prstGeom prst="rect">
              <a:avLst/>
            </a:prstGeom>
            <a:grp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9" tIns="45720" rIns="91439" bIns="45720" numCol="1" spcCol="0" rtlCol="0" fromWordArt="0" anchor="ctr" anchorCtr="0" forceAA="0" compatLnSpc="1">
              <a:prstTxWarp prst="textNoShape">
                <a:avLst/>
              </a:prstTxWarp>
              <a:noAutofit/>
            </a:bodyPr>
            <a:lstStyle/>
            <a:p>
              <a:pPr algn="ctr" defTabSz="1228949"/>
              <a:endParaRPr lang="en-US" dirty="0" err="1">
                <a:solidFill>
                  <a:srgbClr val="FFFFFF"/>
                </a:solidFill>
                <a:latin typeface="Arial" panose="020B0604020202020204"/>
              </a:endParaRPr>
            </a:p>
          </p:txBody>
        </p:sp>
        <p:sp>
          <p:nvSpPr>
            <p:cNvPr id="79" name="Rectangle 78">
              <a:extLst>
                <a:ext uri="{FF2B5EF4-FFF2-40B4-BE49-F238E27FC236}">
                  <a16:creationId xmlns:a16="http://schemas.microsoft.com/office/drawing/2014/main" id="{22838E88-F45E-3041-BD4C-E1544AD3B531}"/>
                </a:ext>
              </a:extLst>
            </p:cNvPr>
            <p:cNvSpPr/>
            <p:nvPr/>
          </p:nvSpPr>
          <p:spPr>
            <a:xfrm>
              <a:off x="1875295" y="4213151"/>
              <a:ext cx="309966" cy="201478"/>
            </a:xfrm>
            <a:prstGeom prst="rect">
              <a:avLst/>
            </a:prstGeom>
            <a:grp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9" tIns="45720" rIns="91439" bIns="45720" numCol="1" spcCol="0" rtlCol="0" fromWordArt="0" anchor="ctr" anchorCtr="0" forceAA="0" compatLnSpc="1">
              <a:prstTxWarp prst="textNoShape">
                <a:avLst/>
              </a:prstTxWarp>
              <a:noAutofit/>
            </a:bodyPr>
            <a:lstStyle/>
            <a:p>
              <a:pPr algn="ctr" defTabSz="1228949"/>
              <a:endParaRPr lang="en-US" dirty="0" err="1">
                <a:solidFill>
                  <a:srgbClr val="FFFFFF"/>
                </a:solidFill>
                <a:latin typeface="Arial" panose="020B0604020202020204"/>
              </a:endParaRPr>
            </a:p>
          </p:txBody>
        </p:sp>
        <p:sp>
          <p:nvSpPr>
            <p:cNvPr id="80" name="Rectangle 79">
              <a:extLst>
                <a:ext uri="{FF2B5EF4-FFF2-40B4-BE49-F238E27FC236}">
                  <a16:creationId xmlns:a16="http://schemas.microsoft.com/office/drawing/2014/main" id="{469E093D-8696-9349-BB51-47261110799F}"/>
                </a:ext>
              </a:extLst>
            </p:cNvPr>
            <p:cNvSpPr/>
            <p:nvPr/>
          </p:nvSpPr>
          <p:spPr>
            <a:xfrm>
              <a:off x="2193010" y="4213151"/>
              <a:ext cx="309966" cy="201478"/>
            </a:xfrm>
            <a:prstGeom prst="rect">
              <a:avLst/>
            </a:prstGeom>
            <a:grp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9" tIns="45720" rIns="91439" bIns="45720" numCol="1" spcCol="0" rtlCol="0" fromWordArt="0" anchor="ctr" anchorCtr="0" forceAA="0" compatLnSpc="1">
              <a:prstTxWarp prst="textNoShape">
                <a:avLst/>
              </a:prstTxWarp>
              <a:noAutofit/>
            </a:bodyPr>
            <a:lstStyle/>
            <a:p>
              <a:pPr algn="ctr" defTabSz="1228949"/>
              <a:endParaRPr lang="en-US" dirty="0" err="1">
                <a:solidFill>
                  <a:srgbClr val="FFFFFF"/>
                </a:solidFill>
                <a:latin typeface="Arial" panose="020B0604020202020204"/>
              </a:endParaRPr>
            </a:p>
          </p:txBody>
        </p:sp>
        <p:sp>
          <p:nvSpPr>
            <p:cNvPr id="81" name="Rectangle 80">
              <a:extLst>
                <a:ext uri="{FF2B5EF4-FFF2-40B4-BE49-F238E27FC236}">
                  <a16:creationId xmlns:a16="http://schemas.microsoft.com/office/drawing/2014/main" id="{8A4F1D76-522C-5A49-B56C-52F28B5F9282}"/>
                </a:ext>
              </a:extLst>
            </p:cNvPr>
            <p:cNvSpPr/>
            <p:nvPr/>
          </p:nvSpPr>
          <p:spPr>
            <a:xfrm>
              <a:off x="2502977" y="4213151"/>
              <a:ext cx="309966" cy="201478"/>
            </a:xfrm>
            <a:prstGeom prst="rect">
              <a:avLst/>
            </a:prstGeom>
            <a:grp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9" tIns="45720" rIns="91439" bIns="45720" numCol="1" spcCol="0" rtlCol="0" fromWordArt="0" anchor="ctr" anchorCtr="0" forceAA="0" compatLnSpc="1">
              <a:prstTxWarp prst="textNoShape">
                <a:avLst/>
              </a:prstTxWarp>
              <a:noAutofit/>
            </a:bodyPr>
            <a:lstStyle/>
            <a:p>
              <a:pPr algn="ctr" defTabSz="1228949"/>
              <a:endParaRPr lang="en-US" dirty="0" err="1">
                <a:solidFill>
                  <a:srgbClr val="FFFFFF"/>
                </a:solidFill>
                <a:latin typeface="Arial" panose="020B0604020202020204"/>
              </a:endParaRPr>
            </a:p>
          </p:txBody>
        </p:sp>
        <p:sp>
          <p:nvSpPr>
            <p:cNvPr id="82" name="Rectangle 81">
              <a:extLst>
                <a:ext uri="{FF2B5EF4-FFF2-40B4-BE49-F238E27FC236}">
                  <a16:creationId xmlns:a16="http://schemas.microsoft.com/office/drawing/2014/main" id="{76FFDDF4-B902-024F-953C-CC3FA54B5DD2}"/>
                </a:ext>
              </a:extLst>
            </p:cNvPr>
            <p:cNvSpPr/>
            <p:nvPr/>
          </p:nvSpPr>
          <p:spPr>
            <a:xfrm>
              <a:off x="2812943" y="4213151"/>
              <a:ext cx="309966" cy="201478"/>
            </a:xfrm>
            <a:prstGeom prst="rect">
              <a:avLst/>
            </a:prstGeom>
            <a:grp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9" tIns="45720" rIns="91439" bIns="45720" numCol="1" spcCol="0" rtlCol="0" fromWordArt="0" anchor="ctr" anchorCtr="0" forceAA="0" compatLnSpc="1">
              <a:prstTxWarp prst="textNoShape">
                <a:avLst/>
              </a:prstTxWarp>
              <a:noAutofit/>
            </a:bodyPr>
            <a:lstStyle/>
            <a:p>
              <a:pPr algn="ctr" defTabSz="1228949"/>
              <a:endParaRPr lang="en-US" dirty="0" err="1">
                <a:solidFill>
                  <a:srgbClr val="FFFFFF"/>
                </a:solidFill>
                <a:latin typeface="Arial" panose="020B0604020202020204"/>
              </a:endParaRPr>
            </a:p>
          </p:txBody>
        </p:sp>
        <p:sp>
          <p:nvSpPr>
            <p:cNvPr id="83" name="Rectangle 82">
              <a:extLst>
                <a:ext uri="{FF2B5EF4-FFF2-40B4-BE49-F238E27FC236}">
                  <a16:creationId xmlns:a16="http://schemas.microsoft.com/office/drawing/2014/main" id="{D45A53A3-A29F-AB45-BBA5-0F07C0EAAF2A}"/>
                </a:ext>
              </a:extLst>
            </p:cNvPr>
            <p:cNvSpPr/>
            <p:nvPr/>
          </p:nvSpPr>
          <p:spPr>
            <a:xfrm>
              <a:off x="3130658" y="4213151"/>
              <a:ext cx="309966" cy="201478"/>
            </a:xfrm>
            <a:prstGeom prst="rect">
              <a:avLst/>
            </a:prstGeom>
            <a:grp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9" tIns="45720" rIns="91439" bIns="45720" numCol="1" spcCol="0" rtlCol="0" fromWordArt="0" anchor="ctr" anchorCtr="0" forceAA="0" compatLnSpc="1">
              <a:prstTxWarp prst="textNoShape">
                <a:avLst/>
              </a:prstTxWarp>
              <a:noAutofit/>
            </a:bodyPr>
            <a:lstStyle/>
            <a:p>
              <a:pPr algn="ctr" defTabSz="1228949"/>
              <a:endParaRPr lang="en-US" dirty="0" err="1">
                <a:solidFill>
                  <a:srgbClr val="FFFFFF"/>
                </a:solidFill>
                <a:latin typeface="Arial" panose="020B0604020202020204"/>
              </a:endParaRPr>
            </a:p>
          </p:txBody>
        </p:sp>
        <p:sp>
          <p:nvSpPr>
            <p:cNvPr id="84" name="Rectangle 83">
              <a:extLst>
                <a:ext uri="{FF2B5EF4-FFF2-40B4-BE49-F238E27FC236}">
                  <a16:creationId xmlns:a16="http://schemas.microsoft.com/office/drawing/2014/main" id="{2390DF58-5033-D845-A1DD-9D3D51C7BF52}"/>
                </a:ext>
              </a:extLst>
            </p:cNvPr>
            <p:cNvSpPr/>
            <p:nvPr/>
          </p:nvSpPr>
          <p:spPr>
            <a:xfrm>
              <a:off x="3452248" y="4011673"/>
              <a:ext cx="309966" cy="201478"/>
            </a:xfrm>
            <a:prstGeom prst="rect">
              <a:avLst/>
            </a:prstGeom>
            <a:grp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9" tIns="45720" rIns="91439" bIns="45720" numCol="1" spcCol="0" rtlCol="0" fromWordArt="0" anchor="ctr" anchorCtr="0" forceAA="0" compatLnSpc="1">
              <a:prstTxWarp prst="textNoShape">
                <a:avLst/>
              </a:prstTxWarp>
              <a:noAutofit/>
            </a:bodyPr>
            <a:lstStyle/>
            <a:p>
              <a:pPr algn="ctr" defTabSz="1228949"/>
              <a:endParaRPr lang="en-US" dirty="0" err="1">
                <a:solidFill>
                  <a:srgbClr val="FFFFFF"/>
                </a:solidFill>
                <a:latin typeface="Arial" panose="020B0604020202020204"/>
              </a:endParaRPr>
            </a:p>
          </p:txBody>
        </p:sp>
        <p:sp>
          <p:nvSpPr>
            <p:cNvPr id="85" name="Rectangle 84">
              <a:extLst>
                <a:ext uri="{FF2B5EF4-FFF2-40B4-BE49-F238E27FC236}">
                  <a16:creationId xmlns:a16="http://schemas.microsoft.com/office/drawing/2014/main" id="{1E0829A6-3B7F-DD41-9713-72D0E1A6E047}"/>
                </a:ext>
              </a:extLst>
            </p:cNvPr>
            <p:cNvSpPr/>
            <p:nvPr/>
          </p:nvSpPr>
          <p:spPr>
            <a:xfrm>
              <a:off x="3769963" y="4011673"/>
              <a:ext cx="309966" cy="201478"/>
            </a:xfrm>
            <a:prstGeom prst="rect">
              <a:avLst/>
            </a:prstGeom>
            <a:grp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9" tIns="45720" rIns="91439" bIns="45720" numCol="1" spcCol="0" rtlCol="0" fromWordArt="0" anchor="ctr" anchorCtr="0" forceAA="0" compatLnSpc="1">
              <a:prstTxWarp prst="textNoShape">
                <a:avLst/>
              </a:prstTxWarp>
              <a:noAutofit/>
            </a:bodyPr>
            <a:lstStyle/>
            <a:p>
              <a:pPr algn="ctr" defTabSz="1228949"/>
              <a:endParaRPr lang="en-US" dirty="0" err="1">
                <a:solidFill>
                  <a:srgbClr val="FFFFFF"/>
                </a:solidFill>
                <a:latin typeface="Arial" panose="020B0604020202020204"/>
              </a:endParaRPr>
            </a:p>
          </p:txBody>
        </p:sp>
        <p:sp>
          <p:nvSpPr>
            <p:cNvPr id="86" name="Rectangle 85">
              <a:extLst>
                <a:ext uri="{FF2B5EF4-FFF2-40B4-BE49-F238E27FC236}">
                  <a16:creationId xmlns:a16="http://schemas.microsoft.com/office/drawing/2014/main" id="{4418CB1A-EA28-D646-8265-F909BE6C6BF5}"/>
                </a:ext>
              </a:extLst>
            </p:cNvPr>
            <p:cNvSpPr/>
            <p:nvPr/>
          </p:nvSpPr>
          <p:spPr>
            <a:xfrm>
              <a:off x="3452248" y="4213151"/>
              <a:ext cx="309966" cy="201478"/>
            </a:xfrm>
            <a:prstGeom prst="rect">
              <a:avLst/>
            </a:prstGeom>
            <a:grp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9" tIns="45720" rIns="91439" bIns="45720" numCol="1" spcCol="0" rtlCol="0" fromWordArt="0" anchor="ctr" anchorCtr="0" forceAA="0" compatLnSpc="1">
              <a:prstTxWarp prst="textNoShape">
                <a:avLst/>
              </a:prstTxWarp>
              <a:noAutofit/>
            </a:bodyPr>
            <a:lstStyle/>
            <a:p>
              <a:pPr algn="ctr" defTabSz="1228949"/>
              <a:endParaRPr lang="en-US" dirty="0" err="1">
                <a:solidFill>
                  <a:srgbClr val="FFFFFF"/>
                </a:solidFill>
                <a:latin typeface="Arial" panose="020B0604020202020204"/>
              </a:endParaRPr>
            </a:p>
          </p:txBody>
        </p:sp>
        <p:sp>
          <p:nvSpPr>
            <p:cNvPr id="87" name="Rectangle 86">
              <a:extLst>
                <a:ext uri="{FF2B5EF4-FFF2-40B4-BE49-F238E27FC236}">
                  <a16:creationId xmlns:a16="http://schemas.microsoft.com/office/drawing/2014/main" id="{3E57A5C0-F499-364C-8BE7-A28BEEFE7F7B}"/>
                </a:ext>
              </a:extLst>
            </p:cNvPr>
            <p:cNvSpPr/>
            <p:nvPr/>
          </p:nvSpPr>
          <p:spPr>
            <a:xfrm>
              <a:off x="3769963" y="4213151"/>
              <a:ext cx="309966" cy="201478"/>
            </a:xfrm>
            <a:prstGeom prst="rect">
              <a:avLst/>
            </a:prstGeom>
            <a:grp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9" tIns="45720" rIns="91439" bIns="45720" numCol="1" spcCol="0" rtlCol="0" fromWordArt="0" anchor="ctr" anchorCtr="0" forceAA="0" compatLnSpc="1">
              <a:prstTxWarp prst="textNoShape">
                <a:avLst/>
              </a:prstTxWarp>
              <a:noAutofit/>
            </a:bodyPr>
            <a:lstStyle/>
            <a:p>
              <a:pPr algn="ctr" defTabSz="1228949"/>
              <a:endParaRPr lang="en-US" dirty="0" err="1">
                <a:solidFill>
                  <a:srgbClr val="FFFFFF"/>
                </a:solidFill>
                <a:latin typeface="Arial" panose="020B0604020202020204"/>
              </a:endParaRPr>
            </a:p>
          </p:txBody>
        </p:sp>
        <p:sp>
          <p:nvSpPr>
            <p:cNvPr id="88" name="Rectangle 87">
              <a:extLst>
                <a:ext uri="{FF2B5EF4-FFF2-40B4-BE49-F238E27FC236}">
                  <a16:creationId xmlns:a16="http://schemas.microsoft.com/office/drawing/2014/main" id="{4A7B5B35-8075-AF47-A44A-FA139772F488}"/>
                </a:ext>
              </a:extLst>
            </p:cNvPr>
            <p:cNvSpPr/>
            <p:nvPr/>
          </p:nvSpPr>
          <p:spPr>
            <a:xfrm>
              <a:off x="1565329" y="4414629"/>
              <a:ext cx="309966" cy="201478"/>
            </a:xfrm>
            <a:prstGeom prst="rect">
              <a:avLst/>
            </a:prstGeom>
            <a:grp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9" tIns="45720" rIns="91439" bIns="45720" numCol="1" spcCol="0" rtlCol="0" fromWordArt="0" anchor="ctr" anchorCtr="0" forceAA="0" compatLnSpc="1">
              <a:prstTxWarp prst="textNoShape">
                <a:avLst/>
              </a:prstTxWarp>
              <a:noAutofit/>
            </a:bodyPr>
            <a:lstStyle/>
            <a:p>
              <a:pPr algn="ctr" defTabSz="1228949"/>
              <a:endParaRPr lang="en-US" dirty="0" err="1">
                <a:solidFill>
                  <a:srgbClr val="FFFFFF"/>
                </a:solidFill>
                <a:latin typeface="Arial" panose="020B0604020202020204"/>
              </a:endParaRPr>
            </a:p>
          </p:txBody>
        </p:sp>
        <p:sp>
          <p:nvSpPr>
            <p:cNvPr id="89" name="Rectangle 88">
              <a:extLst>
                <a:ext uri="{FF2B5EF4-FFF2-40B4-BE49-F238E27FC236}">
                  <a16:creationId xmlns:a16="http://schemas.microsoft.com/office/drawing/2014/main" id="{E60404D8-DB86-6C45-97FB-909F1C86CE79}"/>
                </a:ext>
              </a:extLst>
            </p:cNvPr>
            <p:cNvSpPr/>
            <p:nvPr/>
          </p:nvSpPr>
          <p:spPr>
            <a:xfrm>
              <a:off x="1875295" y="4414629"/>
              <a:ext cx="309966" cy="201478"/>
            </a:xfrm>
            <a:prstGeom prst="rect">
              <a:avLst/>
            </a:prstGeom>
            <a:grp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9" tIns="45720" rIns="91439" bIns="45720" numCol="1" spcCol="0" rtlCol="0" fromWordArt="0" anchor="ctr" anchorCtr="0" forceAA="0" compatLnSpc="1">
              <a:prstTxWarp prst="textNoShape">
                <a:avLst/>
              </a:prstTxWarp>
              <a:noAutofit/>
            </a:bodyPr>
            <a:lstStyle/>
            <a:p>
              <a:pPr algn="ctr" defTabSz="1228949"/>
              <a:endParaRPr lang="en-US" dirty="0" err="1">
                <a:solidFill>
                  <a:srgbClr val="FFFFFF"/>
                </a:solidFill>
                <a:latin typeface="Arial" panose="020B0604020202020204"/>
              </a:endParaRPr>
            </a:p>
          </p:txBody>
        </p:sp>
        <p:sp>
          <p:nvSpPr>
            <p:cNvPr id="90" name="Rectangle 89">
              <a:extLst>
                <a:ext uri="{FF2B5EF4-FFF2-40B4-BE49-F238E27FC236}">
                  <a16:creationId xmlns:a16="http://schemas.microsoft.com/office/drawing/2014/main" id="{4780723F-9C94-934F-9AE0-562283A6C1CE}"/>
                </a:ext>
              </a:extLst>
            </p:cNvPr>
            <p:cNvSpPr/>
            <p:nvPr/>
          </p:nvSpPr>
          <p:spPr>
            <a:xfrm>
              <a:off x="2193010" y="4414629"/>
              <a:ext cx="309966" cy="201478"/>
            </a:xfrm>
            <a:prstGeom prst="rect">
              <a:avLst/>
            </a:prstGeom>
            <a:grp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9" tIns="45720" rIns="91439" bIns="45720" numCol="1" spcCol="0" rtlCol="0" fromWordArt="0" anchor="ctr" anchorCtr="0" forceAA="0" compatLnSpc="1">
              <a:prstTxWarp prst="textNoShape">
                <a:avLst/>
              </a:prstTxWarp>
              <a:noAutofit/>
            </a:bodyPr>
            <a:lstStyle/>
            <a:p>
              <a:pPr algn="ctr" defTabSz="1228949"/>
              <a:endParaRPr lang="en-US" dirty="0" err="1">
                <a:solidFill>
                  <a:srgbClr val="FFFFFF"/>
                </a:solidFill>
                <a:latin typeface="Arial" panose="020B0604020202020204"/>
              </a:endParaRPr>
            </a:p>
          </p:txBody>
        </p:sp>
        <p:sp>
          <p:nvSpPr>
            <p:cNvPr id="91" name="Rectangle 90">
              <a:extLst>
                <a:ext uri="{FF2B5EF4-FFF2-40B4-BE49-F238E27FC236}">
                  <a16:creationId xmlns:a16="http://schemas.microsoft.com/office/drawing/2014/main" id="{5A4ABC57-0E66-ED4D-9CEB-08F6852A315B}"/>
                </a:ext>
              </a:extLst>
            </p:cNvPr>
            <p:cNvSpPr/>
            <p:nvPr/>
          </p:nvSpPr>
          <p:spPr>
            <a:xfrm>
              <a:off x="2502977" y="4414629"/>
              <a:ext cx="309966" cy="201478"/>
            </a:xfrm>
            <a:prstGeom prst="rect">
              <a:avLst/>
            </a:prstGeom>
            <a:grp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9" tIns="45720" rIns="91439" bIns="45720" numCol="1" spcCol="0" rtlCol="0" fromWordArt="0" anchor="ctr" anchorCtr="0" forceAA="0" compatLnSpc="1">
              <a:prstTxWarp prst="textNoShape">
                <a:avLst/>
              </a:prstTxWarp>
              <a:noAutofit/>
            </a:bodyPr>
            <a:lstStyle/>
            <a:p>
              <a:pPr algn="ctr" defTabSz="1228949"/>
              <a:endParaRPr lang="en-US" dirty="0" err="1">
                <a:solidFill>
                  <a:srgbClr val="FFFFFF"/>
                </a:solidFill>
                <a:latin typeface="Arial" panose="020B0604020202020204"/>
              </a:endParaRPr>
            </a:p>
          </p:txBody>
        </p:sp>
        <p:sp>
          <p:nvSpPr>
            <p:cNvPr id="92" name="Rectangle 91">
              <a:extLst>
                <a:ext uri="{FF2B5EF4-FFF2-40B4-BE49-F238E27FC236}">
                  <a16:creationId xmlns:a16="http://schemas.microsoft.com/office/drawing/2014/main" id="{FC355843-3835-9C4D-8BCE-006076D8DC10}"/>
                </a:ext>
              </a:extLst>
            </p:cNvPr>
            <p:cNvSpPr/>
            <p:nvPr/>
          </p:nvSpPr>
          <p:spPr>
            <a:xfrm>
              <a:off x="2812943" y="4414629"/>
              <a:ext cx="309966" cy="201478"/>
            </a:xfrm>
            <a:prstGeom prst="rect">
              <a:avLst/>
            </a:prstGeom>
            <a:grp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9" tIns="45720" rIns="91439" bIns="45720" numCol="1" spcCol="0" rtlCol="0" fromWordArt="0" anchor="ctr" anchorCtr="0" forceAA="0" compatLnSpc="1">
              <a:prstTxWarp prst="textNoShape">
                <a:avLst/>
              </a:prstTxWarp>
              <a:noAutofit/>
            </a:bodyPr>
            <a:lstStyle/>
            <a:p>
              <a:pPr algn="ctr" defTabSz="1228949"/>
              <a:endParaRPr lang="en-US" dirty="0" err="1">
                <a:solidFill>
                  <a:srgbClr val="FFFFFF"/>
                </a:solidFill>
                <a:latin typeface="Arial" panose="020B0604020202020204"/>
              </a:endParaRPr>
            </a:p>
          </p:txBody>
        </p:sp>
        <p:sp>
          <p:nvSpPr>
            <p:cNvPr id="93" name="Rectangle 92">
              <a:extLst>
                <a:ext uri="{FF2B5EF4-FFF2-40B4-BE49-F238E27FC236}">
                  <a16:creationId xmlns:a16="http://schemas.microsoft.com/office/drawing/2014/main" id="{B9966D1D-E4AD-D74F-97B1-9FCBE927F2D3}"/>
                </a:ext>
              </a:extLst>
            </p:cNvPr>
            <p:cNvSpPr/>
            <p:nvPr/>
          </p:nvSpPr>
          <p:spPr>
            <a:xfrm>
              <a:off x="3130658" y="4414629"/>
              <a:ext cx="309966" cy="201478"/>
            </a:xfrm>
            <a:prstGeom prst="rect">
              <a:avLst/>
            </a:prstGeom>
            <a:grp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9" tIns="45720" rIns="91439" bIns="45720" numCol="1" spcCol="0" rtlCol="0" fromWordArt="0" anchor="ctr" anchorCtr="0" forceAA="0" compatLnSpc="1">
              <a:prstTxWarp prst="textNoShape">
                <a:avLst/>
              </a:prstTxWarp>
              <a:noAutofit/>
            </a:bodyPr>
            <a:lstStyle/>
            <a:p>
              <a:pPr algn="ctr" defTabSz="1228949"/>
              <a:endParaRPr lang="en-US" dirty="0" err="1">
                <a:solidFill>
                  <a:srgbClr val="FFFFFF"/>
                </a:solidFill>
                <a:latin typeface="Arial" panose="020B0604020202020204"/>
              </a:endParaRPr>
            </a:p>
          </p:txBody>
        </p:sp>
        <p:sp>
          <p:nvSpPr>
            <p:cNvPr id="94" name="Rectangle 93">
              <a:extLst>
                <a:ext uri="{FF2B5EF4-FFF2-40B4-BE49-F238E27FC236}">
                  <a16:creationId xmlns:a16="http://schemas.microsoft.com/office/drawing/2014/main" id="{8724AF87-684A-3C48-8D5D-76E2EF803EFC}"/>
                </a:ext>
              </a:extLst>
            </p:cNvPr>
            <p:cNvSpPr/>
            <p:nvPr/>
          </p:nvSpPr>
          <p:spPr>
            <a:xfrm>
              <a:off x="1565329" y="4616107"/>
              <a:ext cx="309966" cy="201478"/>
            </a:xfrm>
            <a:prstGeom prst="rect">
              <a:avLst/>
            </a:prstGeom>
            <a:grp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9" tIns="45720" rIns="91439" bIns="45720" numCol="1" spcCol="0" rtlCol="0" fromWordArt="0" anchor="ctr" anchorCtr="0" forceAA="0" compatLnSpc="1">
              <a:prstTxWarp prst="textNoShape">
                <a:avLst/>
              </a:prstTxWarp>
              <a:noAutofit/>
            </a:bodyPr>
            <a:lstStyle/>
            <a:p>
              <a:pPr algn="ctr" defTabSz="1228949"/>
              <a:endParaRPr lang="en-US" dirty="0" err="1">
                <a:solidFill>
                  <a:srgbClr val="FFFFFF"/>
                </a:solidFill>
                <a:latin typeface="Arial" panose="020B0604020202020204"/>
              </a:endParaRPr>
            </a:p>
          </p:txBody>
        </p:sp>
        <p:sp>
          <p:nvSpPr>
            <p:cNvPr id="95" name="Rectangle 94">
              <a:extLst>
                <a:ext uri="{FF2B5EF4-FFF2-40B4-BE49-F238E27FC236}">
                  <a16:creationId xmlns:a16="http://schemas.microsoft.com/office/drawing/2014/main" id="{46839A34-FC6C-C043-8041-24761E10EBF0}"/>
                </a:ext>
              </a:extLst>
            </p:cNvPr>
            <p:cNvSpPr/>
            <p:nvPr/>
          </p:nvSpPr>
          <p:spPr>
            <a:xfrm>
              <a:off x="1875295" y="4616107"/>
              <a:ext cx="309966" cy="201478"/>
            </a:xfrm>
            <a:prstGeom prst="rect">
              <a:avLst/>
            </a:prstGeom>
            <a:grp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9" tIns="45720" rIns="91439" bIns="45720" numCol="1" spcCol="0" rtlCol="0" fromWordArt="0" anchor="ctr" anchorCtr="0" forceAA="0" compatLnSpc="1">
              <a:prstTxWarp prst="textNoShape">
                <a:avLst/>
              </a:prstTxWarp>
              <a:noAutofit/>
            </a:bodyPr>
            <a:lstStyle/>
            <a:p>
              <a:pPr algn="ctr" defTabSz="1228949"/>
              <a:endParaRPr lang="en-US" dirty="0" err="1">
                <a:solidFill>
                  <a:srgbClr val="FFFFFF"/>
                </a:solidFill>
                <a:latin typeface="Arial" panose="020B0604020202020204"/>
              </a:endParaRPr>
            </a:p>
          </p:txBody>
        </p:sp>
        <p:sp>
          <p:nvSpPr>
            <p:cNvPr id="96" name="Rectangle 95">
              <a:extLst>
                <a:ext uri="{FF2B5EF4-FFF2-40B4-BE49-F238E27FC236}">
                  <a16:creationId xmlns:a16="http://schemas.microsoft.com/office/drawing/2014/main" id="{E727C5AD-12F6-0243-A87B-405BC9B4C62E}"/>
                </a:ext>
              </a:extLst>
            </p:cNvPr>
            <p:cNvSpPr/>
            <p:nvPr/>
          </p:nvSpPr>
          <p:spPr>
            <a:xfrm>
              <a:off x="2193010" y="4616107"/>
              <a:ext cx="309966" cy="201478"/>
            </a:xfrm>
            <a:prstGeom prst="rect">
              <a:avLst/>
            </a:prstGeom>
            <a:grp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9" tIns="45720" rIns="91439" bIns="45720" numCol="1" spcCol="0" rtlCol="0" fromWordArt="0" anchor="ctr" anchorCtr="0" forceAA="0" compatLnSpc="1">
              <a:prstTxWarp prst="textNoShape">
                <a:avLst/>
              </a:prstTxWarp>
              <a:noAutofit/>
            </a:bodyPr>
            <a:lstStyle/>
            <a:p>
              <a:pPr algn="ctr" defTabSz="1228949"/>
              <a:endParaRPr lang="en-US" dirty="0" err="1">
                <a:solidFill>
                  <a:srgbClr val="FFFFFF"/>
                </a:solidFill>
                <a:latin typeface="Arial" panose="020B0604020202020204"/>
              </a:endParaRPr>
            </a:p>
          </p:txBody>
        </p:sp>
        <p:sp>
          <p:nvSpPr>
            <p:cNvPr id="97" name="Rectangle 96">
              <a:extLst>
                <a:ext uri="{FF2B5EF4-FFF2-40B4-BE49-F238E27FC236}">
                  <a16:creationId xmlns:a16="http://schemas.microsoft.com/office/drawing/2014/main" id="{CE87A4D1-8239-F344-860B-4C2C8F0D1B80}"/>
                </a:ext>
              </a:extLst>
            </p:cNvPr>
            <p:cNvSpPr/>
            <p:nvPr/>
          </p:nvSpPr>
          <p:spPr>
            <a:xfrm>
              <a:off x="2502977" y="4616107"/>
              <a:ext cx="309966" cy="201478"/>
            </a:xfrm>
            <a:prstGeom prst="rect">
              <a:avLst/>
            </a:prstGeom>
            <a:grp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9" tIns="45720" rIns="91439" bIns="45720" numCol="1" spcCol="0" rtlCol="0" fromWordArt="0" anchor="ctr" anchorCtr="0" forceAA="0" compatLnSpc="1">
              <a:prstTxWarp prst="textNoShape">
                <a:avLst/>
              </a:prstTxWarp>
              <a:noAutofit/>
            </a:bodyPr>
            <a:lstStyle/>
            <a:p>
              <a:pPr algn="ctr" defTabSz="1228949"/>
              <a:endParaRPr lang="en-US" dirty="0" err="1">
                <a:solidFill>
                  <a:srgbClr val="FFFFFF"/>
                </a:solidFill>
                <a:latin typeface="Arial" panose="020B0604020202020204"/>
              </a:endParaRPr>
            </a:p>
          </p:txBody>
        </p:sp>
        <p:sp>
          <p:nvSpPr>
            <p:cNvPr id="98" name="Rectangle 97">
              <a:extLst>
                <a:ext uri="{FF2B5EF4-FFF2-40B4-BE49-F238E27FC236}">
                  <a16:creationId xmlns:a16="http://schemas.microsoft.com/office/drawing/2014/main" id="{FC6A8829-D4A8-BC4D-8E39-179D3B7D0AC4}"/>
                </a:ext>
              </a:extLst>
            </p:cNvPr>
            <p:cNvSpPr/>
            <p:nvPr/>
          </p:nvSpPr>
          <p:spPr>
            <a:xfrm>
              <a:off x="2812943" y="4616107"/>
              <a:ext cx="309966" cy="201478"/>
            </a:xfrm>
            <a:prstGeom prst="rect">
              <a:avLst/>
            </a:prstGeom>
            <a:grp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9" tIns="45720" rIns="91439" bIns="45720" numCol="1" spcCol="0" rtlCol="0" fromWordArt="0" anchor="ctr" anchorCtr="0" forceAA="0" compatLnSpc="1">
              <a:prstTxWarp prst="textNoShape">
                <a:avLst/>
              </a:prstTxWarp>
              <a:noAutofit/>
            </a:bodyPr>
            <a:lstStyle/>
            <a:p>
              <a:pPr algn="ctr" defTabSz="1228949"/>
              <a:endParaRPr lang="en-US" dirty="0" err="1">
                <a:solidFill>
                  <a:srgbClr val="FFFFFF"/>
                </a:solidFill>
                <a:latin typeface="Arial" panose="020B0604020202020204"/>
              </a:endParaRPr>
            </a:p>
          </p:txBody>
        </p:sp>
        <p:sp>
          <p:nvSpPr>
            <p:cNvPr id="99" name="Rectangle 98">
              <a:extLst>
                <a:ext uri="{FF2B5EF4-FFF2-40B4-BE49-F238E27FC236}">
                  <a16:creationId xmlns:a16="http://schemas.microsoft.com/office/drawing/2014/main" id="{8FB999DD-7985-FA42-B47A-EE67F05EF8E1}"/>
                </a:ext>
              </a:extLst>
            </p:cNvPr>
            <p:cNvSpPr/>
            <p:nvPr/>
          </p:nvSpPr>
          <p:spPr>
            <a:xfrm>
              <a:off x="3130658" y="4616107"/>
              <a:ext cx="309966" cy="201478"/>
            </a:xfrm>
            <a:prstGeom prst="rect">
              <a:avLst/>
            </a:prstGeom>
            <a:grp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9" tIns="45720" rIns="91439" bIns="45720" numCol="1" spcCol="0" rtlCol="0" fromWordArt="0" anchor="ctr" anchorCtr="0" forceAA="0" compatLnSpc="1">
              <a:prstTxWarp prst="textNoShape">
                <a:avLst/>
              </a:prstTxWarp>
              <a:noAutofit/>
            </a:bodyPr>
            <a:lstStyle/>
            <a:p>
              <a:pPr algn="ctr" defTabSz="1228949"/>
              <a:endParaRPr lang="en-US" dirty="0" err="1">
                <a:solidFill>
                  <a:srgbClr val="FFFFFF"/>
                </a:solidFill>
                <a:latin typeface="Arial" panose="020B0604020202020204"/>
              </a:endParaRPr>
            </a:p>
          </p:txBody>
        </p:sp>
        <p:sp>
          <p:nvSpPr>
            <p:cNvPr id="100" name="Rectangle 99">
              <a:extLst>
                <a:ext uri="{FF2B5EF4-FFF2-40B4-BE49-F238E27FC236}">
                  <a16:creationId xmlns:a16="http://schemas.microsoft.com/office/drawing/2014/main" id="{6086282F-0F83-2A48-83E4-B71AD714AA5E}"/>
                </a:ext>
              </a:extLst>
            </p:cNvPr>
            <p:cNvSpPr/>
            <p:nvPr/>
          </p:nvSpPr>
          <p:spPr>
            <a:xfrm>
              <a:off x="3452248" y="4414629"/>
              <a:ext cx="309966" cy="201478"/>
            </a:xfrm>
            <a:prstGeom prst="rect">
              <a:avLst/>
            </a:prstGeom>
            <a:grp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9" tIns="45720" rIns="91439" bIns="45720" numCol="1" spcCol="0" rtlCol="0" fromWordArt="0" anchor="ctr" anchorCtr="0" forceAA="0" compatLnSpc="1">
              <a:prstTxWarp prst="textNoShape">
                <a:avLst/>
              </a:prstTxWarp>
              <a:noAutofit/>
            </a:bodyPr>
            <a:lstStyle/>
            <a:p>
              <a:pPr algn="ctr" defTabSz="1228949"/>
              <a:endParaRPr lang="en-US" dirty="0" err="1">
                <a:solidFill>
                  <a:srgbClr val="FFFFFF"/>
                </a:solidFill>
                <a:latin typeface="Arial" panose="020B0604020202020204"/>
              </a:endParaRPr>
            </a:p>
          </p:txBody>
        </p:sp>
        <p:sp>
          <p:nvSpPr>
            <p:cNvPr id="101" name="Rectangle 100">
              <a:extLst>
                <a:ext uri="{FF2B5EF4-FFF2-40B4-BE49-F238E27FC236}">
                  <a16:creationId xmlns:a16="http://schemas.microsoft.com/office/drawing/2014/main" id="{993AFCDE-1684-6045-91C0-E95434660AF0}"/>
                </a:ext>
              </a:extLst>
            </p:cNvPr>
            <p:cNvSpPr/>
            <p:nvPr/>
          </p:nvSpPr>
          <p:spPr>
            <a:xfrm>
              <a:off x="3769963" y="4414629"/>
              <a:ext cx="309966" cy="201478"/>
            </a:xfrm>
            <a:prstGeom prst="rect">
              <a:avLst/>
            </a:prstGeom>
            <a:grp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9" tIns="45720" rIns="91439" bIns="45720" numCol="1" spcCol="0" rtlCol="0" fromWordArt="0" anchor="ctr" anchorCtr="0" forceAA="0" compatLnSpc="1">
              <a:prstTxWarp prst="textNoShape">
                <a:avLst/>
              </a:prstTxWarp>
              <a:noAutofit/>
            </a:bodyPr>
            <a:lstStyle/>
            <a:p>
              <a:pPr algn="ctr" defTabSz="1228949"/>
              <a:endParaRPr lang="en-US" dirty="0" err="1">
                <a:solidFill>
                  <a:srgbClr val="FFFFFF"/>
                </a:solidFill>
                <a:latin typeface="Arial" panose="020B0604020202020204"/>
              </a:endParaRPr>
            </a:p>
          </p:txBody>
        </p:sp>
        <p:sp>
          <p:nvSpPr>
            <p:cNvPr id="102" name="Rectangle 101">
              <a:extLst>
                <a:ext uri="{FF2B5EF4-FFF2-40B4-BE49-F238E27FC236}">
                  <a16:creationId xmlns:a16="http://schemas.microsoft.com/office/drawing/2014/main" id="{447BEF90-B059-6044-B3DB-2CF71988C9B8}"/>
                </a:ext>
              </a:extLst>
            </p:cNvPr>
            <p:cNvSpPr/>
            <p:nvPr/>
          </p:nvSpPr>
          <p:spPr>
            <a:xfrm>
              <a:off x="3452248" y="4616107"/>
              <a:ext cx="309966" cy="201478"/>
            </a:xfrm>
            <a:prstGeom prst="rect">
              <a:avLst/>
            </a:prstGeom>
            <a:grp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9" tIns="45720" rIns="91439" bIns="45720" numCol="1" spcCol="0" rtlCol="0" fromWordArt="0" anchor="ctr" anchorCtr="0" forceAA="0" compatLnSpc="1">
              <a:prstTxWarp prst="textNoShape">
                <a:avLst/>
              </a:prstTxWarp>
              <a:noAutofit/>
            </a:bodyPr>
            <a:lstStyle/>
            <a:p>
              <a:pPr algn="ctr" defTabSz="1228949"/>
              <a:endParaRPr lang="en-US" dirty="0" err="1">
                <a:solidFill>
                  <a:srgbClr val="FFFFFF"/>
                </a:solidFill>
                <a:latin typeface="Arial" panose="020B0604020202020204"/>
              </a:endParaRPr>
            </a:p>
          </p:txBody>
        </p:sp>
        <p:sp>
          <p:nvSpPr>
            <p:cNvPr id="103" name="Rectangle 102">
              <a:extLst>
                <a:ext uri="{FF2B5EF4-FFF2-40B4-BE49-F238E27FC236}">
                  <a16:creationId xmlns:a16="http://schemas.microsoft.com/office/drawing/2014/main" id="{BBB25DF8-4735-E245-8DDC-A949EF2C2D88}"/>
                </a:ext>
              </a:extLst>
            </p:cNvPr>
            <p:cNvSpPr/>
            <p:nvPr/>
          </p:nvSpPr>
          <p:spPr>
            <a:xfrm>
              <a:off x="3769963" y="4616107"/>
              <a:ext cx="309966" cy="201478"/>
            </a:xfrm>
            <a:prstGeom prst="rect">
              <a:avLst/>
            </a:prstGeom>
            <a:grp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9" tIns="45720" rIns="91439" bIns="45720" numCol="1" spcCol="0" rtlCol="0" fromWordArt="0" anchor="ctr" anchorCtr="0" forceAA="0" compatLnSpc="1">
              <a:prstTxWarp prst="textNoShape">
                <a:avLst/>
              </a:prstTxWarp>
              <a:noAutofit/>
            </a:bodyPr>
            <a:lstStyle/>
            <a:p>
              <a:pPr algn="ctr" defTabSz="1228949"/>
              <a:endParaRPr lang="en-US" dirty="0" err="1">
                <a:solidFill>
                  <a:srgbClr val="FFFFFF"/>
                </a:solidFill>
                <a:latin typeface="Arial" panose="020B0604020202020204"/>
              </a:endParaRPr>
            </a:p>
          </p:txBody>
        </p:sp>
        <p:sp>
          <p:nvSpPr>
            <p:cNvPr id="104" name="Rectangle 103">
              <a:extLst>
                <a:ext uri="{FF2B5EF4-FFF2-40B4-BE49-F238E27FC236}">
                  <a16:creationId xmlns:a16="http://schemas.microsoft.com/office/drawing/2014/main" id="{B94E4C7C-8A60-A944-83AC-2D57663A72CE}"/>
                </a:ext>
              </a:extLst>
            </p:cNvPr>
            <p:cNvSpPr/>
            <p:nvPr/>
          </p:nvSpPr>
          <p:spPr>
            <a:xfrm>
              <a:off x="1565329" y="4817585"/>
              <a:ext cx="309966" cy="201478"/>
            </a:xfrm>
            <a:prstGeom prst="rect">
              <a:avLst/>
            </a:prstGeom>
            <a:grp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9" tIns="45720" rIns="91439" bIns="45720" numCol="1" spcCol="0" rtlCol="0" fromWordArt="0" anchor="ctr" anchorCtr="0" forceAA="0" compatLnSpc="1">
              <a:prstTxWarp prst="textNoShape">
                <a:avLst/>
              </a:prstTxWarp>
              <a:noAutofit/>
            </a:bodyPr>
            <a:lstStyle/>
            <a:p>
              <a:pPr algn="ctr" defTabSz="1228949"/>
              <a:endParaRPr lang="en-US" dirty="0" err="1">
                <a:solidFill>
                  <a:srgbClr val="FFFFFF"/>
                </a:solidFill>
                <a:latin typeface="Arial" panose="020B0604020202020204"/>
              </a:endParaRPr>
            </a:p>
          </p:txBody>
        </p:sp>
        <p:sp>
          <p:nvSpPr>
            <p:cNvPr id="105" name="Rectangle 104">
              <a:extLst>
                <a:ext uri="{FF2B5EF4-FFF2-40B4-BE49-F238E27FC236}">
                  <a16:creationId xmlns:a16="http://schemas.microsoft.com/office/drawing/2014/main" id="{1E8F3597-A11C-7F40-AE04-81DF60609100}"/>
                </a:ext>
              </a:extLst>
            </p:cNvPr>
            <p:cNvSpPr/>
            <p:nvPr/>
          </p:nvSpPr>
          <p:spPr>
            <a:xfrm>
              <a:off x="1875295" y="4817585"/>
              <a:ext cx="309966" cy="201478"/>
            </a:xfrm>
            <a:prstGeom prst="rect">
              <a:avLst/>
            </a:prstGeom>
            <a:grp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9" tIns="45720" rIns="91439" bIns="45720" numCol="1" spcCol="0" rtlCol="0" fromWordArt="0" anchor="ctr" anchorCtr="0" forceAA="0" compatLnSpc="1">
              <a:prstTxWarp prst="textNoShape">
                <a:avLst/>
              </a:prstTxWarp>
              <a:noAutofit/>
            </a:bodyPr>
            <a:lstStyle/>
            <a:p>
              <a:pPr algn="ctr" defTabSz="1228949"/>
              <a:endParaRPr lang="en-US" dirty="0" err="1">
                <a:solidFill>
                  <a:srgbClr val="FFFFFF"/>
                </a:solidFill>
                <a:latin typeface="Arial" panose="020B0604020202020204"/>
              </a:endParaRPr>
            </a:p>
          </p:txBody>
        </p:sp>
        <p:sp>
          <p:nvSpPr>
            <p:cNvPr id="106" name="Rectangle 105">
              <a:extLst>
                <a:ext uri="{FF2B5EF4-FFF2-40B4-BE49-F238E27FC236}">
                  <a16:creationId xmlns:a16="http://schemas.microsoft.com/office/drawing/2014/main" id="{CD3875DD-0E23-A449-9C3E-E606D07967B0}"/>
                </a:ext>
              </a:extLst>
            </p:cNvPr>
            <p:cNvSpPr/>
            <p:nvPr/>
          </p:nvSpPr>
          <p:spPr>
            <a:xfrm>
              <a:off x="2193010" y="4817585"/>
              <a:ext cx="309966" cy="201478"/>
            </a:xfrm>
            <a:prstGeom prst="rect">
              <a:avLst/>
            </a:prstGeom>
            <a:grp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9" tIns="45720" rIns="91439" bIns="45720" numCol="1" spcCol="0" rtlCol="0" fromWordArt="0" anchor="ctr" anchorCtr="0" forceAA="0" compatLnSpc="1">
              <a:prstTxWarp prst="textNoShape">
                <a:avLst/>
              </a:prstTxWarp>
              <a:noAutofit/>
            </a:bodyPr>
            <a:lstStyle/>
            <a:p>
              <a:pPr algn="ctr" defTabSz="1228949"/>
              <a:endParaRPr lang="en-US" dirty="0" err="1">
                <a:solidFill>
                  <a:srgbClr val="FFFFFF"/>
                </a:solidFill>
                <a:latin typeface="Arial" panose="020B0604020202020204"/>
              </a:endParaRPr>
            </a:p>
          </p:txBody>
        </p:sp>
        <p:sp>
          <p:nvSpPr>
            <p:cNvPr id="107" name="Rectangle 106">
              <a:extLst>
                <a:ext uri="{FF2B5EF4-FFF2-40B4-BE49-F238E27FC236}">
                  <a16:creationId xmlns:a16="http://schemas.microsoft.com/office/drawing/2014/main" id="{EA48FD0A-00E9-C543-87B5-C090416512D2}"/>
                </a:ext>
              </a:extLst>
            </p:cNvPr>
            <p:cNvSpPr/>
            <p:nvPr/>
          </p:nvSpPr>
          <p:spPr>
            <a:xfrm>
              <a:off x="2502977" y="4817585"/>
              <a:ext cx="309966" cy="201478"/>
            </a:xfrm>
            <a:prstGeom prst="rect">
              <a:avLst/>
            </a:prstGeom>
            <a:grp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9" tIns="45720" rIns="91439" bIns="45720" numCol="1" spcCol="0" rtlCol="0" fromWordArt="0" anchor="ctr" anchorCtr="0" forceAA="0" compatLnSpc="1">
              <a:prstTxWarp prst="textNoShape">
                <a:avLst/>
              </a:prstTxWarp>
              <a:noAutofit/>
            </a:bodyPr>
            <a:lstStyle/>
            <a:p>
              <a:pPr algn="ctr" defTabSz="1228949"/>
              <a:endParaRPr lang="en-US" dirty="0" err="1">
                <a:solidFill>
                  <a:srgbClr val="FFFFFF"/>
                </a:solidFill>
                <a:latin typeface="Arial" panose="020B0604020202020204"/>
              </a:endParaRPr>
            </a:p>
          </p:txBody>
        </p:sp>
        <p:sp>
          <p:nvSpPr>
            <p:cNvPr id="108" name="Rectangle 107">
              <a:extLst>
                <a:ext uri="{FF2B5EF4-FFF2-40B4-BE49-F238E27FC236}">
                  <a16:creationId xmlns:a16="http://schemas.microsoft.com/office/drawing/2014/main" id="{1D517FB3-2473-4B46-A1D5-7D2F9D481C25}"/>
                </a:ext>
              </a:extLst>
            </p:cNvPr>
            <p:cNvSpPr/>
            <p:nvPr/>
          </p:nvSpPr>
          <p:spPr>
            <a:xfrm>
              <a:off x="2812943" y="4817585"/>
              <a:ext cx="309966" cy="201478"/>
            </a:xfrm>
            <a:prstGeom prst="rect">
              <a:avLst/>
            </a:prstGeom>
            <a:grp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9" tIns="45720" rIns="91439" bIns="45720" numCol="1" spcCol="0" rtlCol="0" fromWordArt="0" anchor="ctr" anchorCtr="0" forceAA="0" compatLnSpc="1">
              <a:prstTxWarp prst="textNoShape">
                <a:avLst/>
              </a:prstTxWarp>
              <a:noAutofit/>
            </a:bodyPr>
            <a:lstStyle/>
            <a:p>
              <a:pPr algn="ctr" defTabSz="1228949"/>
              <a:endParaRPr lang="en-US" dirty="0" err="1">
                <a:solidFill>
                  <a:srgbClr val="FFFFFF"/>
                </a:solidFill>
                <a:latin typeface="Arial" panose="020B0604020202020204"/>
              </a:endParaRPr>
            </a:p>
          </p:txBody>
        </p:sp>
        <p:sp>
          <p:nvSpPr>
            <p:cNvPr id="109" name="Rectangle 108">
              <a:extLst>
                <a:ext uri="{FF2B5EF4-FFF2-40B4-BE49-F238E27FC236}">
                  <a16:creationId xmlns:a16="http://schemas.microsoft.com/office/drawing/2014/main" id="{44C0C0F0-594A-5F4F-B2C4-59C9A7A2D31C}"/>
                </a:ext>
              </a:extLst>
            </p:cNvPr>
            <p:cNvSpPr/>
            <p:nvPr/>
          </p:nvSpPr>
          <p:spPr>
            <a:xfrm>
              <a:off x="3130658" y="4817585"/>
              <a:ext cx="309966" cy="201478"/>
            </a:xfrm>
            <a:prstGeom prst="rect">
              <a:avLst/>
            </a:prstGeom>
            <a:grp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9" tIns="45720" rIns="91439" bIns="45720" numCol="1" spcCol="0" rtlCol="0" fromWordArt="0" anchor="ctr" anchorCtr="0" forceAA="0" compatLnSpc="1">
              <a:prstTxWarp prst="textNoShape">
                <a:avLst/>
              </a:prstTxWarp>
              <a:noAutofit/>
            </a:bodyPr>
            <a:lstStyle/>
            <a:p>
              <a:pPr algn="ctr" defTabSz="1228949"/>
              <a:endParaRPr lang="en-US" dirty="0" err="1">
                <a:solidFill>
                  <a:srgbClr val="FFFFFF"/>
                </a:solidFill>
                <a:latin typeface="Arial" panose="020B0604020202020204"/>
              </a:endParaRPr>
            </a:p>
          </p:txBody>
        </p:sp>
        <p:sp>
          <p:nvSpPr>
            <p:cNvPr id="110" name="Rectangle 109">
              <a:extLst>
                <a:ext uri="{FF2B5EF4-FFF2-40B4-BE49-F238E27FC236}">
                  <a16:creationId xmlns:a16="http://schemas.microsoft.com/office/drawing/2014/main" id="{7F025E08-49CD-1245-BC0A-1ACE7DB2429E}"/>
                </a:ext>
              </a:extLst>
            </p:cNvPr>
            <p:cNvSpPr/>
            <p:nvPr/>
          </p:nvSpPr>
          <p:spPr>
            <a:xfrm>
              <a:off x="1565329" y="5019063"/>
              <a:ext cx="309966" cy="201478"/>
            </a:xfrm>
            <a:prstGeom prst="rect">
              <a:avLst/>
            </a:prstGeom>
            <a:grp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9" tIns="45720" rIns="91439" bIns="45720" numCol="1" spcCol="0" rtlCol="0" fromWordArt="0" anchor="ctr" anchorCtr="0" forceAA="0" compatLnSpc="1">
              <a:prstTxWarp prst="textNoShape">
                <a:avLst/>
              </a:prstTxWarp>
              <a:noAutofit/>
            </a:bodyPr>
            <a:lstStyle/>
            <a:p>
              <a:pPr algn="ctr" defTabSz="1228949"/>
              <a:endParaRPr lang="en-US" dirty="0" err="1">
                <a:solidFill>
                  <a:srgbClr val="FFFFFF"/>
                </a:solidFill>
                <a:latin typeface="Arial" panose="020B0604020202020204"/>
              </a:endParaRPr>
            </a:p>
          </p:txBody>
        </p:sp>
        <p:sp>
          <p:nvSpPr>
            <p:cNvPr id="111" name="Rectangle 110">
              <a:extLst>
                <a:ext uri="{FF2B5EF4-FFF2-40B4-BE49-F238E27FC236}">
                  <a16:creationId xmlns:a16="http://schemas.microsoft.com/office/drawing/2014/main" id="{05174CF7-7E7D-ED4F-B825-1C95187B6FC7}"/>
                </a:ext>
              </a:extLst>
            </p:cNvPr>
            <p:cNvSpPr/>
            <p:nvPr/>
          </p:nvSpPr>
          <p:spPr>
            <a:xfrm>
              <a:off x="1875295" y="5019063"/>
              <a:ext cx="309966" cy="201478"/>
            </a:xfrm>
            <a:prstGeom prst="rect">
              <a:avLst/>
            </a:prstGeom>
            <a:grp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9" tIns="45720" rIns="91439" bIns="45720" numCol="1" spcCol="0" rtlCol="0" fromWordArt="0" anchor="ctr" anchorCtr="0" forceAA="0" compatLnSpc="1">
              <a:prstTxWarp prst="textNoShape">
                <a:avLst/>
              </a:prstTxWarp>
              <a:noAutofit/>
            </a:bodyPr>
            <a:lstStyle/>
            <a:p>
              <a:pPr algn="ctr" defTabSz="1228949"/>
              <a:endParaRPr lang="en-US" dirty="0" err="1">
                <a:solidFill>
                  <a:srgbClr val="FFFFFF"/>
                </a:solidFill>
                <a:latin typeface="Arial" panose="020B0604020202020204"/>
              </a:endParaRPr>
            </a:p>
          </p:txBody>
        </p:sp>
        <p:sp>
          <p:nvSpPr>
            <p:cNvPr id="112" name="Rectangle 111">
              <a:extLst>
                <a:ext uri="{FF2B5EF4-FFF2-40B4-BE49-F238E27FC236}">
                  <a16:creationId xmlns:a16="http://schemas.microsoft.com/office/drawing/2014/main" id="{2DF3FCA0-E9D4-1F42-A1CA-8BCB09987B85}"/>
                </a:ext>
              </a:extLst>
            </p:cNvPr>
            <p:cNvSpPr/>
            <p:nvPr/>
          </p:nvSpPr>
          <p:spPr>
            <a:xfrm>
              <a:off x="2193010" y="5019063"/>
              <a:ext cx="309966" cy="201478"/>
            </a:xfrm>
            <a:prstGeom prst="rect">
              <a:avLst/>
            </a:prstGeom>
            <a:grp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9" tIns="45720" rIns="91439" bIns="45720" numCol="1" spcCol="0" rtlCol="0" fromWordArt="0" anchor="ctr" anchorCtr="0" forceAA="0" compatLnSpc="1">
              <a:prstTxWarp prst="textNoShape">
                <a:avLst/>
              </a:prstTxWarp>
              <a:noAutofit/>
            </a:bodyPr>
            <a:lstStyle/>
            <a:p>
              <a:pPr algn="ctr" defTabSz="1228949"/>
              <a:endParaRPr lang="en-US" dirty="0" err="1">
                <a:solidFill>
                  <a:srgbClr val="FFFFFF"/>
                </a:solidFill>
                <a:latin typeface="Arial" panose="020B0604020202020204"/>
              </a:endParaRPr>
            </a:p>
          </p:txBody>
        </p:sp>
        <p:sp>
          <p:nvSpPr>
            <p:cNvPr id="113" name="Rectangle 112">
              <a:extLst>
                <a:ext uri="{FF2B5EF4-FFF2-40B4-BE49-F238E27FC236}">
                  <a16:creationId xmlns:a16="http://schemas.microsoft.com/office/drawing/2014/main" id="{C5193F11-824F-4643-8CB9-F901D8B62281}"/>
                </a:ext>
              </a:extLst>
            </p:cNvPr>
            <p:cNvSpPr/>
            <p:nvPr/>
          </p:nvSpPr>
          <p:spPr>
            <a:xfrm>
              <a:off x="2502977" y="5019063"/>
              <a:ext cx="309966" cy="201478"/>
            </a:xfrm>
            <a:prstGeom prst="rect">
              <a:avLst/>
            </a:prstGeom>
            <a:grp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9" tIns="45720" rIns="91439" bIns="45720" numCol="1" spcCol="0" rtlCol="0" fromWordArt="0" anchor="ctr" anchorCtr="0" forceAA="0" compatLnSpc="1">
              <a:prstTxWarp prst="textNoShape">
                <a:avLst/>
              </a:prstTxWarp>
              <a:noAutofit/>
            </a:bodyPr>
            <a:lstStyle/>
            <a:p>
              <a:pPr algn="ctr" defTabSz="1228949"/>
              <a:endParaRPr lang="en-US" dirty="0" err="1">
                <a:solidFill>
                  <a:srgbClr val="FFFFFF"/>
                </a:solidFill>
                <a:latin typeface="Arial" panose="020B0604020202020204"/>
              </a:endParaRPr>
            </a:p>
          </p:txBody>
        </p:sp>
        <p:sp>
          <p:nvSpPr>
            <p:cNvPr id="114" name="Rectangle 113">
              <a:extLst>
                <a:ext uri="{FF2B5EF4-FFF2-40B4-BE49-F238E27FC236}">
                  <a16:creationId xmlns:a16="http://schemas.microsoft.com/office/drawing/2014/main" id="{68F005E4-7687-5B43-8FE0-B9712372D8BA}"/>
                </a:ext>
              </a:extLst>
            </p:cNvPr>
            <p:cNvSpPr/>
            <p:nvPr/>
          </p:nvSpPr>
          <p:spPr>
            <a:xfrm>
              <a:off x="2812943" y="5019063"/>
              <a:ext cx="309966" cy="201478"/>
            </a:xfrm>
            <a:prstGeom prst="rect">
              <a:avLst/>
            </a:prstGeom>
            <a:grp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9" tIns="45720" rIns="91439" bIns="45720" numCol="1" spcCol="0" rtlCol="0" fromWordArt="0" anchor="ctr" anchorCtr="0" forceAA="0" compatLnSpc="1">
              <a:prstTxWarp prst="textNoShape">
                <a:avLst/>
              </a:prstTxWarp>
              <a:noAutofit/>
            </a:bodyPr>
            <a:lstStyle/>
            <a:p>
              <a:pPr algn="ctr" defTabSz="1228949"/>
              <a:endParaRPr lang="en-US" dirty="0" err="1">
                <a:solidFill>
                  <a:srgbClr val="FFFFFF"/>
                </a:solidFill>
                <a:latin typeface="Arial" panose="020B0604020202020204"/>
              </a:endParaRPr>
            </a:p>
          </p:txBody>
        </p:sp>
        <p:sp>
          <p:nvSpPr>
            <p:cNvPr id="115" name="Rectangle 114">
              <a:extLst>
                <a:ext uri="{FF2B5EF4-FFF2-40B4-BE49-F238E27FC236}">
                  <a16:creationId xmlns:a16="http://schemas.microsoft.com/office/drawing/2014/main" id="{0E407985-B8EF-2F49-A41A-79760CDFF86E}"/>
                </a:ext>
              </a:extLst>
            </p:cNvPr>
            <p:cNvSpPr/>
            <p:nvPr/>
          </p:nvSpPr>
          <p:spPr>
            <a:xfrm>
              <a:off x="3130658" y="5019063"/>
              <a:ext cx="309966" cy="201478"/>
            </a:xfrm>
            <a:prstGeom prst="rect">
              <a:avLst/>
            </a:prstGeom>
            <a:grp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9" tIns="45720" rIns="91439" bIns="45720" numCol="1" spcCol="0" rtlCol="0" fromWordArt="0" anchor="ctr" anchorCtr="0" forceAA="0" compatLnSpc="1">
              <a:prstTxWarp prst="textNoShape">
                <a:avLst/>
              </a:prstTxWarp>
              <a:noAutofit/>
            </a:bodyPr>
            <a:lstStyle/>
            <a:p>
              <a:pPr algn="ctr" defTabSz="1228949"/>
              <a:endParaRPr lang="en-US" dirty="0" err="1">
                <a:solidFill>
                  <a:srgbClr val="FFFFFF"/>
                </a:solidFill>
                <a:latin typeface="Arial" panose="020B0604020202020204"/>
              </a:endParaRPr>
            </a:p>
          </p:txBody>
        </p:sp>
        <p:sp>
          <p:nvSpPr>
            <p:cNvPr id="116" name="Rectangle 115">
              <a:extLst>
                <a:ext uri="{FF2B5EF4-FFF2-40B4-BE49-F238E27FC236}">
                  <a16:creationId xmlns:a16="http://schemas.microsoft.com/office/drawing/2014/main" id="{C2E2A698-942F-2A44-8EF0-73DDDFFC2938}"/>
                </a:ext>
              </a:extLst>
            </p:cNvPr>
            <p:cNvSpPr/>
            <p:nvPr/>
          </p:nvSpPr>
          <p:spPr>
            <a:xfrm>
              <a:off x="3452248" y="4817585"/>
              <a:ext cx="309966" cy="201478"/>
            </a:xfrm>
            <a:prstGeom prst="rect">
              <a:avLst/>
            </a:prstGeom>
            <a:grp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9" tIns="45720" rIns="91439" bIns="45720" numCol="1" spcCol="0" rtlCol="0" fromWordArt="0" anchor="ctr" anchorCtr="0" forceAA="0" compatLnSpc="1">
              <a:prstTxWarp prst="textNoShape">
                <a:avLst/>
              </a:prstTxWarp>
              <a:noAutofit/>
            </a:bodyPr>
            <a:lstStyle/>
            <a:p>
              <a:pPr algn="ctr" defTabSz="1228949"/>
              <a:endParaRPr lang="en-US" dirty="0" err="1">
                <a:solidFill>
                  <a:srgbClr val="FFFFFF"/>
                </a:solidFill>
                <a:latin typeface="Arial" panose="020B0604020202020204"/>
              </a:endParaRPr>
            </a:p>
          </p:txBody>
        </p:sp>
        <p:sp>
          <p:nvSpPr>
            <p:cNvPr id="117" name="Rectangle 116">
              <a:extLst>
                <a:ext uri="{FF2B5EF4-FFF2-40B4-BE49-F238E27FC236}">
                  <a16:creationId xmlns:a16="http://schemas.microsoft.com/office/drawing/2014/main" id="{9DE5DE2B-7018-9F40-B7F8-B238D09D773E}"/>
                </a:ext>
              </a:extLst>
            </p:cNvPr>
            <p:cNvSpPr/>
            <p:nvPr/>
          </p:nvSpPr>
          <p:spPr>
            <a:xfrm>
              <a:off x="3769963" y="4817585"/>
              <a:ext cx="309966" cy="201478"/>
            </a:xfrm>
            <a:prstGeom prst="rect">
              <a:avLst/>
            </a:prstGeom>
            <a:grp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9" tIns="45720" rIns="91439" bIns="45720" numCol="1" spcCol="0" rtlCol="0" fromWordArt="0" anchor="ctr" anchorCtr="0" forceAA="0" compatLnSpc="1">
              <a:prstTxWarp prst="textNoShape">
                <a:avLst/>
              </a:prstTxWarp>
              <a:noAutofit/>
            </a:bodyPr>
            <a:lstStyle/>
            <a:p>
              <a:pPr algn="ctr" defTabSz="1228949"/>
              <a:endParaRPr lang="en-US" dirty="0" err="1">
                <a:solidFill>
                  <a:srgbClr val="FFFFFF"/>
                </a:solidFill>
                <a:latin typeface="Arial" panose="020B0604020202020204"/>
              </a:endParaRPr>
            </a:p>
          </p:txBody>
        </p:sp>
        <p:sp>
          <p:nvSpPr>
            <p:cNvPr id="118" name="Rectangle 117">
              <a:extLst>
                <a:ext uri="{FF2B5EF4-FFF2-40B4-BE49-F238E27FC236}">
                  <a16:creationId xmlns:a16="http://schemas.microsoft.com/office/drawing/2014/main" id="{184310C5-5804-064F-9563-DCC070170943}"/>
                </a:ext>
              </a:extLst>
            </p:cNvPr>
            <p:cNvSpPr/>
            <p:nvPr/>
          </p:nvSpPr>
          <p:spPr>
            <a:xfrm>
              <a:off x="3452248" y="5019063"/>
              <a:ext cx="309966" cy="201478"/>
            </a:xfrm>
            <a:prstGeom prst="rect">
              <a:avLst/>
            </a:prstGeom>
            <a:grp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9" tIns="45720" rIns="91439" bIns="45720" numCol="1" spcCol="0" rtlCol="0" fromWordArt="0" anchor="ctr" anchorCtr="0" forceAA="0" compatLnSpc="1">
              <a:prstTxWarp prst="textNoShape">
                <a:avLst/>
              </a:prstTxWarp>
              <a:noAutofit/>
            </a:bodyPr>
            <a:lstStyle/>
            <a:p>
              <a:pPr algn="ctr" defTabSz="1228949"/>
              <a:endParaRPr lang="en-US" dirty="0" err="1">
                <a:solidFill>
                  <a:srgbClr val="FFFFFF"/>
                </a:solidFill>
                <a:latin typeface="Arial" panose="020B0604020202020204"/>
              </a:endParaRPr>
            </a:p>
          </p:txBody>
        </p:sp>
        <p:sp>
          <p:nvSpPr>
            <p:cNvPr id="119" name="Rectangle 118">
              <a:extLst>
                <a:ext uri="{FF2B5EF4-FFF2-40B4-BE49-F238E27FC236}">
                  <a16:creationId xmlns:a16="http://schemas.microsoft.com/office/drawing/2014/main" id="{4708BAAF-04D3-D647-B3C6-BE92576D21C7}"/>
                </a:ext>
              </a:extLst>
            </p:cNvPr>
            <p:cNvSpPr/>
            <p:nvPr/>
          </p:nvSpPr>
          <p:spPr>
            <a:xfrm>
              <a:off x="3769963" y="5019063"/>
              <a:ext cx="309966" cy="201478"/>
            </a:xfrm>
            <a:prstGeom prst="rect">
              <a:avLst/>
            </a:prstGeom>
            <a:grp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9" tIns="45720" rIns="91439" bIns="45720" numCol="1" spcCol="0" rtlCol="0" fromWordArt="0" anchor="ctr" anchorCtr="0" forceAA="0" compatLnSpc="1">
              <a:prstTxWarp prst="textNoShape">
                <a:avLst/>
              </a:prstTxWarp>
              <a:noAutofit/>
            </a:bodyPr>
            <a:lstStyle/>
            <a:p>
              <a:pPr algn="ctr" defTabSz="1228949"/>
              <a:endParaRPr lang="en-US" dirty="0" err="1">
                <a:solidFill>
                  <a:srgbClr val="FFFFFF"/>
                </a:solidFill>
                <a:latin typeface="Arial" panose="020B0604020202020204"/>
              </a:endParaRPr>
            </a:p>
          </p:txBody>
        </p:sp>
        <p:sp>
          <p:nvSpPr>
            <p:cNvPr id="120" name="Rectangle 119">
              <a:extLst>
                <a:ext uri="{FF2B5EF4-FFF2-40B4-BE49-F238E27FC236}">
                  <a16:creationId xmlns:a16="http://schemas.microsoft.com/office/drawing/2014/main" id="{473D8D60-7304-0247-B21E-79D6A653ADA4}"/>
                </a:ext>
              </a:extLst>
            </p:cNvPr>
            <p:cNvSpPr/>
            <p:nvPr/>
          </p:nvSpPr>
          <p:spPr>
            <a:xfrm>
              <a:off x="1565329" y="5220541"/>
              <a:ext cx="309966" cy="201478"/>
            </a:xfrm>
            <a:prstGeom prst="rect">
              <a:avLst/>
            </a:prstGeom>
            <a:grp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9" tIns="45720" rIns="91439" bIns="45720" numCol="1" spcCol="0" rtlCol="0" fromWordArt="0" anchor="ctr" anchorCtr="0" forceAA="0" compatLnSpc="1">
              <a:prstTxWarp prst="textNoShape">
                <a:avLst/>
              </a:prstTxWarp>
              <a:noAutofit/>
            </a:bodyPr>
            <a:lstStyle/>
            <a:p>
              <a:pPr algn="ctr" defTabSz="1228949"/>
              <a:endParaRPr lang="en-US" dirty="0" err="1">
                <a:solidFill>
                  <a:srgbClr val="FFFFFF"/>
                </a:solidFill>
                <a:latin typeface="Arial" panose="020B0604020202020204"/>
              </a:endParaRPr>
            </a:p>
          </p:txBody>
        </p:sp>
        <p:sp>
          <p:nvSpPr>
            <p:cNvPr id="121" name="Rectangle 120">
              <a:extLst>
                <a:ext uri="{FF2B5EF4-FFF2-40B4-BE49-F238E27FC236}">
                  <a16:creationId xmlns:a16="http://schemas.microsoft.com/office/drawing/2014/main" id="{6B53BEE0-5D43-2641-BA9E-53C553A2C504}"/>
                </a:ext>
              </a:extLst>
            </p:cNvPr>
            <p:cNvSpPr/>
            <p:nvPr/>
          </p:nvSpPr>
          <p:spPr>
            <a:xfrm>
              <a:off x="1875295" y="5220541"/>
              <a:ext cx="309966" cy="201478"/>
            </a:xfrm>
            <a:prstGeom prst="rect">
              <a:avLst/>
            </a:prstGeom>
            <a:grp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9" tIns="45720" rIns="91439" bIns="45720" numCol="1" spcCol="0" rtlCol="0" fromWordArt="0" anchor="ctr" anchorCtr="0" forceAA="0" compatLnSpc="1">
              <a:prstTxWarp prst="textNoShape">
                <a:avLst/>
              </a:prstTxWarp>
              <a:noAutofit/>
            </a:bodyPr>
            <a:lstStyle/>
            <a:p>
              <a:pPr algn="ctr" defTabSz="1228949"/>
              <a:endParaRPr lang="en-US" dirty="0" err="1">
                <a:solidFill>
                  <a:srgbClr val="FFFFFF"/>
                </a:solidFill>
                <a:latin typeface="Arial" panose="020B0604020202020204"/>
              </a:endParaRPr>
            </a:p>
          </p:txBody>
        </p:sp>
        <p:sp>
          <p:nvSpPr>
            <p:cNvPr id="122" name="Rectangle 121">
              <a:extLst>
                <a:ext uri="{FF2B5EF4-FFF2-40B4-BE49-F238E27FC236}">
                  <a16:creationId xmlns:a16="http://schemas.microsoft.com/office/drawing/2014/main" id="{5DA20FD7-2392-5E49-86D1-02F02536B616}"/>
                </a:ext>
              </a:extLst>
            </p:cNvPr>
            <p:cNvSpPr/>
            <p:nvPr/>
          </p:nvSpPr>
          <p:spPr>
            <a:xfrm>
              <a:off x="2193010" y="5220541"/>
              <a:ext cx="309966" cy="201478"/>
            </a:xfrm>
            <a:prstGeom prst="rect">
              <a:avLst/>
            </a:prstGeom>
            <a:grp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9" tIns="45720" rIns="91439" bIns="45720" numCol="1" spcCol="0" rtlCol="0" fromWordArt="0" anchor="ctr" anchorCtr="0" forceAA="0" compatLnSpc="1">
              <a:prstTxWarp prst="textNoShape">
                <a:avLst/>
              </a:prstTxWarp>
              <a:noAutofit/>
            </a:bodyPr>
            <a:lstStyle/>
            <a:p>
              <a:pPr algn="ctr" defTabSz="1228949"/>
              <a:endParaRPr lang="en-US" dirty="0" err="1">
                <a:solidFill>
                  <a:srgbClr val="FFFFFF"/>
                </a:solidFill>
                <a:latin typeface="Arial" panose="020B0604020202020204"/>
              </a:endParaRPr>
            </a:p>
          </p:txBody>
        </p:sp>
        <p:sp>
          <p:nvSpPr>
            <p:cNvPr id="123" name="Rectangle 122">
              <a:extLst>
                <a:ext uri="{FF2B5EF4-FFF2-40B4-BE49-F238E27FC236}">
                  <a16:creationId xmlns:a16="http://schemas.microsoft.com/office/drawing/2014/main" id="{76FAFE52-54D8-1643-9D65-E9D8BDE95E56}"/>
                </a:ext>
              </a:extLst>
            </p:cNvPr>
            <p:cNvSpPr/>
            <p:nvPr/>
          </p:nvSpPr>
          <p:spPr>
            <a:xfrm>
              <a:off x="2502977" y="5220541"/>
              <a:ext cx="309966" cy="201478"/>
            </a:xfrm>
            <a:prstGeom prst="rect">
              <a:avLst/>
            </a:prstGeom>
            <a:grp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9" tIns="45720" rIns="91439" bIns="45720" numCol="1" spcCol="0" rtlCol="0" fromWordArt="0" anchor="ctr" anchorCtr="0" forceAA="0" compatLnSpc="1">
              <a:prstTxWarp prst="textNoShape">
                <a:avLst/>
              </a:prstTxWarp>
              <a:noAutofit/>
            </a:bodyPr>
            <a:lstStyle/>
            <a:p>
              <a:pPr algn="ctr" defTabSz="1228949"/>
              <a:endParaRPr lang="en-US" dirty="0" err="1">
                <a:solidFill>
                  <a:srgbClr val="FFFFFF"/>
                </a:solidFill>
                <a:latin typeface="Arial" panose="020B0604020202020204"/>
              </a:endParaRPr>
            </a:p>
          </p:txBody>
        </p:sp>
        <p:sp>
          <p:nvSpPr>
            <p:cNvPr id="124" name="Rectangle 123">
              <a:extLst>
                <a:ext uri="{FF2B5EF4-FFF2-40B4-BE49-F238E27FC236}">
                  <a16:creationId xmlns:a16="http://schemas.microsoft.com/office/drawing/2014/main" id="{3FDAB7FD-EFAE-B24E-9179-D8B516A764F1}"/>
                </a:ext>
              </a:extLst>
            </p:cNvPr>
            <p:cNvSpPr/>
            <p:nvPr/>
          </p:nvSpPr>
          <p:spPr>
            <a:xfrm>
              <a:off x="2812943" y="5220541"/>
              <a:ext cx="309966" cy="201478"/>
            </a:xfrm>
            <a:prstGeom prst="rect">
              <a:avLst/>
            </a:prstGeom>
            <a:grp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9" tIns="45720" rIns="91439" bIns="45720" numCol="1" spcCol="0" rtlCol="0" fromWordArt="0" anchor="ctr" anchorCtr="0" forceAA="0" compatLnSpc="1">
              <a:prstTxWarp prst="textNoShape">
                <a:avLst/>
              </a:prstTxWarp>
              <a:noAutofit/>
            </a:bodyPr>
            <a:lstStyle/>
            <a:p>
              <a:pPr algn="ctr" defTabSz="1228949"/>
              <a:endParaRPr lang="en-US" dirty="0" err="1">
                <a:solidFill>
                  <a:srgbClr val="FFFFFF"/>
                </a:solidFill>
                <a:latin typeface="Arial" panose="020B0604020202020204"/>
              </a:endParaRPr>
            </a:p>
          </p:txBody>
        </p:sp>
        <p:sp>
          <p:nvSpPr>
            <p:cNvPr id="125" name="Rectangle 124">
              <a:extLst>
                <a:ext uri="{FF2B5EF4-FFF2-40B4-BE49-F238E27FC236}">
                  <a16:creationId xmlns:a16="http://schemas.microsoft.com/office/drawing/2014/main" id="{8E998776-3FF4-844B-BB88-A4D5C7D85A54}"/>
                </a:ext>
              </a:extLst>
            </p:cNvPr>
            <p:cNvSpPr/>
            <p:nvPr/>
          </p:nvSpPr>
          <p:spPr>
            <a:xfrm>
              <a:off x="3130658" y="5220541"/>
              <a:ext cx="309966" cy="201478"/>
            </a:xfrm>
            <a:prstGeom prst="rect">
              <a:avLst/>
            </a:prstGeom>
            <a:grp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9" tIns="45720" rIns="91439" bIns="45720" numCol="1" spcCol="0" rtlCol="0" fromWordArt="0" anchor="ctr" anchorCtr="0" forceAA="0" compatLnSpc="1">
              <a:prstTxWarp prst="textNoShape">
                <a:avLst/>
              </a:prstTxWarp>
              <a:noAutofit/>
            </a:bodyPr>
            <a:lstStyle/>
            <a:p>
              <a:pPr algn="ctr" defTabSz="1228949"/>
              <a:endParaRPr lang="en-US" dirty="0" err="1">
                <a:solidFill>
                  <a:srgbClr val="FFFFFF"/>
                </a:solidFill>
                <a:latin typeface="Arial" panose="020B0604020202020204"/>
              </a:endParaRPr>
            </a:p>
          </p:txBody>
        </p:sp>
        <p:sp>
          <p:nvSpPr>
            <p:cNvPr id="126" name="Rectangle 125">
              <a:extLst>
                <a:ext uri="{FF2B5EF4-FFF2-40B4-BE49-F238E27FC236}">
                  <a16:creationId xmlns:a16="http://schemas.microsoft.com/office/drawing/2014/main" id="{1B87A496-89C6-3D42-AEA9-36DDED12D654}"/>
                </a:ext>
              </a:extLst>
            </p:cNvPr>
            <p:cNvSpPr/>
            <p:nvPr/>
          </p:nvSpPr>
          <p:spPr>
            <a:xfrm>
              <a:off x="1565329" y="5422019"/>
              <a:ext cx="309966" cy="201478"/>
            </a:xfrm>
            <a:prstGeom prst="rect">
              <a:avLst/>
            </a:prstGeom>
            <a:grp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9" tIns="45720" rIns="91439" bIns="45720" numCol="1" spcCol="0" rtlCol="0" fromWordArt="0" anchor="ctr" anchorCtr="0" forceAA="0" compatLnSpc="1">
              <a:prstTxWarp prst="textNoShape">
                <a:avLst/>
              </a:prstTxWarp>
              <a:noAutofit/>
            </a:bodyPr>
            <a:lstStyle/>
            <a:p>
              <a:pPr algn="ctr" defTabSz="1228949"/>
              <a:endParaRPr lang="en-US" dirty="0" err="1">
                <a:solidFill>
                  <a:srgbClr val="FFFFFF"/>
                </a:solidFill>
                <a:latin typeface="Arial" panose="020B0604020202020204"/>
              </a:endParaRPr>
            </a:p>
          </p:txBody>
        </p:sp>
        <p:sp>
          <p:nvSpPr>
            <p:cNvPr id="127" name="Rectangle 126">
              <a:extLst>
                <a:ext uri="{FF2B5EF4-FFF2-40B4-BE49-F238E27FC236}">
                  <a16:creationId xmlns:a16="http://schemas.microsoft.com/office/drawing/2014/main" id="{9DCEFE4B-A1F7-2745-A11E-B3817B2451FD}"/>
                </a:ext>
              </a:extLst>
            </p:cNvPr>
            <p:cNvSpPr/>
            <p:nvPr/>
          </p:nvSpPr>
          <p:spPr>
            <a:xfrm>
              <a:off x="1875295" y="5422019"/>
              <a:ext cx="309966" cy="201478"/>
            </a:xfrm>
            <a:prstGeom prst="rect">
              <a:avLst/>
            </a:prstGeom>
            <a:grp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9" tIns="45720" rIns="91439" bIns="45720" numCol="1" spcCol="0" rtlCol="0" fromWordArt="0" anchor="ctr" anchorCtr="0" forceAA="0" compatLnSpc="1">
              <a:prstTxWarp prst="textNoShape">
                <a:avLst/>
              </a:prstTxWarp>
              <a:noAutofit/>
            </a:bodyPr>
            <a:lstStyle/>
            <a:p>
              <a:pPr algn="ctr" defTabSz="1228949"/>
              <a:endParaRPr lang="en-US" dirty="0" err="1">
                <a:solidFill>
                  <a:srgbClr val="FFFFFF"/>
                </a:solidFill>
                <a:latin typeface="Arial" panose="020B0604020202020204"/>
              </a:endParaRPr>
            </a:p>
          </p:txBody>
        </p:sp>
        <p:sp>
          <p:nvSpPr>
            <p:cNvPr id="128" name="Rectangle 127">
              <a:extLst>
                <a:ext uri="{FF2B5EF4-FFF2-40B4-BE49-F238E27FC236}">
                  <a16:creationId xmlns:a16="http://schemas.microsoft.com/office/drawing/2014/main" id="{C4DF675E-47B1-054E-A4EA-4C2995C9C520}"/>
                </a:ext>
              </a:extLst>
            </p:cNvPr>
            <p:cNvSpPr/>
            <p:nvPr/>
          </p:nvSpPr>
          <p:spPr>
            <a:xfrm>
              <a:off x="2193010" y="5422019"/>
              <a:ext cx="309966" cy="201478"/>
            </a:xfrm>
            <a:prstGeom prst="rect">
              <a:avLst/>
            </a:prstGeom>
            <a:grp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9" tIns="45720" rIns="91439" bIns="45720" numCol="1" spcCol="0" rtlCol="0" fromWordArt="0" anchor="ctr" anchorCtr="0" forceAA="0" compatLnSpc="1">
              <a:prstTxWarp prst="textNoShape">
                <a:avLst/>
              </a:prstTxWarp>
              <a:noAutofit/>
            </a:bodyPr>
            <a:lstStyle/>
            <a:p>
              <a:pPr algn="ctr" defTabSz="1228949"/>
              <a:endParaRPr lang="en-US" dirty="0" err="1">
                <a:solidFill>
                  <a:srgbClr val="FFFFFF"/>
                </a:solidFill>
                <a:latin typeface="Arial" panose="020B0604020202020204"/>
              </a:endParaRPr>
            </a:p>
          </p:txBody>
        </p:sp>
        <p:sp>
          <p:nvSpPr>
            <p:cNvPr id="129" name="Rectangle 128">
              <a:extLst>
                <a:ext uri="{FF2B5EF4-FFF2-40B4-BE49-F238E27FC236}">
                  <a16:creationId xmlns:a16="http://schemas.microsoft.com/office/drawing/2014/main" id="{E22EA037-B430-A349-92C5-4CC686912676}"/>
                </a:ext>
              </a:extLst>
            </p:cNvPr>
            <p:cNvSpPr/>
            <p:nvPr/>
          </p:nvSpPr>
          <p:spPr>
            <a:xfrm>
              <a:off x="2502977" y="5422019"/>
              <a:ext cx="309966" cy="201478"/>
            </a:xfrm>
            <a:prstGeom prst="rect">
              <a:avLst/>
            </a:prstGeom>
            <a:grp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9" tIns="45720" rIns="91439" bIns="45720" numCol="1" spcCol="0" rtlCol="0" fromWordArt="0" anchor="ctr" anchorCtr="0" forceAA="0" compatLnSpc="1">
              <a:prstTxWarp prst="textNoShape">
                <a:avLst/>
              </a:prstTxWarp>
              <a:noAutofit/>
            </a:bodyPr>
            <a:lstStyle/>
            <a:p>
              <a:pPr algn="ctr" defTabSz="1228949"/>
              <a:endParaRPr lang="en-US" dirty="0" err="1">
                <a:solidFill>
                  <a:srgbClr val="FFFFFF"/>
                </a:solidFill>
                <a:latin typeface="Arial" panose="020B0604020202020204"/>
              </a:endParaRPr>
            </a:p>
          </p:txBody>
        </p:sp>
        <p:sp>
          <p:nvSpPr>
            <p:cNvPr id="130" name="Rectangle 129">
              <a:extLst>
                <a:ext uri="{FF2B5EF4-FFF2-40B4-BE49-F238E27FC236}">
                  <a16:creationId xmlns:a16="http://schemas.microsoft.com/office/drawing/2014/main" id="{94C47271-4C31-644E-9CD1-A84C637C2DC3}"/>
                </a:ext>
              </a:extLst>
            </p:cNvPr>
            <p:cNvSpPr/>
            <p:nvPr/>
          </p:nvSpPr>
          <p:spPr>
            <a:xfrm>
              <a:off x="2812943" y="5422019"/>
              <a:ext cx="309966" cy="201478"/>
            </a:xfrm>
            <a:prstGeom prst="rect">
              <a:avLst/>
            </a:prstGeom>
            <a:grp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9" tIns="45720" rIns="91439" bIns="45720" numCol="1" spcCol="0" rtlCol="0" fromWordArt="0" anchor="ctr" anchorCtr="0" forceAA="0" compatLnSpc="1">
              <a:prstTxWarp prst="textNoShape">
                <a:avLst/>
              </a:prstTxWarp>
              <a:noAutofit/>
            </a:bodyPr>
            <a:lstStyle/>
            <a:p>
              <a:pPr algn="ctr" defTabSz="1228949"/>
              <a:endParaRPr lang="en-US" dirty="0" err="1">
                <a:solidFill>
                  <a:srgbClr val="FFFFFF"/>
                </a:solidFill>
                <a:latin typeface="Arial" panose="020B0604020202020204"/>
              </a:endParaRPr>
            </a:p>
          </p:txBody>
        </p:sp>
        <p:sp>
          <p:nvSpPr>
            <p:cNvPr id="131" name="Rectangle 130">
              <a:extLst>
                <a:ext uri="{FF2B5EF4-FFF2-40B4-BE49-F238E27FC236}">
                  <a16:creationId xmlns:a16="http://schemas.microsoft.com/office/drawing/2014/main" id="{823BEF00-1406-4F4D-95FB-910416770D7D}"/>
                </a:ext>
              </a:extLst>
            </p:cNvPr>
            <p:cNvSpPr/>
            <p:nvPr/>
          </p:nvSpPr>
          <p:spPr>
            <a:xfrm>
              <a:off x="3130658" y="5422019"/>
              <a:ext cx="309966" cy="201478"/>
            </a:xfrm>
            <a:prstGeom prst="rect">
              <a:avLst/>
            </a:prstGeom>
            <a:grp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9" tIns="45720" rIns="91439" bIns="45720" numCol="1" spcCol="0" rtlCol="0" fromWordArt="0" anchor="ctr" anchorCtr="0" forceAA="0" compatLnSpc="1">
              <a:prstTxWarp prst="textNoShape">
                <a:avLst/>
              </a:prstTxWarp>
              <a:noAutofit/>
            </a:bodyPr>
            <a:lstStyle/>
            <a:p>
              <a:pPr algn="ctr" defTabSz="1228949"/>
              <a:endParaRPr lang="en-US" dirty="0" err="1">
                <a:solidFill>
                  <a:srgbClr val="FFFFFF"/>
                </a:solidFill>
                <a:latin typeface="Arial" panose="020B0604020202020204"/>
              </a:endParaRPr>
            </a:p>
          </p:txBody>
        </p:sp>
        <p:sp>
          <p:nvSpPr>
            <p:cNvPr id="132" name="Rectangle 131">
              <a:extLst>
                <a:ext uri="{FF2B5EF4-FFF2-40B4-BE49-F238E27FC236}">
                  <a16:creationId xmlns:a16="http://schemas.microsoft.com/office/drawing/2014/main" id="{2F0013E0-1184-BE42-A341-80C940F8BF00}"/>
                </a:ext>
              </a:extLst>
            </p:cNvPr>
            <p:cNvSpPr/>
            <p:nvPr/>
          </p:nvSpPr>
          <p:spPr>
            <a:xfrm>
              <a:off x="3452248" y="5220541"/>
              <a:ext cx="309966" cy="201478"/>
            </a:xfrm>
            <a:prstGeom prst="rect">
              <a:avLst/>
            </a:prstGeom>
            <a:grp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9" tIns="45720" rIns="91439" bIns="45720" numCol="1" spcCol="0" rtlCol="0" fromWordArt="0" anchor="ctr" anchorCtr="0" forceAA="0" compatLnSpc="1">
              <a:prstTxWarp prst="textNoShape">
                <a:avLst/>
              </a:prstTxWarp>
              <a:noAutofit/>
            </a:bodyPr>
            <a:lstStyle/>
            <a:p>
              <a:pPr algn="ctr" defTabSz="1228949"/>
              <a:endParaRPr lang="en-US" dirty="0" err="1">
                <a:solidFill>
                  <a:srgbClr val="FFFFFF"/>
                </a:solidFill>
                <a:latin typeface="Arial" panose="020B0604020202020204"/>
              </a:endParaRPr>
            </a:p>
          </p:txBody>
        </p:sp>
        <p:sp>
          <p:nvSpPr>
            <p:cNvPr id="133" name="Rectangle 132">
              <a:extLst>
                <a:ext uri="{FF2B5EF4-FFF2-40B4-BE49-F238E27FC236}">
                  <a16:creationId xmlns:a16="http://schemas.microsoft.com/office/drawing/2014/main" id="{7BA855DC-8C3E-D149-A030-FD2B9BD42DD8}"/>
                </a:ext>
              </a:extLst>
            </p:cNvPr>
            <p:cNvSpPr/>
            <p:nvPr/>
          </p:nvSpPr>
          <p:spPr>
            <a:xfrm>
              <a:off x="3769963" y="5220541"/>
              <a:ext cx="309966" cy="201478"/>
            </a:xfrm>
            <a:prstGeom prst="rect">
              <a:avLst/>
            </a:prstGeom>
            <a:grp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9" tIns="45720" rIns="91439" bIns="45720" numCol="1" spcCol="0" rtlCol="0" fromWordArt="0" anchor="ctr" anchorCtr="0" forceAA="0" compatLnSpc="1">
              <a:prstTxWarp prst="textNoShape">
                <a:avLst/>
              </a:prstTxWarp>
              <a:noAutofit/>
            </a:bodyPr>
            <a:lstStyle/>
            <a:p>
              <a:pPr algn="ctr" defTabSz="1228949"/>
              <a:endParaRPr lang="en-US" dirty="0" err="1">
                <a:solidFill>
                  <a:srgbClr val="FFFFFF"/>
                </a:solidFill>
                <a:latin typeface="Arial" panose="020B0604020202020204"/>
              </a:endParaRPr>
            </a:p>
          </p:txBody>
        </p:sp>
        <p:sp>
          <p:nvSpPr>
            <p:cNvPr id="134" name="Rectangle 133">
              <a:extLst>
                <a:ext uri="{FF2B5EF4-FFF2-40B4-BE49-F238E27FC236}">
                  <a16:creationId xmlns:a16="http://schemas.microsoft.com/office/drawing/2014/main" id="{9543FB95-217E-7F4D-AF54-EC1B382E8C57}"/>
                </a:ext>
              </a:extLst>
            </p:cNvPr>
            <p:cNvSpPr/>
            <p:nvPr/>
          </p:nvSpPr>
          <p:spPr>
            <a:xfrm>
              <a:off x="3452248" y="5422019"/>
              <a:ext cx="309966" cy="201478"/>
            </a:xfrm>
            <a:prstGeom prst="rect">
              <a:avLst/>
            </a:prstGeom>
            <a:grp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9" tIns="45720" rIns="91439" bIns="45720" numCol="1" spcCol="0" rtlCol="0" fromWordArt="0" anchor="ctr" anchorCtr="0" forceAA="0" compatLnSpc="1">
              <a:prstTxWarp prst="textNoShape">
                <a:avLst/>
              </a:prstTxWarp>
              <a:noAutofit/>
            </a:bodyPr>
            <a:lstStyle/>
            <a:p>
              <a:pPr algn="ctr" defTabSz="1228949"/>
              <a:endParaRPr lang="en-US" dirty="0" err="1">
                <a:solidFill>
                  <a:srgbClr val="FFFFFF"/>
                </a:solidFill>
                <a:latin typeface="Arial" panose="020B0604020202020204"/>
              </a:endParaRPr>
            </a:p>
          </p:txBody>
        </p:sp>
        <p:sp>
          <p:nvSpPr>
            <p:cNvPr id="135" name="Rectangle 134">
              <a:extLst>
                <a:ext uri="{FF2B5EF4-FFF2-40B4-BE49-F238E27FC236}">
                  <a16:creationId xmlns:a16="http://schemas.microsoft.com/office/drawing/2014/main" id="{3868C372-7BAC-A046-808D-987F24D68E81}"/>
                </a:ext>
              </a:extLst>
            </p:cNvPr>
            <p:cNvSpPr/>
            <p:nvPr/>
          </p:nvSpPr>
          <p:spPr>
            <a:xfrm>
              <a:off x="3769963" y="5422019"/>
              <a:ext cx="309966" cy="201478"/>
            </a:xfrm>
            <a:prstGeom prst="rect">
              <a:avLst/>
            </a:prstGeom>
            <a:grp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9" tIns="45720" rIns="91439" bIns="45720" numCol="1" spcCol="0" rtlCol="0" fromWordArt="0" anchor="ctr" anchorCtr="0" forceAA="0" compatLnSpc="1">
              <a:prstTxWarp prst="textNoShape">
                <a:avLst/>
              </a:prstTxWarp>
              <a:noAutofit/>
            </a:bodyPr>
            <a:lstStyle/>
            <a:p>
              <a:pPr algn="ctr" defTabSz="1228949"/>
              <a:endParaRPr lang="en-US" dirty="0" err="1">
                <a:solidFill>
                  <a:srgbClr val="FFFFFF"/>
                </a:solidFill>
                <a:latin typeface="Arial" panose="020B0604020202020204"/>
              </a:endParaRPr>
            </a:p>
          </p:txBody>
        </p:sp>
        <p:sp>
          <p:nvSpPr>
            <p:cNvPr id="136" name="Rectangle 135">
              <a:extLst>
                <a:ext uri="{FF2B5EF4-FFF2-40B4-BE49-F238E27FC236}">
                  <a16:creationId xmlns:a16="http://schemas.microsoft.com/office/drawing/2014/main" id="{2CF40A88-E7D7-B34B-A1AE-61E519A52EC7}"/>
                </a:ext>
              </a:extLst>
            </p:cNvPr>
            <p:cNvSpPr/>
            <p:nvPr/>
          </p:nvSpPr>
          <p:spPr>
            <a:xfrm>
              <a:off x="1565329" y="5631247"/>
              <a:ext cx="309966" cy="201478"/>
            </a:xfrm>
            <a:prstGeom prst="rect">
              <a:avLst/>
            </a:prstGeom>
            <a:grp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9" tIns="45720" rIns="91439" bIns="45720" numCol="1" spcCol="0" rtlCol="0" fromWordArt="0" anchor="ctr" anchorCtr="0" forceAA="0" compatLnSpc="1">
              <a:prstTxWarp prst="textNoShape">
                <a:avLst/>
              </a:prstTxWarp>
              <a:noAutofit/>
            </a:bodyPr>
            <a:lstStyle/>
            <a:p>
              <a:pPr algn="ctr" defTabSz="1228949"/>
              <a:endParaRPr lang="en-US" dirty="0" err="1">
                <a:solidFill>
                  <a:srgbClr val="FFFFFF"/>
                </a:solidFill>
                <a:latin typeface="Arial" panose="020B0604020202020204"/>
              </a:endParaRPr>
            </a:p>
          </p:txBody>
        </p:sp>
        <p:sp>
          <p:nvSpPr>
            <p:cNvPr id="137" name="Rectangle 136">
              <a:extLst>
                <a:ext uri="{FF2B5EF4-FFF2-40B4-BE49-F238E27FC236}">
                  <a16:creationId xmlns:a16="http://schemas.microsoft.com/office/drawing/2014/main" id="{783D4A06-52C1-E845-9305-784C78F715FF}"/>
                </a:ext>
              </a:extLst>
            </p:cNvPr>
            <p:cNvSpPr/>
            <p:nvPr/>
          </p:nvSpPr>
          <p:spPr>
            <a:xfrm>
              <a:off x="1875295" y="5631247"/>
              <a:ext cx="309966" cy="201478"/>
            </a:xfrm>
            <a:prstGeom prst="rect">
              <a:avLst/>
            </a:prstGeom>
            <a:grp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9" tIns="45720" rIns="91439" bIns="45720" numCol="1" spcCol="0" rtlCol="0" fromWordArt="0" anchor="ctr" anchorCtr="0" forceAA="0" compatLnSpc="1">
              <a:prstTxWarp prst="textNoShape">
                <a:avLst/>
              </a:prstTxWarp>
              <a:noAutofit/>
            </a:bodyPr>
            <a:lstStyle/>
            <a:p>
              <a:pPr algn="ctr" defTabSz="1228949"/>
              <a:endParaRPr lang="en-US" dirty="0" err="1">
                <a:solidFill>
                  <a:srgbClr val="FFFFFF"/>
                </a:solidFill>
                <a:latin typeface="Arial" panose="020B0604020202020204"/>
              </a:endParaRPr>
            </a:p>
          </p:txBody>
        </p:sp>
        <p:sp>
          <p:nvSpPr>
            <p:cNvPr id="138" name="Rectangle 137">
              <a:extLst>
                <a:ext uri="{FF2B5EF4-FFF2-40B4-BE49-F238E27FC236}">
                  <a16:creationId xmlns:a16="http://schemas.microsoft.com/office/drawing/2014/main" id="{ADD4BD31-4257-7C40-87DC-5D0384220591}"/>
                </a:ext>
              </a:extLst>
            </p:cNvPr>
            <p:cNvSpPr/>
            <p:nvPr/>
          </p:nvSpPr>
          <p:spPr>
            <a:xfrm>
              <a:off x="2193010" y="5631247"/>
              <a:ext cx="309966" cy="201478"/>
            </a:xfrm>
            <a:prstGeom prst="rect">
              <a:avLst/>
            </a:prstGeom>
            <a:grp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9" tIns="45720" rIns="91439" bIns="45720" numCol="1" spcCol="0" rtlCol="0" fromWordArt="0" anchor="ctr" anchorCtr="0" forceAA="0" compatLnSpc="1">
              <a:prstTxWarp prst="textNoShape">
                <a:avLst/>
              </a:prstTxWarp>
              <a:noAutofit/>
            </a:bodyPr>
            <a:lstStyle/>
            <a:p>
              <a:pPr algn="ctr" defTabSz="1228949"/>
              <a:endParaRPr lang="en-US" dirty="0" err="1">
                <a:solidFill>
                  <a:srgbClr val="FFFFFF"/>
                </a:solidFill>
                <a:latin typeface="Arial" panose="020B0604020202020204"/>
              </a:endParaRPr>
            </a:p>
          </p:txBody>
        </p:sp>
        <p:sp>
          <p:nvSpPr>
            <p:cNvPr id="139" name="Rectangle 138">
              <a:extLst>
                <a:ext uri="{FF2B5EF4-FFF2-40B4-BE49-F238E27FC236}">
                  <a16:creationId xmlns:a16="http://schemas.microsoft.com/office/drawing/2014/main" id="{869ED443-49E5-A245-85B5-598F2BF61D82}"/>
                </a:ext>
              </a:extLst>
            </p:cNvPr>
            <p:cNvSpPr/>
            <p:nvPr/>
          </p:nvSpPr>
          <p:spPr>
            <a:xfrm>
              <a:off x="2502977" y="5631247"/>
              <a:ext cx="309966" cy="201478"/>
            </a:xfrm>
            <a:prstGeom prst="rect">
              <a:avLst/>
            </a:prstGeom>
            <a:grp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9" tIns="45720" rIns="91439" bIns="45720" numCol="1" spcCol="0" rtlCol="0" fromWordArt="0" anchor="ctr" anchorCtr="0" forceAA="0" compatLnSpc="1">
              <a:prstTxWarp prst="textNoShape">
                <a:avLst/>
              </a:prstTxWarp>
              <a:noAutofit/>
            </a:bodyPr>
            <a:lstStyle/>
            <a:p>
              <a:pPr algn="ctr" defTabSz="1228949"/>
              <a:endParaRPr lang="en-US" dirty="0" err="1">
                <a:solidFill>
                  <a:srgbClr val="FFFFFF"/>
                </a:solidFill>
                <a:latin typeface="Arial" panose="020B0604020202020204"/>
              </a:endParaRPr>
            </a:p>
          </p:txBody>
        </p:sp>
        <p:sp>
          <p:nvSpPr>
            <p:cNvPr id="140" name="Rectangle 139">
              <a:extLst>
                <a:ext uri="{FF2B5EF4-FFF2-40B4-BE49-F238E27FC236}">
                  <a16:creationId xmlns:a16="http://schemas.microsoft.com/office/drawing/2014/main" id="{244B7D95-3D40-314E-9501-F0E6AEFF1108}"/>
                </a:ext>
              </a:extLst>
            </p:cNvPr>
            <p:cNvSpPr/>
            <p:nvPr/>
          </p:nvSpPr>
          <p:spPr>
            <a:xfrm>
              <a:off x="2812943" y="5631247"/>
              <a:ext cx="309966" cy="201478"/>
            </a:xfrm>
            <a:prstGeom prst="rect">
              <a:avLst/>
            </a:prstGeom>
            <a:grp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9" tIns="45720" rIns="91439" bIns="45720" numCol="1" spcCol="0" rtlCol="0" fromWordArt="0" anchor="ctr" anchorCtr="0" forceAA="0" compatLnSpc="1">
              <a:prstTxWarp prst="textNoShape">
                <a:avLst/>
              </a:prstTxWarp>
              <a:noAutofit/>
            </a:bodyPr>
            <a:lstStyle/>
            <a:p>
              <a:pPr algn="ctr" defTabSz="1228949"/>
              <a:endParaRPr lang="en-US" dirty="0" err="1">
                <a:solidFill>
                  <a:srgbClr val="FFFFFF"/>
                </a:solidFill>
                <a:latin typeface="Arial" panose="020B0604020202020204"/>
              </a:endParaRPr>
            </a:p>
          </p:txBody>
        </p:sp>
        <p:sp>
          <p:nvSpPr>
            <p:cNvPr id="141" name="Rectangle 140">
              <a:extLst>
                <a:ext uri="{FF2B5EF4-FFF2-40B4-BE49-F238E27FC236}">
                  <a16:creationId xmlns:a16="http://schemas.microsoft.com/office/drawing/2014/main" id="{558BF6C7-62B1-034D-9708-4DABD3C5CA4C}"/>
                </a:ext>
              </a:extLst>
            </p:cNvPr>
            <p:cNvSpPr/>
            <p:nvPr/>
          </p:nvSpPr>
          <p:spPr>
            <a:xfrm>
              <a:off x="3130658" y="5631247"/>
              <a:ext cx="309966" cy="201478"/>
            </a:xfrm>
            <a:prstGeom prst="rect">
              <a:avLst/>
            </a:prstGeom>
            <a:grp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9" tIns="45720" rIns="91439" bIns="45720" numCol="1" spcCol="0" rtlCol="0" fromWordArt="0" anchor="ctr" anchorCtr="0" forceAA="0" compatLnSpc="1">
              <a:prstTxWarp prst="textNoShape">
                <a:avLst/>
              </a:prstTxWarp>
              <a:noAutofit/>
            </a:bodyPr>
            <a:lstStyle/>
            <a:p>
              <a:pPr algn="ctr" defTabSz="1228949"/>
              <a:endParaRPr lang="en-US" dirty="0" err="1">
                <a:solidFill>
                  <a:srgbClr val="FFFFFF"/>
                </a:solidFill>
                <a:latin typeface="Arial" panose="020B0604020202020204"/>
              </a:endParaRPr>
            </a:p>
          </p:txBody>
        </p:sp>
        <p:sp>
          <p:nvSpPr>
            <p:cNvPr id="142" name="Rectangle 141">
              <a:extLst>
                <a:ext uri="{FF2B5EF4-FFF2-40B4-BE49-F238E27FC236}">
                  <a16:creationId xmlns:a16="http://schemas.microsoft.com/office/drawing/2014/main" id="{F07F2C3E-74F0-CC48-9DA6-DFAC4CAB65CB}"/>
                </a:ext>
              </a:extLst>
            </p:cNvPr>
            <p:cNvSpPr/>
            <p:nvPr/>
          </p:nvSpPr>
          <p:spPr>
            <a:xfrm>
              <a:off x="1565329" y="5832725"/>
              <a:ext cx="309966" cy="201478"/>
            </a:xfrm>
            <a:prstGeom prst="rect">
              <a:avLst/>
            </a:prstGeom>
            <a:grp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9" tIns="45720" rIns="91439" bIns="45720" numCol="1" spcCol="0" rtlCol="0" fromWordArt="0" anchor="ctr" anchorCtr="0" forceAA="0" compatLnSpc="1">
              <a:prstTxWarp prst="textNoShape">
                <a:avLst/>
              </a:prstTxWarp>
              <a:noAutofit/>
            </a:bodyPr>
            <a:lstStyle/>
            <a:p>
              <a:pPr algn="ctr" defTabSz="1228949"/>
              <a:endParaRPr lang="en-US" dirty="0" err="1">
                <a:solidFill>
                  <a:srgbClr val="FFFFFF"/>
                </a:solidFill>
                <a:latin typeface="Arial" panose="020B0604020202020204"/>
              </a:endParaRPr>
            </a:p>
          </p:txBody>
        </p:sp>
        <p:sp>
          <p:nvSpPr>
            <p:cNvPr id="143" name="Rectangle 142">
              <a:extLst>
                <a:ext uri="{FF2B5EF4-FFF2-40B4-BE49-F238E27FC236}">
                  <a16:creationId xmlns:a16="http://schemas.microsoft.com/office/drawing/2014/main" id="{C7DE277F-BBAD-7C4B-B86E-39D57003C0B9}"/>
                </a:ext>
              </a:extLst>
            </p:cNvPr>
            <p:cNvSpPr/>
            <p:nvPr/>
          </p:nvSpPr>
          <p:spPr>
            <a:xfrm>
              <a:off x="1875295" y="5832725"/>
              <a:ext cx="309966" cy="201478"/>
            </a:xfrm>
            <a:prstGeom prst="rect">
              <a:avLst/>
            </a:prstGeom>
            <a:grp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9" tIns="45720" rIns="91439" bIns="45720" numCol="1" spcCol="0" rtlCol="0" fromWordArt="0" anchor="ctr" anchorCtr="0" forceAA="0" compatLnSpc="1">
              <a:prstTxWarp prst="textNoShape">
                <a:avLst/>
              </a:prstTxWarp>
              <a:noAutofit/>
            </a:bodyPr>
            <a:lstStyle/>
            <a:p>
              <a:pPr algn="ctr" defTabSz="1228949"/>
              <a:endParaRPr lang="en-US" dirty="0" err="1">
                <a:solidFill>
                  <a:srgbClr val="FFFFFF"/>
                </a:solidFill>
                <a:latin typeface="Arial" panose="020B0604020202020204"/>
              </a:endParaRPr>
            </a:p>
          </p:txBody>
        </p:sp>
        <p:sp>
          <p:nvSpPr>
            <p:cNvPr id="144" name="Rectangle 143">
              <a:extLst>
                <a:ext uri="{FF2B5EF4-FFF2-40B4-BE49-F238E27FC236}">
                  <a16:creationId xmlns:a16="http://schemas.microsoft.com/office/drawing/2014/main" id="{194E545F-A444-7D45-BF77-CD6D0CE48D42}"/>
                </a:ext>
              </a:extLst>
            </p:cNvPr>
            <p:cNvSpPr/>
            <p:nvPr/>
          </p:nvSpPr>
          <p:spPr>
            <a:xfrm>
              <a:off x="2193010" y="5832725"/>
              <a:ext cx="309966" cy="201478"/>
            </a:xfrm>
            <a:prstGeom prst="rect">
              <a:avLst/>
            </a:prstGeom>
            <a:grp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9" tIns="45720" rIns="91439" bIns="45720" numCol="1" spcCol="0" rtlCol="0" fromWordArt="0" anchor="ctr" anchorCtr="0" forceAA="0" compatLnSpc="1">
              <a:prstTxWarp prst="textNoShape">
                <a:avLst/>
              </a:prstTxWarp>
              <a:noAutofit/>
            </a:bodyPr>
            <a:lstStyle/>
            <a:p>
              <a:pPr algn="ctr" defTabSz="1228949"/>
              <a:endParaRPr lang="en-US" dirty="0" err="1">
                <a:solidFill>
                  <a:srgbClr val="FFFFFF"/>
                </a:solidFill>
                <a:latin typeface="Arial" panose="020B0604020202020204"/>
              </a:endParaRPr>
            </a:p>
          </p:txBody>
        </p:sp>
        <p:sp>
          <p:nvSpPr>
            <p:cNvPr id="145" name="Rectangle 144">
              <a:extLst>
                <a:ext uri="{FF2B5EF4-FFF2-40B4-BE49-F238E27FC236}">
                  <a16:creationId xmlns:a16="http://schemas.microsoft.com/office/drawing/2014/main" id="{C22B8079-A60D-6C4B-B4B0-81089ECFE85D}"/>
                </a:ext>
              </a:extLst>
            </p:cNvPr>
            <p:cNvSpPr/>
            <p:nvPr/>
          </p:nvSpPr>
          <p:spPr>
            <a:xfrm>
              <a:off x="2502977" y="5832725"/>
              <a:ext cx="309966" cy="201478"/>
            </a:xfrm>
            <a:prstGeom prst="rect">
              <a:avLst/>
            </a:prstGeom>
            <a:grp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9" tIns="45720" rIns="91439" bIns="45720" numCol="1" spcCol="0" rtlCol="0" fromWordArt="0" anchor="ctr" anchorCtr="0" forceAA="0" compatLnSpc="1">
              <a:prstTxWarp prst="textNoShape">
                <a:avLst/>
              </a:prstTxWarp>
              <a:noAutofit/>
            </a:bodyPr>
            <a:lstStyle/>
            <a:p>
              <a:pPr algn="ctr" defTabSz="1228949"/>
              <a:endParaRPr lang="en-US" dirty="0" err="1">
                <a:solidFill>
                  <a:srgbClr val="FFFFFF"/>
                </a:solidFill>
                <a:latin typeface="Arial" panose="020B0604020202020204"/>
              </a:endParaRPr>
            </a:p>
          </p:txBody>
        </p:sp>
        <p:sp>
          <p:nvSpPr>
            <p:cNvPr id="146" name="Rectangle 145">
              <a:extLst>
                <a:ext uri="{FF2B5EF4-FFF2-40B4-BE49-F238E27FC236}">
                  <a16:creationId xmlns:a16="http://schemas.microsoft.com/office/drawing/2014/main" id="{038B9489-7B07-C546-AB3F-3843AB479C1A}"/>
                </a:ext>
              </a:extLst>
            </p:cNvPr>
            <p:cNvSpPr/>
            <p:nvPr/>
          </p:nvSpPr>
          <p:spPr>
            <a:xfrm>
              <a:off x="2812943" y="5832725"/>
              <a:ext cx="309966" cy="201478"/>
            </a:xfrm>
            <a:prstGeom prst="rect">
              <a:avLst/>
            </a:prstGeom>
            <a:grp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9" tIns="45720" rIns="91439" bIns="45720" numCol="1" spcCol="0" rtlCol="0" fromWordArt="0" anchor="ctr" anchorCtr="0" forceAA="0" compatLnSpc="1">
              <a:prstTxWarp prst="textNoShape">
                <a:avLst/>
              </a:prstTxWarp>
              <a:noAutofit/>
            </a:bodyPr>
            <a:lstStyle/>
            <a:p>
              <a:pPr algn="ctr" defTabSz="1228949"/>
              <a:endParaRPr lang="en-US" dirty="0" err="1">
                <a:solidFill>
                  <a:srgbClr val="FFFFFF"/>
                </a:solidFill>
                <a:latin typeface="Arial" panose="020B0604020202020204"/>
              </a:endParaRPr>
            </a:p>
          </p:txBody>
        </p:sp>
        <p:sp>
          <p:nvSpPr>
            <p:cNvPr id="147" name="Rectangle 146">
              <a:extLst>
                <a:ext uri="{FF2B5EF4-FFF2-40B4-BE49-F238E27FC236}">
                  <a16:creationId xmlns:a16="http://schemas.microsoft.com/office/drawing/2014/main" id="{1CFCE19C-5CF9-BE40-BCD1-1CBB65915009}"/>
                </a:ext>
              </a:extLst>
            </p:cNvPr>
            <p:cNvSpPr/>
            <p:nvPr/>
          </p:nvSpPr>
          <p:spPr>
            <a:xfrm>
              <a:off x="3130658" y="5832725"/>
              <a:ext cx="309966" cy="201478"/>
            </a:xfrm>
            <a:prstGeom prst="rect">
              <a:avLst/>
            </a:prstGeom>
            <a:grp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9" tIns="45720" rIns="91439" bIns="45720" numCol="1" spcCol="0" rtlCol="0" fromWordArt="0" anchor="ctr" anchorCtr="0" forceAA="0" compatLnSpc="1">
              <a:prstTxWarp prst="textNoShape">
                <a:avLst/>
              </a:prstTxWarp>
              <a:noAutofit/>
            </a:bodyPr>
            <a:lstStyle/>
            <a:p>
              <a:pPr algn="ctr" defTabSz="1228949"/>
              <a:endParaRPr lang="en-US" dirty="0" err="1">
                <a:solidFill>
                  <a:srgbClr val="FFFFFF"/>
                </a:solidFill>
                <a:latin typeface="Arial" panose="020B0604020202020204"/>
              </a:endParaRPr>
            </a:p>
          </p:txBody>
        </p:sp>
        <p:sp>
          <p:nvSpPr>
            <p:cNvPr id="148" name="Rectangle 147">
              <a:extLst>
                <a:ext uri="{FF2B5EF4-FFF2-40B4-BE49-F238E27FC236}">
                  <a16:creationId xmlns:a16="http://schemas.microsoft.com/office/drawing/2014/main" id="{8D891DEC-600A-8A4E-850F-5E569CE37770}"/>
                </a:ext>
              </a:extLst>
            </p:cNvPr>
            <p:cNvSpPr/>
            <p:nvPr/>
          </p:nvSpPr>
          <p:spPr>
            <a:xfrm>
              <a:off x="3452248" y="5631247"/>
              <a:ext cx="309966" cy="201478"/>
            </a:xfrm>
            <a:prstGeom prst="rect">
              <a:avLst/>
            </a:prstGeom>
            <a:grp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9" tIns="45720" rIns="91439" bIns="45720" numCol="1" spcCol="0" rtlCol="0" fromWordArt="0" anchor="ctr" anchorCtr="0" forceAA="0" compatLnSpc="1">
              <a:prstTxWarp prst="textNoShape">
                <a:avLst/>
              </a:prstTxWarp>
              <a:noAutofit/>
            </a:bodyPr>
            <a:lstStyle/>
            <a:p>
              <a:pPr algn="ctr" defTabSz="1228949"/>
              <a:endParaRPr lang="en-US" dirty="0" err="1">
                <a:solidFill>
                  <a:srgbClr val="FFFFFF"/>
                </a:solidFill>
                <a:latin typeface="Arial" panose="020B0604020202020204"/>
              </a:endParaRPr>
            </a:p>
          </p:txBody>
        </p:sp>
        <p:sp>
          <p:nvSpPr>
            <p:cNvPr id="149" name="Rectangle 148">
              <a:extLst>
                <a:ext uri="{FF2B5EF4-FFF2-40B4-BE49-F238E27FC236}">
                  <a16:creationId xmlns:a16="http://schemas.microsoft.com/office/drawing/2014/main" id="{13DA4FAD-D92C-6C45-856E-7B5C0991B703}"/>
                </a:ext>
              </a:extLst>
            </p:cNvPr>
            <p:cNvSpPr/>
            <p:nvPr/>
          </p:nvSpPr>
          <p:spPr>
            <a:xfrm>
              <a:off x="3769963" y="5631247"/>
              <a:ext cx="309966" cy="201478"/>
            </a:xfrm>
            <a:prstGeom prst="rect">
              <a:avLst/>
            </a:prstGeom>
            <a:grp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9" tIns="45720" rIns="91439" bIns="45720" numCol="1" spcCol="0" rtlCol="0" fromWordArt="0" anchor="ctr" anchorCtr="0" forceAA="0" compatLnSpc="1">
              <a:prstTxWarp prst="textNoShape">
                <a:avLst/>
              </a:prstTxWarp>
              <a:noAutofit/>
            </a:bodyPr>
            <a:lstStyle/>
            <a:p>
              <a:pPr algn="ctr" defTabSz="1228949"/>
              <a:endParaRPr lang="en-US" dirty="0" err="1">
                <a:solidFill>
                  <a:srgbClr val="FFFFFF"/>
                </a:solidFill>
                <a:latin typeface="Arial" panose="020B0604020202020204"/>
              </a:endParaRPr>
            </a:p>
          </p:txBody>
        </p:sp>
        <p:sp>
          <p:nvSpPr>
            <p:cNvPr id="150" name="Rectangle 149">
              <a:extLst>
                <a:ext uri="{FF2B5EF4-FFF2-40B4-BE49-F238E27FC236}">
                  <a16:creationId xmlns:a16="http://schemas.microsoft.com/office/drawing/2014/main" id="{9183EAFE-DD11-3449-B233-DA1C0AB413D3}"/>
                </a:ext>
              </a:extLst>
            </p:cNvPr>
            <p:cNvSpPr/>
            <p:nvPr/>
          </p:nvSpPr>
          <p:spPr>
            <a:xfrm>
              <a:off x="3452248" y="5832725"/>
              <a:ext cx="309966" cy="201478"/>
            </a:xfrm>
            <a:prstGeom prst="rect">
              <a:avLst/>
            </a:prstGeom>
            <a:grp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9" tIns="45720" rIns="91439" bIns="45720" numCol="1" spcCol="0" rtlCol="0" fromWordArt="0" anchor="ctr" anchorCtr="0" forceAA="0" compatLnSpc="1">
              <a:prstTxWarp prst="textNoShape">
                <a:avLst/>
              </a:prstTxWarp>
              <a:noAutofit/>
            </a:bodyPr>
            <a:lstStyle/>
            <a:p>
              <a:pPr algn="ctr" defTabSz="1228949"/>
              <a:endParaRPr lang="en-US" dirty="0" err="1">
                <a:solidFill>
                  <a:srgbClr val="FFFFFF"/>
                </a:solidFill>
                <a:latin typeface="Arial" panose="020B0604020202020204"/>
              </a:endParaRPr>
            </a:p>
          </p:txBody>
        </p:sp>
        <p:sp>
          <p:nvSpPr>
            <p:cNvPr id="151" name="Rectangle 150">
              <a:extLst>
                <a:ext uri="{FF2B5EF4-FFF2-40B4-BE49-F238E27FC236}">
                  <a16:creationId xmlns:a16="http://schemas.microsoft.com/office/drawing/2014/main" id="{B872E445-73B0-3941-B585-8843D6944ACB}"/>
                </a:ext>
              </a:extLst>
            </p:cNvPr>
            <p:cNvSpPr/>
            <p:nvPr/>
          </p:nvSpPr>
          <p:spPr>
            <a:xfrm>
              <a:off x="3769963" y="5832725"/>
              <a:ext cx="309966" cy="201478"/>
            </a:xfrm>
            <a:prstGeom prst="rect">
              <a:avLst/>
            </a:prstGeom>
            <a:grp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9" tIns="45720" rIns="91439" bIns="45720" numCol="1" spcCol="0" rtlCol="0" fromWordArt="0" anchor="ctr" anchorCtr="0" forceAA="0" compatLnSpc="1">
              <a:prstTxWarp prst="textNoShape">
                <a:avLst/>
              </a:prstTxWarp>
              <a:noAutofit/>
            </a:bodyPr>
            <a:lstStyle/>
            <a:p>
              <a:pPr algn="ctr" defTabSz="1228949"/>
              <a:endParaRPr lang="en-US" dirty="0" err="1">
                <a:solidFill>
                  <a:srgbClr val="FFFFFF"/>
                </a:solidFill>
                <a:latin typeface="Arial" panose="020B0604020202020204"/>
              </a:endParaRPr>
            </a:p>
          </p:txBody>
        </p:sp>
        <p:sp>
          <p:nvSpPr>
            <p:cNvPr id="152" name="Rectangle 151">
              <a:extLst>
                <a:ext uri="{FF2B5EF4-FFF2-40B4-BE49-F238E27FC236}">
                  <a16:creationId xmlns:a16="http://schemas.microsoft.com/office/drawing/2014/main" id="{5A0E5DA5-E285-2242-A5A8-FD8994B7ABED}"/>
                </a:ext>
              </a:extLst>
            </p:cNvPr>
            <p:cNvSpPr/>
            <p:nvPr/>
          </p:nvSpPr>
          <p:spPr>
            <a:xfrm>
              <a:off x="1565329" y="6034203"/>
              <a:ext cx="309966" cy="201478"/>
            </a:xfrm>
            <a:prstGeom prst="rect">
              <a:avLst/>
            </a:prstGeom>
            <a:grp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9" tIns="45720" rIns="91439" bIns="45720" numCol="1" spcCol="0" rtlCol="0" fromWordArt="0" anchor="ctr" anchorCtr="0" forceAA="0" compatLnSpc="1">
              <a:prstTxWarp prst="textNoShape">
                <a:avLst/>
              </a:prstTxWarp>
              <a:noAutofit/>
            </a:bodyPr>
            <a:lstStyle/>
            <a:p>
              <a:pPr algn="ctr" defTabSz="1228949"/>
              <a:endParaRPr lang="en-US" dirty="0" err="1">
                <a:solidFill>
                  <a:srgbClr val="FFFFFF"/>
                </a:solidFill>
                <a:latin typeface="Arial" panose="020B0604020202020204"/>
              </a:endParaRPr>
            </a:p>
          </p:txBody>
        </p:sp>
        <p:sp>
          <p:nvSpPr>
            <p:cNvPr id="153" name="Rectangle 152">
              <a:extLst>
                <a:ext uri="{FF2B5EF4-FFF2-40B4-BE49-F238E27FC236}">
                  <a16:creationId xmlns:a16="http://schemas.microsoft.com/office/drawing/2014/main" id="{5E6BB14C-D56E-4240-9307-46D96F1D1B5F}"/>
                </a:ext>
              </a:extLst>
            </p:cNvPr>
            <p:cNvSpPr/>
            <p:nvPr/>
          </p:nvSpPr>
          <p:spPr>
            <a:xfrm>
              <a:off x="1875295" y="6034203"/>
              <a:ext cx="309966" cy="201478"/>
            </a:xfrm>
            <a:prstGeom prst="rect">
              <a:avLst/>
            </a:prstGeom>
            <a:grp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9" tIns="45720" rIns="91439" bIns="45720" numCol="1" spcCol="0" rtlCol="0" fromWordArt="0" anchor="ctr" anchorCtr="0" forceAA="0" compatLnSpc="1">
              <a:prstTxWarp prst="textNoShape">
                <a:avLst/>
              </a:prstTxWarp>
              <a:noAutofit/>
            </a:bodyPr>
            <a:lstStyle/>
            <a:p>
              <a:pPr algn="ctr" defTabSz="1228949"/>
              <a:endParaRPr lang="en-US" dirty="0" err="1">
                <a:solidFill>
                  <a:srgbClr val="FFFFFF"/>
                </a:solidFill>
                <a:latin typeface="Arial" panose="020B0604020202020204"/>
              </a:endParaRPr>
            </a:p>
          </p:txBody>
        </p:sp>
        <p:sp>
          <p:nvSpPr>
            <p:cNvPr id="154" name="Rectangle 153">
              <a:extLst>
                <a:ext uri="{FF2B5EF4-FFF2-40B4-BE49-F238E27FC236}">
                  <a16:creationId xmlns:a16="http://schemas.microsoft.com/office/drawing/2014/main" id="{BE407207-147A-034A-81D7-A6A8D8E0F1A7}"/>
                </a:ext>
              </a:extLst>
            </p:cNvPr>
            <p:cNvSpPr/>
            <p:nvPr/>
          </p:nvSpPr>
          <p:spPr>
            <a:xfrm>
              <a:off x="2193010" y="6034203"/>
              <a:ext cx="309966" cy="201478"/>
            </a:xfrm>
            <a:prstGeom prst="rect">
              <a:avLst/>
            </a:prstGeom>
            <a:grp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9" tIns="45720" rIns="91439" bIns="45720" numCol="1" spcCol="0" rtlCol="0" fromWordArt="0" anchor="ctr" anchorCtr="0" forceAA="0" compatLnSpc="1">
              <a:prstTxWarp prst="textNoShape">
                <a:avLst/>
              </a:prstTxWarp>
              <a:noAutofit/>
            </a:bodyPr>
            <a:lstStyle/>
            <a:p>
              <a:pPr algn="ctr" defTabSz="1228949"/>
              <a:endParaRPr lang="en-US" dirty="0" err="1">
                <a:solidFill>
                  <a:srgbClr val="FFFFFF"/>
                </a:solidFill>
                <a:latin typeface="Arial" panose="020B0604020202020204"/>
              </a:endParaRPr>
            </a:p>
          </p:txBody>
        </p:sp>
        <p:sp>
          <p:nvSpPr>
            <p:cNvPr id="155" name="Rectangle 154">
              <a:extLst>
                <a:ext uri="{FF2B5EF4-FFF2-40B4-BE49-F238E27FC236}">
                  <a16:creationId xmlns:a16="http://schemas.microsoft.com/office/drawing/2014/main" id="{239F8233-A2DA-2D4B-8859-326EA1A60797}"/>
                </a:ext>
              </a:extLst>
            </p:cNvPr>
            <p:cNvSpPr/>
            <p:nvPr/>
          </p:nvSpPr>
          <p:spPr>
            <a:xfrm>
              <a:off x="2502977" y="6034203"/>
              <a:ext cx="309966" cy="201478"/>
            </a:xfrm>
            <a:prstGeom prst="rect">
              <a:avLst/>
            </a:prstGeom>
            <a:grp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9" tIns="45720" rIns="91439" bIns="45720" numCol="1" spcCol="0" rtlCol="0" fromWordArt="0" anchor="ctr" anchorCtr="0" forceAA="0" compatLnSpc="1">
              <a:prstTxWarp prst="textNoShape">
                <a:avLst/>
              </a:prstTxWarp>
              <a:noAutofit/>
            </a:bodyPr>
            <a:lstStyle/>
            <a:p>
              <a:pPr algn="ctr" defTabSz="1228949"/>
              <a:endParaRPr lang="en-US" dirty="0" err="1">
                <a:solidFill>
                  <a:srgbClr val="FFFFFF"/>
                </a:solidFill>
                <a:latin typeface="Arial" panose="020B0604020202020204"/>
              </a:endParaRPr>
            </a:p>
          </p:txBody>
        </p:sp>
        <p:sp>
          <p:nvSpPr>
            <p:cNvPr id="156" name="Rectangle 155">
              <a:extLst>
                <a:ext uri="{FF2B5EF4-FFF2-40B4-BE49-F238E27FC236}">
                  <a16:creationId xmlns:a16="http://schemas.microsoft.com/office/drawing/2014/main" id="{EEDB5E3B-1803-274A-8B61-11680556CE58}"/>
                </a:ext>
              </a:extLst>
            </p:cNvPr>
            <p:cNvSpPr/>
            <p:nvPr/>
          </p:nvSpPr>
          <p:spPr>
            <a:xfrm>
              <a:off x="2812943" y="6034203"/>
              <a:ext cx="309966" cy="201478"/>
            </a:xfrm>
            <a:prstGeom prst="rect">
              <a:avLst/>
            </a:prstGeom>
            <a:grp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9" tIns="45720" rIns="91439" bIns="45720" numCol="1" spcCol="0" rtlCol="0" fromWordArt="0" anchor="ctr" anchorCtr="0" forceAA="0" compatLnSpc="1">
              <a:prstTxWarp prst="textNoShape">
                <a:avLst/>
              </a:prstTxWarp>
              <a:noAutofit/>
            </a:bodyPr>
            <a:lstStyle/>
            <a:p>
              <a:pPr algn="ctr" defTabSz="1228949"/>
              <a:endParaRPr lang="en-US" dirty="0" err="1">
                <a:solidFill>
                  <a:srgbClr val="FFFFFF"/>
                </a:solidFill>
                <a:latin typeface="Arial" panose="020B0604020202020204"/>
              </a:endParaRPr>
            </a:p>
          </p:txBody>
        </p:sp>
        <p:sp>
          <p:nvSpPr>
            <p:cNvPr id="157" name="Rectangle 156">
              <a:extLst>
                <a:ext uri="{FF2B5EF4-FFF2-40B4-BE49-F238E27FC236}">
                  <a16:creationId xmlns:a16="http://schemas.microsoft.com/office/drawing/2014/main" id="{F6E275F8-F843-6249-B7ED-B0F36FFEAB83}"/>
                </a:ext>
              </a:extLst>
            </p:cNvPr>
            <p:cNvSpPr/>
            <p:nvPr/>
          </p:nvSpPr>
          <p:spPr>
            <a:xfrm>
              <a:off x="3130658" y="6034203"/>
              <a:ext cx="309966" cy="201478"/>
            </a:xfrm>
            <a:prstGeom prst="rect">
              <a:avLst/>
            </a:prstGeom>
            <a:grp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9" tIns="45720" rIns="91439" bIns="45720" numCol="1" spcCol="0" rtlCol="0" fromWordArt="0" anchor="ctr" anchorCtr="0" forceAA="0" compatLnSpc="1">
              <a:prstTxWarp prst="textNoShape">
                <a:avLst/>
              </a:prstTxWarp>
              <a:noAutofit/>
            </a:bodyPr>
            <a:lstStyle/>
            <a:p>
              <a:pPr algn="ctr" defTabSz="1228949"/>
              <a:endParaRPr lang="en-US" dirty="0" err="1">
                <a:solidFill>
                  <a:srgbClr val="FFFFFF"/>
                </a:solidFill>
                <a:latin typeface="Arial" panose="020B0604020202020204"/>
              </a:endParaRPr>
            </a:p>
          </p:txBody>
        </p:sp>
        <p:sp>
          <p:nvSpPr>
            <p:cNvPr id="158" name="Rectangle 157">
              <a:extLst>
                <a:ext uri="{FF2B5EF4-FFF2-40B4-BE49-F238E27FC236}">
                  <a16:creationId xmlns:a16="http://schemas.microsoft.com/office/drawing/2014/main" id="{2129041E-E9F3-BD4F-8030-68FB44C7242B}"/>
                </a:ext>
              </a:extLst>
            </p:cNvPr>
            <p:cNvSpPr/>
            <p:nvPr/>
          </p:nvSpPr>
          <p:spPr>
            <a:xfrm>
              <a:off x="1565329" y="6235681"/>
              <a:ext cx="309966" cy="201478"/>
            </a:xfrm>
            <a:prstGeom prst="rect">
              <a:avLst/>
            </a:prstGeom>
            <a:grp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9" tIns="45720" rIns="91439" bIns="45720" numCol="1" spcCol="0" rtlCol="0" fromWordArt="0" anchor="ctr" anchorCtr="0" forceAA="0" compatLnSpc="1">
              <a:prstTxWarp prst="textNoShape">
                <a:avLst/>
              </a:prstTxWarp>
              <a:noAutofit/>
            </a:bodyPr>
            <a:lstStyle/>
            <a:p>
              <a:pPr algn="ctr" defTabSz="1228949"/>
              <a:endParaRPr lang="en-US" dirty="0" err="1">
                <a:solidFill>
                  <a:srgbClr val="FFFFFF"/>
                </a:solidFill>
                <a:latin typeface="Arial" panose="020B0604020202020204"/>
              </a:endParaRPr>
            </a:p>
          </p:txBody>
        </p:sp>
        <p:sp>
          <p:nvSpPr>
            <p:cNvPr id="159" name="Rectangle 158">
              <a:extLst>
                <a:ext uri="{FF2B5EF4-FFF2-40B4-BE49-F238E27FC236}">
                  <a16:creationId xmlns:a16="http://schemas.microsoft.com/office/drawing/2014/main" id="{A7F43762-0C47-B64D-B43E-E7B9E9BA945A}"/>
                </a:ext>
              </a:extLst>
            </p:cNvPr>
            <p:cNvSpPr/>
            <p:nvPr/>
          </p:nvSpPr>
          <p:spPr>
            <a:xfrm>
              <a:off x="1875295" y="6235681"/>
              <a:ext cx="309966" cy="201478"/>
            </a:xfrm>
            <a:prstGeom prst="rect">
              <a:avLst/>
            </a:prstGeom>
            <a:grp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9" tIns="45720" rIns="91439" bIns="45720" numCol="1" spcCol="0" rtlCol="0" fromWordArt="0" anchor="ctr" anchorCtr="0" forceAA="0" compatLnSpc="1">
              <a:prstTxWarp prst="textNoShape">
                <a:avLst/>
              </a:prstTxWarp>
              <a:noAutofit/>
            </a:bodyPr>
            <a:lstStyle/>
            <a:p>
              <a:pPr algn="ctr" defTabSz="1228949"/>
              <a:endParaRPr lang="en-US" dirty="0" err="1">
                <a:solidFill>
                  <a:srgbClr val="FFFFFF"/>
                </a:solidFill>
                <a:latin typeface="Arial" panose="020B0604020202020204"/>
              </a:endParaRPr>
            </a:p>
          </p:txBody>
        </p:sp>
        <p:sp>
          <p:nvSpPr>
            <p:cNvPr id="160" name="Rectangle 159">
              <a:extLst>
                <a:ext uri="{FF2B5EF4-FFF2-40B4-BE49-F238E27FC236}">
                  <a16:creationId xmlns:a16="http://schemas.microsoft.com/office/drawing/2014/main" id="{46B32AAA-FED5-5C47-8A46-358FCD4C8868}"/>
                </a:ext>
              </a:extLst>
            </p:cNvPr>
            <p:cNvSpPr/>
            <p:nvPr/>
          </p:nvSpPr>
          <p:spPr>
            <a:xfrm>
              <a:off x="2193010" y="6235681"/>
              <a:ext cx="309966" cy="201478"/>
            </a:xfrm>
            <a:prstGeom prst="rect">
              <a:avLst/>
            </a:prstGeom>
            <a:grp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9" tIns="45720" rIns="91439" bIns="45720" numCol="1" spcCol="0" rtlCol="0" fromWordArt="0" anchor="ctr" anchorCtr="0" forceAA="0" compatLnSpc="1">
              <a:prstTxWarp prst="textNoShape">
                <a:avLst/>
              </a:prstTxWarp>
              <a:noAutofit/>
            </a:bodyPr>
            <a:lstStyle/>
            <a:p>
              <a:pPr algn="ctr" defTabSz="1228949"/>
              <a:endParaRPr lang="en-US" dirty="0" err="1">
                <a:solidFill>
                  <a:srgbClr val="FFFFFF"/>
                </a:solidFill>
                <a:latin typeface="Arial" panose="020B0604020202020204"/>
              </a:endParaRPr>
            </a:p>
          </p:txBody>
        </p:sp>
        <p:sp>
          <p:nvSpPr>
            <p:cNvPr id="161" name="Rectangle 160">
              <a:extLst>
                <a:ext uri="{FF2B5EF4-FFF2-40B4-BE49-F238E27FC236}">
                  <a16:creationId xmlns:a16="http://schemas.microsoft.com/office/drawing/2014/main" id="{9D173F18-BDF3-7E41-8491-27DAA49B48A8}"/>
                </a:ext>
              </a:extLst>
            </p:cNvPr>
            <p:cNvSpPr/>
            <p:nvPr/>
          </p:nvSpPr>
          <p:spPr>
            <a:xfrm>
              <a:off x="2502977" y="6235681"/>
              <a:ext cx="309966" cy="201478"/>
            </a:xfrm>
            <a:prstGeom prst="rect">
              <a:avLst/>
            </a:prstGeom>
            <a:grp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9" tIns="45720" rIns="91439" bIns="45720" numCol="1" spcCol="0" rtlCol="0" fromWordArt="0" anchor="ctr" anchorCtr="0" forceAA="0" compatLnSpc="1">
              <a:prstTxWarp prst="textNoShape">
                <a:avLst/>
              </a:prstTxWarp>
              <a:noAutofit/>
            </a:bodyPr>
            <a:lstStyle/>
            <a:p>
              <a:pPr algn="ctr" defTabSz="1228949"/>
              <a:endParaRPr lang="en-US" dirty="0" err="1">
                <a:solidFill>
                  <a:srgbClr val="FFFFFF"/>
                </a:solidFill>
                <a:latin typeface="Arial" panose="020B0604020202020204"/>
              </a:endParaRPr>
            </a:p>
          </p:txBody>
        </p:sp>
        <p:sp>
          <p:nvSpPr>
            <p:cNvPr id="162" name="Rectangle 161">
              <a:extLst>
                <a:ext uri="{FF2B5EF4-FFF2-40B4-BE49-F238E27FC236}">
                  <a16:creationId xmlns:a16="http://schemas.microsoft.com/office/drawing/2014/main" id="{DE3A0C4A-C872-5747-A670-8D318BFB0DEE}"/>
                </a:ext>
              </a:extLst>
            </p:cNvPr>
            <p:cNvSpPr/>
            <p:nvPr/>
          </p:nvSpPr>
          <p:spPr>
            <a:xfrm>
              <a:off x="2812943" y="6235681"/>
              <a:ext cx="309966" cy="201478"/>
            </a:xfrm>
            <a:prstGeom prst="rect">
              <a:avLst/>
            </a:prstGeom>
            <a:grp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9" tIns="45720" rIns="91439" bIns="45720" numCol="1" spcCol="0" rtlCol="0" fromWordArt="0" anchor="ctr" anchorCtr="0" forceAA="0" compatLnSpc="1">
              <a:prstTxWarp prst="textNoShape">
                <a:avLst/>
              </a:prstTxWarp>
              <a:noAutofit/>
            </a:bodyPr>
            <a:lstStyle/>
            <a:p>
              <a:pPr algn="ctr" defTabSz="1228949"/>
              <a:endParaRPr lang="en-US" dirty="0" err="1">
                <a:solidFill>
                  <a:srgbClr val="FFFFFF"/>
                </a:solidFill>
                <a:latin typeface="Arial" panose="020B0604020202020204"/>
              </a:endParaRPr>
            </a:p>
          </p:txBody>
        </p:sp>
        <p:sp>
          <p:nvSpPr>
            <p:cNvPr id="163" name="Rectangle 162">
              <a:extLst>
                <a:ext uri="{FF2B5EF4-FFF2-40B4-BE49-F238E27FC236}">
                  <a16:creationId xmlns:a16="http://schemas.microsoft.com/office/drawing/2014/main" id="{F7D49CF2-25F8-8147-842B-ECEE4C7A68F5}"/>
                </a:ext>
              </a:extLst>
            </p:cNvPr>
            <p:cNvSpPr/>
            <p:nvPr/>
          </p:nvSpPr>
          <p:spPr>
            <a:xfrm>
              <a:off x="3130658" y="6235681"/>
              <a:ext cx="309966" cy="201478"/>
            </a:xfrm>
            <a:prstGeom prst="rect">
              <a:avLst/>
            </a:prstGeom>
            <a:grp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9" tIns="45720" rIns="91439" bIns="45720" numCol="1" spcCol="0" rtlCol="0" fromWordArt="0" anchor="ctr" anchorCtr="0" forceAA="0" compatLnSpc="1">
              <a:prstTxWarp prst="textNoShape">
                <a:avLst/>
              </a:prstTxWarp>
              <a:noAutofit/>
            </a:bodyPr>
            <a:lstStyle/>
            <a:p>
              <a:pPr algn="ctr" defTabSz="1228949"/>
              <a:endParaRPr lang="en-US" dirty="0" err="1">
                <a:solidFill>
                  <a:srgbClr val="FFFFFF"/>
                </a:solidFill>
                <a:latin typeface="Arial" panose="020B0604020202020204"/>
              </a:endParaRPr>
            </a:p>
          </p:txBody>
        </p:sp>
        <p:sp>
          <p:nvSpPr>
            <p:cNvPr id="164" name="Rectangle 163">
              <a:extLst>
                <a:ext uri="{FF2B5EF4-FFF2-40B4-BE49-F238E27FC236}">
                  <a16:creationId xmlns:a16="http://schemas.microsoft.com/office/drawing/2014/main" id="{485F318D-7903-A24E-BDB0-CD905419663C}"/>
                </a:ext>
              </a:extLst>
            </p:cNvPr>
            <p:cNvSpPr/>
            <p:nvPr/>
          </p:nvSpPr>
          <p:spPr>
            <a:xfrm>
              <a:off x="3452248" y="6034203"/>
              <a:ext cx="309966" cy="201478"/>
            </a:xfrm>
            <a:prstGeom prst="rect">
              <a:avLst/>
            </a:prstGeom>
            <a:grp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9" tIns="45720" rIns="91439" bIns="45720" numCol="1" spcCol="0" rtlCol="0" fromWordArt="0" anchor="ctr" anchorCtr="0" forceAA="0" compatLnSpc="1">
              <a:prstTxWarp prst="textNoShape">
                <a:avLst/>
              </a:prstTxWarp>
              <a:noAutofit/>
            </a:bodyPr>
            <a:lstStyle/>
            <a:p>
              <a:pPr algn="ctr" defTabSz="1228949"/>
              <a:endParaRPr lang="en-US" dirty="0" err="1">
                <a:solidFill>
                  <a:srgbClr val="FFFFFF"/>
                </a:solidFill>
                <a:latin typeface="Arial" panose="020B0604020202020204"/>
              </a:endParaRPr>
            </a:p>
          </p:txBody>
        </p:sp>
        <p:sp>
          <p:nvSpPr>
            <p:cNvPr id="165" name="Rectangle 164">
              <a:extLst>
                <a:ext uri="{FF2B5EF4-FFF2-40B4-BE49-F238E27FC236}">
                  <a16:creationId xmlns:a16="http://schemas.microsoft.com/office/drawing/2014/main" id="{1BB2A4E4-813F-2F47-A9B6-7C1A3F587662}"/>
                </a:ext>
              </a:extLst>
            </p:cNvPr>
            <p:cNvSpPr/>
            <p:nvPr/>
          </p:nvSpPr>
          <p:spPr>
            <a:xfrm>
              <a:off x="3769963" y="6034203"/>
              <a:ext cx="309966" cy="201478"/>
            </a:xfrm>
            <a:prstGeom prst="rect">
              <a:avLst/>
            </a:prstGeom>
            <a:grp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9" tIns="45720" rIns="91439" bIns="45720" numCol="1" spcCol="0" rtlCol="0" fromWordArt="0" anchor="ctr" anchorCtr="0" forceAA="0" compatLnSpc="1">
              <a:prstTxWarp prst="textNoShape">
                <a:avLst/>
              </a:prstTxWarp>
              <a:noAutofit/>
            </a:bodyPr>
            <a:lstStyle/>
            <a:p>
              <a:pPr algn="ctr" defTabSz="1228949"/>
              <a:endParaRPr lang="en-US" dirty="0" err="1">
                <a:solidFill>
                  <a:srgbClr val="FFFFFF"/>
                </a:solidFill>
                <a:latin typeface="Arial" panose="020B0604020202020204"/>
              </a:endParaRPr>
            </a:p>
          </p:txBody>
        </p:sp>
        <p:sp>
          <p:nvSpPr>
            <p:cNvPr id="166" name="Rectangle 165">
              <a:extLst>
                <a:ext uri="{FF2B5EF4-FFF2-40B4-BE49-F238E27FC236}">
                  <a16:creationId xmlns:a16="http://schemas.microsoft.com/office/drawing/2014/main" id="{5F5268F6-0188-6A43-B065-24673A7567B5}"/>
                </a:ext>
              </a:extLst>
            </p:cNvPr>
            <p:cNvSpPr/>
            <p:nvPr/>
          </p:nvSpPr>
          <p:spPr>
            <a:xfrm>
              <a:off x="3452248" y="6235681"/>
              <a:ext cx="309966" cy="201478"/>
            </a:xfrm>
            <a:prstGeom prst="rect">
              <a:avLst/>
            </a:prstGeom>
            <a:grp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9" tIns="45720" rIns="91439" bIns="45720" numCol="1" spcCol="0" rtlCol="0" fromWordArt="0" anchor="ctr" anchorCtr="0" forceAA="0" compatLnSpc="1">
              <a:prstTxWarp prst="textNoShape">
                <a:avLst/>
              </a:prstTxWarp>
              <a:noAutofit/>
            </a:bodyPr>
            <a:lstStyle/>
            <a:p>
              <a:pPr algn="ctr" defTabSz="1228949"/>
              <a:endParaRPr lang="en-US" dirty="0" err="1">
                <a:solidFill>
                  <a:srgbClr val="FFFFFF"/>
                </a:solidFill>
                <a:latin typeface="Arial" panose="020B0604020202020204"/>
              </a:endParaRPr>
            </a:p>
          </p:txBody>
        </p:sp>
        <p:sp>
          <p:nvSpPr>
            <p:cNvPr id="167" name="Rectangle 166">
              <a:extLst>
                <a:ext uri="{FF2B5EF4-FFF2-40B4-BE49-F238E27FC236}">
                  <a16:creationId xmlns:a16="http://schemas.microsoft.com/office/drawing/2014/main" id="{034767BB-3523-2C4C-A508-EBDBAC6087B6}"/>
                </a:ext>
              </a:extLst>
            </p:cNvPr>
            <p:cNvSpPr/>
            <p:nvPr/>
          </p:nvSpPr>
          <p:spPr>
            <a:xfrm>
              <a:off x="3769963" y="6235681"/>
              <a:ext cx="309966" cy="201478"/>
            </a:xfrm>
            <a:prstGeom prst="rect">
              <a:avLst/>
            </a:prstGeom>
            <a:grp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9" tIns="45720" rIns="91439" bIns="45720" numCol="1" spcCol="0" rtlCol="0" fromWordArt="0" anchor="ctr" anchorCtr="0" forceAA="0" compatLnSpc="1">
              <a:prstTxWarp prst="textNoShape">
                <a:avLst/>
              </a:prstTxWarp>
              <a:noAutofit/>
            </a:bodyPr>
            <a:lstStyle/>
            <a:p>
              <a:pPr algn="ctr" defTabSz="1228949"/>
              <a:endParaRPr lang="en-US" dirty="0" err="1">
                <a:solidFill>
                  <a:srgbClr val="FFFFFF"/>
                </a:solidFill>
                <a:latin typeface="Arial" panose="020B0604020202020204"/>
              </a:endParaRPr>
            </a:p>
          </p:txBody>
        </p:sp>
        <p:sp>
          <p:nvSpPr>
            <p:cNvPr id="168" name="Rectangle 167">
              <a:extLst>
                <a:ext uri="{FF2B5EF4-FFF2-40B4-BE49-F238E27FC236}">
                  <a16:creationId xmlns:a16="http://schemas.microsoft.com/office/drawing/2014/main" id="{4BECA53C-EBD2-8542-974C-E8A01C043613}"/>
                </a:ext>
              </a:extLst>
            </p:cNvPr>
            <p:cNvSpPr/>
            <p:nvPr/>
          </p:nvSpPr>
          <p:spPr>
            <a:xfrm>
              <a:off x="1565329" y="6437159"/>
              <a:ext cx="309966" cy="201478"/>
            </a:xfrm>
            <a:prstGeom prst="rect">
              <a:avLst/>
            </a:prstGeom>
            <a:grp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9" tIns="45720" rIns="91439" bIns="45720" numCol="1" spcCol="0" rtlCol="0" fromWordArt="0" anchor="ctr" anchorCtr="0" forceAA="0" compatLnSpc="1">
              <a:prstTxWarp prst="textNoShape">
                <a:avLst/>
              </a:prstTxWarp>
              <a:noAutofit/>
            </a:bodyPr>
            <a:lstStyle/>
            <a:p>
              <a:pPr algn="ctr" defTabSz="1228949"/>
              <a:endParaRPr lang="en-US" dirty="0" err="1">
                <a:solidFill>
                  <a:srgbClr val="FFFFFF"/>
                </a:solidFill>
                <a:latin typeface="Arial" panose="020B0604020202020204"/>
              </a:endParaRPr>
            </a:p>
          </p:txBody>
        </p:sp>
        <p:sp>
          <p:nvSpPr>
            <p:cNvPr id="169" name="Rectangle 168">
              <a:extLst>
                <a:ext uri="{FF2B5EF4-FFF2-40B4-BE49-F238E27FC236}">
                  <a16:creationId xmlns:a16="http://schemas.microsoft.com/office/drawing/2014/main" id="{E25BE154-77F9-1545-B103-FD31B45256DA}"/>
                </a:ext>
              </a:extLst>
            </p:cNvPr>
            <p:cNvSpPr/>
            <p:nvPr/>
          </p:nvSpPr>
          <p:spPr>
            <a:xfrm>
              <a:off x="1875295" y="6437159"/>
              <a:ext cx="309966" cy="201478"/>
            </a:xfrm>
            <a:prstGeom prst="rect">
              <a:avLst/>
            </a:prstGeom>
            <a:grp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9" tIns="45720" rIns="91439" bIns="45720" numCol="1" spcCol="0" rtlCol="0" fromWordArt="0" anchor="ctr" anchorCtr="0" forceAA="0" compatLnSpc="1">
              <a:prstTxWarp prst="textNoShape">
                <a:avLst/>
              </a:prstTxWarp>
              <a:noAutofit/>
            </a:bodyPr>
            <a:lstStyle/>
            <a:p>
              <a:pPr algn="ctr" defTabSz="1228949"/>
              <a:endParaRPr lang="en-US" dirty="0" err="1">
                <a:solidFill>
                  <a:srgbClr val="FFFFFF"/>
                </a:solidFill>
                <a:latin typeface="Arial" panose="020B0604020202020204"/>
              </a:endParaRPr>
            </a:p>
          </p:txBody>
        </p:sp>
        <p:sp>
          <p:nvSpPr>
            <p:cNvPr id="170" name="Rectangle 169">
              <a:extLst>
                <a:ext uri="{FF2B5EF4-FFF2-40B4-BE49-F238E27FC236}">
                  <a16:creationId xmlns:a16="http://schemas.microsoft.com/office/drawing/2014/main" id="{5E9DFE2C-FB7F-FB4E-BE4B-0171841C2882}"/>
                </a:ext>
              </a:extLst>
            </p:cNvPr>
            <p:cNvSpPr/>
            <p:nvPr/>
          </p:nvSpPr>
          <p:spPr>
            <a:xfrm>
              <a:off x="2193010" y="6437159"/>
              <a:ext cx="309966" cy="201478"/>
            </a:xfrm>
            <a:prstGeom prst="rect">
              <a:avLst/>
            </a:prstGeom>
            <a:grp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9" tIns="45720" rIns="91439" bIns="45720" numCol="1" spcCol="0" rtlCol="0" fromWordArt="0" anchor="ctr" anchorCtr="0" forceAA="0" compatLnSpc="1">
              <a:prstTxWarp prst="textNoShape">
                <a:avLst/>
              </a:prstTxWarp>
              <a:noAutofit/>
            </a:bodyPr>
            <a:lstStyle/>
            <a:p>
              <a:pPr algn="ctr" defTabSz="1228949"/>
              <a:endParaRPr lang="en-US" dirty="0" err="1">
                <a:solidFill>
                  <a:srgbClr val="FFFFFF"/>
                </a:solidFill>
                <a:latin typeface="Arial" panose="020B0604020202020204"/>
              </a:endParaRPr>
            </a:p>
          </p:txBody>
        </p:sp>
        <p:sp>
          <p:nvSpPr>
            <p:cNvPr id="171" name="Rectangle 170">
              <a:extLst>
                <a:ext uri="{FF2B5EF4-FFF2-40B4-BE49-F238E27FC236}">
                  <a16:creationId xmlns:a16="http://schemas.microsoft.com/office/drawing/2014/main" id="{FE91639D-B05A-D848-947C-5475B451194B}"/>
                </a:ext>
              </a:extLst>
            </p:cNvPr>
            <p:cNvSpPr/>
            <p:nvPr/>
          </p:nvSpPr>
          <p:spPr>
            <a:xfrm>
              <a:off x="2502977" y="6437159"/>
              <a:ext cx="309966" cy="201478"/>
            </a:xfrm>
            <a:prstGeom prst="rect">
              <a:avLst/>
            </a:prstGeom>
            <a:grp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9" tIns="45720" rIns="91439" bIns="45720" numCol="1" spcCol="0" rtlCol="0" fromWordArt="0" anchor="ctr" anchorCtr="0" forceAA="0" compatLnSpc="1">
              <a:prstTxWarp prst="textNoShape">
                <a:avLst/>
              </a:prstTxWarp>
              <a:noAutofit/>
            </a:bodyPr>
            <a:lstStyle/>
            <a:p>
              <a:pPr algn="ctr" defTabSz="1228949"/>
              <a:endParaRPr lang="en-US" dirty="0" err="1">
                <a:solidFill>
                  <a:srgbClr val="FFFFFF"/>
                </a:solidFill>
                <a:latin typeface="Arial" panose="020B0604020202020204"/>
              </a:endParaRPr>
            </a:p>
          </p:txBody>
        </p:sp>
        <p:sp>
          <p:nvSpPr>
            <p:cNvPr id="172" name="Rectangle 171">
              <a:extLst>
                <a:ext uri="{FF2B5EF4-FFF2-40B4-BE49-F238E27FC236}">
                  <a16:creationId xmlns:a16="http://schemas.microsoft.com/office/drawing/2014/main" id="{C993EDC8-2863-4648-9D39-5AB1265D7964}"/>
                </a:ext>
              </a:extLst>
            </p:cNvPr>
            <p:cNvSpPr/>
            <p:nvPr/>
          </p:nvSpPr>
          <p:spPr>
            <a:xfrm>
              <a:off x="2812943" y="6437159"/>
              <a:ext cx="309966" cy="201478"/>
            </a:xfrm>
            <a:prstGeom prst="rect">
              <a:avLst/>
            </a:prstGeom>
            <a:grp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9" tIns="45720" rIns="91439" bIns="45720" numCol="1" spcCol="0" rtlCol="0" fromWordArt="0" anchor="ctr" anchorCtr="0" forceAA="0" compatLnSpc="1">
              <a:prstTxWarp prst="textNoShape">
                <a:avLst/>
              </a:prstTxWarp>
              <a:noAutofit/>
            </a:bodyPr>
            <a:lstStyle/>
            <a:p>
              <a:pPr algn="ctr" defTabSz="1228949"/>
              <a:endParaRPr lang="en-US" dirty="0" err="1">
                <a:solidFill>
                  <a:srgbClr val="FFFFFF"/>
                </a:solidFill>
                <a:latin typeface="Arial" panose="020B0604020202020204"/>
              </a:endParaRPr>
            </a:p>
          </p:txBody>
        </p:sp>
        <p:sp>
          <p:nvSpPr>
            <p:cNvPr id="173" name="Rectangle 172">
              <a:extLst>
                <a:ext uri="{FF2B5EF4-FFF2-40B4-BE49-F238E27FC236}">
                  <a16:creationId xmlns:a16="http://schemas.microsoft.com/office/drawing/2014/main" id="{E53BD802-4846-1349-AACA-06743DBF234D}"/>
                </a:ext>
              </a:extLst>
            </p:cNvPr>
            <p:cNvSpPr/>
            <p:nvPr/>
          </p:nvSpPr>
          <p:spPr>
            <a:xfrm>
              <a:off x="3130658" y="6437159"/>
              <a:ext cx="309966" cy="201478"/>
            </a:xfrm>
            <a:prstGeom prst="rect">
              <a:avLst/>
            </a:prstGeom>
            <a:grp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9" tIns="45720" rIns="91439" bIns="45720" numCol="1" spcCol="0" rtlCol="0" fromWordArt="0" anchor="ctr" anchorCtr="0" forceAA="0" compatLnSpc="1">
              <a:prstTxWarp prst="textNoShape">
                <a:avLst/>
              </a:prstTxWarp>
              <a:noAutofit/>
            </a:bodyPr>
            <a:lstStyle/>
            <a:p>
              <a:pPr algn="ctr" defTabSz="1228949"/>
              <a:endParaRPr lang="en-US" dirty="0" err="1">
                <a:solidFill>
                  <a:srgbClr val="FFFFFF"/>
                </a:solidFill>
                <a:latin typeface="Arial" panose="020B0604020202020204"/>
              </a:endParaRPr>
            </a:p>
          </p:txBody>
        </p:sp>
        <p:sp>
          <p:nvSpPr>
            <p:cNvPr id="174" name="Rectangle 173">
              <a:extLst>
                <a:ext uri="{FF2B5EF4-FFF2-40B4-BE49-F238E27FC236}">
                  <a16:creationId xmlns:a16="http://schemas.microsoft.com/office/drawing/2014/main" id="{ECD8613F-77FE-E04C-BE43-B57115755F05}"/>
                </a:ext>
              </a:extLst>
            </p:cNvPr>
            <p:cNvSpPr/>
            <p:nvPr/>
          </p:nvSpPr>
          <p:spPr>
            <a:xfrm>
              <a:off x="1565329" y="6638637"/>
              <a:ext cx="309966" cy="201478"/>
            </a:xfrm>
            <a:prstGeom prst="rect">
              <a:avLst/>
            </a:prstGeom>
            <a:grp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9" tIns="45720" rIns="91439" bIns="45720" numCol="1" spcCol="0" rtlCol="0" fromWordArt="0" anchor="ctr" anchorCtr="0" forceAA="0" compatLnSpc="1">
              <a:prstTxWarp prst="textNoShape">
                <a:avLst/>
              </a:prstTxWarp>
              <a:noAutofit/>
            </a:bodyPr>
            <a:lstStyle/>
            <a:p>
              <a:pPr algn="ctr" defTabSz="1228949"/>
              <a:endParaRPr lang="en-US" dirty="0" err="1">
                <a:solidFill>
                  <a:srgbClr val="FFFFFF"/>
                </a:solidFill>
                <a:latin typeface="Arial" panose="020B0604020202020204"/>
              </a:endParaRPr>
            </a:p>
          </p:txBody>
        </p:sp>
        <p:sp>
          <p:nvSpPr>
            <p:cNvPr id="175" name="Rectangle 174">
              <a:extLst>
                <a:ext uri="{FF2B5EF4-FFF2-40B4-BE49-F238E27FC236}">
                  <a16:creationId xmlns:a16="http://schemas.microsoft.com/office/drawing/2014/main" id="{6AF9D290-2DC4-F946-9DA7-0BDE7B3A304B}"/>
                </a:ext>
              </a:extLst>
            </p:cNvPr>
            <p:cNvSpPr/>
            <p:nvPr/>
          </p:nvSpPr>
          <p:spPr>
            <a:xfrm>
              <a:off x="1875295" y="6638637"/>
              <a:ext cx="309966" cy="201478"/>
            </a:xfrm>
            <a:prstGeom prst="rect">
              <a:avLst/>
            </a:prstGeom>
            <a:grp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9" tIns="45720" rIns="91439" bIns="45720" numCol="1" spcCol="0" rtlCol="0" fromWordArt="0" anchor="ctr" anchorCtr="0" forceAA="0" compatLnSpc="1">
              <a:prstTxWarp prst="textNoShape">
                <a:avLst/>
              </a:prstTxWarp>
              <a:noAutofit/>
            </a:bodyPr>
            <a:lstStyle/>
            <a:p>
              <a:pPr algn="ctr" defTabSz="1228949"/>
              <a:endParaRPr lang="en-US" dirty="0" err="1">
                <a:solidFill>
                  <a:srgbClr val="FFFFFF"/>
                </a:solidFill>
                <a:latin typeface="Arial" panose="020B0604020202020204"/>
              </a:endParaRPr>
            </a:p>
          </p:txBody>
        </p:sp>
        <p:sp>
          <p:nvSpPr>
            <p:cNvPr id="176" name="Rectangle 175">
              <a:extLst>
                <a:ext uri="{FF2B5EF4-FFF2-40B4-BE49-F238E27FC236}">
                  <a16:creationId xmlns:a16="http://schemas.microsoft.com/office/drawing/2014/main" id="{C70B8E2A-6435-CF4B-BF38-9A6BAB3CDC17}"/>
                </a:ext>
              </a:extLst>
            </p:cNvPr>
            <p:cNvSpPr/>
            <p:nvPr/>
          </p:nvSpPr>
          <p:spPr>
            <a:xfrm>
              <a:off x="2193010" y="6638637"/>
              <a:ext cx="309966" cy="201478"/>
            </a:xfrm>
            <a:prstGeom prst="rect">
              <a:avLst/>
            </a:prstGeom>
            <a:grp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9" tIns="45720" rIns="91439" bIns="45720" numCol="1" spcCol="0" rtlCol="0" fromWordArt="0" anchor="ctr" anchorCtr="0" forceAA="0" compatLnSpc="1">
              <a:prstTxWarp prst="textNoShape">
                <a:avLst/>
              </a:prstTxWarp>
              <a:noAutofit/>
            </a:bodyPr>
            <a:lstStyle/>
            <a:p>
              <a:pPr algn="ctr" defTabSz="1228949"/>
              <a:endParaRPr lang="en-US" dirty="0" err="1">
                <a:solidFill>
                  <a:srgbClr val="FFFFFF"/>
                </a:solidFill>
                <a:latin typeface="Arial" panose="020B0604020202020204"/>
              </a:endParaRPr>
            </a:p>
          </p:txBody>
        </p:sp>
        <p:sp>
          <p:nvSpPr>
            <p:cNvPr id="177" name="Rectangle 176">
              <a:extLst>
                <a:ext uri="{FF2B5EF4-FFF2-40B4-BE49-F238E27FC236}">
                  <a16:creationId xmlns:a16="http://schemas.microsoft.com/office/drawing/2014/main" id="{DA2EC376-82AA-A741-A9D2-E77B53F95484}"/>
                </a:ext>
              </a:extLst>
            </p:cNvPr>
            <p:cNvSpPr/>
            <p:nvPr/>
          </p:nvSpPr>
          <p:spPr>
            <a:xfrm>
              <a:off x="2502977" y="6638637"/>
              <a:ext cx="309966" cy="201478"/>
            </a:xfrm>
            <a:prstGeom prst="rect">
              <a:avLst/>
            </a:prstGeom>
            <a:grp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9" tIns="45720" rIns="91439" bIns="45720" numCol="1" spcCol="0" rtlCol="0" fromWordArt="0" anchor="ctr" anchorCtr="0" forceAA="0" compatLnSpc="1">
              <a:prstTxWarp prst="textNoShape">
                <a:avLst/>
              </a:prstTxWarp>
              <a:noAutofit/>
            </a:bodyPr>
            <a:lstStyle/>
            <a:p>
              <a:pPr algn="ctr" defTabSz="1228949"/>
              <a:endParaRPr lang="en-US" dirty="0" err="1">
                <a:solidFill>
                  <a:srgbClr val="FFFFFF"/>
                </a:solidFill>
                <a:latin typeface="Arial" panose="020B0604020202020204"/>
              </a:endParaRPr>
            </a:p>
          </p:txBody>
        </p:sp>
        <p:sp>
          <p:nvSpPr>
            <p:cNvPr id="178" name="Rectangle 177">
              <a:extLst>
                <a:ext uri="{FF2B5EF4-FFF2-40B4-BE49-F238E27FC236}">
                  <a16:creationId xmlns:a16="http://schemas.microsoft.com/office/drawing/2014/main" id="{BC1F0418-7FF2-BB43-9698-54F81B9BB0F3}"/>
                </a:ext>
              </a:extLst>
            </p:cNvPr>
            <p:cNvSpPr/>
            <p:nvPr/>
          </p:nvSpPr>
          <p:spPr>
            <a:xfrm>
              <a:off x="2812943" y="6638637"/>
              <a:ext cx="309966" cy="201478"/>
            </a:xfrm>
            <a:prstGeom prst="rect">
              <a:avLst/>
            </a:prstGeom>
            <a:grp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9" tIns="45720" rIns="91439" bIns="45720" numCol="1" spcCol="0" rtlCol="0" fromWordArt="0" anchor="ctr" anchorCtr="0" forceAA="0" compatLnSpc="1">
              <a:prstTxWarp prst="textNoShape">
                <a:avLst/>
              </a:prstTxWarp>
              <a:noAutofit/>
            </a:bodyPr>
            <a:lstStyle/>
            <a:p>
              <a:pPr algn="ctr" defTabSz="1228949"/>
              <a:endParaRPr lang="en-US" dirty="0" err="1">
                <a:solidFill>
                  <a:srgbClr val="FFFFFF"/>
                </a:solidFill>
                <a:latin typeface="Arial" panose="020B0604020202020204"/>
              </a:endParaRPr>
            </a:p>
          </p:txBody>
        </p:sp>
        <p:sp>
          <p:nvSpPr>
            <p:cNvPr id="179" name="Rectangle 178">
              <a:extLst>
                <a:ext uri="{FF2B5EF4-FFF2-40B4-BE49-F238E27FC236}">
                  <a16:creationId xmlns:a16="http://schemas.microsoft.com/office/drawing/2014/main" id="{E32A15DE-43FB-9F41-B28C-8D1C8111F5EA}"/>
                </a:ext>
              </a:extLst>
            </p:cNvPr>
            <p:cNvSpPr/>
            <p:nvPr/>
          </p:nvSpPr>
          <p:spPr>
            <a:xfrm>
              <a:off x="3130658" y="6638637"/>
              <a:ext cx="309966" cy="201478"/>
            </a:xfrm>
            <a:prstGeom prst="rect">
              <a:avLst/>
            </a:prstGeom>
            <a:grp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9" tIns="45720" rIns="91439" bIns="45720" numCol="1" spcCol="0" rtlCol="0" fromWordArt="0" anchor="ctr" anchorCtr="0" forceAA="0" compatLnSpc="1">
              <a:prstTxWarp prst="textNoShape">
                <a:avLst/>
              </a:prstTxWarp>
              <a:noAutofit/>
            </a:bodyPr>
            <a:lstStyle/>
            <a:p>
              <a:pPr algn="ctr" defTabSz="1228949"/>
              <a:endParaRPr lang="en-US" dirty="0" err="1">
                <a:solidFill>
                  <a:srgbClr val="FFFFFF"/>
                </a:solidFill>
                <a:latin typeface="Arial" panose="020B0604020202020204"/>
              </a:endParaRPr>
            </a:p>
          </p:txBody>
        </p:sp>
        <p:sp>
          <p:nvSpPr>
            <p:cNvPr id="180" name="Rectangle 179">
              <a:extLst>
                <a:ext uri="{FF2B5EF4-FFF2-40B4-BE49-F238E27FC236}">
                  <a16:creationId xmlns:a16="http://schemas.microsoft.com/office/drawing/2014/main" id="{99B86AD2-36F1-AA43-8D15-A0C3AEBC4BFD}"/>
                </a:ext>
              </a:extLst>
            </p:cNvPr>
            <p:cNvSpPr/>
            <p:nvPr/>
          </p:nvSpPr>
          <p:spPr>
            <a:xfrm>
              <a:off x="3452248" y="6437159"/>
              <a:ext cx="309966" cy="201478"/>
            </a:xfrm>
            <a:prstGeom prst="rect">
              <a:avLst/>
            </a:prstGeom>
            <a:grp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9" tIns="45720" rIns="91439" bIns="45720" numCol="1" spcCol="0" rtlCol="0" fromWordArt="0" anchor="ctr" anchorCtr="0" forceAA="0" compatLnSpc="1">
              <a:prstTxWarp prst="textNoShape">
                <a:avLst/>
              </a:prstTxWarp>
              <a:noAutofit/>
            </a:bodyPr>
            <a:lstStyle/>
            <a:p>
              <a:pPr algn="ctr" defTabSz="1228949"/>
              <a:endParaRPr lang="en-US" dirty="0" err="1">
                <a:solidFill>
                  <a:srgbClr val="FFFFFF"/>
                </a:solidFill>
                <a:latin typeface="Arial" panose="020B0604020202020204"/>
              </a:endParaRPr>
            </a:p>
          </p:txBody>
        </p:sp>
        <p:sp>
          <p:nvSpPr>
            <p:cNvPr id="181" name="Rectangle 180">
              <a:extLst>
                <a:ext uri="{FF2B5EF4-FFF2-40B4-BE49-F238E27FC236}">
                  <a16:creationId xmlns:a16="http://schemas.microsoft.com/office/drawing/2014/main" id="{904D6D26-6D3F-FD47-A61F-C9636BC52064}"/>
                </a:ext>
              </a:extLst>
            </p:cNvPr>
            <p:cNvSpPr/>
            <p:nvPr/>
          </p:nvSpPr>
          <p:spPr>
            <a:xfrm>
              <a:off x="3769963" y="6437159"/>
              <a:ext cx="309966" cy="201478"/>
            </a:xfrm>
            <a:prstGeom prst="rect">
              <a:avLst/>
            </a:prstGeom>
            <a:grp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9" tIns="45720" rIns="91439" bIns="45720" numCol="1" spcCol="0" rtlCol="0" fromWordArt="0" anchor="ctr" anchorCtr="0" forceAA="0" compatLnSpc="1">
              <a:prstTxWarp prst="textNoShape">
                <a:avLst/>
              </a:prstTxWarp>
              <a:noAutofit/>
            </a:bodyPr>
            <a:lstStyle/>
            <a:p>
              <a:pPr algn="ctr" defTabSz="1228949"/>
              <a:endParaRPr lang="en-US" dirty="0" err="1">
                <a:solidFill>
                  <a:srgbClr val="FFFFFF"/>
                </a:solidFill>
                <a:latin typeface="Arial" panose="020B0604020202020204"/>
              </a:endParaRPr>
            </a:p>
          </p:txBody>
        </p:sp>
        <p:sp>
          <p:nvSpPr>
            <p:cNvPr id="182" name="Rectangle 181">
              <a:extLst>
                <a:ext uri="{FF2B5EF4-FFF2-40B4-BE49-F238E27FC236}">
                  <a16:creationId xmlns:a16="http://schemas.microsoft.com/office/drawing/2014/main" id="{C5095987-3161-8744-BA3C-6E453212D26C}"/>
                </a:ext>
              </a:extLst>
            </p:cNvPr>
            <p:cNvSpPr/>
            <p:nvPr/>
          </p:nvSpPr>
          <p:spPr>
            <a:xfrm>
              <a:off x="3452248" y="6638637"/>
              <a:ext cx="309966" cy="201478"/>
            </a:xfrm>
            <a:prstGeom prst="rect">
              <a:avLst/>
            </a:prstGeom>
            <a:grp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9" tIns="45720" rIns="91439" bIns="45720" numCol="1" spcCol="0" rtlCol="0" fromWordArt="0" anchor="ctr" anchorCtr="0" forceAA="0" compatLnSpc="1">
              <a:prstTxWarp prst="textNoShape">
                <a:avLst/>
              </a:prstTxWarp>
              <a:noAutofit/>
            </a:bodyPr>
            <a:lstStyle/>
            <a:p>
              <a:pPr algn="ctr" defTabSz="1228949"/>
              <a:endParaRPr lang="en-US" dirty="0" err="1">
                <a:solidFill>
                  <a:srgbClr val="FFFFFF"/>
                </a:solidFill>
                <a:latin typeface="Arial" panose="020B0604020202020204"/>
              </a:endParaRPr>
            </a:p>
          </p:txBody>
        </p:sp>
        <p:sp>
          <p:nvSpPr>
            <p:cNvPr id="183" name="Rectangle 182">
              <a:extLst>
                <a:ext uri="{FF2B5EF4-FFF2-40B4-BE49-F238E27FC236}">
                  <a16:creationId xmlns:a16="http://schemas.microsoft.com/office/drawing/2014/main" id="{5F26E9A0-24A4-664D-A9CB-2304B409F16E}"/>
                </a:ext>
              </a:extLst>
            </p:cNvPr>
            <p:cNvSpPr/>
            <p:nvPr/>
          </p:nvSpPr>
          <p:spPr>
            <a:xfrm>
              <a:off x="3769963" y="6638637"/>
              <a:ext cx="309966" cy="201478"/>
            </a:xfrm>
            <a:prstGeom prst="rect">
              <a:avLst/>
            </a:prstGeom>
            <a:grp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9" tIns="45720" rIns="91439" bIns="45720" numCol="1" spcCol="0" rtlCol="0" fromWordArt="0" anchor="ctr" anchorCtr="0" forceAA="0" compatLnSpc="1">
              <a:prstTxWarp prst="textNoShape">
                <a:avLst/>
              </a:prstTxWarp>
              <a:noAutofit/>
            </a:bodyPr>
            <a:lstStyle/>
            <a:p>
              <a:pPr algn="ctr" defTabSz="1228949"/>
              <a:endParaRPr lang="en-US" dirty="0" err="1">
                <a:solidFill>
                  <a:srgbClr val="FFFFFF"/>
                </a:solidFill>
                <a:latin typeface="Arial" panose="020B0604020202020204"/>
              </a:endParaRPr>
            </a:p>
          </p:txBody>
        </p:sp>
        <p:sp>
          <p:nvSpPr>
            <p:cNvPr id="184" name="Rectangle 183">
              <a:extLst>
                <a:ext uri="{FF2B5EF4-FFF2-40B4-BE49-F238E27FC236}">
                  <a16:creationId xmlns:a16="http://schemas.microsoft.com/office/drawing/2014/main" id="{454FE872-6CEE-134A-8F0C-65279B2816E0}"/>
                </a:ext>
              </a:extLst>
            </p:cNvPr>
            <p:cNvSpPr/>
            <p:nvPr/>
          </p:nvSpPr>
          <p:spPr>
            <a:xfrm>
              <a:off x="1565329" y="6840115"/>
              <a:ext cx="309966" cy="201478"/>
            </a:xfrm>
            <a:prstGeom prst="rect">
              <a:avLst/>
            </a:prstGeom>
            <a:grp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9" tIns="45720" rIns="91439" bIns="45720" numCol="1" spcCol="0" rtlCol="0" fromWordArt="0" anchor="ctr" anchorCtr="0" forceAA="0" compatLnSpc="1">
              <a:prstTxWarp prst="textNoShape">
                <a:avLst/>
              </a:prstTxWarp>
              <a:noAutofit/>
            </a:bodyPr>
            <a:lstStyle/>
            <a:p>
              <a:pPr algn="ctr" defTabSz="1228949"/>
              <a:endParaRPr lang="en-US" dirty="0" err="1">
                <a:solidFill>
                  <a:srgbClr val="FFFFFF"/>
                </a:solidFill>
                <a:latin typeface="Arial" panose="020B0604020202020204"/>
              </a:endParaRPr>
            </a:p>
          </p:txBody>
        </p:sp>
        <p:sp>
          <p:nvSpPr>
            <p:cNvPr id="185" name="Rectangle 184">
              <a:extLst>
                <a:ext uri="{FF2B5EF4-FFF2-40B4-BE49-F238E27FC236}">
                  <a16:creationId xmlns:a16="http://schemas.microsoft.com/office/drawing/2014/main" id="{5D496365-EBD4-EC48-8187-11091130A095}"/>
                </a:ext>
              </a:extLst>
            </p:cNvPr>
            <p:cNvSpPr/>
            <p:nvPr/>
          </p:nvSpPr>
          <p:spPr>
            <a:xfrm>
              <a:off x="1875295" y="6840115"/>
              <a:ext cx="309966" cy="201478"/>
            </a:xfrm>
            <a:prstGeom prst="rect">
              <a:avLst/>
            </a:prstGeom>
            <a:grp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9" tIns="45720" rIns="91439" bIns="45720" numCol="1" spcCol="0" rtlCol="0" fromWordArt="0" anchor="ctr" anchorCtr="0" forceAA="0" compatLnSpc="1">
              <a:prstTxWarp prst="textNoShape">
                <a:avLst/>
              </a:prstTxWarp>
              <a:noAutofit/>
            </a:bodyPr>
            <a:lstStyle/>
            <a:p>
              <a:pPr algn="ctr" defTabSz="1228949"/>
              <a:endParaRPr lang="en-US" dirty="0" err="1">
                <a:solidFill>
                  <a:srgbClr val="FFFFFF"/>
                </a:solidFill>
                <a:latin typeface="Arial" panose="020B0604020202020204"/>
              </a:endParaRPr>
            </a:p>
          </p:txBody>
        </p:sp>
        <p:sp>
          <p:nvSpPr>
            <p:cNvPr id="186" name="Rectangle 185">
              <a:extLst>
                <a:ext uri="{FF2B5EF4-FFF2-40B4-BE49-F238E27FC236}">
                  <a16:creationId xmlns:a16="http://schemas.microsoft.com/office/drawing/2014/main" id="{D813EF6E-8AC0-CD4F-A560-F11114319277}"/>
                </a:ext>
              </a:extLst>
            </p:cNvPr>
            <p:cNvSpPr/>
            <p:nvPr/>
          </p:nvSpPr>
          <p:spPr>
            <a:xfrm>
              <a:off x="2193010" y="6840115"/>
              <a:ext cx="309966" cy="201478"/>
            </a:xfrm>
            <a:prstGeom prst="rect">
              <a:avLst/>
            </a:prstGeom>
            <a:grp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9" tIns="45720" rIns="91439" bIns="45720" numCol="1" spcCol="0" rtlCol="0" fromWordArt="0" anchor="ctr" anchorCtr="0" forceAA="0" compatLnSpc="1">
              <a:prstTxWarp prst="textNoShape">
                <a:avLst/>
              </a:prstTxWarp>
              <a:noAutofit/>
            </a:bodyPr>
            <a:lstStyle/>
            <a:p>
              <a:pPr algn="ctr" defTabSz="1228949"/>
              <a:endParaRPr lang="en-US" dirty="0" err="1">
                <a:solidFill>
                  <a:srgbClr val="FFFFFF"/>
                </a:solidFill>
                <a:latin typeface="Arial" panose="020B0604020202020204"/>
              </a:endParaRPr>
            </a:p>
          </p:txBody>
        </p:sp>
        <p:sp>
          <p:nvSpPr>
            <p:cNvPr id="187" name="Rectangle 186">
              <a:extLst>
                <a:ext uri="{FF2B5EF4-FFF2-40B4-BE49-F238E27FC236}">
                  <a16:creationId xmlns:a16="http://schemas.microsoft.com/office/drawing/2014/main" id="{F0A5A6C3-2BD1-C54F-88BA-BD276F75E01A}"/>
                </a:ext>
              </a:extLst>
            </p:cNvPr>
            <p:cNvSpPr/>
            <p:nvPr/>
          </p:nvSpPr>
          <p:spPr>
            <a:xfrm>
              <a:off x="2502977" y="6840115"/>
              <a:ext cx="309966" cy="201478"/>
            </a:xfrm>
            <a:prstGeom prst="rect">
              <a:avLst/>
            </a:prstGeom>
            <a:grp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9" tIns="45720" rIns="91439" bIns="45720" numCol="1" spcCol="0" rtlCol="0" fromWordArt="0" anchor="ctr" anchorCtr="0" forceAA="0" compatLnSpc="1">
              <a:prstTxWarp prst="textNoShape">
                <a:avLst/>
              </a:prstTxWarp>
              <a:noAutofit/>
            </a:bodyPr>
            <a:lstStyle/>
            <a:p>
              <a:pPr algn="ctr" defTabSz="1228949"/>
              <a:endParaRPr lang="en-US" dirty="0" err="1">
                <a:solidFill>
                  <a:srgbClr val="FFFFFF"/>
                </a:solidFill>
                <a:latin typeface="Arial" panose="020B0604020202020204"/>
              </a:endParaRPr>
            </a:p>
          </p:txBody>
        </p:sp>
        <p:sp>
          <p:nvSpPr>
            <p:cNvPr id="188" name="Rectangle 187">
              <a:extLst>
                <a:ext uri="{FF2B5EF4-FFF2-40B4-BE49-F238E27FC236}">
                  <a16:creationId xmlns:a16="http://schemas.microsoft.com/office/drawing/2014/main" id="{CBCFDBBF-E1D9-6349-95C7-CB18C50DAF7A}"/>
                </a:ext>
              </a:extLst>
            </p:cNvPr>
            <p:cNvSpPr/>
            <p:nvPr/>
          </p:nvSpPr>
          <p:spPr>
            <a:xfrm>
              <a:off x="2812943" y="6840115"/>
              <a:ext cx="309966" cy="201478"/>
            </a:xfrm>
            <a:prstGeom prst="rect">
              <a:avLst/>
            </a:prstGeom>
            <a:grp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9" tIns="45720" rIns="91439" bIns="45720" numCol="1" spcCol="0" rtlCol="0" fromWordArt="0" anchor="ctr" anchorCtr="0" forceAA="0" compatLnSpc="1">
              <a:prstTxWarp prst="textNoShape">
                <a:avLst/>
              </a:prstTxWarp>
              <a:noAutofit/>
            </a:bodyPr>
            <a:lstStyle/>
            <a:p>
              <a:pPr algn="ctr" defTabSz="1228949"/>
              <a:endParaRPr lang="en-US" dirty="0" err="1">
                <a:solidFill>
                  <a:srgbClr val="FFFFFF"/>
                </a:solidFill>
                <a:latin typeface="Arial" panose="020B0604020202020204"/>
              </a:endParaRPr>
            </a:p>
          </p:txBody>
        </p:sp>
        <p:sp>
          <p:nvSpPr>
            <p:cNvPr id="189" name="Rectangle 188">
              <a:extLst>
                <a:ext uri="{FF2B5EF4-FFF2-40B4-BE49-F238E27FC236}">
                  <a16:creationId xmlns:a16="http://schemas.microsoft.com/office/drawing/2014/main" id="{57C5A502-6956-994E-81B1-238DF50836F4}"/>
                </a:ext>
              </a:extLst>
            </p:cNvPr>
            <p:cNvSpPr/>
            <p:nvPr/>
          </p:nvSpPr>
          <p:spPr>
            <a:xfrm>
              <a:off x="3130658" y="6840115"/>
              <a:ext cx="309966" cy="201478"/>
            </a:xfrm>
            <a:prstGeom prst="rect">
              <a:avLst/>
            </a:prstGeom>
            <a:grp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9" tIns="45720" rIns="91439" bIns="45720" numCol="1" spcCol="0" rtlCol="0" fromWordArt="0" anchor="ctr" anchorCtr="0" forceAA="0" compatLnSpc="1">
              <a:prstTxWarp prst="textNoShape">
                <a:avLst/>
              </a:prstTxWarp>
              <a:noAutofit/>
            </a:bodyPr>
            <a:lstStyle/>
            <a:p>
              <a:pPr algn="ctr" defTabSz="1228949"/>
              <a:endParaRPr lang="en-US" dirty="0" err="1">
                <a:solidFill>
                  <a:srgbClr val="FFFFFF"/>
                </a:solidFill>
                <a:latin typeface="Arial" panose="020B0604020202020204"/>
              </a:endParaRPr>
            </a:p>
          </p:txBody>
        </p:sp>
        <p:sp>
          <p:nvSpPr>
            <p:cNvPr id="190" name="Rectangle 189">
              <a:extLst>
                <a:ext uri="{FF2B5EF4-FFF2-40B4-BE49-F238E27FC236}">
                  <a16:creationId xmlns:a16="http://schemas.microsoft.com/office/drawing/2014/main" id="{EDF43799-9289-694F-BC2D-FEC1678F0E0C}"/>
                </a:ext>
              </a:extLst>
            </p:cNvPr>
            <p:cNvSpPr/>
            <p:nvPr/>
          </p:nvSpPr>
          <p:spPr>
            <a:xfrm>
              <a:off x="1565329" y="7041593"/>
              <a:ext cx="309966" cy="201478"/>
            </a:xfrm>
            <a:prstGeom prst="rect">
              <a:avLst/>
            </a:prstGeom>
            <a:grp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9" tIns="45720" rIns="91439" bIns="45720" numCol="1" spcCol="0" rtlCol="0" fromWordArt="0" anchor="ctr" anchorCtr="0" forceAA="0" compatLnSpc="1">
              <a:prstTxWarp prst="textNoShape">
                <a:avLst/>
              </a:prstTxWarp>
              <a:noAutofit/>
            </a:bodyPr>
            <a:lstStyle/>
            <a:p>
              <a:pPr algn="ctr" defTabSz="1228949"/>
              <a:endParaRPr lang="en-US" dirty="0" err="1">
                <a:solidFill>
                  <a:srgbClr val="FFFFFF"/>
                </a:solidFill>
                <a:latin typeface="Arial" panose="020B0604020202020204"/>
              </a:endParaRPr>
            </a:p>
          </p:txBody>
        </p:sp>
        <p:sp>
          <p:nvSpPr>
            <p:cNvPr id="191" name="Rectangle 190">
              <a:extLst>
                <a:ext uri="{FF2B5EF4-FFF2-40B4-BE49-F238E27FC236}">
                  <a16:creationId xmlns:a16="http://schemas.microsoft.com/office/drawing/2014/main" id="{1A611118-BE69-A14B-B7BB-2F75658550B2}"/>
                </a:ext>
              </a:extLst>
            </p:cNvPr>
            <p:cNvSpPr/>
            <p:nvPr/>
          </p:nvSpPr>
          <p:spPr>
            <a:xfrm>
              <a:off x="1875295" y="7041593"/>
              <a:ext cx="309966" cy="201478"/>
            </a:xfrm>
            <a:prstGeom prst="rect">
              <a:avLst/>
            </a:prstGeom>
            <a:grp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9" tIns="45720" rIns="91439" bIns="45720" numCol="1" spcCol="0" rtlCol="0" fromWordArt="0" anchor="ctr" anchorCtr="0" forceAA="0" compatLnSpc="1">
              <a:prstTxWarp prst="textNoShape">
                <a:avLst/>
              </a:prstTxWarp>
              <a:noAutofit/>
            </a:bodyPr>
            <a:lstStyle/>
            <a:p>
              <a:pPr algn="ctr" defTabSz="1228949"/>
              <a:endParaRPr lang="en-US" dirty="0" err="1">
                <a:solidFill>
                  <a:srgbClr val="FFFFFF"/>
                </a:solidFill>
                <a:latin typeface="Arial" panose="020B0604020202020204"/>
              </a:endParaRPr>
            </a:p>
          </p:txBody>
        </p:sp>
        <p:sp>
          <p:nvSpPr>
            <p:cNvPr id="192" name="Rectangle 191">
              <a:extLst>
                <a:ext uri="{FF2B5EF4-FFF2-40B4-BE49-F238E27FC236}">
                  <a16:creationId xmlns:a16="http://schemas.microsoft.com/office/drawing/2014/main" id="{D9449E39-A1FC-3D4F-9246-7370EFE692DD}"/>
                </a:ext>
              </a:extLst>
            </p:cNvPr>
            <p:cNvSpPr/>
            <p:nvPr/>
          </p:nvSpPr>
          <p:spPr>
            <a:xfrm>
              <a:off x="2193010" y="7041593"/>
              <a:ext cx="309966" cy="201478"/>
            </a:xfrm>
            <a:prstGeom prst="rect">
              <a:avLst/>
            </a:prstGeom>
            <a:grp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9" tIns="45720" rIns="91439" bIns="45720" numCol="1" spcCol="0" rtlCol="0" fromWordArt="0" anchor="ctr" anchorCtr="0" forceAA="0" compatLnSpc="1">
              <a:prstTxWarp prst="textNoShape">
                <a:avLst/>
              </a:prstTxWarp>
              <a:noAutofit/>
            </a:bodyPr>
            <a:lstStyle/>
            <a:p>
              <a:pPr algn="ctr" defTabSz="1228949"/>
              <a:endParaRPr lang="en-US" dirty="0" err="1">
                <a:solidFill>
                  <a:srgbClr val="FFFFFF"/>
                </a:solidFill>
                <a:latin typeface="Arial" panose="020B0604020202020204"/>
              </a:endParaRPr>
            </a:p>
          </p:txBody>
        </p:sp>
        <p:sp>
          <p:nvSpPr>
            <p:cNvPr id="193" name="Rectangle 192">
              <a:extLst>
                <a:ext uri="{FF2B5EF4-FFF2-40B4-BE49-F238E27FC236}">
                  <a16:creationId xmlns:a16="http://schemas.microsoft.com/office/drawing/2014/main" id="{84E3FA48-95A5-374D-B18E-C40660945143}"/>
                </a:ext>
              </a:extLst>
            </p:cNvPr>
            <p:cNvSpPr/>
            <p:nvPr/>
          </p:nvSpPr>
          <p:spPr>
            <a:xfrm>
              <a:off x="2502977" y="7041593"/>
              <a:ext cx="309966" cy="201478"/>
            </a:xfrm>
            <a:prstGeom prst="rect">
              <a:avLst/>
            </a:prstGeom>
            <a:grp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9" tIns="45720" rIns="91439" bIns="45720" numCol="1" spcCol="0" rtlCol="0" fromWordArt="0" anchor="ctr" anchorCtr="0" forceAA="0" compatLnSpc="1">
              <a:prstTxWarp prst="textNoShape">
                <a:avLst/>
              </a:prstTxWarp>
              <a:noAutofit/>
            </a:bodyPr>
            <a:lstStyle/>
            <a:p>
              <a:pPr algn="ctr" defTabSz="1228949"/>
              <a:endParaRPr lang="en-US" dirty="0" err="1">
                <a:solidFill>
                  <a:srgbClr val="FFFFFF"/>
                </a:solidFill>
                <a:latin typeface="Arial" panose="020B0604020202020204"/>
              </a:endParaRPr>
            </a:p>
          </p:txBody>
        </p:sp>
        <p:sp>
          <p:nvSpPr>
            <p:cNvPr id="194" name="Rectangle 193">
              <a:extLst>
                <a:ext uri="{FF2B5EF4-FFF2-40B4-BE49-F238E27FC236}">
                  <a16:creationId xmlns:a16="http://schemas.microsoft.com/office/drawing/2014/main" id="{FB74E3B9-DDF6-BF4A-A312-0DD404977670}"/>
                </a:ext>
              </a:extLst>
            </p:cNvPr>
            <p:cNvSpPr/>
            <p:nvPr/>
          </p:nvSpPr>
          <p:spPr>
            <a:xfrm>
              <a:off x="2812943" y="7041593"/>
              <a:ext cx="309966" cy="201478"/>
            </a:xfrm>
            <a:prstGeom prst="rect">
              <a:avLst/>
            </a:prstGeom>
            <a:grp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9" tIns="45720" rIns="91439" bIns="45720" numCol="1" spcCol="0" rtlCol="0" fromWordArt="0" anchor="ctr" anchorCtr="0" forceAA="0" compatLnSpc="1">
              <a:prstTxWarp prst="textNoShape">
                <a:avLst/>
              </a:prstTxWarp>
              <a:noAutofit/>
            </a:bodyPr>
            <a:lstStyle/>
            <a:p>
              <a:pPr algn="ctr" defTabSz="1228949"/>
              <a:endParaRPr lang="en-US" dirty="0" err="1">
                <a:solidFill>
                  <a:srgbClr val="FFFFFF"/>
                </a:solidFill>
                <a:latin typeface="Arial" panose="020B0604020202020204"/>
              </a:endParaRPr>
            </a:p>
          </p:txBody>
        </p:sp>
        <p:sp>
          <p:nvSpPr>
            <p:cNvPr id="195" name="Rectangle 194">
              <a:extLst>
                <a:ext uri="{FF2B5EF4-FFF2-40B4-BE49-F238E27FC236}">
                  <a16:creationId xmlns:a16="http://schemas.microsoft.com/office/drawing/2014/main" id="{6638A702-38EE-2343-800C-107EAA7CF80C}"/>
                </a:ext>
              </a:extLst>
            </p:cNvPr>
            <p:cNvSpPr/>
            <p:nvPr/>
          </p:nvSpPr>
          <p:spPr>
            <a:xfrm>
              <a:off x="3130658" y="7041593"/>
              <a:ext cx="309966" cy="201478"/>
            </a:xfrm>
            <a:prstGeom prst="rect">
              <a:avLst/>
            </a:prstGeom>
            <a:grp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9" tIns="45720" rIns="91439" bIns="45720" numCol="1" spcCol="0" rtlCol="0" fromWordArt="0" anchor="ctr" anchorCtr="0" forceAA="0" compatLnSpc="1">
              <a:prstTxWarp prst="textNoShape">
                <a:avLst/>
              </a:prstTxWarp>
              <a:noAutofit/>
            </a:bodyPr>
            <a:lstStyle/>
            <a:p>
              <a:pPr algn="ctr" defTabSz="1228949"/>
              <a:endParaRPr lang="en-US" dirty="0" err="1">
                <a:solidFill>
                  <a:srgbClr val="FFFFFF"/>
                </a:solidFill>
                <a:latin typeface="Arial" panose="020B0604020202020204"/>
              </a:endParaRPr>
            </a:p>
          </p:txBody>
        </p:sp>
        <p:sp>
          <p:nvSpPr>
            <p:cNvPr id="196" name="Rectangle 195">
              <a:extLst>
                <a:ext uri="{FF2B5EF4-FFF2-40B4-BE49-F238E27FC236}">
                  <a16:creationId xmlns:a16="http://schemas.microsoft.com/office/drawing/2014/main" id="{7B84E01B-BFF1-894B-BE3F-7F3FA22990E1}"/>
                </a:ext>
              </a:extLst>
            </p:cNvPr>
            <p:cNvSpPr/>
            <p:nvPr/>
          </p:nvSpPr>
          <p:spPr>
            <a:xfrm>
              <a:off x="3452248" y="6840115"/>
              <a:ext cx="309966" cy="201478"/>
            </a:xfrm>
            <a:prstGeom prst="rect">
              <a:avLst/>
            </a:prstGeom>
            <a:grp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9" tIns="45720" rIns="91439" bIns="45720" numCol="1" spcCol="0" rtlCol="0" fromWordArt="0" anchor="ctr" anchorCtr="0" forceAA="0" compatLnSpc="1">
              <a:prstTxWarp prst="textNoShape">
                <a:avLst/>
              </a:prstTxWarp>
              <a:noAutofit/>
            </a:bodyPr>
            <a:lstStyle/>
            <a:p>
              <a:pPr algn="ctr" defTabSz="1228949"/>
              <a:endParaRPr lang="en-US" dirty="0" err="1">
                <a:solidFill>
                  <a:srgbClr val="FFFFFF"/>
                </a:solidFill>
                <a:latin typeface="Arial" panose="020B0604020202020204"/>
              </a:endParaRPr>
            </a:p>
          </p:txBody>
        </p:sp>
        <p:sp>
          <p:nvSpPr>
            <p:cNvPr id="197" name="Rectangle 196">
              <a:extLst>
                <a:ext uri="{FF2B5EF4-FFF2-40B4-BE49-F238E27FC236}">
                  <a16:creationId xmlns:a16="http://schemas.microsoft.com/office/drawing/2014/main" id="{FA7C2E00-3CDA-184C-97CF-C7588C9EDDC6}"/>
                </a:ext>
              </a:extLst>
            </p:cNvPr>
            <p:cNvSpPr/>
            <p:nvPr/>
          </p:nvSpPr>
          <p:spPr>
            <a:xfrm>
              <a:off x="3769963" y="6840115"/>
              <a:ext cx="309966" cy="201478"/>
            </a:xfrm>
            <a:prstGeom prst="rect">
              <a:avLst/>
            </a:prstGeom>
            <a:grp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9" tIns="45720" rIns="91439" bIns="45720" numCol="1" spcCol="0" rtlCol="0" fromWordArt="0" anchor="ctr" anchorCtr="0" forceAA="0" compatLnSpc="1">
              <a:prstTxWarp prst="textNoShape">
                <a:avLst/>
              </a:prstTxWarp>
              <a:noAutofit/>
            </a:bodyPr>
            <a:lstStyle/>
            <a:p>
              <a:pPr algn="ctr" defTabSz="1228949"/>
              <a:endParaRPr lang="en-US" dirty="0" err="1">
                <a:solidFill>
                  <a:srgbClr val="FFFFFF"/>
                </a:solidFill>
                <a:latin typeface="Arial" panose="020B0604020202020204"/>
              </a:endParaRPr>
            </a:p>
          </p:txBody>
        </p:sp>
        <p:sp>
          <p:nvSpPr>
            <p:cNvPr id="198" name="Rectangle 197">
              <a:extLst>
                <a:ext uri="{FF2B5EF4-FFF2-40B4-BE49-F238E27FC236}">
                  <a16:creationId xmlns:a16="http://schemas.microsoft.com/office/drawing/2014/main" id="{5E57C759-0FE8-E149-9DAB-59A81401B8BA}"/>
                </a:ext>
              </a:extLst>
            </p:cNvPr>
            <p:cNvSpPr/>
            <p:nvPr/>
          </p:nvSpPr>
          <p:spPr>
            <a:xfrm>
              <a:off x="3452248" y="7041593"/>
              <a:ext cx="309966" cy="201478"/>
            </a:xfrm>
            <a:prstGeom prst="rect">
              <a:avLst/>
            </a:prstGeom>
            <a:grp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9" tIns="45720" rIns="91439" bIns="45720" numCol="1" spcCol="0" rtlCol="0" fromWordArt="0" anchor="ctr" anchorCtr="0" forceAA="0" compatLnSpc="1">
              <a:prstTxWarp prst="textNoShape">
                <a:avLst/>
              </a:prstTxWarp>
              <a:noAutofit/>
            </a:bodyPr>
            <a:lstStyle/>
            <a:p>
              <a:pPr algn="ctr" defTabSz="1228949"/>
              <a:endParaRPr lang="en-US" dirty="0" err="1">
                <a:solidFill>
                  <a:srgbClr val="FFFFFF"/>
                </a:solidFill>
                <a:latin typeface="Arial" panose="020B0604020202020204"/>
              </a:endParaRPr>
            </a:p>
          </p:txBody>
        </p:sp>
        <p:sp>
          <p:nvSpPr>
            <p:cNvPr id="199" name="Rectangle 198">
              <a:extLst>
                <a:ext uri="{FF2B5EF4-FFF2-40B4-BE49-F238E27FC236}">
                  <a16:creationId xmlns:a16="http://schemas.microsoft.com/office/drawing/2014/main" id="{A18A8B65-D30F-6F4C-B2FC-C69AE225D007}"/>
                </a:ext>
              </a:extLst>
            </p:cNvPr>
            <p:cNvSpPr/>
            <p:nvPr/>
          </p:nvSpPr>
          <p:spPr>
            <a:xfrm>
              <a:off x="3769963" y="7041593"/>
              <a:ext cx="309966" cy="201478"/>
            </a:xfrm>
            <a:prstGeom prst="rect">
              <a:avLst/>
            </a:prstGeom>
            <a:grp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9" tIns="45720" rIns="91439" bIns="45720" numCol="1" spcCol="0" rtlCol="0" fromWordArt="0" anchor="ctr" anchorCtr="0" forceAA="0" compatLnSpc="1">
              <a:prstTxWarp prst="textNoShape">
                <a:avLst/>
              </a:prstTxWarp>
              <a:noAutofit/>
            </a:bodyPr>
            <a:lstStyle/>
            <a:p>
              <a:pPr algn="ctr" defTabSz="1228949"/>
              <a:endParaRPr lang="en-US" dirty="0" err="1">
                <a:solidFill>
                  <a:srgbClr val="FFFFFF"/>
                </a:solidFill>
                <a:latin typeface="Arial" panose="020B0604020202020204"/>
              </a:endParaRPr>
            </a:p>
          </p:txBody>
        </p:sp>
        <p:sp>
          <p:nvSpPr>
            <p:cNvPr id="200" name="Rectangle 199">
              <a:extLst>
                <a:ext uri="{FF2B5EF4-FFF2-40B4-BE49-F238E27FC236}">
                  <a16:creationId xmlns:a16="http://schemas.microsoft.com/office/drawing/2014/main" id="{EEE3E2D6-A46A-FD43-B66F-34A2C853EF8F}"/>
                </a:ext>
              </a:extLst>
            </p:cNvPr>
            <p:cNvSpPr/>
            <p:nvPr/>
          </p:nvSpPr>
          <p:spPr>
            <a:xfrm>
              <a:off x="1565329" y="7243071"/>
              <a:ext cx="309966" cy="201478"/>
            </a:xfrm>
            <a:prstGeom prst="rect">
              <a:avLst/>
            </a:prstGeom>
            <a:grp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9" tIns="45720" rIns="91439" bIns="45720" numCol="1" spcCol="0" rtlCol="0" fromWordArt="0" anchor="ctr" anchorCtr="0" forceAA="0" compatLnSpc="1">
              <a:prstTxWarp prst="textNoShape">
                <a:avLst/>
              </a:prstTxWarp>
              <a:noAutofit/>
            </a:bodyPr>
            <a:lstStyle/>
            <a:p>
              <a:pPr algn="ctr" defTabSz="1228949"/>
              <a:endParaRPr lang="en-US" dirty="0" err="1">
                <a:solidFill>
                  <a:srgbClr val="FFFFFF"/>
                </a:solidFill>
                <a:latin typeface="Arial" panose="020B0604020202020204"/>
              </a:endParaRPr>
            </a:p>
          </p:txBody>
        </p:sp>
        <p:sp>
          <p:nvSpPr>
            <p:cNvPr id="201" name="Rectangle 200">
              <a:extLst>
                <a:ext uri="{FF2B5EF4-FFF2-40B4-BE49-F238E27FC236}">
                  <a16:creationId xmlns:a16="http://schemas.microsoft.com/office/drawing/2014/main" id="{8D961826-22A5-EE46-AB46-860EF01E3805}"/>
                </a:ext>
              </a:extLst>
            </p:cNvPr>
            <p:cNvSpPr/>
            <p:nvPr/>
          </p:nvSpPr>
          <p:spPr>
            <a:xfrm>
              <a:off x="1875295" y="7243071"/>
              <a:ext cx="309966" cy="201478"/>
            </a:xfrm>
            <a:prstGeom prst="rect">
              <a:avLst/>
            </a:prstGeom>
            <a:grp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9" tIns="45720" rIns="91439" bIns="45720" numCol="1" spcCol="0" rtlCol="0" fromWordArt="0" anchor="ctr" anchorCtr="0" forceAA="0" compatLnSpc="1">
              <a:prstTxWarp prst="textNoShape">
                <a:avLst/>
              </a:prstTxWarp>
              <a:noAutofit/>
            </a:bodyPr>
            <a:lstStyle/>
            <a:p>
              <a:pPr algn="ctr" defTabSz="1228949"/>
              <a:endParaRPr lang="en-US" dirty="0" err="1">
                <a:solidFill>
                  <a:srgbClr val="FFFFFF"/>
                </a:solidFill>
                <a:latin typeface="Arial" panose="020B0604020202020204"/>
              </a:endParaRPr>
            </a:p>
          </p:txBody>
        </p:sp>
        <p:sp>
          <p:nvSpPr>
            <p:cNvPr id="202" name="Rectangle 201">
              <a:extLst>
                <a:ext uri="{FF2B5EF4-FFF2-40B4-BE49-F238E27FC236}">
                  <a16:creationId xmlns:a16="http://schemas.microsoft.com/office/drawing/2014/main" id="{6D35FD22-E3DF-DA41-8A63-9B8411CB5A3F}"/>
                </a:ext>
              </a:extLst>
            </p:cNvPr>
            <p:cNvSpPr/>
            <p:nvPr/>
          </p:nvSpPr>
          <p:spPr>
            <a:xfrm>
              <a:off x="2193010" y="7243071"/>
              <a:ext cx="309966" cy="201478"/>
            </a:xfrm>
            <a:prstGeom prst="rect">
              <a:avLst/>
            </a:prstGeom>
            <a:grp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9" tIns="45720" rIns="91439" bIns="45720" numCol="1" spcCol="0" rtlCol="0" fromWordArt="0" anchor="ctr" anchorCtr="0" forceAA="0" compatLnSpc="1">
              <a:prstTxWarp prst="textNoShape">
                <a:avLst/>
              </a:prstTxWarp>
              <a:noAutofit/>
            </a:bodyPr>
            <a:lstStyle/>
            <a:p>
              <a:pPr algn="ctr" defTabSz="1228949"/>
              <a:endParaRPr lang="en-US" dirty="0" err="1">
                <a:solidFill>
                  <a:srgbClr val="FFFFFF"/>
                </a:solidFill>
                <a:latin typeface="Arial" panose="020B0604020202020204"/>
              </a:endParaRPr>
            </a:p>
          </p:txBody>
        </p:sp>
        <p:sp>
          <p:nvSpPr>
            <p:cNvPr id="203" name="Rectangle 202">
              <a:extLst>
                <a:ext uri="{FF2B5EF4-FFF2-40B4-BE49-F238E27FC236}">
                  <a16:creationId xmlns:a16="http://schemas.microsoft.com/office/drawing/2014/main" id="{3F012379-F322-FA49-8BCD-AB0AA5CFA50F}"/>
                </a:ext>
              </a:extLst>
            </p:cNvPr>
            <p:cNvSpPr/>
            <p:nvPr/>
          </p:nvSpPr>
          <p:spPr>
            <a:xfrm>
              <a:off x="2502977" y="7243071"/>
              <a:ext cx="309966" cy="201478"/>
            </a:xfrm>
            <a:prstGeom prst="rect">
              <a:avLst/>
            </a:prstGeom>
            <a:grp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9" tIns="45720" rIns="91439" bIns="45720" numCol="1" spcCol="0" rtlCol="0" fromWordArt="0" anchor="ctr" anchorCtr="0" forceAA="0" compatLnSpc="1">
              <a:prstTxWarp prst="textNoShape">
                <a:avLst/>
              </a:prstTxWarp>
              <a:noAutofit/>
            </a:bodyPr>
            <a:lstStyle/>
            <a:p>
              <a:pPr algn="ctr" defTabSz="1228949"/>
              <a:endParaRPr lang="en-US" dirty="0" err="1">
                <a:solidFill>
                  <a:srgbClr val="FFFFFF"/>
                </a:solidFill>
                <a:latin typeface="Arial" panose="020B0604020202020204"/>
              </a:endParaRPr>
            </a:p>
          </p:txBody>
        </p:sp>
        <p:sp>
          <p:nvSpPr>
            <p:cNvPr id="204" name="Rectangle 203">
              <a:extLst>
                <a:ext uri="{FF2B5EF4-FFF2-40B4-BE49-F238E27FC236}">
                  <a16:creationId xmlns:a16="http://schemas.microsoft.com/office/drawing/2014/main" id="{D3B49596-1685-EA40-9693-749A0F51A635}"/>
                </a:ext>
              </a:extLst>
            </p:cNvPr>
            <p:cNvSpPr/>
            <p:nvPr/>
          </p:nvSpPr>
          <p:spPr>
            <a:xfrm>
              <a:off x="2812943" y="7243071"/>
              <a:ext cx="309966" cy="201478"/>
            </a:xfrm>
            <a:prstGeom prst="rect">
              <a:avLst/>
            </a:prstGeom>
            <a:grp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9" tIns="45720" rIns="91439" bIns="45720" numCol="1" spcCol="0" rtlCol="0" fromWordArt="0" anchor="ctr" anchorCtr="0" forceAA="0" compatLnSpc="1">
              <a:prstTxWarp prst="textNoShape">
                <a:avLst/>
              </a:prstTxWarp>
              <a:noAutofit/>
            </a:bodyPr>
            <a:lstStyle/>
            <a:p>
              <a:pPr algn="ctr" defTabSz="1228949"/>
              <a:endParaRPr lang="en-US" dirty="0" err="1">
                <a:solidFill>
                  <a:srgbClr val="FFFFFF"/>
                </a:solidFill>
                <a:latin typeface="Arial" panose="020B0604020202020204"/>
              </a:endParaRPr>
            </a:p>
          </p:txBody>
        </p:sp>
        <p:sp>
          <p:nvSpPr>
            <p:cNvPr id="205" name="Rectangle 204">
              <a:extLst>
                <a:ext uri="{FF2B5EF4-FFF2-40B4-BE49-F238E27FC236}">
                  <a16:creationId xmlns:a16="http://schemas.microsoft.com/office/drawing/2014/main" id="{356AB7C1-180A-A141-8AEE-53CF39709303}"/>
                </a:ext>
              </a:extLst>
            </p:cNvPr>
            <p:cNvSpPr/>
            <p:nvPr/>
          </p:nvSpPr>
          <p:spPr>
            <a:xfrm>
              <a:off x="3130658" y="7243071"/>
              <a:ext cx="309966" cy="201478"/>
            </a:xfrm>
            <a:prstGeom prst="rect">
              <a:avLst/>
            </a:prstGeom>
            <a:grp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9" tIns="45720" rIns="91439" bIns="45720" numCol="1" spcCol="0" rtlCol="0" fromWordArt="0" anchor="ctr" anchorCtr="0" forceAA="0" compatLnSpc="1">
              <a:prstTxWarp prst="textNoShape">
                <a:avLst/>
              </a:prstTxWarp>
              <a:noAutofit/>
            </a:bodyPr>
            <a:lstStyle/>
            <a:p>
              <a:pPr algn="ctr" defTabSz="1228949"/>
              <a:endParaRPr lang="en-US" dirty="0" err="1">
                <a:solidFill>
                  <a:srgbClr val="FFFFFF"/>
                </a:solidFill>
                <a:latin typeface="Arial" panose="020B0604020202020204"/>
              </a:endParaRPr>
            </a:p>
          </p:txBody>
        </p:sp>
        <p:sp>
          <p:nvSpPr>
            <p:cNvPr id="206" name="Rectangle 205">
              <a:extLst>
                <a:ext uri="{FF2B5EF4-FFF2-40B4-BE49-F238E27FC236}">
                  <a16:creationId xmlns:a16="http://schemas.microsoft.com/office/drawing/2014/main" id="{FD7245EA-56DF-1C42-8D52-4632297FD155}"/>
                </a:ext>
              </a:extLst>
            </p:cNvPr>
            <p:cNvSpPr/>
            <p:nvPr/>
          </p:nvSpPr>
          <p:spPr>
            <a:xfrm>
              <a:off x="1565329" y="7444549"/>
              <a:ext cx="309966" cy="201478"/>
            </a:xfrm>
            <a:prstGeom prst="rect">
              <a:avLst/>
            </a:prstGeom>
            <a:grp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9" tIns="45720" rIns="91439" bIns="45720" numCol="1" spcCol="0" rtlCol="0" fromWordArt="0" anchor="ctr" anchorCtr="0" forceAA="0" compatLnSpc="1">
              <a:prstTxWarp prst="textNoShape">
                <a:avLst/>
              </a:prstTxWarp>
              <a:noAutofit/>
            </a:bodyPr>
            <a:lstStyle/>
            <a:p>
              <a:pPr algn="ctr" defTabSz="1228949"/>
              <a:endParaRPr lang="en-US" dirty="0" err="1">
                <a:solidFill>
                  <a:srgbClr val="FFFFFF"/>
                </a:solidFill>
                <a:latin typeface="Arial" panose="020B0604020202020204"/>
              </a:endParaRPr>
            </a:p>
          </p:txBody>
        </p:sp>
        <p:sp>
          <p:nvSpPr>
            <p:cNvPr id="207" name="Rectangle 206">
              <a:extLst>
                <a:ext uri="{FF2B5EF4-FFF2-40B4-BE49-F238E27FC236}">
                  <a16:creationId xmlns:a16="http://schemas.microsoft.com/office/drawing/2014/main" id="{A7B32E9E-3139-B642-B1B3-A314B9946BFC}"/>
                </a:ext>
              </a:extLst>
            </p:cNvPr>
            <p:cNvSpPr/>
            <p:nvPr/>
          </p:nvSpPr>
          <p:spPr>
            <a:xfrm>
              <a:off x="1875295" y="7444549"/>
              <a:ext cx="309966" cy="201478"/>
            </a:xfrm>
            <a:prstGeom prst="rect">
              <a:avLst/>
            </a:prstGeom>
            <a:grp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9" tIns="45720" rIns="91439" bIns="45720" numCol="1" spcCol="0" rtlCol="0" fromWordArt="0" anchor="ctr" anchorCtr="0" forceAA="0" compatLnSpc="1">
              <a:prstTxWarp prst="textNoShape">
                <a:avLst/>
              </a:prstTxWarp>
              <a:noAutofit/>
            </a:bodyPr>
            <a:lstStyle/>
            <a:p>
              <a:pPr algn="ctr" defTabSz="1228949"/>
              <a:endParaRPr lang="en-US" dirty="0" err="1">
                <a:solidFill>
                  <a:srgbClr val="FFFFFF"/>
                </a:solidFill>
                <a:latin typeface="Arial" panose="020B0604020202020204"/>
              </a:endParaRPr>
            </a:p>
          </p:txBody>
        </p:sp>
        <p:sp>
          <p:nvSpPr>
            <p:cNvPr id="208" name="Rectangle 207">
              <a:extLst>
                <a:ext uri="{FF2B5EF4-FFF2-40B4-BE49-F238E27FC236}">
                  <a16:creationId xmlns:a16="http://schemas.microsoft.com/office/drawing/2014/main" id="{5B919E6A-C08E-924A-9604-3DC553A19D87}"/>
                </a:ext>
              </a:extLst>
            </p:cNvPr>
            <p:cNvSpPr/>
            <p:nvPr/>
          </p:nvSpPr>
          <p:spPr>
            <a:xfrm>
              <a:off x="2193010" y="7444549"/>
              <a:ext cx="309966" cy="201478"/>
            </a:xfrm>
            <a:prstGeom prst="rect">
              <a:avLst/>
            </a:prstGeom>
            <a:grp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9" tIns="45720" rIns="91439" bIns="45720" numCol="1" spcCol="0" rtlCol="0" fromWordArt="0" anchor="ctr" anchorCtr="0" forceAA="0" compatLnSpc="1">
              <a:prstTxWarp prst="textNoShape">
                <a:avLst/>
              </a:prstTxWarp>
              <a:noAutofit/>
            </a:bodyPr>
            <a:lstStyle/>
            <a:p>
              <a:pPr algn="ctr" defTabSz="1228949"/>
              <a:endParaRPr lang="en-US" dirty="0" err="1">
                <a:solidFill>
                  <a:srgbClr val="FFFFFF"/>
                </a:solidFill>
                <a:latin typeface="Arial" panose="020B0604020202020204"/>
              </a:endParaRPr>
            </a:p>
          </p:txBody>
        </p:sp>
        <p:sp>
          <p:nvSpPr>
            <p:cNvPr id="209" name="Rectangle 208">
              <a:extLst>
                <a:ext uri="{FF2B5EF4-FFF2-40B4-BE49-F238E27FC236}">
                  <a16:creationId xmlns:a16="http://schemas.microsoft.com/office/drawing/2014/main" id="{B2701113-446B-5A41-B678-83508044E6E5}"/>
                </a:ext>
              </a:extLst>
            </p:cNvPr>
            <p:cNvSpPr/>
            <p:nvPr/>
          </p:nvSpPr>
          <p:spPr>
            <a:xfrm>
              <a:off x="2502977" y="7444549"/>
              <a:ext cx="309966" cy="201478"/>
            </a:xfrm>
            <a:prstGeom prst="rect">
              <a:avLst/>
            </a:prstGeom>
            <a:grp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9" tIns="45720" rIns="91439" bIns="45720" numCol="1" spcCol="0" rtlCol="0" fromWordArt="0" anchor="ctr" anchorCtr="0" forceAA="0" compatLnSpc="1">
              <a:prstTxWarp prst="textNoShape">
                <a:avLst/>
              </a:prstTxWarp>
              <a:noAutofit/>
            </a:bodyPr>
            <a:lstStyle/>
            <a:p>
              <a:pPr algn="ctr" defTabSz="1228949"/>
              <a:endParaRPr lang="en-US" dirty="0" err="1">
                <a:solidFill>
                  <a:srgbClr val="FFFFFF"/>
                </a:solidFill>
                <a:latin typeface="Arial" panose="020B0604020202020204"/>
              </a:endParaRPr>
            </a:p>
          </p:txBody>
        </p:sp>
        <p:sp>
          <p:nvSpPr>
            <p:cNvPr id="210" name="Rectangle 209">
              <a:extLst>
                <a:ext uri="{FF2B5EF4-FFF2-40B4-BE49-F238E27FC236}">
                  <a16:creationId xmlns:a16="http://schemas.microsoft.com/office/drawing/2014/main" id="{AE0FF71A-1801-AE43-90AF-AE72750DB05C}"/>
                </a:ext>
              </a:extLst>
            </p:cNvPr>
            <p:cNvSpPr/>
            <p:nvPr/>
          </p:nvSpPr>
          <p:spPr>
            <a:xfrm>
              <a:off x="2812943" y="7444549"/>
              <a:ext cx="309966" cy="201478"/>
            </a:xfrm>
            <a:prstGeom prst="rect">
              <a:avLst/>
            </a:prstGeom>
            <a:grp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9" tIns="45720" rIns="91439" bIns="45720" numCol="1" spcCol="0" rtlCol="0" fromWordArt="0" anchor="ctr" anchorCtr="0" forceAA="0" compatLnSpc="1">
              <a:prstTxWarp prst="textNoShape">
                <a:avLst/>
              </a:prstTxWarp>
              <a:noAutofit/>
            </a:bodyPr>
            <a:lstStyle/>
            <a:p>
              <a:pPr algn="ctr" defTabSz="1228949"/>
              <a:endParaRPr lang="en-US" dirty="0" err="1">
                <a:solidFill>
                  <a:srgbClr val="FFFFFF"/>
                </a:solidFill>
                <a:latin typeface="Arial" panose="020B0604020202020204"/>
              </a:endParaRPr>
            </a:p>
          </p:txBody>
        </p:sp>
        <p:sp>
          <p:nvSpPr>
            <p:cNvPr id="211" name="Rectangle 210">
              <a:extLst>
                <a:ext uri="{FF2B5EF4-FFF2-40B4-BE49-F238E27FC236}">
                  <a16:creationId xmlns:a16="http://schemas.microsoft.com/office/drawing/2014/main" id="{223BE967-E89A-0E4C-B6A1-09979160B17F}"/>
                </a:ext>
              </a:extLst>
            </p:cNvPr>
            <p:cNvSpPr/>
            <p:nvPr/>
          </p:nvSpPr>
          <p:spPr>
            <a:xfrm>
              <a:off x="3130658" y="7444549"/>
              <a:ext cx="309966" cy="201478"/>
            </a:xfrm>
            <a:prstGeom prst="rect">
              <a:avLst/>
            </a:prstGeom>
            <a:grp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9" tIns="45720" rIns="91439" bIns="45720" numCol="1" spcCol="0" rtlCol="0" fromWordArt="0" anchor="ctr" anchorCtr="0" forceAA="0" compatLnSpc="1">
              <a:prstTxWarp prst="textNoShape">
                <a:avLst/>
              </a:prstTxWarp>
              <a:noAutofit/>
            </a:bodyPr>
            <a:lstStyle/>
            <a:p>
              <a:pPr algn="ctr" defTabSz="1228949"/>
              <a:endParaRPr lang="en-US" dirty="0" err="1">
                <a:solidFill>
                  <a:srgbClr val="FFFFFF"/>
                </a:solidFill>
                <a:latin typeface="Arial" panose="020B0604020202020204"/>
              </a:endParaRPr>
            </a:p>
          </p:txBody>
        </p:sp>
        <p:sp>
          <p:nvSpPr>
            <p:cNvPr id="212" name="Rectangle 211">
              <a:extLst>
                <a:ext uri="{FF2B5EF4-FFF2-40B4-BE49-F238E27FC236}">
                  <a16:creationId xmlns:a16="http://schemas.microsoft.com/office/drawing/2014/main" id="{3BF0ACE2-5AB6-1749-95DF-DDD31635F2BC}"/>
                </a:ext>
              </a:extLst>
            </p:cNvPr>
            <p:cNvSpPr/>
            <p:nvPr/>
          </p:nvSpPr>
          <p:spPr>
            <a:xfrm>
              <a:off x="3452248" y="7243071"/>
              <a:ext cx="309966" cy="201478"/>
            </a:xfrm>
            <a:prstGeom prst="rect">
              <a:avLst/>
            </a:prstGeom>
            <a:grp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9" tIns="45720" rIns="91439" bIns="45720" numCol="1" spcCol="0" rtlCol="0" fromWordArt="0" anchor="ctr" anchorCtr="0" forceAA="0" compatLnSpc="1">
              <a:prstTxWarp prst="textNoShape">
                <a:avLst/>
              </a:prstTxWarp>
              <a:noAutofit/>
            </a:bodyPr>
            <a:lstStyle/>
            <a:p>
              <a:pPr algn="ctr" defTabSz="1228949"/>
              <a:endParaRPr lang="en-US" dirty="0" err="1">
                <a:solidFill>
                  <a:srgbClr val="FFFFFF"/>
                </a:solidFill>
                <a:latin typeface="Arial" panose="020B0604020202020204"/>
              </a:endParaRPr>
            </a:p>
          </p:txBody>
        </p:sp>
        <p:sp>
          <p:nvSpPr>
            <p:cNvPr id="213" name="Rectangle 212">
              <a:extLst>
                <a:ext uri="{FF2B5EF4-FFF2-40B4-BE49-F238E27FC236}">
                  <a16:creationId xmlns:a16="http://schemas.microsoft.com/office/drawing/2014/main" id="{3451A415-1956-2D43-90C7-2C5A025EAA0C}"/>
                </a:ext>
              </a:extLst>
            </p:cNvPr>
            <p:cNvSpPr/>
            <p:nvPr/>
          </p:nvSpPr>
          <p:spPr>
            <a:xfrm>
              <a:off x="3769963" y="7243071"/>
              <a:ext cx="309966" cy="201478"/>
            </a:xfrm>
            <a:prstGeom prst="rect">
              <a:avLst/>
            </a:prstGeom>
            <a:grp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9" tIns="45720" rIns="91439" bIns="45720" numCol="1" spcCol="0" rtlCol="0" fromWordArt="0" anchor="ctr" anchorCtr="0" forceAA="0" compatLnSpc="1">
              <a:prstTxWarp prst="textNoShape">
                <a:avLst/>
              </a:prstTxWarp>
              <a:noAutofit/>
            </a:bodyPr>
            <a:lstStyle/>
            <a:p>
              <a:pPr algn="ctr" defTabSz="1228949"/>
              <a:endParaRPr lang="en-US" dirty="0" err="1">
                <a:solidFill>
                  <a:srgbClr val="FFFFFF"/>
                </a:solidFill>
                <a:latin typeface="Arial" panose="020B0604020202020204"/>
              </a:endParaRPr>
            </a:p>
          </p:txBody>
        </p:sp>
        <p:sp>
          <p:nvSpPr>
            <p:cNvPr id="214" name="Rectangle 213">
              <a:extLst>
                <a:ext uri="{FF2B5EF4-FFF2-40B4-BE49-F238E27FC236}">
                  <a16:creationId xmlns:a16="http://schemas.microsoft.com/office/drawing/2014/main" id="{968DFE94-8474-1240-B431-8464969877AE}"/>
                </a:ext>
              </a:extLst>
            </p:cNvPr>
            <p:cNvSpPr/>
            <p:nvPr/>
          </p:nvSpPr>
          <p:spPr>
            <a:xfrm>
              <a:off x="3452248" y="7444549"/>
              <a:ext cx="309966" cy="201478"/>
            </a:xfrm>
            <a:prstGeom prst="rect">
              <a:avLst/>
            </a:prstGeom>
            <a:grp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9" tIns="45720" rIns="91439" bIns="45720" numCol="1" spcCol="0" rtlCol="0" fromWordArt="0" anchor="ctr" anchorCtr="0" forceAA="0" compatLnSpc="1">
              <a:prstTxWarp prst="textNoShape">
                <a:avLst/>
              </a:prstTxWarp>
              <a:noAutofit/>
            </a:bodyPr>
            <a:lstStyle/>
            <a:p>
              <a:pPr algn="ctr" defTabSz="1228949"/>
              <a:endParaRPr lang="en-US" dirty="0" err="1">
                <a:solidFill>
                  <a:srgbClr val="FFFFFF"/>
                </a:solidFill>
                <a:latin typeface="Arial" panose="020B0604020202020204"/>
              </a:endParaRPr>
            </a:p>
          </p:txBody>
        </p:sp>
        <p:sp>
          <p:nvSpPr>
            <p:cNvPr id="215" name="Rectangle 214">
              <a:extLst>
                <a:ext uri="{FF2B5EF4-FFF2-40B4-BE49-F238E27FC236}">
                  <a16:creationId xmlns:a16="http://schemas.microsoft.com/office/drawing/2014/main" id="{E575F6D4-EA1B-0B42-91AD-C4B6E41E91B4}"/>
                </a:ext>
              </a:extLst>
            </p:cNvPr>
            <p:cNvSpPr/>
            <p:nvPr/>
          </p:nvSpPr>
          <p:spPr>
            <a:xfrm>
              <a:off x="3769963" y="7444549"/>
              <a:ext cx="309966" cy="201478"/>
            </a:xfrm>
            <a:prstGeom prst="rect">
              <a:avLst/>
            </a:prstGeom>
            <a:grp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9" tIns="45720" rIns="91439" bIns="45720" numCol="1" spcCol="0" rtlCol="0" fromWordArt="0" anchor="ctr" anchorCtr="0" forceAA="0" compatLnSpc="1">
              <a:prstTxWarp prst="textNoShape">
                <a:avLst/>
              </a:prstTxWarp>
              <a:noAutofit/>
            </a:bodyPr>
            <a:lstStyle/>
            <a:p>
              <a:pPr algn="ctr" defTabSz="1228949"/>
              <a:endParaRPr lang="en-US" dirty="0" err="1">
                <a:solidFill>
                  <a:srgbClr val="FFFFFF"/>
                </a:solidFill>
                <a:latin typeface="Arial" panose="020B0604020202020204"/>
              </a:endParaRPr>
            </a:p>
          </p:txBody>
        </p:sp>
        <p:sp>
          <p:nvSpPr>
            <p:cNvPr id="216" name="Rectangle 215">
              <a:extLst>
                <a:ext uri="{FF2B5EF4-FFF2-40B4-BE49-F238E27FC236}">
                  <a16:creationId xmlns:a16="http://schemas.microsoft.com/office/drawing/2014/main" id="{9380CD1F-2AA3-224D-BBF2-91DB25996091}"/>
                </a:ext>
              </a:extLst>
            </p:cNvPr>
            <p:cNvSpPr/>
            <p:nvPr/>
          </p:nvSpPr>
          <p:spPr>
            <a:xfrm>
              <a:off x="1565329" y="7646027"/>
              <a:ext cx="309966" cy="201478"/>
            </a:xfrm>
            <a:prstGeom prst="rect">
              <a:avLst/>
            </a:prstGeom>
            <a:grp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9" tIns="45720" rIns="91439" bIns="45720" numCol="1" spcCol="0" rtlCol="0" fromWordArt="0" anchor="ctr" anchorCtr="0" forceAA="0" compatLnSpc="1">
              <a:prstTxWarp prst="textNoShape">
                <a:avLst/>
              </a:prstTxWarp>
              <a:noAutofit/>
            </a:bodyPr>
            <a:lstStyle/>
            <a:p>
              <a:pPr algn="ctr" defTabSz="1228949"/>
              <a:endParaRPr lang="en-US" dirty="0" err="1">
                <a:solidFill>
                  <a:srgbClr val="FFFFFF"/>
                </a:solidFill>
                <a:latin typeface="Arial" panose="020B0604020202020204"/>
              </a:endParaRPr>
            </a:p>
          </p:txBody>
        </p:sp>
        <p:sp>
          <p:nvSpPr>
            <p:cNvPr id="217" name="Rectangle 216">
              <a:extLst>
                <a:ext uri="{FF2B5EF4-FFF2-40B4-BE49-F238E27FC236}">
                  <a16:creationId xmlns:a16="http://schemas.microsoft.com/office/drawing/2014/main" id="{A2079D5D-3A59-9F40-AF60-0CA5927702A0}"/>
                </a:ext>
              </a:extLst>
            </p:cNvPr>
            <p:cNvSpPr/>
            <p:nvPr/>
          </p:nvSpPr>
          <p:spPr>
            <a:xfrm>
              <a:off x="1875295" y="7646027"/>
              <a:ext cx="309966" cy="201478"/>
            </a:xfrm>
            <a:prstGeom prst="rect">
              <a:avLst/>
            </a:prstGeom>
            <a:grp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9" tIns="45720" rIns="91439" bIns="45720" numCol="1" spcCol="0" rtlCol="0" fromWordArt="0" anchor="ctr" anchorCtr="0" forceAA="0" compatLnSpc="1">
              <a:prstTxWarp prst="textNoShape">
                <a:avLst/>
              </a:prstTxWarp>
              <a:noAutofit/>
            </a:bodyPr>
            <a:lstStyle/>
            <a:p>
              <a:pPr algn="ctr" defTabSz="1228949"/>
              <a:endParaRPr lang="en-US" dirty="0" err="1">
                <a:solidFill>
                  <a:srgbClr val="FFFFFF"/>
                </a:solidFill>
                <a:latin typeface="Arial" panose="020B0604020202020204"/>
              </a:endParaRPr>
            </a:p>
          </p:txBody>
        </p:sp>
        <p:sp>
          <p:nvSpPr>
            <p:cNvPr id="218" name="Rectangle 217">
              <a:extLst>
                <a:ext uri="{FF2B5EF4-FFF2-40B4-BE49-F238E27FC236}">
                  <a16:creationId xmlns:a16="http://schemas.microsoft.com/office/drawing/2014/main" id="{55499936-C9C4-884E-8510-C119986A29A5}"/>
                </a:ext>
              </a:extLst>
            </p:cNvPr>
            <p:cNvSpPr/>
            <p:nvPr/>
          </p:nvSpPr>
          <p:spPr>
            <a:xfrm>
              <a:off x="2193010" y="7646027"/>
              <a:ext cx="309966" cy="201478"/>
            </a:xfrm>
            <a:prstGeom prst="rect">
              <a:avLst/>
            </a:prstGeom>
            <a:grp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9" tIns="45720" rIns="91439" bIns="45720" numCol="1" spcCol="0" rtlCol="0" fromWordArt="0" anchor="ctr" anchorCtr="0" forceAA="0" compatLnSpc="1">
              <a:prstTxWarp prst="textNoShape">
                <a:avLst/>
              </a:prstTxWarp>
              <a:noAutofit/>
            </a:bodyPr>
            <a:lstStyle/>
            <a:p>
              <a:pPr algn="ctr" defTabSz="1228949"/>
              <a:endParaRPr lang="en-US" dirty="0" err="1">
                <a:solidFill>
                  <a:srgbClr val="FFFFFF"/>
                </a:solidFill>
                <a:latin typeface="Arial" panose="020B0604020202020204"/>
              </a:endParaRPr>
            </a:p>
          </p:txBody>
        </p:sp>
        <p:sp>
          <p:nvSpPr>
            <p:cNvPr id="219" name="Rectangle 218">
              <a:extLst>
                <a:ext uri="{FF2B5EF4-FFF2-40B4-BE49-F238E27FC236}">
                  <a16:creationId xmlns:a16="http://schemas.microsoft.com/office/drawing/2014/main" id="{AB5B7215-E487-A442-9D65-D42942FF8A09}"/>
                </a:ext>
              </a:extLst>
            </p:cNvPr>
            <p:cNvSpPr/>
            <p:nvPr/>
          </p:nvSpPr>
          <p:spPr>
            <a:xfrm>
              <a:off x="2502977" y="7646027"/>
              <a:ext cx="309966" cy="201478"/>
            </a:xfrm>
            <a:prstGeom prst="rect">
              <a:avLst/>
            </a:prstGeom>
            <a:grp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9" tIns="45720" rIns="91439" bIns="45720" numCol="1" spcCol="0" rtlCol="0" fromWordArt="0" anchor="ctr" anchorCtr="0" forceAA="0" compatLnSpc="1">
              <a:prstTxWarp prst="textNoShape">
                <a:avLst/>
              </a:prstTxWarp>
              <a:noAutofit/>
            </a:bodyPr>
            <a:lstStyle/>
            <a:p>
              <a:pPr algn="ctr" defTabSz="1228949"/>
              <a:endParaRPr lang="en-US" dirty="0" err="1">
                <a:solidFill>
                  <a:srgbClr val="FFFFFF"/>
                </a:solidFill>
                <a:latin typeface="Arial" panose="020B0604020202020204"/>
              </a:endParaRPr>
            </a:p>
          </p:txBody>
        </p:sp>
        <p:sp>
          <p:nvSpPr>
            <p:cNvPr id="220" name="Rectangle 219">
              <a:extLst>
                <a:ext uri="{FF2B5EF4-FFF2-40B4-BE49-F238E27FC236}">
                  <a16:creationId xmlns:a16="http://schemas.microsoft.com/office/drawing/2014/main" id="{614306FD-BFB8-BD4A-85DF-8192A90296A0}"/>
                </a:ext>
              </a:extLst>
            </p:cNvPr>
            <p:cNvSpPr/>
            <p:nvPr/>
          </p:nvSpPr>
          <p:spPr>
            <a:xfrm>
              <a:off x="2812943" y="7646027"/>
              <a:ext cx="309966" cy="201478"/>
            </a:xfrm>
            <a:prstGeom prst="rect">
              <a:avLst/>
            </a:prstGeom>
            <a:grp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9" tIns="45720" rIns="91439" bIns="45720" numCol="1" spcCol="0" rtlCol="0" fromWordArt="0" anchor="ctr" anchorCtr="0" forceAA="0" compatLnSpc="1">
              <a:prstTxWarp prst="textNoShape">
                <a:avLst/>
              </a:prstTxWarp>
              <a:noAutofit/>
            </a:bodyPr>
            <a:lstStyle/>
            <a:p>
              <a:pPr algn="ctr" defTabSz="1228949"/>
              <a:endParaRPr lang="en-US" dirty="0" err="1">
                <a:solidFill>
                  <a:srgbClr val="FFFFFF"/>
                </a:solidFill>
                <a:latin typeface="Arial" panose="020B0604020202020204"/>
              </a:endParaRPr>
            </a:p>
          </p:txBody>
        </p:sp>
        <p:sp>
          <p:nvSpPr>
            <p:cNvPr id="221" name="Rectangle 220">
              <a:extLst>
                <a:ext uri="{FF2B5EF4-FFF2-40B4-BE49-F238E27FC236}">
                  <a16:creationId xmlns:a16="http://schemas.microsoft.com/office/drawing/2014/main" id="{A501EA26-DB36-CB40-AB87-4DE2A5718F0B}"/>
                </a:ext>
              </a:extLst>
            </p:cNvPr>
            <p:cNvSpPr/>
            <p:nvPr/>
          </p:nvSpPr>
          <p:spPr>
            <a:xfrm>
              <a:off x="3130658" y="7646027"/>
              <a:ext cx="309966" cy="201478"/>
            </a:xfrm>
            <a:prstGeom prst="rect">
              <a:avLst/>
            </a:prstGeom>
            <a:grp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9" tIns="45720" rIns="91439" bIns="45720" numCol="1" spcCol="0" rtlCol="0" fromWordArt="0" anchor="ctr" anchorCtr="0" forceAA="0" compatLnSpc="1">
              <a:prstTxWarp prst="textNoShape">
                <a:avLst/>
              </a:prstTxWarp>
              <a:noAutofit/>
            </a:bodyPr>
            <a:lstStyle/>
            <a:p>
              <a:pPr algn="ctr" defTabSz="1228949"/>
              <a:endParaRPr lang="en-US" dirty="0" err="1">
                <a:solidFill>
                  <a:srgbClr val="FFFFFF"/>
                </a:solidFill>
                <a:latin typeface="Arial" panose="020B0604020202020204"/>
              </a:endParaRPr>
            </a:p>
          </p:txBody>
        </p:sp>
        <p:sp>
          <p:nvSpPr>
            <p:cNvPr id="222" name="Rectangle 221">
              <a:extLst>
                <a:ext uri="{FF2B5EF4-FFF2-40B4-BE49-F238E27FC236}">
                  <a16:creationId xmlns:a16="http://schemas.microsoft.com/office/drawing/2014/main" id="{83E9A225-02A9-D940-8A6F-640E93CCD98A}"/>
                </a:ext>
              </a:extLst>
            </p:cNvPr>
            <p:cNvSpPr/>
            <p:nvPr/>
          </p:nvSpPr>
          <p:spPr>
            <a:xfrm>
              <a:off x="1565329" y="7847505"/>
              <a:ext cx="309966" cy="201478"/>
            </a:xfrm>
            <a:prstGeom prst="rect">
              <a:avLst/>
            </a:prstGeom>
            <a:grp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9" tIns="45720" rIns="91439" bIns="45720" numCol="1" spcCol="0" rtlCol="0" fromWordArt="0" anchor="ctr" anchorCtr="0" forceAA="0" compatLnSpc="1">
              <a:prstTxWarp prst="textNoShape">
                <a:avLst/>
              </a:prstTxWarp>
              <a:noAutofit/>
            </a:bodyPr>
            <a:lstStyle/>
            <a:p>
              <a:pPr algn="ctr" defTabSz="1228949"/>
              <a:endParaRPr lang="en-US" dirty="0" err="1">
                <a:solidFill>
                  <a:srgbClr val="FFFFFF"/>
                </a:solidFill>
                <a:latin typeface="Arial" panose="020B0604020202020204"/>
              </a:endParaRPr>
            </a:p>
          </p:txBody>
        </p:sp>
        <p:sp>
          <p:nvSpPr>
            <p:cNvPr id="223" name="Rectangle 222">
              <a:extLst>
                <a:ext uri="{FF2B5EF4-FFF2-40B4-BE49-F238E27FC236}">
                  <a16:creationId xmlns:a16="http://schemas.microsoft.com/office/drawing/2014/main" id="{216BCE28-44D2-AB47-818D-FD2FE0A1811E}"/>
                </a:ext>
              </a:extLst>
            </p:cNvPr>
            <p:cNvSpPr/>
            <p:nvPr/>
          </p:nvSpPr>
          <p:spPr>
            <a:xfrm>
              <a:off x="1875295" y="7847505"/>
              <a:ext cx="309966" cy="201478"/>
            </a:xfrm>
            <a:prstGeom prst="rect">
              <a:avLst/>
            </a:prstGeom>
            <a:grp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9" tIns="45720" rIns="91439" bIns="45720" numCol="1" spcCol="0" rtlCol="0" fromWordArt="0" anchor="ctr" anchorCtr="0" forceAA="0" compatLnSpc="1">
              <a:prstTxWarp prst="textNoShape">
                <a:avLst/>
              </a:prstTxWarp>
              <a:noAutofit/>
            </a:bodyPr>
            <a:lstStyle/>
            <a:p>
              <a:pPr algn="ctr" defTabSz="1228949"/>
              <a:endParaRPr lang="en-US" dirty="0" err="1">
                <a:solidFill>
                  <a:srgbClr val="FFFFFF"/>
                </a:solidFill>
                <a:latin typeface="Arial" panose="020B0604020202020204"/>
              </a:endParaRPr>
            </a:p>
          </p:txBody>
        </p:sp>
        <p:sp>
          <p:nvSpPr>
            <p:cNvPr id="224" name="Rectangle 223">
              <a:extLst>
                <a:ext uri="{FF2B5EF4-FFF2-40B4-BE49-F238E27FC236}">
                  <a16:creationId xmlns:a16="http://schemas.microsoft.com/office/drawing/2014/main" id="{F4AE677E-365E-3E46-8F25-60D9BB27FFBE}"/>
                </a:ext>
              </a:extLst>
            </p:cNvPr>
            <p:cNvSpPr/>
            <p:nvPr/>
          </p:nvSpPr>
          <p:spPr>
            <a:xfrm>
              <a:off x="2193010" y="7847505"/>
              <a:ext cx="309966" cy="201478"/>
            </a:xfrm>
            <a:prstGeom prst="rect">
              <a:avLst/>
            </a:prstGeom>
            <a:grp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9" tIns="45720" rIns="91439" bIns="45720" numCol="1" spcCol="0" rtlCol="0" fromWordArt="0" anchor="ctr" anchorCtr="0" forceAA="0" compatLnSpc="1">
              <a:prstTxWarp prst="textNoShape">
                <a:avLst/>
              </a:prstTxWarp>
              <a:noAutofit/>
            </a:bodyPr>
            <a:lstStyle/>
            <a:p>
              <a:pPr algn="ctr" defTabSz="1228949"/>
              <a:endParaRPr lang="en-US" dirty="0" err="1">
                <a:solidFill>
                  <a:srgbClr val="FFFFFF"/>
                </a:solidFill>
                <a:latin typeface="Arial" panose="020B0604020202020204"/>
              </a:endParaRPr>
            </a:p>
          </p:txBody>
        </p:sp>
        <p:sp>
          <p:nvSpPr>
            <p:cNvPr id="225" name="Rectangle 224">
              <a:extLst>
                <a:ext uri="{FF2B5EF4-FFF2-40B4-BE49-F238E27FC236}">
                  <a16:creationId xmlns:a16="http://schemas.microsoft.com/office/drawing/2014/main" id="{9C378ED0-5C1C-5242-BD47-BD899D5FD62C}"/>
                </a:ext>
              </a:extLst>
            </p:cNvPr>
            <p:cNvSpPr/>
            <p:nvPr/>
          </p:nvSpPr>
          <p:spPr>
            <a:xfrm>
              <a:off x="2502977" y="7847505"/>
              <a:ext cx="309966" cy="201478"/>
            </a:xfrm>
            <a:prstGeom prst="rect">
              <a:avLst/>
            </a:prstGeom>
            <a:grp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9" tIns="45720" rIns="91439" bIns="45720" numCol="1" spcCol="0" rtlCol="0" fromWordArt="0" anchor="ctr" anchorCtr="0" forceAA="0" compatLnSpc="1">
              <a:prstTxWarp prst="textNoShape">
                <a:avLst/>
              </a:prstTxWarp>
              <a:noAutofit/>
            </a:bodyPr>
            <a:lstStyle/>
            <a:p>
              <a:pPr algn="ctr" defTabSz="1228949"/>
              <a:endParaRPr lang="en-US" dirty="0" err="1">
                <a:solidFill>
                  <a:srgbClr val="FFFFFF"/>
                </a:solidFill>
                <a:latin typeface="Arial" panose="020B0604020202020204"/>
              </a:endParaRPr>
            </a:p>
          </p:txBody>
        </p:sp>
        <p:sp>
          <p:nvSpPr>
            <p:cNvPr id="226" name="Rectangle 225">
              <a:extLst>
                <a:ext uri="{FF2B5EF4-FFF2-40B4-BE49-F238E27FC236}">
                  <a16:creationId xmlns:a16="http://schemas.microsoft.com/office/drawing/2014/main" id="{E164DA4B-78FF-5F49-8F63-7EC229ABB5F7}"/>
                </a:ext>
              </a:extLst>
            </p:cNvPr>
            <p:cNvSpPr/>
            <p:nvPr/>
          </p:nvSpPr>
          <p:spPr>
            <a:xfrm>
              <a:off x="2812943" y="7847505"/>
              <a:ext cx="309966" cy="201478"/>
            </a:xfrm>
            <a:prstGeom prst="rect">
              <a:avLst/>
            </a:prstGeom>
            <a:grp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9" tIns="45720" rIns="91439" bIns="45720" numCol="1" spcCol="0" rtlCol="0" fromWordArt="0" anchor="ctr" anchorCtr="0" forceAA="0" compatLnSpc="1">
              <a:prstTxWarp prst="textNoShape">
                <a:avLst/>
              </a:prstTxWarp>
              <a:noAutofit/>
            </a:bodyPr>
            <a:lstStyle/>
            <a:p>
              <a:pPr algn="ctr" defTabSz="1228949"/>
              <a:endParaRPr lang="en-US" dirty="0" err="1">
                <a:solidFill>
                  <a:srgbClr val="FFFFFF"/>
                </a:solidFill>
                <a:latin typeface="Arial" panose="020B0604020202020204"/>
              </a:endParaRPr>
            </a:p>
          </p:txBody>
        </p:sp>
        <p:sp>
          <p:nvSpPr>
            <p:cNvPr id="227" name="Rectangle 226">
              <a:extLst>
                <a:ext uri="{FF2B5EF4-FFF2-40B4-BE49-F238E27FC236}">
                  <a16:creationId xmlns:a16="http://schemas.microsoft.com/office/drawing/2014/main" id="{4F7043EB-832F-CA46-A1A4-8E7619F8A360}"/>
                </a:ext>
              </a:extLst>
            </p:cNvPr>
            <p:cNvSpPr/>
            <p:nvPr/>
          </p:nvSpPr>
          <p:spPr>
            <a:xfrm>
              <a:off x="3130658" y="7847505"/>
              <a:ext cx="309966" cy="201478"/>
            </a:xfrm>
            <a:prstGeom prst="rect">
              <a:avLst/>
            </a:prstGeom>
            <a:grp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9" tIns="45720" rIns="91439" bIns="45720" numCol="1" spcCol="0" rtlCol="0" fromWordArt="0" anchor="ctr" anchorCtr="0" forceAA="0" compatLnSpc="1">
              <a:prstTxWarp prst="textNoShape">
                <a:avLst/>
              </a:prstTxWarp>
              <a:noAutofit/>
            </a:bodyPr>
            <a:lstStyle/>
            <a:p>
              <a:pPr algn="ctr" defTabSz="1228949"/>
              <a:endParaRPr lang="en-US" dirty="0" err="1">
                <a:solidFill>
                  <a:srgbClr val="FFFFFF"/>
                </a:solidFill>
                <a:latin typeface="Arial" panose="020B0604020202020204"/>
              </a:endParaRPr>
            </a:p>
          </p:txBody>
        </p:sp>
        <p:sp>
          <p:nvSpPr>
            <p:cNvPr id="228" name="Rectangle 227">
              <a:extLst>
                <a:ext uri="{FF2B5EF4-FFF2-40B4-BE49-F238E27FC236}">
                  <a16:creationId xmlns:a16="http://schemas.microsoft.com/office/drawing/2014/main" id="{DE5D9122-EE12-CB43-87AF-031A3A485125}"/>
                </a:ext>
              </a:extLst>
            </p:cNvPr>
            <p:cNvSpPr/>
            <p:nvPr/>
          </p:nvSpPr>
          <p:spPr>
            <a:xfrm>
              <a:off x="3452248" y="7646027"/>
              <a:ext cx="309966" cy="201478"/>
            </a:xfrm>
            <a:prstGeom prst="rect">
              <a:avLst/>
            </a:prstGeom>
            <a:grp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9" tIns="45720" rIns="91439" bIns="45720" numCol="1" spcCol="0" rtlCol="0" fromWordArt="0" anchor="ctr" anchorCtr="0" forceAA="0" compatLnSpc="1">
              <a:prstTxWarp prst="textNoShape">
                <a:avLst/>
              </a:prstTxWarp>
              <a:noAutofit/>
            </a:bodyPr>
            <a:lstStyle/>
            <a:p>
              <a:pPr algn="ctr" defTabSz="1228949"/>
              <a:endParaRPr lang="en-US" dirty="0" err="1">
                <a:solidFill>
                  <a:srgbClr val="FFFFFF"/>
                </a:solidFill>
                <a:latin typeface="Arial" panose="020B0604020202020204"/>
              </a:endParaRPr>
            </a:p>
          </p:txBody>
        </p:sp>
        <p:sp>
          <p:nvSpPr>
            <p:cNvPr id="229" name="Rectangle 228">
              <a:extLst>
                <a:ext uri="{FF2B5EF4-FFF2-40B4-BE49-F238E27FC236}">
                  <a16:creationId xmlns:a16="http://schemas.microsoft.com/office/drawing/2014/main" id="{311DFD7B-94B2-F64A-96EC-0BFF8A44F79A}"/>
                </a:ext>
              </a:extLst>
            </p:cNvPr>
            <p:cNvSpPr/>
            <p:nvPr/>
          </p:nvSpPr>
          <p:spPr>
            <a:xfrm>
              <a:off x="3769963" y="7646027"/>
              <a:ext cx="309966" cy="201478"/>
            </a:xfrm>
            <a:prstGeom prst="rect">
              <a:avLst/>
            </a:prstGeom>
            <a:grp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9" tIns="45720" rIns="91439" bIns="45720" numCol="1" spcCol="0" rtlCol="0" fromWordArt="0" anchor="ctr" anchorCtr="0" forceAA="0" compatLnSpc="1">
              <a:prstTxWarp prst="textNoShape">
                <a:avLst/>
              </a:prstTxWarp>
              <a:noAutofit/>
            </a:bodyPr>
            <a:lstStyle/>
            <a:p>
              <a:pPr algn="ctr" defTabSz="1228949"/>
              <a:endParaRPr lang="en-US" dirty="0" err="1">
                <a:solidFill>
                  <a:srgbClr val="FFFFFF"/>
                </a:solidFill>
                <a:latin typeface="Arial" panose="020B0604020202020204"/>
              </a:endParaRPr>
            </a:p>
          </p:txBody>
        </p:sp>
        <p:sp>
          <p:nvSpPr>
            <p:cNvPr id="230" name="Rectangle 229">
              <a:extLst>
                <a:ext uri="{FF2B5EF4-FFF2-40B4-BE49-F238E27FC236}">
                  <a16:creationId xmlns:a16="http://schemas.microsoft.com/office/drawing/2014/main" id="{0FAA9094-0F42-064F-8195-F95B2938B220}"/>
                </a:ext>
              </a:extLst>
            </p:cNvPr>
            <p:cNvSpPr/>
            <p:nvPr/>
          </p:nvSpPr>
          <p:spPr>
            <a:xfrm>
              <a:off x="3452248" y="7847505"/>
              <a:ext cx="309966" cy="201478"/>
            </a:xfrm>
            <a:prstGeom prst="rect">
              <a:avLst/>
            </a:prstGeom>
            <a:grp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9" tIns="45720" rIns="91439" bIns="45720" numCol="1" spcCol="0" rtlCol="0" fromWordArt="0" anchor="ctr" anchorCtr="0" forceAA="0" compatLnSpc="1">
              <a:prstTxWarp prst="textNoShape">
                <a:avLst/>
              </a:prstTxWarp>
              <a:noAutofit/>
            </a:bodyPr>
            <a:lstStyle/>
            <a:p>
              <a:pPr algn="ctr" defTabSz="1228949"/>
              <a:endParaRPr lang="en-US" dirty="0" err="1">
                <a:solidFill>
                  <a:srgbClr val="FFFFFF"/>
                </a:solidFill>
                <a:latin typeface="Arial" panose="020B0604020202020204"/>
              </a:endParaRPr>
            </a:p>
          </p:txBody>
        </p:sp>
        <p:sp>
          <p:nvSpPr>
            <p:cNvPr id="231" name="Rectangle 230">
              <a:extLst>
                <a:ext uri="{FF2B5EF4-FFF2-40B4-BE49-F238E27FC236}">
                  <a16:creationId xmlns:a16="http://schemas.microsoft.com/office/drawing/2014/main" id="{5BACB746-CD8F-8840-A384-E839EDFCEDED}"/>
                </a:ext>
              </a:extLst>
            </p:cNvPr>
            <p:cNvSpPr/>
            <p:nvPr/>
          </p:nvSpPr>
          <p:spPr>
            <a:xfrm>
              <a:off x="3769963" y="7847505"/>
              <a:ext cx="309966" cy="201478"/>
            </a:xfrm>
            <a:prstGeom prst="rect">
              <a:avLst/>
            </a:prstGeom>
            <a:grp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9" tIns="45720" rIns="91439" bIns="45720" numCol="1" spcCol="0" rtlCol="0" fromWordArt="0" anchor="ctr" anchorCtr="0" forceAA="0" compatLnSpc="1">
              <a:prstTxWarp prst="textNoShape">
                <a:avLst/>
              </a:prstTxWarp>
              <a:noAutofit/>
            </a:bodyPr>
            <a:lstStyle/>
            <a:p>
              <a:pPr algn="ctr" defTabSz="1228949"/>
              <a:endParaRPr lang="en-US" dirty="0" err="1">
                <a:solidFill>
                  <a:srgbClr val="FFFFFF"/>
                </a:solidFill>
                <a:latin typeface="Arial" panose="020B0604020202020204"/>
              </a:endParaRPr>
            </a:p>
          </p:txBody>
        </p:sp>
        <p:sp>
          <p:nvSpPr>
            <p:cNvPr id="232" name="Rectangle 231">
              <a:extLst>
                <a:ext uri="{FF2B5EF4-FFF2-40B4-BE49-F238E27FC236}">
                  <a16:creationId xmlns:a16="http://schemas.microsoft.com/office/drawing/2014/main" id="{4CE35EF1-2721-F141-94F2-6AAA063F9450}"/>
                </a:ext>
              </a:extLst>
            </p:cNvPr>
            <p:cNvSpPr/>
            <p:nvPr/>
          </p:nvSpPr>
          <p:spPr>
            <a:xfrm>
              <a:off x="1565329" y="8048983"/>
              <a:ext cx="309966" cy="201478"/>
            </a:xfrm>
            <a:prstGeom prst="rect">
              <a:avLst/>
            </a:prstGeom>
            <a:grp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9" tIns="45720" rIns="91439" bIns="45720" numCol="1" spcCol="0" rtlCol="0" fromWordArt="0" anchor="ctr" anchorCtr="0" forceAA="0" compatLnSpc="1">
              <a:prstTxWarp prst="textNoShape">
                <a:avLst/>
              </a:prstTxWarp>
              <a:noAutofit/>
            </a:bodyPr>
            <a:lstStyle/>
            <a:p>
              <a:pPr algn="ctr" defTabSz="1228949"/>
              <a:endParaRPr lang="en-US" dirty="0" err="1">
                <a:solidFill>
                  <a:srgbClr val="FFFFFF"/>
                </a:solidFill>
                <a:latin typeface="Arial" panose="020B0604020202020204"/>
              </a:endParaRPr>
            </a:p>
          </p:txBody>
        </p:sp>
        <p:sp>
          <p:nvSpPr>
            <p:cNvPr id="233" name="Rectangle 232">
              <a:extLst>
                <a:ext uri="{FF2B5EF4-FFF2-40B4-BE49-F238E27FC236}">
                  <a16:creationId xmlns:a16="http://schemas.microsoft.com/office/drawing/2014/main" id="{01B28211-9C06-6946-A961-01A4CC316334}"/>
                </a:ext>
              </a:extLst>
            </p:cNvPr>
            <p:cNvSpPr/>
            <p:nvPr/>
          </p:nvSpPr>
          <p:spPr>
            <a:xfrm>
              <a:off x="1875295" y="8048983"/>
              <a:ext cx="309966" cy="201478"/>
            </a:xfrm>
            <a:prstGeom prst="rect">
              <a:avLst/>
            </a:prstGeom>
            <a:grp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9" tIns="45720" rIns="91439" bIns="45720" numCol="1" spcCol="0" rtlCol="0" fromWordArt="0" anchor="ctr" anchorCtr="0" forceAA="0" compatLnSpc="1">
              <a:prstTxWarp prst="textNoShape">
                <a:avLst/>
              </a:prstTxWarp>
              <a:noAutofit/>
            </a:bodyPr>
            <a:lstStyle/>
            <a:p>
              <a:pPr algn="ctr" defTabSz="1228949"/>
              <a:endParaRPr lang="en-US" dirty="0" err="1">
                <a:solidFill>
                  <a:srgbClr val="FFFFFF"/>
                </a:solidFill>
                <a:latin typeface="Arial" panose="020B0604020202020204"/>
              </a:endParaRPr>
            </a:p>
          </p:txBody>
        </p:sp>
        <p:sp>
          <p:nvSpPr>
            <p:cNvPr id="234" name="Rectangle 233">
              <a:extLst>
                <a:ext uri="{FF2B5EF4-FFF2-40B4-BE49-F238E27FC236}">
                  <a16:creationId xmlns:a16="http://schemas.microsoft.com/office/drawing/2014/main" id="{6CEADB09-7AB1-434F-986A-8045A37170DE}"/>
                </a:ext>
              </a:extLst>
            </p:cNvPr>
            <p:cNvSpPr/>
            <p:nvPr/>
          </p:nvSpPr>
          <p:spPr>
            <a:xfrm>
              <a:off x="2193010" y="8048983"/>
              <a:ext cx="309966" cy="201478"/>
            </a:xfrm>
            <a:prstGeom prst="rect">
              <a:avLst/>
            </a:prstGeom>
            <a:grp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9" tIns="45720" rIns="91439" bIns="45720" numCol="1" spcCol="0" rtlCol="0" fromWordArt="0" anchor="ctr" anchorCtr="0" forceAA="0" compatLnSpc="1">
              <a:prstTxWarp prst="textNoShape">
                <a:avLst/>
              </a:prstTxWarp>
              <a:noAutofit/>
            </a:bodyPr>
            <a:lstStyle/>
            <a:p>
              <a:pPr algn="ctr" defTabSz="1228949"/>
              <a:endParaRPr lang="en-US" dirty="0" err="1">
                <a:solidFill>
                  <a:srgbClr val="FFFFFF"/>
                </a:solidFill>
                <a:latin typeface="Arial" panose="020B0604020202020204"/>
              </a:endParaRPr>
            </a:p>
          </p:txBody>
        </p:sp>
        <p:sp>
          <p:nvSpPr>
            <p:cNvPr id="235" name="Rectangle 234">
              <a:extLst>
                <a:ext uri="{FF2B5EF4-FFF2-40B4-BE49-F238E27FC236}">
                  <a16:creationId xmlns:a16="http://schemas.microsoft.com/office/drawing/2014/main" id="{10455E14-BA48-BE4F-BC40-F0CE26EEC6C3}"/>
                </a:ext>
              </a:extLst>
            </p:cNvPr>
            <p:cNvSpPr/>
            <p:nvPr/>
          </p:nvSpPr>
          <p:spPr>
            <a:xfrm>
              <a:off x="2502977" y="8048983"/>
              <a:ext cx="309966" cy="201478"/>
            </a:xfrm>
            <a:prstGeom prst="rect">
              <a:avLst/>
            </a:prstGeom>
            <a:grp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9" tIns="45720" rIns="91439" bIns="45720" numCol="1" spcCol="0" rtlCol="0" fromWordArt="0" anchor="ctr" anchorCtr="0" forceAA="0" compatLnSpc="1">
              <a:prstTxWarp prst="textNoShape">
                <a:avLst/>
              </a:prstTxWarp>
              <a:noAutofit/>
            </a:bodyPr>
            <a:lstStyle/>
            <a:p>
              <a:pPr algn="ctr" defTabSz="1228949"/>
              <a:endParaRPr lang="en-US" dirty="0" err="1">
                <a:solidFill>
                  <a:srgbClr val="FFFFFF"/>
                </a:solidFill>
                <a:latin typeface="Arial" panose="020B0604020202020204"/>
              </a:endParaRPr>
            </a:p>
          </p:txBody>
        </p:sp>
        <p:sp>
          <p:nvSpPr>
            <p:cNvPr id="236" name="Rectangle 235">
              <a:extLst>
                <a:ext uri="{FF2B5EF4-FFF2-40B4-BE49-F238E27FC236}">
                  <a16:creationId xmlns:a16="http://schemas.microsoft.com/office/drawing/2014/main" id="{1661C9BA-1CFA-4546-9F06-A50E18DD3AFC}"/>
                </a:ext>
              </a:extLst>
            </p:cNvPr>
            <p:cNvSpPr/>
            <p:nvPr/>
          </p:nvSpPr>
          <p:spPr>
            <a:xfrm>
              <a:off x="2812943" y="8048983"/>
              <a:ext cx="309966" cy="201478"/>
            </a:xfrm>
            <a:prstGeom prst="rect">
              <a:avLst/>
            </a:prstGeom>
            <a:grp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9" tIns="45720" rIns="91439" bIns="45720" numCol="1" spcCol="0" rtlCol="0" fromWordArt="0" anchor="ctr" anchorCtr="0" forceAA="0" compatLnSpc="1">
              <a:prstTxWarp prst="textNoShape">
                <a:avLst/>
              </a:prstTxWarp>
              <a:noAutofit/>
            </a:bodyPr>
            <a:lstStyle/>
            <a:p>
              <a:pPr algn="ctr" defTabSz="1228949"/>
              <a:endParaRPr lang="en-US" dirty="0" err="1">
                <a:solidFill>
                  <a:srgbClr val="FFFFFF"/>
                </a:solidFill>
                <a:latin typeface="Arial" panose="020B0604020202020204"/>
              </a:endParaRPr>
            </a:p>
          </p:txBody>
        </p:sp>
        <p:sp>
          <p:nvSpPr>
            <p:cNvPr id="237" name="Rectangle 236">
              <a:extLst>
                <a:ext uri="{FF2B5EF4-FFF2-40B4-BE49-F238E27FC236}">
                  <a16:creationId xmlns:a16="http://schemas.microsoft.com/office/drawing/2014/main" id="{87C741EE-3257-5249-8C0E-1FEAF06C94D0}"/>
                </a:ext>
              </a:extLst>
            </p:cNvPr>
            <p:cNvSpPr/>
            <p:nvPr/>
          </p:nvSpPr>
          <p:spPr>
            <a:xfrm>
              <a:off x="3130658" y="8048983"/>
              <a:ext cx="309966" cy="201478"/>
            </a:xfrm>
            <a:prstGeom prst="rect">
              <a:avLst/>
            </a:prstGeom>
            <a:grp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9" tIns="45720" rIns="91439" bIns="45720" numCol="1" spcCol="0" rtlCol="0" fromWordArt="0" anchor="ctr" anchorCtr="0" forceAA="0" compatLnSpc="1">
              <a:prstTxWarp prst="textNoShape">
                <a:avLst/>
              </a:prstTxWarp>
              <a:noAutofit/>
            </a:bodyPr>
            <a:lstStyle/>
            <a:p>
              <a:pPr algn="ctr" defTabSz="1228949"/>
              <a:endParaRPr lang="en-US" dirty="0" err="1">
                <a:solidFill>
                  <a:srgbClr val="FFFFFF"/>
                </a:solidFill>
                <a:latin typeface="Arial" panose="020B0604020202020204"/>
              </a:endParaRPr>
            </a:p>
          </p:txBody>
        </p:sp>
        <p:sp>
          <p:nvSpPr>
            <p:cNvPr id="238" name="Rectangle 237">
              <a:extLst>
                <a:ext uri="{FF2B5EF4-FFF2-40B4-BE49-F238E27FC236}">
                  <a16:creationId xmlns:a16="http://schemas.microsoft.com/office/drawing/2014/main" id="{52B78C69-31EB-8B42-80D3-EB913851B44D}"/>
                </a:ext>
              </a:extLst>
            </p:cNvPr>
            <p:cNvSpPr/>
            <p:nvPr/>
          </p:nvSpPr>
          <p:spPr>
            <a:xfrm>
              <a:off x="1565329" y="8250461"/>
              <a:ext cx="309966" cy="201478"/>
            </a:xfrm>
            <a:prstGeom prst="rect">
              <a:avLst/>
            </a:prstGeom>
            <a:grp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9" tIns="45720" rIns="91439" bIns="45720" numCol="1" spcCol="0" rtlCol="0" fromWordArt="0" anchor="ctr" anchorCtr="0" forceAA="0" compatLnSpc="1">
              <a:prstTxWarp prst="textNoShape">
                <a:avLst/>
              </a:prstTxWarp>
              <a:noAutofit/>
            </a:bodyPr>
            <a:lstStyle/>
            <a:p>
              <a:pPr algn="ctr" defTabSz="1228949"/>
              <a:endParaRPr lang="en-US" dirty="0" err="1">
                <a:solidFill>
                  <a:srgbClr val="FFFFFF"/>
                </a:solidFill>
                <a:latin typeface="Arial" panose="020B0604020202020204"/>
              </a:endParaRPr>
            </a:p>
          </p:txBody>
        </p:sp>
        <p:sp>
          <p:nvSpPr>
            <p:cNvPr id="239" name="Rectangle 238">
              <a:extLst>
                <a:ext uri="{FF2B5EF4-FFF2-40B4-BE49-F238E27FC236}">
                  <a16:creationId xmlns:a16="http://schemas.microsoft.com/office/drawing/2014/main" id="{7F5A6383-333B-064C-A38B-A3D49FC6124F}"/>
                </a:ext>
              </a:extLst>
            </p:cNvPr>
            <p:cNvSpPr/>
            <p:nvPr/>
          </p:nvSpPr>
          <p:spPr>
            <a:xfrm>
              <a:off x="1875295" y="8250461"/>
              <a:ext cx="309966" cy="201478"/>
            </a:xfrm>
            <a:prstGeom prst="rect">
              <a:avLst/>
            </a:prstGeom>
            <a:grp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9" tIns="45720" rIns="91439" bIns="45720" numCol="1" spcCol="0" rtlCol="0" fromWordArt="0" anchor="ctr" anchorCtr="0" forceAA="0" compatLnSpc="1">
              <a:prstTxWarp prst="textNoShape">
                <a:avLst/>
              </a:prstTxWarp>
              <a:noAutofit/>
            </a:bodyPr>
            <a:lstStyle/>
            <a:p>
              <a:pPr algn="ctr" defTabSz="1228949"/>
              <a:endParaRPr lang="en-US" dirty="0" err="1">
                <a:solidFill>
                  <a:srgbClr val="FFFFFF"/>
                </a:solidFill>
                <a:latin typeface="Arial" panose="020B0604020202020204"/>
              </a:endParaRPr>
            </a:p>
          </p:txBody>
        </p:sp>
        <p:sp>
          <p:nvSpPr>
            <p:cNvPr id="240" name="Rectangle 239">
              <a:extLst>
                <a:ext uri="{FF2B5EF4-FFF2-40B4-BE49-F238E27FC236}">
                  <a16:creationId xmlns:a16="http://schemas.microsoft.com/office/drawing/2014/main" id="{F2139F30-64A2-A84B-BFBD-28F007C854F5}"/>
                </a:ext>
              </a:extLst>
            </p:cNvPr>
            <p:cNvSpPr/>
            <p:nvPr/>
          </p:nvSpPr>
          <p:spPr>
            <a:xfrm>
              <a:off x="2193010" y="8250461"/>
              <a:ext cx="309966" cy="201478"/>
            </a:xfrm>
            <a:prstGeom prst="rect">
              <a:avLst/>
            </a:prstGeom>
            <a:grp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9" tIns="45720" rIns="91439" bIns="45720" numCol="1" spcCol="0" rtlCol="0" fromWordArt="0" anchor="ctr" anchorCtr="0" forceAA="0" compatLnSpc="1">
              <a:prstTxWarp prst="textNoShape">
                <a:avLst/>
              </a:prstTxWarp>
              <a:noAutofit/>
            </a:bodyPr>
            <a:lstStyle/>
            <a:p>
              <a:pPr algn="ctr" defTabSz="1228949"/>
              <a:endParaRPr lang="en-US" dirty="0" err="1">
                <a:solidFill>
                  <a:srgbClr val="FFFFFF"/>
                </a:solidFill>
                <a:latin typeface="Arial" panose="020B0604020202020204"/>
              </a:endParaRPr>
            </a:p>
          </p:txBody>
        </p:sp>
        <p:sp>
          <p:nvSpPr>
            <p:cNvPr id="241" name="Rectangle 240">
              <a:extLst>
                <a:ext uri="{FF2B5EF4-FFF2-40B4-BE49-F238E27FC236}">
                  <a16:creationId xmlns:a16="http://schemas.microsoft.com/office/drawing/2014/main" id="{9E9F260A-7D0A-6E46-96CA-7C5CD7E74E2D}"/>
                </a:ext>
              </a:extLst>
            </p:cNvPr>
            <p:cNvSpPr/>
            <p:nvPr/>
          </p:nvSpPr>
          <p:spPr>
            <a:xfrm>
              <a:off x="2502977" y="8250461"/>
              <a:ext cx="309966" cy="201478"/>
            </a:xfrm>
            <a:prstGeom prst="rect">
              <a:avLst/>
            </a:prstGeom>
            <a:grp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9" tIns="45720" rIns="91439" bIns="45720" numCol="1" spcCol="0" rtlCol="0" fromWordArt="0" anchor="ctr" anchorCtr="0" forceAA="0" compatLnSpc="1">
              <a:prstTxWarp prst="textNoShape">
                <a:avLst/>
              </a:prstTxWarp>
              <a:noAutofit/>
            </a:bodyPr>
            <a:lstStyle/>
            <a:p>
              <a:pPr algn="ctr" defTabSz="1228949"/>
              <a:endParaRPr lang="en-US" dirty="0" err="1">
                <a:solidFill>
                  <a:srgbClr val="FFFFFF"/>
                </a:solidFill>
                <a:latin typeface="Arial" panose="020B0604020202020204"/>
              </a:endParaRPr>
            </a:p>
          </p:txBody>
        </p:sp>
        <p:sp>
          <p:nvSpPr>
            <p:cNvPr id="242" name="Rectangle 241">
              <a:extLst>
                <a:ext uri="{FF2B5EF4-FFF2-40B4-BE49-F238E27FC236}">
                  <a16:creationId xmlns:a16="http://schemas.microsoft.com/office/drawing/2014/main" id="{491FAAD0-98FB-2C44-8306-37EF6A7D73C7}"/>
                </a:ext>
              </a:extLst>
            </p:cNvPr>
            <p:cNvSpPr/>
            <p:nvPr/>
          </p:nvSpPr>
          <p:spPr>
            <a:xfrm>
              <a:off x="2812943" y="8250461"/>
              <a:ext cx="309966" cy="201478"/>
            </a:xfrm>
            <a:prstGeom prst="rect">
              <a:avLst/>
            </a:prstGeom>
            <a:grp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9" tIns="45720" rIns="91439" bIns="45720" numCol="1" spcCol="0" rtlCol="0" fromWordArt="0" anchor="ctr" anchorCtr="0" forceAA="0" compatLnSpc="1">
              <a:prstTxWarp prst="textNoShape">
                <a:avLst/>
              </a:prstTxWarp>
              <a:noAutofit/>
            </a:bodyPr>
            <a:lstStyle/>
            <a:p>
              <a:pPr algn="ctr" defTabSz="1228949"/>
              <a:endParaRPr lang="en-US" dirty="0" err="1">
                <a:solidFill>
                  <a:srgbClr val="FFFFFF"/>
                </a:solidFill>
                <a:latin typeface="Arial" panose="020B0604020202020204"/>
              </a:endParaRPr>
            </a:p>
          </p:txBody>
        </p:sp>
        <p:sp>
          <p:nvSpPr>
            <p:cNvPr id="243" name="Rectangle 242">
              <a:extLst>
                <a:ext uri="{FF2B5EF4-FFF2-40B4-BE49-F238E27FC236}">
                  <a16:creationId xmlns:a16="http://schemas.microsoft.com/office/drawing/2014/main" id="{7AB5D146-B191-954B-B1AD-347963708F34}"/>
                </a:ext>
              </a:extLst>
            </p:cNvPr>
            <p:cNvSpPr/>
            <p:nvPr/>
          </p:nvSpPr>
          <p:spPr>
            <a:xfrm>
              <a:off x="3130658" y="8250461"/>
              <a:ext cx="309966" cy="201478"/>
            </a:xfrm>
            <a:prstGeom prst="rect">
              <a:avLst/>
            </a:prstGeom>
            <a:grp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9" tIns="45720" rIns="91439" bIns="45720" numCol="1" spcCol="0" rtlCol="0" fromWordArt="0" anchor="ctr" anchorCtr="0" forceAA="0" compatLnSpc="1">
              <a:prstTxWarp prst="textNoShape">
                <a:avLst/>
              </a:prstTxWarp>
              <a:noAutofit/>
            </a:bodyPr>
            <a:lstStyle/>
            <a:p>
              <a:pPr algn="ctr" defTabSz="1228949"/>
              <a:endParaRPr lang="en-US" dirty="0" err="1">
                <a:solidFill>
                  <a:srgbClr val="FFFFFF"/>
                </a:solidFill>
                <a:latin typeface="Arial" panose="020B0604020202020204"/>
              </a:endParaRPr>
            </a:p>
          </p:txBody>
        </p:sp>
        <p:sp>
          <p:nvSpPr>
            <p:cNvPr id="244" name="Rectangle 243">
              <a:extLst>
                <a:ext uri="{FF2B5EF4-FFF2-40B4-BE49-F238E27FC236}">
                  <a16:creationId xmlns:a16="http://schemas.microsoft.com/office/drawing/2014/main" id="{8E32FD65-04F9-AD43-B8C1-BE9A98A17BE1}"/>
                </a:ext>
              </a:extLst>
            </p:cNvPr>
            <p:cNvSpPr/>
            <p:nvPr/>
          </p:nvSpPr>
          <p:spPr>
            <a:xfrm>
              <a:off x="3452248" y="8048983"/>
              <a:ext cx="309966" cy="201478"/>
            </a:xfrm>
            <a:prstGeom prst="rect">
              <a:avLst/>
            </a:prstGeom>
            <a:grp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9" tIns="45720" rIns="91439" bIns="45720" numCol="1" spcCol="0" rtlCol="0" fromWordArt="0" anchor="ctr" anchorCtr="0" forceAA="0" compatLnSpc="1">
              <a:prstTxWarp prst="textNoShape">
                <a:avLst/>
              </a:prstTxWarp>
              <a:noAutofit/>
            </a:bodyPr>
            <a:lstStyle/>
            <a:p>
              <a:pPr algn="ctr" defTabSz="1228949"/>
              <a:endParaRPr lang="en-US" dirty="0" err="1">
                <a:solidFill>
                  <a:srgbClr val="FFFFFF"/>
                </a:solidFill>
                <a:latin typeface="Arial" panose="020B0604020202020204"/>
              </a:endParaRPr>
            </a:p>
          </p:txBody>
        </p:sp>
        <p:sp>
          <p:nvSpPr>
            <p:cNvPr id="245" name="Rectangle 244">
              <a:extLst>
                <a:ext uri="{FF2B5EF4-FFF2-40B4-BE49-F238E27FC236}">
                  <a16:creationId xmlns:a16="http://schemas.microsoft.com/office/drawing/2014/main" id="{D567CA9C-7604-3740-A69B-0D093D3894EA}"/>
                </a:ext>
              </a:extLst>
            </p:cNvPr>
            <p:cNvSpPr/>
            <p:nvPr/>
          </p:nvSpPr>
          <p:spPr>
            <a:xfrm>
              <a:off x="3769963" y="8048983"/>
              <a:ext cx="309966" cy="201478"/>
            </a:xfrm>
            <a:prstGeom prst="rect">
              <a:avLst/>
            </a:prstGeom>
            <a:grp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9" tIns="45720" rIns="91439" bIns="45720" numCol="1" spcCol="0" rtlCol="0" fromWordArt="0" anchor="ctr" anchorCtr="0" forceAA="0" compatLnSpc="1">
              <a:prstTxWarp prst="textNoShape">
                <a:avLst/>
              </a:prstTxWarp>
              <a:noAutofit/>
            </a:bodyPr>
            <a:lstStyle/>
            <a:p>
              <a:pPr algn="ctr" defTabSz="1228949"/>
              <a:endParaRPr lang="en-US" dirty="0" err="1">
                <a:solidFill>
                  <a:srgbClr val="FFFFFF"/>
                </a:solidFill>
                <a:latin typeface="Arial" panose="020B0604020202020204"/>
              </a:endParaRPr>
            </a:p>
          </p:txBody>
        </p:sp>
        <p:sp>
          <p:nvSpPr>
            <p:cNvPr id="246" name="Rectangle 245">
              <a:extLst>
                <a:ext uri="{FF2B5EF4-FFF2-40B4-BE49-F238E27FC236}">
                  <a16:creationId xmlns:a16="http://schemas.microsoft.com/office/drawing/2014/main" id="{3A467260-DD4F-BD44-BA32-D1E398A3A230}"/>
                </a:ext>
              </a:extLst>
            </p:cNvPr>
            <p:cNvSpPr/>
            <p:nvPr/>
          </p:nvSpPr>
          <p:spPr>
            <a:xfrm>
              <a:off x="3452248" y="8250461"/>
              <a:ext cx="309966" cy="201478"/>
            </a:xfrm>
            <a:prstGeom prst="rect">
              <a:avLst/>
            </a:prstGeom>
            <a:grp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9" tIns="45720" rIns="91439" bIns="45720" numCol="1" spcCol="0" rtlCol="0" fromWordArt="0" anchor="ctr" anchorCtr="0" forceAA="0" compatLnSpc="1">
              <a:prstTxWarp prst="textNoShape">
                <a:avLst/>
              </a:prstTxWarp>
              <a:noAutofit/>
            </a:bodyPr>
            <a:lstStyle/>
            <a:p>
              <a:pPr algn="ctr" defTabSz="1228949"/>
              <a:endParaRPr lang="en-US" dirty="0" err="1">
                <a:solidFill>
                  <a:srgbClr val="FFFFFF"/>
                </a:solidFill>
                <a:latin typeface="Arial" panose="020B0604020202020204"/>
              </a:endParaRPr>
            </a:p>
          </p:txBody>
        </p:sp>
        <p:sp>
          <p:nvSpPr>
            <p:cNvPr id="247" name="Rectangle 246">
              <a:extLst>
                <a:ext uri="{FF2B5EF4-FFF2-40B4-BE49-F238E27FC236}">
                  <a16:creationId xmlns:a16="http://schemas.microsoft.com/office/drawing/2014/main" id="{EB427E8D-9B2D-374E-8939-CEAFCA8D1D1B}"/>
                </a:ext>
              </a:extLst>
            </p:cNvPr>
            <p:cNvSpPr/>
            <p:nvPr/>
          </p:nvSpPr>
          <p:spPr>
            <a:xfrm>
              <a:off x="3769963" y="8250461"/>
              <a:ext cx="309966" cy="201478"/>
            </a:xfrm>
            <a:prstGeom prst="rect">
              <a:avLst/>
            </a:prstGeom>
            <a:grp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9" tIns="45720" rIns="91439" bIns="45720" numCol="1" spcCol="0" rtlCol="0" fromWordArt="0" anchor="ctr" anchorCtr="0" forceAA="0" compatLnSpc="1">
              <a:prstTxWarp prst="textNoShape">
                <a:avLst/>
              </a:prstTxWarp>
              <a:noAutofit/>
            </a:bodyPr>
            <a:lstStyle/>
            <a:p>
              <a:pPr algn="ctr" defTabSz="1228949"/>
              <a:endParaRPr lang="en-US" dirty="0" err="1">
                <a:solidFill>
                  <a:srgbClr val="FFFFFF"/>
                </a:solidFill>
                <a:latin typeface="Arial" panose="020B0604020202020204"/>
              </a:endParaRPr>
            </a:p>
          </p:txBody>
        </p:sp>
        <p:sp>
          <p:nvSpPr>
            <p:cNvPr id="248" name="Rectangle 247">
              <a:extLst>
                <a:ext uri="{FF2B5EF4-FFF2-40B4-BE49-F238E27FC236}">
                  <a16:creationId xmlns:a16="http://schemas.microsoft.com/office/drawing/2014/main" id="{B8953797-5D34-8E42-B27F-3785A2EE9383}"/>
                </a:ext>
              </a:extLst>
            </p:cNvPr>
            <p:cNvSpPr/>
            <p:nvPr/>
          </p:nvSpPr>
          <p:spPr>
            <a:xfrm>
              <a:off x="1565329" y="8451939"/>
              <a:ext cx="309966" cy="201478"/>
            </a:xfrm>
            <a:prstGeom prst="rect">
              <a:avLst/>
            </a:prstGeom>
            <a:grp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9" tIns="45720" rIns="91439" bIns="45720" numCol="1" spcCol="0" rtlCol="0" fromWordArt="0" anchor="ctr" anchorCtr="0" forceAA="0" compatLnSpc="1">
              <a:prstTxWarp prst="textNoShape">
                <a:avLst/>
              </a:prstTxWarp>
              <a:noAutofit/>
            </a:bodyPr>
            <a:lstStyle/>
            <a:p>
              <a:pPr algn="ctr" defTabSz="1228949"/>
              <a:endParaRPr lang="en-US" dirty="0" err="1">
                <a:solidFill>
                  <a:srgbClr val="FFFFFF"/>
                </a:solidFill>
                <a:latin typeface="Arial" panose="020B0604020202020204"/>
              </a:endParaRPr>
            </a:p>
          </p:txBody>
        </p:sp>
        <p:sp>
          <p:nvSpPr>
            <p:cNvPr id="249" name="Rectangle 248">
              <a:extLst>
                <a:ext uri="{FF2B5EF4-FFF2-40B4-BE49-F238E27FC236}">
                  <a16:creationId xmlns:a16="http://schemas.microsoft.com/office/drawing/2014/main" id="{FE2B66B2-1BA7-E740-8F71-01A920DE0419}"/>
                </a:ext>
              </a:extLst>
            </p:cNvPr>
            <p:cNvSpPr/>
            <p:nvPr/>
          </p:nvSpPr>
          <p:spPr>
            <a:xfrm>
              <a:off x="1875295" y="8451939"/>
              <a:ext cx="309966" cy="201478"/>
            </a:xfrm>
            <a:prstGeom prst="rect">
              <a:avLst/>
            </a:prstGeom>
            <a:grp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9" tIns="45720" rIns="91439" bIns="45720" numCol="1" spcCol="0" rtlCol="0" fromWordArt="0" anchor="ctr" anchorCtr="0" forceAA="0" compatLnSpc="1">
              <a:prstTxWarp prst="textNoShape">
                <a:avLst/>
              </a:prstTxWarp>
              <a:noAutofit/>
            </a:bodyPr>
            <a:lstStyle/>
            <a:p>
              <a:pPr algn="ctr" defTabSz="1228949"/>
              <a:endParaRPr lang="en-US" dirty="0" err="1">
                <a:solidFill>
                  <a:srgbClr val="FFFFFF"/>
                </a:solidFill>
                <a:latin typeface="Arial" panose="020B0604020202020204"/>
              </a:endParaRPr>
            </a:p>
          </p:txBody>
        </p:sp>
        <p:sp>
          <p:nvSpPr>
            <p:cNvPr id="250" name="Rectangle 249">
              <a:extLst>
                <a:ext uri="{FF2B5EF4-FFF2-40B4-BE49-F238E27FC236}">
                  <a16:creationId xmlns:a16="http://schemas.microsoft.com/office/drawing/2014/main" id="{32216AA7-B81F-3F4C-B76C-1F2DA0988FB5}"/>
                </a:ext>
              </a:extLst>
            </p:cNvPr>
            <p:cNvSpPr/>
            <p:nvPr/>
          </p:nvSpPr>
          <p:spPr>
            <a:xfrm>
              <a:off x="2193010" y="8451939"/>
              <a:ext cx="309966" cy="201478"/>
            </a:xfrm>
            <a:prstGeom prst="rect">
              <a:avLst/>
            </a:prstGeom>
            <a:grp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9" tIns="45720" rIns="91439" bIns="45720" numCol="1" spcCol="0" rtlCol="0" fromWordArt="0" anchor="ctr" anchorCtr="0" forceAA="0" compatLnSpc="1">
              <a:prstTxWarp prst="textNoShape">
                <a:avLst/>
              </a:prstTxWarp>
              <a:noAutofit/>
            </a:bodyPr>
            <a:lstStyle/>
            <a:p>
              <a:pPr algn="ctr" defTabSz="1228949"/>
              <a:endParaRPr lang="en-US" dirty="0" err="1">
                <a:solidFill>
                  <a:srgbClr val="FFFFFF"/>
                </a:solidFill>
                <a:latin typeface="Arial" panose="020B0604020202020204"/>
              </a:endParaRPr>
            </a:p>
          </p:txBody>
        </p:sp>
        <p:sp>
          <p:nvSpPr>
            <p:cNvPr id="251" name="Rectangle 250">
              <a:extLst>
                <a:ext uri="{FF2B5EF4-FFF2-40B4-BE49-F238E27FC236}">
                  <a16:creationId xmlns:a16="http://schemas.microsoft.com/office/drawing/2014/main" id="{0F1F98CA-D4E5-6A47-A19C-1457A9A92033}"/>
                </a:ext>
              </a:extLst>
            </p:cNvPr>
            <p:cNvSpPr/>
            <p:nvPr/>
          </p:nvSpPr>
          <p:spPr>
            <a:xfrm>
              <a:off x="2502977" y="8451939"/>
              <a:ext cx="309966" cy="201478"/>
            </a:xfrm>
            <a:prstGeom prst="rect">
              <a:avLst/>
            </a:prstGeom>
            <a:grp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9" tIns="45720" rIns="91439" bIns="45720" numCol="1" spcCol="0" rtlCol="0" fromWordArt="0" anchor="ctr" anchorCtr="0" forceAA="0" compatLnSpc="1">
              <a:prstTxWarp prst="textNoShape">
                <a:avLst/>
              </a:prstTxWarp>
              <a:noAutofit/>
            </a:bodyPr>
            <a:lstStyle/>
            <a:p>
              <a:pPr algn="ctr" defTabSz="1228949"/>
              <a:endParaRPr lang="en-US" dirty="0" err="1">
                <a:solidFill>
                  <a:srgbClr val="FFFFFF"/>
                </a:solidFill>
                <a:latin typeface="Arial" panose="020B0604020202020204"/>
              </a:endParaRPr>
            </a:p>
          </p:txBody>
        </p:sp>
        <p:sp>
          <p:nvSpPr>
            <p:cNvPr id="252" name="Rectangle 251">
              <a:extLst>
                <a:ext uri="{FF2B5EF4-FFF2-40B4-BE49-F238E27FC236}">
                  <a16:creationId xmlns:a16="http://schemas.microsoft.com/office/drawing/2014/main" id="{E1A371E0-773B-5D40-82A5-3A9A7697DEAB}"/>
                </a:ext>
              </a:extLst>
            </p:cNvPr>
            <p:cNvSpPr/>
            <p:nvPr/>
          </p:nvSpPr>
          <p:spPr>
            <a:xfrm>
              <a:off x="2812943" y="8451939"/>
              <a:ext cx="309966" cy="201478"/>
            </a:xfrm>
            <a:prstGeom prst="rect">
              <a:avLst/>
            </a:prstGeom>
            <a:grp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9" tIns="45720" rIns="91439" bIns="45720" numCol="1" spcCol="0" rtlCol="0" fromWordArt="0" anchor="ctr" anchorCtr="0" forceAA="0" compatLnSpc="1">
              <a:prstTxWarp prst="textNoShape">
                <a:avLst/>
              </a:prstTxWarp>
              <a:noAutofit/>
            </a:bodyPr>
            <a:lstStyle/>
            <a:p>
              <a:pPr algn="ctr" defTabSz="1228949"/>
              <a:endParaRPr lang="en-US" dirty="0" err="1">
                <a:solidFill>
                  <a:srgbClr val="FFFFFF"/>
                </a:solidFill>
                <a:latin typeface="Arial" panose="020B0604020202020204"/>
              </a:endParaRPr>
            </a:p>
          </p:txBody>
        </p:sp>
        <p:sp>
          <p:nvSpPr>
            <p:cNvPr id="253" name="Rectangle 252">
              <a:extLst>
                <a:ext uri="{FF2B5EF4-FFF2-40B4-BE49-F238E27FC236}">
                  <a16:creationId xmlns:a16="http://schemas.microsoft.com/office/drawing/2014/main" id="{4E6C9893-6426-7844-B74A-578958D55491}"/>
                </a:ext>
              </a:extLst>
            </p:cNvPr>
            <p:cNvSpPr/>
            <p:nvPr/>
          </p:nvSpPr>
          <p:spPr>
            <a:xfrm>
              <a:off x="3130658" y="8451939"/>
              <a:ext cx="309966" cy="201478"/>
            </a:xfrm>
            <a:prstGeom prst="rect">
              <a:avLst/>
            </a:prstGeom>
            <a:grp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9" tIns="45720" rIns="91439" bIns="45720" numCol="1" spcCol="0" rtlCol="0" fromWordArt="0" anchor="ctr" anchorCtr="0" forceAA="0" compatLnSpc="1">
              <a:prstTxWarp prst="textNoShape">
                <a:avLst/>
              </a:prstTxWarp>
              <a:noAutofit/>
            </a:bodyPr>
            <a:lstStyle/>
            <a:p>
              <a:pPr algn="ctr" defTabSz="1228949"/>
              <a:endParaRPr lang="en-US" dirty="0" err="1">
                <a:solidFill>
                  <a:srgbClr val="FFFFFF"/>
                </a:solidFill>
                <a:latin typeface="Arial" panose="020B0604020202020204"/>
              </a:endParaRPr>
            </a:p>
          </p:txBody>
        </p:sp>
        <p:sp>
          <p:nvSpPr>
            <p:cNvPr id="254" name="Rectangle 253">
              <a:extLst>
                <a:ext uri="{FF2B5EF4-FFF2-40B4-BE49-F238E27FC236}">
                  <a16:creationId xmlns:a16="http://schemas.microsoft.com/office/drawing/2014/main" id="{CC2031BE-4566-6C49-8D1A-DA96AB125C34}"/>
                </a:ext>
              </a:extLst>
            </p:cNvPr>
            <p:cNvSpPr/>
            <p:nvPr/>
          </p:nvSpPr>
          <p:spPr>
            <a:xfrm>
              <a:off x="1565329" y="8653417"/>
              <a:ext cx="309966" cy="201478"/>
            </a:xfrm>
            <a:prstGeom prst="rect">
              <a:avLst/>
            </a:prstGeom>
            <a:grp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9" tIns="45720" rIns="91439" bIns="45720" numCol="1" spcCol="0" rtlCol="0" fromWordArt="0" anchor="ctr" anchorCtr="0" forceAA="0" compatLnSpc="1">
              <a:prstTxWarp prst="textNoShape">
                <a:avLst/>
              </a:prstTxWarp>
              <a:noAutofit/>
            </a:bodyPr>
            <a:lstStyle/>
            <a:p>
              <a:pPr algn="ctr" defTabSz="1228949"/>
              <a:endParaRPr lang="en-US" dirty="0" err="1">
                <a:solidFill>
                  <a:srgbClr val="FFFFFF"/>
                </a:solidFill>
                <a:latin typeface="Arial" panose="020B0604020202020204"/>
              </a:endParaRPr>
            </a:p>
          </p:txBody>
        </p:sp>
        <p:sp>
          <p:nvSpPr>
            <p:cNvPr id="255" name="Rectangle 254">
              <a:extLst>
                <a:ext uri="{FF2B5EF4-FFF2-40B4-BE49-F238E27FC236}">
                  <a16:creationId xmlns:a16="http://schemas.microsoft.com/office/drawing/2014/main" id="{66241453-5B21-DD4A-AC3F-1BA1241BA411}"/>
                </a:ext>
              </a:extLst>
            </p:cNvPr>
            <p:cNvSpPr/>
            <p:nvPr/>
          </p:nvSpPr>
          <p:spPr>
            <a:xfrm>
              <a:off x="1875295" y="8653417"/>
              <a:ext cx="309966" cy="201478"/>
            </a:xfrm>
            <a:prstGeom prst="rect">
              <a:avLst/>
            </a:prstGeom>
            <a:grp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9" tIns="45720" rIns="91439" bIns="45720" numCol="1" spcCol="0" rtlCol="0" fromWordArt="0" anchor="ctr" anchorCtr="0" forceAA="0" compatLnSpc="1">
              <a:prstTxWarp prst="textNoShape">
                <a:avLst/>
              </a:prstTxWarp>
              <a:noAutofit/>
            </a:bodyPr>
            <a:lstStyle/>
            <a:p>
              <a:pPr algn="ctr" defTabSz="1228949"/>
              <a:endParaRPr lang="en-US" dirty="0" err="1">
                <a:solidFill>
                  <a:srgbClr val="FFFFFF"/>
                </a:solidFill>
                <a:latin typeface="Arial" panose="020B0604020202020204"/>
              </a:endParaRPr>
            </a:p>
          </p:txBody>
        </p:sp>
        <p:sp>
          <p:nvSpPr>
            <p:cNvPr id="256" name="Rectangle 255">
              <a:extLst>
                <a:ext uri="{FF2B5EF4-FFF2-40B4-BE49-F238E27FC236}">
                  <a16:creationId xmlns:a16="http://schemas.microsoft.com/office/drawing/2014/main" id="{04F0D5A1-5FE4-F44B-9CCE-8DC32E94E83F}"/>
                </a:ext>
              </a:extLst>
            </p:cNvPr>
            <p:cNvSpPr/>
            <p:nvPr/>
          </p:nvSpPr>
          <p:spPr>
            <a:xfrm>
              <a:off x="2193010" y="8653417"/>
              <a:ext cx="309966" cy="201478"/>
            </a:xfrm>
            <a:prstGeom prst="rect">
              <a:avLst/>
            </a:prstGeom>
            <a:grp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9" tIns="45720" rIns="91439" bIns="45720" numCol="1" spcCol="0" rtlCol="0" fromWordArt="0" anchor="ctr" anchorCtr="0" forceAA="0" compatLnSpc="1">
              <a:prstTxWarp prst="textNoShape">
                <a:avLst/>
              </a:prstTxWarp>
              <a:noAutofit/>
            </a:bodyPr>
            <a:lstStyle/>
            <a:p>
              <a:pPr algn="ctr" defTabSz="1228949"/>
              <a:endParaRPr lang="en-US" dirty="0" err="1">
                <a:solidFill>
                  <a:srgbClr val="FFFFFF"/>
                </a:solidFill>
                <a:latin typeface="Arial" panose="020B0604020202020204"/>
              </a:endParaRPr>
            </a:p>
          </p:txBody>
        </p:sp>
        <p:sp>
          <p:nvSpPr>
            <p:cNvPr id="257" name="Rectangle 256">
              <a:extLst>
                <a:ext uri="{FF2B5EF4-FFF2-40B4-BE49-F238E27FC236}">
                  <a16:creationId xmlns:a16="http://schemas.microsoft.com/office/drawing/2014/main" id="{49561B00-F6C7-6F46-859F-661B6ECCADCD}"/>
                </a:ext>
              </a:extLst>
            </p:cNvPr>
            <p:cNvSpPr/>
            <p:nvPr/>
          </p:nvSpPr>
          <p:spPr>
            <a:xfrm>
              <a:off x="2502977" y="8653417"/>
              <a:ext cx="309966" cy="201478"/>
            </a:xfrm>
            <a:prstGeom prst="rect">
              <a:avLst/>
            </a:prstGeom>
            <a:grp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9" tIns="45720" rIns="91439" bIns="45720" numCol="1" spcCol="0" rtlCol="0" fromWordArt="0" anchor="ctr" anchorCtr="0" forceAA="0" compatLnSpc="1">
              <a:prstTxWarp prst="textNoShape">
                <a:avLst/>
              </a:prstTxWarp>
              <a:noAutofit/>
            </a:bodyPr>
            <a:lstStyle/>
            <a:p>
              <a:pPr algn="ctr" defTabSz="1228949"/>
              <a:endParaRPr lang="en-US" dirty="0" err="1">
                <a:solidFill>
                  <a:srgbClr val="FFFFFF"/>
                </a:solidFill>
                <a:latin typeface="Arial" panose="020B0604020202020204"/>
              </a:endParaRPr>
            </a:p>
          </p:txBody>
        </p:sp>
        <p:sp>
          <p:nvSpPr>
            <p:cNvPr id="258" name="Rectangle 257">
              <a:extLst>
                <a:ext uri="{FF2B5EF4-FFF2-40B4-BE49-F238E27FC236}">
                  <a16:creationId xmlns:a16="http://schemas.microsoft.com/office/drawing/2014/main" id="{131E8F88-877E-A040-B3C2-C10A89E0D2B9}"/>
                </a:ext>
              </a:extLst>
            </p:cNvPr>
            <p:cNvSpPr/>
            <p:nvPr/>
          </p:nvSpPr>
          <p:spPr>
            <a:xfrm>
              <a:off x="2812943" y="8653417"/>
              <a:ext cx="309966" cy="201478"/>
            </a:xfrm>
            <a:prstGeom prst="rect">
              <a:avLst/>
            </a:prstGeom>
            <a:grp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9" tIns="45720" rIns="91439" bIns="45720" numCol="1" spcCol="0" rtlCol="0" fromWordArt="0" anchor="ctr" anchorCtr="0" forceAA="0" compatLnSpc="1">
              <a:prstTxWarp prst="textNoShape">
                <a:avLst/>
              </a:prstTxWarp>
              <a:noAutofit/>
            </a:bodyPr>
            <a:lstStyle/>
            <a:p>
              <a:pPr algn="ctr" defTabSz="1228949"/>
              <a:endParaRPr lang="en-US" dirty="0" err="1">
                <a:solidFill>
                  <a:srgbClr val="FFFFFF"/>
                </a:solidFill>
                <a:latin typeface="Arial" panose="020B0604020202020204"/>
              </a:endParaRPr>
            </a:p>
          </p:txBody>
        </p:sp>
        <p:sp>
          <p:nvSpPr>
            <p:cNvPr id="259" name="Rectangle 258">
              <a:extLst>
                <a:ext uri="{FF2B5EF4-FFF2-40B4-BE49-F238E27FC236}">
                  <a16:creationId xmlns:a16="http://schemas.microsoft.com/office/drawing/2014/main" id="{0166A713-9DE5-0040-BE96-5DB65EE9C56B}"/>
                </a:ext>
              </a:extLst>
            </p:cNvPr>
            <p:cNvSpPr/>
            <p:nvPr/>
          </p:nvSpPr>
          <p:spPr>
            <a:xfrm>
              <a:off x="3130658" y="8653417"/>
              <a:ext cx="309966" cy="201478"/>
            </a:xfrm>
            <a:prstGeom prst="rect">
              <a:avLst/>
            </a:prstGeom>
            <a:grp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9" tIns="45720" rIns="91439" bIns="45720" numCol="1" spcCol="0" rtlCol="0" fromWordArt="0" anchor="ctr" anchorCtr="0" forceAA="0" compatLnSpc="1">
              <a:prstTxWarp prst="textNoShape">
                <a:avLst/>
              </a:prstTxWarp>
              <a:noAutofit/>
            </a:bodyPr>
            <a:lstStyle/>
            <a:p>
              <a:pPr algn="ctr" defTabSz="1228949"/>
              <a:endParaRPr lang="en-US" dirty="0" err="1">
                <a:solidFill>
                  <a:srgbClr val="FFFFFF"/>
                </a:solidFill>
                <a:latin typeface="Arial" panose="020B0604020202020204"/>
              </a:endParaRPr>
            </a:p>
          </p:txBody>
        </p:sp>
        <p:sp>
          <p:nvSpPr>
            <p:cNvPr id="260" name="Rectangle 259">
              <a:extLst>
                <a:ext uri="{FF2B5EF4-FFF2-40B4-BE49-F238E27FC236}">
                  <a16:creationId xmlns:a16="http://schemas.microsoft.com/office/drawing/2014/main" id="{97626D75-AD41-C340-8355-DB22D8595EBE}"/>
                </a:ext>
              </a:extLst>
            </p:cNvPr>
            <p:cNvSpPr/>
            <p:nvPr/>
          </p:nvSpPr>
          <p:spPr>
            <a:xfrm>
              <a:off x="3452248" y="8451939"/>
              <a:ext cx="309966" cy="201478"/>
            </a:xfrm>
            <a:prstGeom prst="rect">
              <a:avLst/>
            </a:prstGeom>
            <a:grp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9" tIns="45720" rIns="91439" bIns="45720" numCol="1" spcCol="0" rtlCol="0" fromWordArt="0" anchor="ctr" anchorCtr="0" forceAA="0" compatLnSpc="1">
              <a:prstTxWarp prst="textNoShape">
                <a:avLst/>
              </a:prstTxWarp>
              <a:noAutofit/>
            </a:bodyPr>
            <a:lstStyle/>
            <a:p>
              <a:pPr algn="ctr" defTabSz="1228949"/>
              <a:endParaRPr lang="en-US" dirty="0" err="1">
                <a:solidFill>
                  <a:srgbClr val="FFFFFF"/>
                </a:solidFill>
                <a:latin typeface="Arial" panose="020B0604020202020204"/>
              </a:endParaRPr>
            </a:p>
          </p:txBody>
        </p:sp>
        <p:sp>
          <p:nvSpPr>
            <p:cNvPr id="261" name="Rectangle 260">
              <a:extLst>
                <a:ext uri="{FF2B5EF4-FFF2-40B4-BE49-F238E27FC236}">
                  <a16:creationId xmlns:a16="http://schemas.microsoft.com/office/drawing/2014/main" id="{E72904BA-9ADD-D846-ABA8-52479456BECB}"/>
                </a:ext>
              </a:extLst>
            </p:cNvPr>
            <p:cNvSpPr/>
            <p:nvPr/>
          </p:nvSpPr>
          <p:spPr>
            <a:xfrm>
              <a:off x="3769963" y="8451939"/>
              <a:ext cx="309966" cy="201478"/>
            </a:xfrm>
            <a:prstGeom prst="rect">
              <a:avLst/>
            </a:prstGeom>
            <a:grp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9" tIns="45720" rIns="91439" bIns="45720" numCol="1" spcCol="0" rtlCol="0" fromWordArt="0" anchor="ctr" anchorCtr="0" forceAA="0" compatLnSpc="1">
              <a:prstTxWarp prst="textNoShape">
                <a:avLst/>
              </a:prstTxWarp>
              <a:noAutofit/>
            </a:bodyPr>
            <a:lstStyle/>
            <a:p>
              <a:pPr algn="ctr" defTabSz="1228949"/>
              <a:endParaRPr lang="en-US" dirty="0" err="1">
                <a:solidFill>
                  <a:srgbClr val="FFFFFF"/>
                </a:solidFill>
                <a:latin typeface="Arial" panose="020B0604020202020204"/>
              </a:endParaRPr>
            </a:p>
          </p:txBody>
        </p:sp>
        <p:sp>
          <p:nvSpPr>
            <p:cNvPr id="262" name="Rectangle 261">
              <a:extLst>
                <a:ext uri="{FF2B5EF4-FFF2-40B4-BE49-F238E27FC236}">
                  <a16:creationId xmlns:a16="http://schemas.microsoft.com/office/drawing/2014/main" id="{C86DD98A-CD2D-F249-9D5C-DA61B7DC3657}"/>
                </a:ext>
              </a:extLst>
            </p:cNvPr>
            <p:cNvSpPr/>
            <p:nvPr/>
          </p:nvSpPr>
          <p:spPr>
            <a:xfrm>
              <a:off x="3452248" y="8653417"/>
              <a:ext cx="309966" cy="201478"/>
            </a:xfrm>
            <a:prstGeom prst="rect">
              <a:avLst/>
            </a:prstGeom>
            <a:grp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9" tIns="45720" rIns="91439" bIns="45720" numCol="1" spcCol="0" rtlCol="0" fromWordArt="0" anchor="ctr" anchorCtr="0" forceAA="0" compatLnSpc="1">
              <a:prstTxWarp prst="textNoShape">
                <a:avLst/>
              </a:prstTxWarp>
              <a:noAutofit/>
            </a:bodyPr>
            <a:lstStyle/>
            <a:p>
              <a:pPr algn="ctr" defTabSz="1228949"/>
              <a:endParaRPr lang="en-US" dirty="0" err="1">
                <a:solidFill>
                  <a:srgbClr val="FFFFFF"/>
                </a:solidFill>
                <a:latin typeface="Arial" panose="020B0604020202020204"/>
              </a:endParaRPr>
            </a:p>
          </p:txBody>
        </p:sp>
        <p:sp>
          <p:nvSpPr>
            <p:cNvPr id="263" name="Rectangle 262">
              <a:extLst>
                <a:ext uri="{FF2B5EF4-FFF2-40B4-BE49-F238E27FC236}">
                  <a16:creationId xmlns:a16="http://schemas.microsoft.com/office/drawing/2014/main" id="{F8E80CBA-0574-E24F-8A6D-1FCBADED14CD}"/>
                </a:ext>
              </a:extLst>
            </p:cNvPr>
            <p:cNvSpPr/>
            <p:nvPr/>
          </p:nvSpPr>
          <p:spPr>
            <a:xfrm>
              <a:off x="3769963" y="8653417"/>
              <a:ext cx="309966" cy="201478"/>
            </a:xfrm>
            <a:prstGeom prst="rect">
              <a:avLst/>
            </a:prstGeom>
            <a:grp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9" tIns="45720" rIns="91439" bIns="45720" numCol="1" spcCol="0" rtlCol="0" fromWordArt="0" anchor="ctr" anchorCtr="0" forceAA="0" compatLnSpc="1">
              <a:prstTxWarp prst="textNoShape">
                <a:avLst/>
              </a:prstTxWarp>
              <a:noAutofit/>
            </a:bodyPr>
            <a:lstStyle/>
            <a:p>
              <a:pPr algn="ctr" defTabSz="1228949"/>
              <a:endParaRPr lang="en-US" dirty="0" err="1">
                <a:solidFill>
                  <a:srgbClr val="FFFFFF"/>
                </a:solidFill>
                <a:latin typeface="Arial" panose="020B0604020202020204"/>
              </a:endParaRPr>
            </a:p>
          </p:txBody>
        </p:sp>
      </p:grpSp>
      <p:sp>
        <p:nvSpPr>
          <p:cNvPr id="265" name="Freeform 264">
            <a:extLst>
              <a:ext uri="{FF2B5EF4-FFF2-40B4-BE49-F238E27FC236}">
                <a16:creationId xmlns:a16="http://schemas.microsoft.com/office/drawing/2014/main" id="{C4A6D06D-CA83-0048-B1C4-391441B18683}"/>
              </a:ext>
            </a:extLst>
          </p:cNvPr>
          <p:cNvSpPr/>
          <p:nvPr/>
        </p:nvSpPr>
        <p:spPr>
          <a:xfrm>
            <a:off x="3214177" y="2727703"/>
            <a:ext cx="1580828" cy="2402237"/>
          </a:xfrm>
          <a:custGeom>
            <a:avLst/>
            <a:gdLst>
              <a:gd name="connsiteX0" fmla="*/ 0 w 1580827"/>
              <a:gd name="connsiteY0" fmla="*/ 0 h 2402237"/>
              <a:gd name="connsiteX1" fmla="*/ 1239865 w 1580827"/>
              <a:gd name="connsiteY1" fmla="*/ 1038386 h 2402237"/>
              <a:gd name="connsiteX2" fmla="*/ 1580827 w 1580827"/>
              <a:gd name="connsiteY2" fmla="*/ 2402237 h 2402237"/>
            </a:gdLst>
            <a:ahLst/>
            <a:cxnLst>
              <a:cxn ang="0">
                <a:pos x="connsiteX0" y="connsiteY0"/>
              </a:cxn>
              <a:cxn ang="0">
                <a:pos x="connsiteX1" y="connsiteY1"/>
              </a:cxn>
              <a:cxn ang="0">
                <a:pos x="connsiteX2" y="connsiteY2"/>
              </a:cxn>
            </a:cxnLst>
            <a:rect l="l" t="t" r="r" b="b"/>
            <a:pathLst>
              <a:path w="1580827" h="2402237">
                <a:moveTo>
                  <a:pt x="0" y="0"/>
                </a:moveTo>
                <a:cubicBezTo>
                  <a:pt x="488197" y="319006"/>
                  <a:pt x="976394" y="638013"/>
                  <a:pt x="1239865" y="1038386"/>
                </a:cubicBezTo>
                <a:cubicBezTo>
                  <a:pt x="1503336" y="1438759"/>
                  <a:pt x="1542081" y="1920498"/>
                  <a:pt x="1580827" y="2402237"/>
                </a:cubicBezTo>
              </a:path>
            </a:pathLst>
          </a:custGeom>
          <a:noFill/>
          <a:ln w="57150">
            <a:solidFill>
              <a:srgbClr val="E87722"/>
            </a:solidFill>
            <a:headEnd type="none" w="med" len="med"/>
            <a:tailEnd type="triangle" w="lg" len="lg"/>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28949"/>
            <a:endParaRPr lang="en-US">
              <a:solidFill>
                <a:srgbClr val="FFFFFF"/>
              </a:solidFill>
              <a:latin typeface="Arial" panose="020B0604020202020204"/>
            </a:endParaRPr>
          </a:p>
        </p:txBody>
      </p:sp>
      <p:sp>
        <p:nvSpPr>
          <p:cNvPr id="266" name="Freeform 265">
            <a:extLst>
              <a:ext uri="{FF2B5EF4-FFF2-40B4-BE49-F238E27FC236}">
                <a16:creationId xmlns:a16="http://schemas.microsoft.com/office/drawing/2014/main" id="{022861E6-D750-1A4C-B9F1-EE9C37055313}"/>
              </a:ext>
            </a:extLst>
          </p:cNvPr>
          <p:cNvSpPr/>
          <p:nvPr/>
        </p:nvSpPr>
        <p:spPr>
          <a:xfrm flipH="1">
            <a:off x="3214177" y="5129940"/>
            <a:ext cx="1580828" cy="2402237"/>
          </a:xfrm>
          <a:custGeom>
            <a:avLst/>
            <a:gdLst>
              <a:gd name="connsiteX0" fmla="*/ 0 w 1580827"/>
              <a:gd name="connsiteY0" fmla="*/ 0 h 2402237"/>
              <a:gd name="connsiteX1" fmla="*/ 1239865 w 1580827"/>
              <a:gd name="connsiteY1" fmla="*/ 1038386 h 2402237"/>
              <a:gd name="connsiteX2" fmla="*/ 1580827 w 1580827"/>
              <a:gd name="connsiteY2" fmla="*/ 2402237 h 2402237"/>
              <a:gd name="connsiteX0" fmla="*/ 0 w 1580827"/>
              <a:gd name="connsiteY0" fmla="*/ 0 h 2402237"/>
              <a:gd name="connsiteX1" fmla="*/ 1257236 w 1580827"/>
              <a:gd name="connsiteY1" fmla="*/ 805912 h 2402237"/>
              <a:gd name="connsiteX2" fmla="*/ 1580827 w 1580827"/>
              <a:gd name="connsiteY2" fmla="*/ 2402237 h 2402237"/>
            </a:gdLst>
            <a:ahLst/>
            <a:cxnLst>
              <a:cxn ang="0">
                <a:pos x="connsiteX0" y="connsiteY0"/>
              </a:cxn>
              <a:cxn ang="0">
                <a:pos x="connsiteX1" y="connsiteY1"/>
              </a:cxn>
              <a:cxn ang="0">
                <a:pos x="connsiteX2" y="connsiteY2"/>
              </a:cxn>
            </a:cxnLst>
            <a:rect l="l" t="t" r="r" b="b"/>
            <a:pathLst>
              <a:path w="1580827" h="2402237">
                <a:moveTo>
                  <a:pt x="0" y="0"/>
                </a:moveTo>
                <a:cubicBezTo>
                  <a:pt x="488197" y="319006"/>
                  <a:pt x="993765" y="405539"/>
                  <a:pt x="1257236" y="805912"/>
                </a:cubicBezTo>
                <a:cubicBezTo>
                  <a:pt x="1520707" y="1206285"/>
                  <a:pt x="1542081" y="1920498"/>
                  <a:pt x="1580827" y="2402237"/>
                </a:cubicBezTo>
              </a:path>
            </a:pathLst>
          </a:custGeom>
          <a:noFill/>
          <a:ln w="57150">
            <a:solidFill>
              <a:srgbClr val="E87722"/>
            </a:solidFill>
            <a:headEnd type="none" w="med" len="med"/>
            <a:tailEnd type="triangle" w="lg" len="lg"/>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28949"/>
            <a:endParaRPr lang="en-US">
              <a:solidFill>
                <a:srgbClr val="FFFFFF"/>
              </a:solidFill>
              <a:latin typeface="Arial" panose="020B0604020202020204"/>
            </a:endParaRPr>
          </a:p>
        </p:txBody>
      </p:sp>
      <p:sp>
        <p:nvSpPr>
          <p:cNvPr id="267" name="Freeform 266">
            <a:extLst>
              <a:ext uri="{FF2B5EF4-FFF2-40B4-BE49-F238E27FC236}">
                <a16:creationId xmlns:a16="http://schemas.microsoft.com/office/drawing/2014/main" id="{6692CF41-048D-B744-AFF2-37E290F652C5}"/>
              </a:ext>
            </a:extLst>
          </p:cNvPr>
          <p:cNvSpPr/>
          <p:nvPr/>
        </p:nvSpPr>
        <p:spPr>
          <a:xfrm>
            <a:off x="3214177" y="7533469"/>
            <a:ext cx="1580828" cy="865322"/>
          </a:xfrm>
          <a:custGeom>
            <a:avLst/>
            <a:gdLst>
              <a:gd name="connsiteX0" fmla="*/ 0 w 1580827"/>
              <a:gd name="connsiteY0" fmla="*/ 0 h 2402237"/>
              <a:gd name="connsiteX1" fmla="*/ 1239865 w 1580827"/>
              <a:gd name="connsiteY1" fmla="*/ 1038386 h 2402237"/>
              <a:gd name="connsiteX2" fmla="*/ 1580827 w 1580827"/>
              <a:gd name="connsiteY2" fmla="*/ 2402237 h 2402237"/>
              <a:gd name="connsiteX0" fmla="*/ 0 w 1580827"/>
              <a:gd name="connsiteY0" fmla="*/ 0 h 2402237"/>
              <a:gd name="connsiteX1" fmla="*/ 836909 w 1580827"/>
              <a:gd name="connsiteY1" fmla="*/ 1726788 h 2402237"/>
              <a:gd name="connsiteX2" fmla="*/ 1580827 w 1580827"/>
              <a:gd name="connsiteY2" fmla="*/ 2402237 h 2402237"/>
              <a:gd name="connsiteX0" fmla="*/ 0 w 1580827"/>
              <a:gd name="connsiteY0" fmla="*/ 0 h 2402237"/>
              <a:gd name="connsiteX1" fmla="*/ 588936 w 1580827"/>
              <a:gd name="connsiteY1" fmla="*/ 1898888 h 2402237"/>
              <a:gd name="connsiteX2" fmla="*/ 1580827 w 1580827"/>
              <a:gd name="connsiteY2" fmla="*/ 2402237 h 2402237"/>
              <a:gd name="connsiteX0" fmla="*/ 0 w 1580827"/>
              <a:gd name="connsiteY0" fmla="*/ 0 h 2402237"/>
              <a:gd name="connsiteX1" fmla="*/ 588936 w 1580827"/>
              <a:gd name="connsiteY1" fmla="*/ 1898888 h 2402237"/>
              <a:gd name="connsiteX2" fmla="*/ 1580827 w 1580827"/>
              <a:gd name="connsiteY2" fmla="*/ 2402237 h 2402237"/>
            </a:gdLst>
            <a:ahLst/>
            <a:cxnLst>
              <a:cxn ang="0">
                <a:pos x="connsiteX0" y="connsiteY0"/>
              </a:cxn>
              <a:cxn ang="0">
                <a:pos x="connsiteX1" y="connsiteY1"/>
              </a:cxn>
              <a:cxn ang="0">
                <a:pos x="connsiteX2" y="connsiteY2"/>
              </a:cxn>
            </a:cxnLst>
            <a:rect l="l" t="t" r="r" b="b"/>
            <a:pathLst>
              <a:path w="1580827" h="2402237">
                <a:moveTo>
                  <a:pt x="0" y="0"/>
                </a:moveTo>
                <a:cubicBezTo>
                  <a:pt x="255723" y="835309"/>
                  <a:pt x="325465" y="1498515"/>
                  <a:pt x="588936" y="1898888"/>
                </a:cubicBezTo>
                <a:cubicBezTo>
                  <a:pt x="852407" y="2299261"/>
                  <a:pt x="1542081" y="1920498"/>
                  <a:pt x="1580827" y="2402237"/>
                </a:cubicBezTo>
              </a:path>
            </a:pathLst>
          </a:custGeom>
          <a:noFill/>
          <a:ln w="57150">
            <a:solidFill>
              <a:srgbClr val="E87722"/>
            </a:solidFill>
            <a:headEnd type="none" w="med" len="med"/>
            <a:tailEnd type="triangle" w="lg" len="lg"/>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28949"/>
            <a:endParaRPr lang="en-US">
              <a:solidFill>
                <a:srgbClr val="FFFFFF"/>
              </a:solidFill>
              <a:latin typeface="Arial" panose="020B0604020202020204"/>
            </a:endParaRPr>
          </a:p>
        </p:txBody>
      </p:sp>
      <p:cxnSp>
        <p:nvCxnSpPr>
          <p:cNvPr id="269" name="Straight Arrow Connector 268">
            <a:extLst>
              <a:ext uri="{FF2B5EF4-FFF2-40B4-BE49-F238E27FC236}">
                <a16:creationId xmlns:a16="http://schemas.microsoft.com/office/drawing/2014/main" id="{4374E9E1-C323-2049-964C-1B36A0BF46B8}"/>
              </a:ext>
            </a:extLst>
          </p:cNvPr>
          <p:cNvCxnSpPr>
            <a:cxnSpLocks/>
          </p:cNvCxnSpPr>
          <p:nvPr/>
        </p:nvCxnSpPr>
        <p:spPr>
          <a:xfrm flipH="1" flipV="1">
            <a:off x="3839301" y="3928820"/>
            <a:ext cx="955702" cy="4348989"/>
          </a:xfrm>
          <a:prstGeom prst="straightConnector1">
            <a:avLst/>
          </a:prstGeom>
          <a:ln w="57150" cap="rnd">
            <a:solidFill>
              <a:srgbClr val="E87722"/>
            </a:solidFill>
            <a:tailEnd type="triangle" w="lg" len="lg"/>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9690605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719BB44-43DB-C44E-9784-AA72CF897E1B}"/>
              </a:ext>
            </a:extLst>
          </p:cNvPr>
          <p:cNvSpPr>
            <a:spLocks noGrp="1"/>
          </p:cNvSpPr>
          <p:nvPr>
            <p:ph type="title"/>
          </p:nvPr>
        </p:nvSpPr>
        <p:spPr/>
        <p:txBody>
          <a:bodyPr/>
          <a:lstStyle/>
          <a:p>
            <a:r>
              <a:rPr lang="en-US" dirty="0"/>
              <a:t>Example: Learning Embeddings Via Random Walk</a:t>
            </a:r>
          </a:p>
        </p:txBody>
      </p:sp>
      <p:sp>
        <p:nvSpPr>
          <p:cNvPr id="3" name="Content Placeholder 2">
            <a:extLst>
              <a:ext uri="{FF2B5EF4-FFF2-40B4-BE49-F238E27FC236}">
                <a16:creationId xmlns:a16="http://schemas.microsoft.com/office/drawing/2014/main" id="{CC92D40A-863D-5A42-B62D-17B8EB8FAD46}"/>
              </a:ext>
            </a:extLst>
          </p:cNvPr>
          <p:cNvSpPr>
            <a:spLocks noGrp="1"/>
          </p:cNvSpPr>
          <p:nvPr>
            <p:ph idx="1"/>
          </p:nvPr>
        </p:nvSpPr>
        <p:spPr>
          <a:xfrm>
            <a:off x="7142714" y="2649660"/>
            <a:ext cx="8133874" cy="6189540"/>
          </a:xfrm>
        </p:spPr>
        <p:txBody>
          <a:bodyPr/>
          <a:lstStyle/>
          <a:p>
            <a:pPr marL="457198" indent="-457198"/>
            <a:r>
              <a:rPr lang="en-US" dirty="0"/>
              <a:t>NLP technologies have shown us that we can create low-dimensional embeddings for every word by looking at the sequence of words in text.</a:t>
            </a:r>
          </a:p>
          <a:p>
            <a:pPr marL="457198" indent="-457198"/>
            <a:r>
              <a:rPr lang="en-US" dirty="0"/>
              <a:t>Using Random Walk algorithms, we can create a similar sequence of items to create embeddings for primary vertices (Customer, Product etc.)</a:t>
            </a:r>
          </a:p>
          <a:p>
            <a:pPr marL="457198" indent="-457198"/>
            <a:r>
              <a:rPr lang="en-US" dirty="0"/>
              <a:t>We can use these embeddings for 50 msec comparisons over 100M items if we do the calculations in parallel</a:t>
            </a:r>
          </a:p>
          <a:p>
            <a:pPr marL="457198" indent="-457198"/>
            <a:r>
              <a:rPr lang="en-US" dirty="0"/>
              <a:t>Random Walks are very CPU intensive and require traversal of hundreds of millions of edges</a:t>
            </a:r>
          </a:p>
        </p:txBody>
      </p:sp>
      <p:sp>
        <p:nvSpPr>
          <p:cNvPr id="5" name="Slide Number Placeholder 4">
            <a:extLst>
              <a:ext uri="{FF2B5EF4-FFF2-40B4-BE49-F238E27FC236}">
                <a16:creationId xmlns:a16="http://schemas.microsoft.com/office/drawing/2014/main" id="{BD0C735B-F190-1940-81E1-E5C284B5F76C}"/>
              </a:ext>
            </a:extLst>
          </p:cNvPr>
          <p:cNvSpPr>
            <a:spLocks noGrp="1"/>
          </p:cNvSpPr>
          <p:nvPr>
            <p:ph type="sldNum" sz="quarter" idx="12"/>
          </p:nvPr>
        </p:nvSpPr>
        <p:spPr/>
        <p:txBody>
          <a:bodyPr/>
          <a:lstStyle/>
          <a:p>
            <a:pPr defTabSz="1228949"/>
            <a:fld id="{3310D8EA-3107-4873-B9AB-DD7D3E79053A}" type="slidenum">
              <a:rPr lang="en-US" kern="1200">
                <a:solidFill>
                  <a:srgbClr val="55565A">
                    <a:tint val="75000"/>
                  </a:srgbClr>
                </a:solidFill>
                <a:latin typeface="Arial" panose="020B0604020202020204"/>
              </a:rPr>
              <a:pPr defTabSz="1228949"/>
              <a:t>14</a:t>
            </a:fld>
            <a:endParaRPr lang="en-US" kern="1200">
              <a:solidFill>
                <a:srgbClr val="55565A">
                  <a:tint val="75000"/>
                </a:srgbClr>
              </a:solidFill>
              <a:latin typeface="Arial" panose="020B0604020202020204"/>
            </a:endParaRPr>
          </a:p>
        </p:txBody>
      </p:sp>
      <p:grpSp>
        <p:nvGrpSpPr>
          <p:cNvPr id="7" name="Group 242">
            <a:extLst>
              <a:ext uri="{FF2B5EF4-FFF2-40B4-BE49-F238E27FC236}">
                <a16:creationId xmlns:a16="http://schemas.microsoft.com/office/drawing/2014/main" id="{E42A265B-B8F8-E841-80F2-2A00A6FED46B}"/>
              </a:ext>
            </a:extLst>
          </p:cNvPr>
          <p:cNvGrpSpPr/>
          <p:nvPr/>
        </p:nvGrpSpPr>
        <p:grpSpPr>
          <a:xfrm>
            <a:off x="2114043" y="4448571"/>
            <a:ext cx="3839535" cy="3247344"/>
            <a:chOff x="3505200" y="4267200"/>
            <a:chExt cx="1676400" cy="1600200"/>
          </a:xfrm>
        </p:grpSpPr>
        <p:sp>
          <p:nvSpPr>
            <p:cNvPr id="8" name="Oval 7">
              <a:extLst>
                <a:ext uri="{FF2B5EF4-FFF2-40B4-BE49-F238E27FC236}">
                  <a16:creationId xmlns:a16="http://schemas.microsoft.com/office/drawing/2014/main" id="{6AFA2C99-03DB-6E4A-AB2B-94B19D85E628}"/>
                </a:ext>
              </a:extLst>
            </p:cNvPr>
            <p:cNvSpPr/>
            <p:nvPr/>
          </p:nvSpPr>
          <p:spPr bwMode="auto">
            <a:xfrm>
              <a:off x="4191000" y="4267200"/>
              <a:ext cx="228600" cy="228600"/>
            </a:xfrm>
            <a:prstGeom prst="ellipse">
              <a:avLst/>
            </a:prstGeom>
            <a:solidFill>
              <a:srgbClr val="FF0000"/>
            </a:solidFill>
            <a:ln w="28575" cap="flat" cmpd="sng" algn="ctr">
              <a:solidFill>
                <a:srgbClr val="000000"/>
              </a:solidFill>
              <a:prstDash val="solid"/>
              <a:round/>
              <a:headEnd type="none" w="med" len="med"/>
              <a:tailEnd type="none" w="med" len="med"/>
            </a:ln>
            <a:effectLst/>
          </p:spPr>
          <p:txBody>
            <a:bodyPr vert="horz" wrap="square" lIns="116616" tIns="58307" rIns="116616" bIns="58307" numCol="1" rtlCol="0" anchor="t" anchorCtr="0" compatLnSpc="1">
              <a:prstTxWarp prst="textNoShape">
                <a:avLst/>
              </a:prstTxWarp>
            </a:bodyPr>
            <a:lstStyle/>
            <a:p>
              <a:pPr algn="ctr" defTabSz="1166027" fontAlgn="base">
                <a:spcBef>
                  <a:spcPct val="0"/>
                </a:spcBef>
                <a:spcAft>
                  <a:spcPct val="0"/>
                </a:spcAft>
              </a:pPr>
              <a:endParaRPr lang="en-US" sz="3061" b="1">
                <a:solidFill>
                  <a:srgbClr val="55565A"/>
                </a:solidFill>
                <a:latin typeface="Arial Narrow" charset="0"/>
              </a:endParaRPr>
            </a:p>
          </p:txBody>
        </p:sp>
        <p:sp>
          <p:nvSpPr>
            <p:cNvPr id="9" name="Oval 8">
              <a:extLst>
                <a:ext uri="{FF2B5EF4-FFF2-40B4-BE49-F238E27FC236}">
                  <a16:creationId xmlns:a16="http://schemas.microsoft.com/office/drawing/2014/main" id="{E9F2381E-FE0A-D545-B909-6F61943B1A6A}"/>
                </a:ext>
              </a:extLst>
            </p:cNvPr>
            <p:cNvSpPr/>
            <p:nvPr/>
          </p:nvSpPr>
          <p:spPr bwMode="auto">
            <a:xfrm>
              <a:off x="3886200" y="4724400"/>
              <a:ext cx="228600" cy="228600"/>
            </a:xfrm>
            <a:prstGeom prst="ellipse">
              <a:avLst/>
            </a:prstGeom>
            <a:solidFill>
              <a:srgbClr val="996633"/>
            </a:solidFill>
            <a:ln w="28575" cap="flat" cmpd="sng" algn="ctr">
              <a:solidFill>
                <a:srgbClr val="000000"/>
              </a:solidFill>
              <a:prstDash val="solid"/>
              <a:round/>
              <a:headEnd type="none" w="med" len="med"/>
              <a:tailEnd type="none" w="med" len="med"/>
            </a:ln>
            <a:effectLst/>
          </p:spPr>
          <p:txBody>
            <a:bodyPr vert="horz" wrap="square" lIns="116616" tIns="58307" rIns="116616" bIns="58307" numCol="1" rtlCol="0" anchor="t" anchorCtr="0" compatLnSpc="1">
              <a:prstTxWarp prst="textNoShape">
                <a:avLst/>
              </a:prstTxWarp>
            </a:bodyPr>
            <a:lstStyle/>
            <a:p>
              <a:pPr algn="ctr" defTabSz="1166027" fontAlgn="base">
                <a:spcBef>
                  <a:spcPct val="0"/>
                </a:spcBef>
                <a:spcAft>
                  <a:spcPct val="0"/>
                </a:spcAft>
              </a:pPr>
              <a:endParaRPr lang="en-US" sz="3061" b="1">
                <a:solidFill>
                  <a:srgbClr val="55565A"/>
                </a:solidFill>
                <a:latin typeface="Arial Narrow" charset="0"/>
              </a:endParaRPr>
            </a:p>
          </p:txBody>
        </p:sp>
        <p:sp>
          <p:nvSpPr>
            <p:cNvPr id="10" name="Oval 9">
              <a:extLst>
                <a:ext uri="{FF2B5EF4-FFF2-40B4-BE49-F238E27FC236}">
                  <a16:creationId xmlns:a16="http://schemas.microsoft.com/office/drawing/2014/main" id="{E1BEDECD-0420-5A46-852F-20B7AB422560}"/>
                </a:ext>
              </a:extLst>
            </p:cNvPr>
            <p:cNvSpPr/>
            <p:nvPr/>
          </p:nvSpPr>
          <p:spPr bwMode="auto">
            <a:xfrm>
              <a:off x="4191000" y="5105400"/>
              <a:ext cx="228600" cy="228600"/>
            </a:xfrm>
            <a:prstGeom prst="ellipse">
              <a:avLst/>
            </a:prstGeom>
            <a:solidFill>
              <a:srgbClr val="7030A0"/>
            </a:solidFill>
            <a:ln w="28575" cap="flat" cmpd="sng" algn="ctr">
              <a:solidFill>
                <a:srgbClr val="000000"/>
              </a:solidFill>
              <a:prstDash val="solid"/>
              <a:round/>
              <a:headEnd type="none" w="med" len="med"/>
              <a:tailEnd type="none" w="med" len="med"/>
            </a:ln>
            <a:effectLst/>
          </p:spPr>
          <p:txBody>
            <a:bodyPr vert="horz" wrap="square" lIns="116616" tIns="58307" rIns="116616" bIns="58307" numCol="1" rtlCol="0" anchor="t" anchorCtr="0" compatLnSpc="1">
              <a:prstTxWarp prst="textNoShape">
                <a:avLst/>
              </a:prstTxWarp>
            </a:bodyPr>
            <a:lstStyle/>
            <a:p>
              <a:pPr algn="ctr" defTabSz="1166027" fontAlgn="base">
                <a:spcBef>
                  <a:spcPct val="0"/>
                </a:spcBef>
                <a:spcAft>
                  <a:spcPct val="0"/>
                </a:spcAft>
              </a:pPr>
              <a:endParaRPr lang="en-US" sz="3061" b="1">
                <a:solidFill>
                  <a:srgbClr val="55565A"/>
                </a:solidFill>
                <a:latin typeface="Arial Narrow" charset="0"/>
              </a:endParaRPr>
            </a:p>
          </p:txBody>
        </p:sp>
        <p:sp>
          <p:nvSpPr>
            <p:cNvPr id="11" name="Oval 10">
              <a:extLst>
                <a:ext uri="{FF2B5EF4-FFF2-40B4-BE49-F238E27FC236}">
                  <a16:creationId xmlns:a16="http://schemas.microsoft.com/office/drawing/2014/main" id="{41AB4FCC-24DA-F545-B0BA-E3738EABEA14}"/>
                </a:ext>
              </a:extLst>
            </p:cNvPr>
            <p:cNvSpPr/>
            <p:nvPr/>
          </p:nvSpPr>
          <p:spPr bwMode="auto">
            <a:xfrm>
              <a:off x="4724400" y="4495800"/>
              <a:ext cx="228600" cy="228600"/>
            </a:xfrm>
            <a:prstGeom prst="ellipse">
              <a:avLst/>
            </a:prstGeom>
            <a:solidFill>
              <a:schemeClr val="accent6"/>
            </a:solidFill>
            <a:ln w="28575" cap="flat" cmpd="sng" algn="ctr">
              <a:solidFill>
                <a:srgbClr val="000000"/>
              </a:solidFill>
              <a:prstDash val="solid"/>
              <a:round/>
              <a:headEnd type="none" w="med" len="med"/>
              <a:tailEnd type="none" w="med" len="med"/>
            </a:ln>
            <a:effectLst/>
          </p:spPr>
          <p:txBody>
            <a:bodyPr vert="horz" wrap="square" lIns="116616" tIns="58307" rIns="116616" bIns="58307" numCol="1" rtlCol="0" anchor="t" anchorCtr="0" compatLnSpc="1">
              <a:prstTxWarp prst="textNoShape">
                <a:avLst/>
              </a:prstTxWarp>
            </a:bodyPr>
            <a:lstStyle/>
            <a:p>
              <a:pPr algn="ctr" defTabSz="1166027" fontAlgn="base">
                <a:spcBef>
                  <a:spcPct val="0"/>
                </a:spcBef>
                <a:spcAft>
                  <a:spcPct val="0"/>
                </a:spcAft>
              </a:pPr>
              <a:endParaRPr lang="en-US" sz="3061" b="1">
                <a:solidFill>
                  <a:srgbClr val="55565A"/>
                </a:solidFill>
                <a:latin typeface="Arial Narrow" charset="0"/>
              </a:endParaRPr>
            </a:p>
          </p:txBody>
        </p:sp>
        <p:sp>
          <p:nvSpPr>
            <p:cNvPr id="12" name="Oval 11">
              <a:extLst>
                <a:ext uri="{FF2B5EF4-FFF2-40B4-BE49-F238E27FC236}">
                  <a16:creationId xmlns:a16="http://schemas.microsoft.com/office/drawing/2014/main" id="{609DBD7E-EF70-374B-83BA-BBEC7F6C8F77}"/>
                </a:ext>
              </a:extLst>
            </p:cNvPr>
            <p:cNvSpPr/>
            <p:nvPr/>
          </p:nvSpPr>
          <p:spPr bwMode="auto">
            <a:xfrm>
              <a:off x="4648200" y="4953000"/>
              <a:ext cx="228600" cy="228600"/>
            </a:xfrm>
            <a:prstGeom prst="ellipse">
              <a:avLst/>
            </a:prstGeom>
            <a:solidFill>
              <a:srgbClr val="FFFF00"/>
            </a:solidFill>
            <a:ln w="28575" cap="flat" cmpd="sng" algn="ctr">
              <a:solidFill>
                <a:srgbClr val="000000"/>
              </a:solidFill>
              <a:prstDash val="solid"/>
              <a:round/>
              <a:headEnd type="none" w="med" len="med"/>
              <a:tailEnd type="none" w="med" len="med"/>
            </a:ln>
            <a:effectLst/>
          </p:spPr>
          <p:txBody>
            <a:bodyPr vert="horz" wrap="square" lIns="116616" tIns="58307" rIns="116616" bIns="58307" numCol="1" rtlCol="0" anchor="t" anchorCtr="0" compatLnSpc="1">
              <a:prstTxWarp prst="textNoShape">
                <a:avLst/>
              </a:prstTxWarp>
            </a:bodyPr>
            <a:lstStyle/>
            <a:p>
              <a:pPr algn="ctr" defTabSz="1166027" fontAlgn="base">
                <a:spcBef>
                  <a:spcPct val="0"/>
                </a:spcBef>
                <a:spcAft>
                  <a:spcPct val="0"/>
                </a:spcAft>
              </a:pPr>
              <a:endParaRPr lang="en-US" sz="3061" b="1">
                <a:solidFill>
                  <a:srgbClr val="55565A"/>
                </a:solidFill>
                <a:latin typeface="Arial Narrow" charset="0"/>
              </a:endParaRPr>
            </a:p>
          </p:txBody>
        </p:sp>
        <p:sp>
          <p:nvSpPr>
            <p:cNvPr id="13" name="Oval 12">
              <a:extLst>
                <a:ext uri="{FF2B5EF4-FFF2-40B4-BE49-F238E27FC236}">
                  <a16:creationId xmlns:a16="http://schemas.microsoft.com/office/drawing/2014/main" id="{50B16A49-A5EC-FC48-9DA2-488C1054A428}"/>
                </a:ext>
              </a:extLst>
            </p:cNvPr>
            <p:cNvSpPr/>
            <p:nvPr/>
          </p:nvSpPr>
          <p:spPr bwMode="auto">
            <a:xfrm>
              <a:off x="3581400" y="5257800"/>
              <a:ext cx="228600" cy="228600"/>
            </a:xfrm>
            <a:prstGeom prst="ellipse">
              <a:avLst/>
            </a:prstGeom>
            <a:solidFill>
              <a:srgbClr val="92D050"/>
            </a:solidFill>
            <a:ln w="28575" cap="flat" cmpd="sng" algn="ctr">
              <a:solidFill>
                <a:srgbClr val="000000"/>
              </a:solidFill>
              <a:prstDash val="solid"/>
              <a:round/>
              <a:headEnd type="none" w="med" len="med"/>
              <a:tailEnd type="none" w="med" len="med"/>
            </a:ln>
            <a:effectLst/>
          </p:spPr>
          <p:txBody>
            <a:bodyPr vert="horz" wrap="square" lIns="116616" tIns="58307" rIns="116616" bIns="58307" numCol="1" rtlCol="0" anchor="t" anchorCtr="0" compatLnSpc="1">
              <a:prstTxWarp prst="textNoShape">
                <a:avLst/>
              </a:prstTxWarp>
            </a:bodyPr>
            <a:lstStyle/>
            <a:p>
              <a:pPr algn="ctr" defTabSz="1166027" fontAlgn="base">
                <a:spcBef>
                  <a:spcPct val="0"/>
                </a:spcBef>
                <a:spcAft>
                  <a:spcPct val="0"/>
                </a:spcAft>
              </a:pPr>
              <a:endParaRPr lang="en-US" sz="3061" b="1">
                <a:solidFill>
                  <a:srgbClr val="55565A"/>
                </a:solidFill>
                <a:latin typeface="Arial Narrow" charset="0"/>
              </a:endParaRPr>
            </a:p>
          </p:txBody>
        </p:sp>
        <p:sp>
          <p:nvSpPr>
            <p:cNvPr id="14" name="Oval 13">
              <a:extLst>
                <a:ext uri="{FF2B5EF4-FFF2-40B4-BE49-F238E27FC236}">
                  <a16:creationId xmlns:a16="http://schemas.microsoft.com/office/drawing/2014/main" id="{545FF1FC-F136-5A44-A6B7-BCF6B0D71C3B}"/>
                </a:ext>
              </a:extLst>
            </p:cNvPr>
            <p:cNvSpPr/>
            <p:nvPr/>
          </p:nvSpPr>
          <p:spPr bwMode="auto">
            <a:xfrm>
              <a:off x="4419600" y="5486400"/>
              <a:ext cx="228600" cy="228600"/>
            </a:xfrm>
            <a:prstGeom prst="ellipse">
              <a:avLst/>
            </a:prstGeom>
            <a:solidFill>
              <a:srgbClr val="0070C0"/>
            </a:solidFill>
            <a:ln w="28575" cap="flat" cmpd="sng" algn="ctr">
              <a:solidFill>
                <a:srgbClr val="000000"/>
              </a:solidFill>
              <a:prstDash val="solid"/>
              <a:round/>
              <a:headEnd type="none" w="med" len="med"/>
              <a:tailEnd type="none" w="med" len="med"/>
            </a:ln>
            <a:effectLst/>
          </p:spPr>
          <p:txBody>
            <a:bodyPr vert="horz" wrap="square" lIns="116616" tIns="58307" rIns="116616" bIns="58307" numCol="1" rtlCol="0" anchor="t" anchorCtr="0" compatLnSpc="1">
              <a:prstTxWarp prst="textNoShape">
                <a:avLst/>
              </a:prstTxWarp>
            </a:bodyPr>
            <a:lstStyle/>
            <a:p>
              <a:pPr algn="ctr" defTabSz="1166027" fontAlgn="base">
                <a:spcBef>
                  <a:spcPct val="0"/>
                </a:spcBef>
                <a:spcAft>
                  <a:spcPct val="0"/>
                </a:spcAft>
              </a:pPr>
              <a:endParaRPr lang="en-US" sz="3061" b="1">
                <a:solidFill>
                  <a:srgbClr val="55565A"/>
                </a:solidFill>
                <a:latin typeface="Arial Narrow" charset="0"/>
              </a:endParaRPr>
            </a:p>
          </p:txBody>
        </p:sp>
        <p:sp>
          <p:nvSpPr>
            <p:cNvPr id="15" name="Oval 14">
              <a:extLst>
                <a:ext uri="{FF2B5EF4-FFF2-40B4-BE49-F238E27FC236}">
                  <a16:creationId xmlns:a16="http://schemas.microsoft.com/office/drawing/2014/main" id="{6A646520-6456-1B4D-B727-AC00499759AD}"/>
                </a:ext>
              </a:extLst>
            </p:cNvPr>
            <p:cNvSpPr/>
            <p:nvPr/>
          </p:nvSpPr>
          <p:spPr bwMode="auto">
            <a:xfrm>
              <a:off x="3505200" y="4572000"/>
              <a:ext cx="228600" cy="228600"/>
            </a:xfrm>
            <a:prstGeom prst="ellipse">
              <a:avLst/>
            </a:prstGeom>
            <a:solidFill>
              <a:schemeClr val="bg1">
                <a:lumMod val="65000"/>
              </a:schemeClr>
            </a:solidFill>
            <a:ln w="28575" cap="flat" cmpd="sng" algn="ctr">
              <a:solidFill>
                <a:srgbClr val="000000"/>
              </a:solidFill>
              <a:prstDash val="solid"/>
              <a:round/>
              <a:headEnd type="none" w="med" len="med"/>
              <a:tailEnd type="none" w="med" len="med"/>
            </a:ln>
            <a:effectLst/>
          </p:spPr>
          <p:txBody>
            <a:bodyPr vert="horz" wrap="square" lIns="116616" tIns="58307" rIns="116616" bIns="58307" numCol="1" rtlCol="0" anchor="t" anchorCtr="0" compatLnSpc="1">
              <a:prstTxWarp prst="textNoShape">
                <a:avLst/>
              </a:prstTxWarp>
            </a:bodyPr>
            <a:lstStyle/>
            <a:p>
              <a:pPr algn="ctr" defTabSz="1166027" fontAlgn="base">
                <a:spcBef>
                  <a:spcPct val="0"/>
                </a:spcBef>
                <a:spcAft>
                  <a:spcPct val="0"/>
                </a:spcAft>
              </a:pPr>
              <a:endParaRPr lang="en-US" sz="3061" b="1">
                <a:solidFill>
                  <a:srgbClr val="55565A"/>
                </a:solidFill>
                <a:latin typeface="Arial Narrow" charset="0"/>
              </a:endParaRPr>
            </a:p>
          </p:txBody>
        </p:sp>
        <p:sp>
          <p:nvSpPr>
            <p:cNvPr id="16" name="Oval 15">
              <a:extLst>
                <a:ext uri="{FF2B5EF4-FFF2-40B4-BE49-F238E27FC236}">
                  <a16:creationId xmlns:a16="http://schemas.microsoft.com/office/drawing/2014/main" id="{B2FE4EAB-D000-4E4B-A529-4938E60C3E43}"/>
                </a:ext>
              </a:extLst>
            </p:cNvPr>
            <p:cNvSpPr/>
            <p:nvPr/>
          </p:nvSpPr>
          <p:spPr bwMode="auto">
            <a:xfrm>
              <a:off x="4953000" y="5334000"/>
              <a:ext cx="228600" cy="228600"/>
            </a:xfrm>
            <a:prstGeom prst="ellipse">
              <a:avLst/>
            </a:prstGeom>
            <a:solidFill>
              <a:srgbClr val="00B050"/>
            </a:solidFill>
            <a:ln w="28575" cap="flat" cmpd="sng" algn="ctr">
              <a:solidFill>
                <a:srgbClr val="000000"/>
              </a:solidFill>
              <a:prstDash val="solid"/>
              <a:round/>
              <a:headEnd type="none" w="med" len="med"/>
              <a:tailEnd type="none" w="med" len="med"/>
            </a:ln>
            <a:effectLst/>
          </p:spPr>
          <p:txBody>
            <a:bodyPr vert="horz" wrap="square" lIns="116616" tIns="58307" rIns="116616" bIns="58307" numCol="1" rtlCol="0" anchor="t" anchorCtr="0" compatLnSpc="1">
              <a:prstTxWarp prst="textNoShape">
                <a:avLst/>
              </a:prstTxWarp>
            </a:bodyPr>
            <a:lstStyle/>
            <a:p>
              <a:pPr algn="ctr" defTabSz="1166027" fontAlgn="base">
                <a:spcBef>
                  <a:spcPct val="0"/>
                </a:spcBef>
                <a:spcAft>
                  <a:spcPct val="0"/>
                </a:spcAft>
              </a:pPr>
              <a:endParaRPr lang="en-US" sz="3061" b="1">
                <a:solidFill>
                  <a:srgbClr val="55565A"/>
                </a:solidFill>
                <a:latin typeface="Arial Narrow" charset="0"/>
              </a:endParaRPr>
            </a:p>
          </p:txBody>
        </p:sp>
        <p:cxnSp>
          <p:nvCxnSpPr>
            <p:cNvPr id="17" name="Straight Arrow Connector 16">
              <a:extLst>
                <a:ext uri="{FF2B5EF4-FFF2-40B4-BE49-F238E27FC236}">
                  <a16:creationId xmlns:a16="http://schemas.microsoft.com/office/drawing/2014/main" id="{A203EAD4-CDB8-2849-B828-A17523AC9F45}"/>
                </a:ext>
              </a:extLst>
            </p:cNvPr>
            <p:cNvCxnSpPr>
              <a:stCxn id="15" idx="7"/>
              <a:endCxn id="8" idx="2"/>
            </p:cNvCxnSpPr>
            <p:nvPr/>
          </p:nvCxnSpPr>
          <p:spPr>
            <a:xfrm flipV="1">
              <a:off x="3700322" y="4381500"/>
              <a:ext cx="490678" cy="223978"/>
            </a:xfrm>
            <a:prstGeom prst="straightConnector1">
              <a:avLst/>
            </a:prstGeom>
            <a:ln w="28575">
              <a:solidFill>
                <a:srgbClr val="00000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8" name="Straight Arrow Connector 17">
              <a:extLst>
                <a:ext uri="{FF2B5EF4-FFF2-40B4-BE49-F238E27FC236}">
                  <a16:creationId xmlns:a16="http://schemas.microsoft.com/office/drawing/2014/main" id="{ABF13F58-1E01-8748-8A3E-63203657FBE1}"/>
                </a:ext>
              </a:extLst>
            </p:cNvPr>
            <p:cNvCxnSpPr>
              <a:stCxn id="8" idx="6"/>
              <a:endCxn id="11" idx="2"/>
            </p:cNvCxnSpPr>
            <p:nvPr/>
          </p:nvCxnSpPr>
          <p:spPr>
            <a:xfrm>
              <a:off x="4419600" y="4381500"/>
              <a:ext cx="304800" cy="228600"/>
            </a:xfrm>
            <a:prstGeom prst="straightConnector1">
              <a:avLst/>
            </a:prstGeom>
            <a:ln w="53975">
              <a:solidFill>
                <a:schemeClr val="accent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9" name="Straight Arrow Connector 18">
              <a:extLst>
                <a:ext uri="{FF2B5EF4-FFF2-40B4-BE49-F238E27FC236}">
                  <a16:creationId xmlns:a16="http://schemas.microsoft.com/office/drawing/2014/main" id="{84544A21-B050-8440-A56F-4317BB29AF1A}"/>
                </a:ext>
              </a:extLst>
            </p:cNvPr>
            <p:cNvCxnSpPr>
              <a:stCxn id="11" idx="3"/>
              <a:endCxn id="12" idx="0"/>
            </p:cNvCxnSpPr>
            <p:nvPr/>
          </p:nvCxnSpPr>
          <p:spPr>
            <a:xfrm>
              <a:off x="4757878" y="4690922"/>
              <a:ext cx="4622" cy="262078"/>
            </a:xfrm>
            <a:prstGeom prst="straightConnector1">
              <a:avLst/>
            </a:prstGeom>
            <a:ln w="53975">
              <a:solidFill>
                <a:schemeClr val="accent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0" name="Straight Arrow Connector 19">
              <a:extLst>
                <a:ext uri="{FF2B5EF4-FFF2-40B4-BE49-F238E27FC236}">
                  <a16:creationId xmlns:a16="http://schemas.microsoft.com/office/drawing/2014/main" id="{79ED4B70-017E-9B44-A3AA-90FA25A82AF8}"/>
                </a:ext>
              </a:extLst>
            </p:cNvPr>
            <p:cNvCxnSpPr>
              <a:stCxn id="12" idx="5"/>
              <a:endCxn id="16" idx="1"/>
            </p:cNvCxnSpPr>
            <p:nvPr/>
          </p:nvCxnSpPr>
          <p:spPr>
            <a:xfrm>
              <a:off x="4843322" y="5148122"/>
              <a:ext cx="143156" cy="219356"/>
            </a:xfrm>
            <a:prstGeom prst="straightConnector1">
              <a:avLst/>
            </a:prstGeom>
            <a:ln w="53975">
              <a:solidFill>
                <a:schemeClr val="accent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1" name="Straight Arrow Connector 20">
              <a:extLst>
                <a:ext uri="{FF2B5EF4-FFF2-40B4-BE49-F238E27FC236}">
                  <a16:creationId xmlns:a16="http://schemas.microsoft.com/office/drawing/2014/main" id="{D2750BC3-C287-1E41-BDB7-F000EFC02ED9}"/>
                </a:ext>
              </a:extLst>
            </p:cNvPr>
            <p:cNvCxnSpPr>
              <a:stCxn id="16" idx="2"/>
              <a:endCxn id="14" idx="6"/>
            </p:cNvCxnSpPr>
            <p:nvPr/>
          </p:nvCxnSpPr>
          <p:spPr>
            <a:xfrm flipH="1">
              <a:off x="4648200" y="5448300"/>
              <a:ext cx="304800" cy="152400"/>
            </a:xfrm>
            <a:prstGeom prst="straightConnector1">
              <a:avLst/>
            </a:prstGeom>
            <a:ln w="53975">
              <a:solidFill>
                <a:schemeClr val="accent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2" name="Straight Arrow Connector 21">
              <a:extLst>
                <a:ext uri="{FF2B5EF4-FFF2-40B4-BE49-F238E27FC236}">
                  <a16:creationId xmlns:a16="http://schemas.microsoft.com/office/drawing/2014/main" id="{2ABC8E4B-6C69-904A-86BE-26D44E852363}"/>
                </a:ext>
              </a:extLst>
            </p:cNvPr>
            <p:cNvCxnSpPr>
              <a:endCxn id="10" idx="5"/>
            </p:cNvCxnSpPr>
            <p:nvPr/>
          </p:nvCxnSpPr>
          <p:spPr>
            <a:xfrm flipH="1" flipV="1">
              <a:off x="4386122" y="5300522"/>
              <a:ext cx="105056" cy="219356"/>
            </a:xfrm>
            <a:prstGeom prst="straightConnector1">
              <a:avLst/>
            </a:prstGeom>
            <a:ln w="53975">
              <a:solidFill>
                <a:schemeClr val="accent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3" name="Straight Arrow Connector 22">
              <a:extLst>
                <a:ext uri="{FF2B5EF4-FFF2-40B4-BE49-F238E27FC236}">
                  <a16:creationId xmlns:a16="http://schemas.microsoft.com/office/drawing/2014/main" id="{7EA1D4EE-A081-6C44-AB87-3F2164A91C62}"/>
                </a:ext>
              </a:extLst>
            </p:cNvPr>
            <p:cNvCxnSpPr>
              <a:stCxn id="10" idx="1"/>
              <a:endCxn id="9" idx="5"/>
            </p:cNvCxnSpPr>
            <p:nvPr/>
          </p:nvCxnSpPr>
          <p:spPr>
            <a:xfrm flipH="1" flipV="1">
              <a:off x="4081322" y="4919522"/>
              <a:ext cx="143156" cy="219356"/>
            </a:xfrm>
            <a:prstGeom prst="straightConnector1">
              <a:avLst/>
            </a:prstGeom>
            <a:ln w="28575">
              <a:solidFill>
                <a:srgbClr val="00000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4" name="Straight Arrow Connector 23">
              <a:extLst>
                <a:ext uri="{FF2B5EF4-FFF2-40B4-BE49-F238E27FC236}">
                  <a16:creationId xmlns:a16="http://schemas.microsoft.com/office/drawing/2014/main" id="{8F4338CD-BEBE-7441-B874-FD0685AB40FC}"/>
                </a:ext>
              </a:extLst>
            </p:cNvPr>
            <p:cNvCxnSpPr>
              <a:stCxn id="9" idx="3"/>
              <a:endCxn id="13" idx="7"/>
            </p:cNvCxnSpPr>
            <p:nvPr/>
          </p:nvCxnSpPr>
          <p:spPr>
            <a:xfrm flipH="1">
              <a:off x="3776522" y="4919522"/>
              <a:ext cx="143156" cy="371756"/>
            </a:xfrm>
            <a:prstGeom prst="straightConnector1">
              <a:avLst/>
            </a:prstGeom>
            <a:ln w="28575">
              <a:solidFill>
                <a:srgbClr val="00000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5" name="Straight Arrow Connector 24">
              <a:extLst>
                <a:ext uri="{FF2B5EF4-FFF2-40B4-BE49-F238E27FC236}">
                  <a16:creationId xmlns:a16="http://schemas.microsoft.com/office/drawing/2014/main" id="{65E20C0C-5A18-854E-B82F-3FC1DC7FDD40}"/>
                </a:ext>
              </a:extLst>
            </p:cNvPr>
            <p:cNvCxnSpPr>
              <a:stCxn id="15" idx="4"/>
              <a:endCxn id="13" idx="1"/>
            </p:cNvCxnSpPr>
            <p:nvPr/>
          </p:nvCxnSpPr>
          <p:spPr>
            <a:xfrm flipH="1">
              <a:off x="3614878" y="4800600"/>
              <a:ext cx="4622" cy="490678"/>
            </a:xfrm>
            <a:prstGeom prst="straightConnector1">
              <a:avLst/>
            </a:prstGeom>
            <a:ln w="28575">
              <a:solidFill>
                <a:srgbClr val="00000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6" name="Straight Arrow Connector 25">
              <a:extLst>
                <a:ext uri="{FF2B5EF4-FFF2-40B4-BE49-F238E27FC236}">
                  <a16:creationId xmlns:a16="http://schemas.microsoft.com/office/drawing/2014/main" id="{6C240D0A-0019-4A4C-A22C-3F99A68A22BE}"/>
                </a:ext>
              </a:extLst>
            </p:cNvPr>
            <p:cNvCxnSpPr>
              <a:stCxn id="10" idx="7"/>
              <a:endCxn id="8" idx="4"/>
            </p:cNvCxnSpPr>
            <p:nvPr/>
          </p:nvCxnSpPr>
          <p:spPr>
            <a:xfrm flipH="1" flipV="1">
              <a:off x="4305300" y="4495800"/>
              <a:ext cx="80822" cy="643078"/>
            </a:xfrm>
            <a:prstGeom prst="straightConnector1">
              <a:avLst/>
            </a:prstGeom>
            <a:ln w="53975">
              <a:solidFill>
                <a:schemeClr val="accent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7" name="Straight Arrow Connector 26">
              <a:extLst>
                <a:ext uri="{FF2B5EF4-FFF2-40B4-BE49-F238E27FC236}">
                  <a16:creationId xmlns:a16="http://schemas.microsoft.com/office/drawing/2014/main" id="{0D344365-40C9-DE46-AAEB-2AE08B48E809}"/>
                </a:ext>
              </a:extLst>
            </p:cNvPr>
            <p:cNvCxnSpPr>
              <a:stCxn id="10" idx="3"/>
              <a:endCxn id="13" idx="6"/>
            </p:cNvCxnSpPr>
            <p:nvPr/>
          </p:nvCxnSpPr>
          <p:spPr>
            <a:xfrm flipH="1">
              <a:off x="3810000" y="5300522"/>
              <a:ext cx="414478" cy="71578"/>
            </a:xfrm>
            <a:prstGeom prst="straightConnector1">
              <a:avLst/>
            </a:prstGeom>
            <a:ln w="28575">
              <a:solidFill>
                <a:srgbClr val="00000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28" name="Oval 27">
              <a:extLst>
                <a:ext uri="{FF2B5EF4-FFF2-40B4-BE49-F238E27FC236}">
                  <a16:creationId xmlns:a16="http://schemas.microsoft.com/office/drawing/2014/main" id="{69D5C09A-BC2A-A744-874A-D70E0BB0E97D}"/>
                </a:ext>
              </a:extLst>
            </p:cNvPr>
            <p:cNvSpPr/>
            <p:nvPr/>
          </p:nvSpPr>
          <p:spPr bwMode="auto">
            <a:xfrm>
              <a:off x="3962400" y="5638800"/>
              <a:ext cx="228600" cy="228600"/>
            </a:xfrm>
            <a:prstGeom prst="ellipse">
              <a:avLst/>
            </a:prstGeom>
            <a:solidFill>
              <a:srgbClr val="336699"/>
            </a:solidFill>
            <a:ln w="28575" cap="flat" cmpd="sng" algn="ctr">
              <a:solidFill>
                <a:srgbClr val="000000"/>
              </a:solidFill>
              <a:prstDash val="solid"/>
              <a:round/>
              <a:headEnd type="none" w="med" len="med"/>
              <a:tailEnd type="none" w="med" len="med"/>
            </a:ln>
            <a:effectLst/>
          </p:spPr>
          <p:txBody>
            <a:bodyPr vert="horz" wrap="square" lIns="116616" tIns="58307" rIns="116616" bIns="58307" numCol="1" rtlCol="0" anchor="t" anchorCtr="0" compatLnSpc="1">
              <a:prstTxWarp prst="textNoShape">
                <a:avLst/>
              </a:prstTxWarp>
            </a:bodyPr>
            <a:lstStyle/>
            <a:p>
              <a:pPr algn="ctr" defTabSz="1166027" fontAlgn="base">
                <a:spcBef>
                  <a:spcPct val="0"/>
                </a:spcBef>
                <a:spcAft>
                  <a:spcPct val="0"/>
                </a:spcAft>
              </a:pPr>
              <a:endParaRPr lang="en-US" sz="3061" b="1">
                <a:solidFill>
                  <a:srgbClr val="55565A"/>
                </a:solidFill>
                <a:latin typeface="Arial Narrow" charset="0"/>
              </a:endParaRPr>
            </a:p>
          </p:txBody>
        </p:sp>
        <p:cxnSp>
          <p:nvCxnSpPr>
            <p:cNvPr id="29" name="Straight Arrow Connector 28">
              <a:extLst>
                <a:ext uri="{FF2B5EF4-FFF2-40B4-BE49-F238E27FC236}">
                  <a16:creationId xmlns:a16="http://schemas.microsoft.com/office/drawing/2014/main" id="{C50735D8-D4D2-A042-9204-20B415CF1825}"/>
                </a:ext>
              </a:extLst>
            </p:cNvPr>
            <p:cNvCxnSpPr>
              <a:stCxn id="28" idx="7"/>
              <a:endCxn id="10" idx="4"/>
            </p:cNvCxnSpPr>
            <p:nvPr/>
          </p:nvCxnSpPr>
          <p:spPr>
            <a:xfrm flipV="1">
              <a:off x="4157522" y="5334000"/>
              <a:ext cx="147778" cy="338278"/>
            </a:xfrm>
            <a:prstGeom prst="straightConnector1">
              <a:avLst/>
            </a:prstGeom>
            <a:ln w="28575">
              <a:solidFill>
                <a:srgbClr val="00000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sp>
        <p:nvSpPr>
          <p:cNvPr id="30" name="Rectangle 29">
            <a:extLst>
              <a:ext uri="{FF2B5EF4-FFF2-40B4-BE49-F238E27FC236}">
                <a16:creationId xmlns:a16="http://schemas.microsoft.com/office/drawing/2014/main" id="{5B340DEE-4574-3545-8966-7D37E15ABFE7}"/>
              </a:ext>
            </a:extLst>
          </p:cNvPr>
          <p:cNvSpPr/>
          <p:nvPr/>
        </p:nvSpPr>
        <p:spPr>
          <a:xfrm>
            <a:off x="3624874" y="2760594"/>
            <a:ext cx="305419" cy="33499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9" tIns="45720" rIns="91439" bIns="45720" numCol="1" spcCol="0" rtlCol="0" fromWordArt="0" anchor="ctr" anchorCtr="0" forceAA="0" compatLnSpc="1">
            <a:prstTxWarp prst="textNoShape">
              <a:avLst/>
            </a:prstTxWarp>
            <a:noAutofit/>
          </a:bodyPr>
          <a:lstStyle/>
          <a:p>
            <a:pPr algn="ctr" defTabSz="1228949"/>
            <a:endParaRPr lang="en-US" dirty="0" err="1">
              <a:solidFill>
                <a:srgbClr val="FFFFFF"/>
              </a:solidFill>
              <a:latin typeface="Arial" panose="020B0604020202020204"/>
            </a:endParaRPr>
          </a:p>
        </p:txBody>
      </p:sp>
      <p:sp>
        <p:nvSpPr>
          <p:cNvPr id="31" name="Rectangle 30">
            <a:extLst>
              <a:ext uri="{FF2B5EF4-FFF2-40B4-BE49-F238E27FC236}">
                <a16:creationId xmlns:a16="http://schemas.microsoft.com/office/drawing/2014/main" id="{BC332906-E79E-D946-A13D-DD1799B6FD10}"/>
              </a:ext>
            </a:extLst>
          </p:cNvPr>
          <p:cNvSpPr/>
          <p:nvPr/>
        </p:nvSpPr>
        <p:spPr>
          <a:xfrm>
            <a:off x="3930291" y="2760594"/>
            <a:ext cx="305419" cy="33499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9" tIns="45720" rIns="91439" bIns="45720" numCol="1" spcCol="0" rtlCol="0" fromWordArt="0" anchor="ctr" anchorCtr="0" forceAA="0" compatLnSpc="1">
            <a:prstTxWarp prst="textNoShape">
              <a:avLst/>
            </a:prstTxWarp>
            <a:noAutofit/>
          </a:bodyPr>
          <a:lstStyle/>
          <a:p>
            <a:pPr algn="ctr" defTabSz="1228949"/>
            <a:endParaRPr lang="en-US" dirty="0" err="1">
              <a:solidFill>
                <a:srgbClr val="FFFFFF"/>
              </a:solidFill>
              <a:latin typeface="Arial" panose="020B0604020202020204"/>
            </a:endParaRPr>
          </a:p>
        </p:txBody>
      </p:sp>
      <p:sp>
        <p:nvSpPr>
          <p:cNvPr id="32" name="Rectangle 31">
            <a:extLst>
              <a:ext uri="{FF2B5EF4-FFF2-40B4-BE49-F238E27FC236}">
                <a16:creationId xmlns:a16="http://schemas.microsoft.com/office/drawing/2014/main" id="{6D6F1DE9-D091-8845-A1B7-69A250F14E47}"/>
              </a:ext>
            </a:extLst>
          </p:cNvPr>
          <p:cNvSpPr/>
          <p:nvPr/>
        </p:nvSpPr>
        <p:spPr>
          <a:xfrm>
            <a:off x="4235708" y="2760594"/>
            <a:ext cx="305419" cy="334994"/>
          </a:xfrm>
          <a:prstGeom prst="rect">
            <a:avLst/>
          </a:prstGeom>
          <a:solidFill>
            <a:schemeClr val="tx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9" tIns="45720" rIns="91439" bIns="45720" numCol="1" spcCol="0" rtlCol="0" fromWordArt="0" anchor="ctr" anchorCtr="0" forceAA="0" compatLnSpc="1">
            <a:prstTxWarp prst="textNoShape">
              <a:avLst/>
            </a:prstTxWarp>
            <a:noAutofit/>
          </a:bodyPr>
          <a:lstStyle/>
          <a:p>
            <a:pPr algn="ctr" defTabSz="1228949"/>
            <a:endParaRPr lang="en-US" dirty="0" err="1">
              <a:solidFill>
                <a:srgbClr val="FFFFFF"/>
              </a:solidFill>
              <a:latin typeface="Arial" panose="020B0604020202020204"/>
            </a:endParaRPr>
          </a:p>
        </p:txBody>
      </p:sp>
      <p:sp>
        <p:nvSpPr>
          <p:cNvPr id="33" name="Rectangle 32">
            <a:extLst>
              <a:ext uri="{FF2B5EF4-FFF2-40B4-BE49-F238E27FC236}">
                <a16:creationId xmlns:a16="http://schemas.microsoft.com/office/drawing/2014/main" id="{687C4962-F78C-EE4F-BC7B-FA12FE48EDD1}"/>
              </a:ext>
            </a:extLst>
          </p:cNvPr>
          <p:cNvSpPr/>
          <p:nvPr/>
        </p:nvSpPr>
        <p:spPr>
          <a:xfrm>
            <a:off x="4527358" y="2760594"/>
            <a:ext cx="305419" cy="334994"/>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9" tIns="45720" rIns="91439" bIns="45720" numCol="1" spcCol="0" rtlCol="0" fromWordArt="0" anchor="ctr" anchorCtr="0" forceAA="0" compatLnSpc="1">
            <a:prstTxWarp prst="textNoShape">
              <a:avLst/>
            </a:prstTxWarp>
            <a:noAutofit/>
          </a:bodyPr>
          <a:lstStyle/>
          <a:p>
            <a:pPr algn="ctr" defTabSz="1228949"/>
            <a:endParaRPr lang="en-US" dirty="0" err="1">
              <a:solidFill>
                <a:srgbClr val="FFFFFF"/>
              </a:solidFill>
              <a:latin typeface="Arial" panose="020B0604020202020204"/>
            </a:endParaRPr>
          </a:p>
        </p:txBody>
      </p:sp>
      <p:sp>
        <p:nvSpPr>
          <p:cNvPr id="34" name="Rectangle 33">
            <a:extLst>
              <a:ext uri="{FF2B5EF4-FFF2-40B4-BE49-F238E27FC236}">
                <a16:creationId xmlns:a16="http://schemas.microsoft.com/office/drawing/2014/main" id="{0D1FD218-4741-FC40-9E96-A03C883747DB}"/>
              </a:ext>
            </a:extLst>
          </p:cNvPr>
          <p:cNvSpPr/>
          <p:nvPr/>
        </p:nvSpPr>
        <p:spPr>
          <a:xfrm>
            <a:off x="4814119" y="2760594"/>
            <a:ext cx="305419" cy="334994"/>
          </a:xfrm>
          <a:prstGeom prst="rect">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9" tIns="45720" rIns="91439" bIns="45720" numCol="1" spcCol="0" rtlCol="0" fromWordArt="0" anchor="ctr" anchorCtr="0" forceAA="0" compatLnSpc="1">
            <a:prstTxWarp prst="textNoShape">
              <a:avLst/>
            </a:prstTxWarp>
            <a:noAutofit/>
          </a:bodyPr>
          <a:lstStyle/>
          <a:p>
            <a:pPr algn="ctr" defTabSz="1228949"/>
            <a:endParaRPr lang="en-US" dirty="0" err="1">
              <a:solidFill>
                <a:srgbClr val="FFFFFF"/>
              </a:solidFill>
              <a:latin typeface="Arial" panose="020B0604020202020204"/>
            </a:endParaRPr>
          </a:p>
        </p:txBody>
      </p:sp>
      <p:sp>
        <p:nvSpPr>
          <p:cNvPr id="35" name="Rectangle 34">
            <a:extLst>
              <a:ext uri="{FF2B5EF4-FFF2-40B4-BE49-F238E27FC236}">
                <a16:creationId xmlns:a16="http://schemas.microsoft.com/office/drawing/2014/main" id="{B6893571-FFF3-3B45-AD33-3B0EBCED45C0}"/>
              </a:ext>
            </a:extLst>
          </p:cNvPr>
          <p:cNvSpPr/>
          <p:nvPr/>
        </p:nvSpPr>
        <p:spPr>
          <a:xfrm>
            <a:off x="5119536" y="2760594"/>
            <a:ext cx="305419" cy="33499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9" tIns="45720" rIns="91439" bIns="45720" numCol="1" spcCol="0" rtlCol="0" fromWordArt="0" anchor="ctr" anchorCtr="0" forceAA="0" compatLnSpc="1">
            <a:prstTxWarp prst="textNoShape">
              <a:avLst/>
            </a:prstTxWarp>
            <a:noAutofit/>
          </a:bodyPr>
          <a:lstStyle/>
          <a:p>
            <a:pPr algn="ctr" defTabSz="1228949"/>
            <a:endParaRPr lang="en-US" dirty="0" err="1">
              <a:solidFill>
                <a:srgbClr val="FFFFFF"/>
              </a:solidFill>
              <a:latin typeface="Arial" panose="020B0604020202020204"/>
            </a:endParaRPr>
          </a:p>
        </p:txBody>
      </p:sp>
      <p:sp>
        <p:nvSpPr>
          <p:cNvPr id="36" name="Rectangle 35">
            <a:extLst>
              <a:ext uri="{FF2B5EF4-FFF2-40B4-BE49-F238E27FC236}">
                <a16:creationId xmlns:a16="http://schemas.microsoft.com/office/drawing/2014/main" id="{DF8CE33D-CFEA-874B-BE0E-5CB35843CA37}"/>
              </a:ext>
            </a:extLst>
          </p:cNvPr>
          <p:cNvSpPr/>
          <p:nvPr/>
        </p:nvSpPr>
        <p:spPr>
          <a:xfrm>
            <a:off x="5424953" y="2760594"/>
            <a:ext cx="305419" cy="334994"/>
          </a:xfrm>
          <a:prstGeom prst="rect">
            <a:avLst/>
          </a:prstGeom>
          <a:solidFill>
            <a:schemeClr val="tx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9" tIns="45720" rIns="91439" bIns="45720" numCol="1" spcCol="0" rtlCol="0" fromWordArt="0" anchor="ctr" anchorCtr="0" forceAA="0" compatLnSpc="1">
            <a:prstTxWarp prst="textNoShape">
              <a:avLst/>
            </a:prstTxWarp>
            <a:noAutofit/>
          </a:bodyPr>
          <a:lstStyle/>
          <a:p>
            <a:pPr algn="ctr" defTabSz="1228949"/>
            <a:endParaRPr lang="en-US" dirty="0" err="1">
              <a:solidFill>
                <a:srgbClr val="FFFFFF"/>
              </a:solidFill>
              <a:latin typeface="Arial" panose="020B0604020202020204"/>
            </a:endParaRPr>
          </a:p>
        </p:txBody>
      </p:sp>
      <p:sp>
        <p:nvSpPr>
          <p:cNvPr id="37" name="Rectangle 36">
            <a:extLst>
              <a:ext uri="{FF2B5EF4-FFF2-40B4-BE49-F238E27FC236}">
                <a16:creationId xmlns:a16="http://schemas.microsoft.com/office/drawing/2014/main" id="{87B77E67-DF75-AB45-B0A4-99E81429841A}"/>
              </a:ext>
            </a:extLst>
          </p:cNvPr>
          <p:cNvSpPr/>
          <p:nvPr/>
        </p:nvSpPr>
        <p:spPr>
          <a:xfrm>
            <a:off x="5716603" y="2760594"/>
            <a:ext cx="305419" cy="334994"/>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9" tIns="45720" rIns="91439" bIns="45720" numCol="1" spcCol="0" rtlCol="0" fromWordArt="0" anchor="ctr" anchorCtr="0" forceAA="0" compatLnSpc="1">
            <a:prstTxWarp prst="textNoShape">
              <a:avLst/>
            </a:prstTxWarp>
            <a:noAutofit/>
          </a:bodyPr>
          <a:lstStyle/>
          <a:p>
            <a:pPr algn="ctr" defTabSz="1228949"/>
            <a:endParaRPr lang="en-US" dirty="0" err="1">
              <a:solidFill>
                <a:srgbClr val="FFFFFF"/>
              </a:solidFill>
              <a:latin typeface="Arial" panose="020B0604020202020204"/>
            </a:endParaRPr>
          </a:p>
        </p:txBody>
      </p:sp>
      <p:sp>
        <p:nvSpPr>
          <p:cNvPr id="38" name="TextBox 37">
            <a:extLst>
              <a:ext uri="{FF2B5EF4-FFF2-40B4-BE49-F238E27FC236}">
                <a16:creationId xmlns:a16="http://schemas.microsoft.com/office/drawing/2014/main" id="{FDA34174-1937-DB49-8609-1336FFD65235}"/>
              </a:ext>
            </a:extLst>
          </p:cNvPr>
          <p:cNvSpPr txBox="1"/>
          <p:nvPr/>
        </p:nvSpPr>
        <p:spPr>
          <a:xfrm>
            <a:off x="1829821" y="2185046"/>
            <a:ext cx="4506362" cy="464614"/>
          </a:xfrm>
          <a:prstGeom prst="rect">
            <a:avLst/>
          </a:prstGeom>
          <a:noFill/>
        </p:spPr>
        <p:txBody>
          <a:bodyPr wrap="none" rtlCol="0">
            <a:spAutoFit/>
          </a:bodyPr>
          <a:lstStyle/>
          <a:p>
            <a:pPr defTabSz="1228949"/>
            <a:r>
              <a:rPr lang="en-US" dirty="0">
                <a:solidFill>
                  <a:srgbClr val="55565A"/>
                </a:solidFill>
                <a:latin typeface="Arial" panose="020B0604020202020204"/>
              </a:rPr>
              <a:t>Embedding: 200 32-bit integers</a:t>
            </a:r>
          </a:p>
        </p:txBody>
      </p:sp>
      <p:cxnSp>
        <p:nvCxnSpPr>
          <p:cNvPr id="40" name="Straight Arrow Connector 39">
            <a:extLst>
              <a:ext uri="{FF2B5EF4-FFF2-40B4-BE49-F238E27FC236}">
                <a16:creationId xmlns:a16="http://schemas.microsoft.com/office/drawing/2014/main" id="{48BA773C-96EC-7542-85DB-74F438A79DDA}"/>
              </a:ext>
            </a:extLst>
          </p:cNvPr>
          <p:cNvCxnSpPr>
            <a:cxnSpLocks/>
            <a:stCxn id="8" idx="0"/>
          </p:cNvCxnSpPr>
          <p:nvPr/>
        </p:nvCxnSpPr>
        <p:spPr>
          <a:xfrm flipV="1">
            <a:off x="3946548" y="3246120"/>
            <a:ext cx="785359" cy="1202450"/>
          </a:xfrm>
          <a:prstGeom prst="straightConnector1">
            <a:avLst/>
          </a:prstGeom>
          <a:ln w="50800" cap="rnd">
            <a:solidFill>
              <a:srgbClr val="0070C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6336292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C93CA6-85AA-D945-909C-CB033513E493}"/>
              </a:ext>
            </a:extLst>
          </p:cNvPr>
          <p:cNvSpPr>
            <a:spLocks noGrp="1"/>
          </p:cNvSpPr>
          <p:nvPr>
            <p:ph type="title"/>
          </p:nvPr>
        </p:nvSpPr>
        <p:spPr/>
        <p:txBody>
          <a:bodyPr/>
          <a:lstStyle/>
          <a:p>
            <a:r>
              <a:rPr lang="en-US" sz="4800" dirty="0"/>
              <a:t>Graph Embedding</a:t>
            </a:r>
          </a:p>
        </p:txBody>
      </p:sp>
      <p:sp>
        <p:nvSpPr>
          <p:cNvPr id="3" name="Text Placeholder 2">
            <a:extLst>
              <a:ext uri="{FF2B5EF4-FFF2-40B4-BE49-F238E27FC236}">
                <a16:creationId xmlns:a16="http://schemas.microsoft.com/office/drawing/2014/main" id="{817746D1-0BC9-6046-8B2E-67479FA3F86B}"/>
              </a:ext>
            </a:extLst>
          </p:cNvPr>
          <p:cNvSpPr>
            <a:spLocks noGrp="1"/>
          </p:cNvSpPr>
          <p:nvPr>
            <p:ph type="body" idx="1"/>
          </p:nvPr>
        </p:nvSpPr>
        <p:spPr>
          <a:xfrm>
            <a:off x="1288752" y="7076323"/>
            <a:ext cx="12910510" cy="1858367"/>
          </a:xfrm>
        </p:spPr>
        <p:txBody>
          <a:bodyPr/>
          <a:lstStyle/>
          <a:p>
            <a:r>
              <a:rPr lang="en-US" sz="3600" dirty="0"/>
              <a:t>A data structure used to create fast similarity calculations</a:t>
            </a:r>
          </a:p>
          <a:p>
            <a:r>
              <a:rPr lang="en-US" sz="3600" dirty="0"/>
              <a:t>Usually stored as a fixed-length vector of scaler decimals</a:t>
            </a:r>
          </a:p>
          <a:p>
            <a:r>
              <a:rPr lang="en-US" sz="3600" dirty="0"/>
              <a:t>Optimized for fast parallel comparison</a:t>
            </a:r>
          </a:p>
        </p:txBody>
      </p:sp>
      <p:sp>
        <p:nvSpPr>
          <p:cNvPr id="4" name="Slide Number Placeholder 3">
            <a:extLst>
              <a:ext uri="{FF2B5EF4-FFF2-40B4-BE49-F238E27FC236}">
                <a16:creationId xmlns:a16="http://schemas.microsoft.com/office/drawing/2014/main" id="{65A4AE0D-52B9-B648-9D83-AD77B9A74AB7}"/>
              </a:ext>
            </a:extLst>
          </p:cNvPr>
          <p:cNvSpPr>
            <a:spLocks noGrp="1"/>
          </p:cNvSpPr>
          <p:nvPr>
            <p:ph type="sldNum" idx="12"/>
          </p:nvPr>
        </p:nvSpPr>
        <p:spPr/>
        <p:txBody>
          <a:bodyPr/>
          <a:lstStyle/>
          <a:p>
            <a:fld id="{00000000-1234-1234-1234-123412341234}" type="slidenum">
              <a:rPr lang="en" smtClean="0"/>
              <a:pPr/>
              <a:t>15</a:t>
            </a:fld>
            <a:endParaRPr lang="en"/>
          </a:p>
        </p:txBody>
      </p:sp>
      <p:grpSp>
        <p:nvGrpSpPr>
          <p:cNvPr id="36" name="Group 35">
            <a:extLst>
              <a:ext uri="{FF2B5EF4-FFF2-40B4-BE49-F238E27FC236}">
                <a16:creationId xmlns:a16="http://schemas.microsoft.com/office/drawing/2014/main" id="{58E3CFB3-111A-944A-9F31-9C664EBC0546}"/>
              </a:ext>
            </a:extLst>
          </p:cNvPr>
          <p:cNvGrpSpPr/>
          <p:nvPr/>
        </p:nvGrpSpPr>
        <p:grpSpPr>
          <a:xfrm>
            <a:off x="4781647" y="3303841"/>
            <a:ext cx="4982839" cy="3450718"/>
            <a:chOff x="3034490" y="3048053"/>
            <a:chExt cx="2982537" cy="1979517"/>
          </a:xfrm>
        </p:grpSpPr>
        <p:sp>
          <p:nvSpPr>
            <p:cNvPr id="5" name="Oval 4">
              <a:extLst>
                <a:ext uri="{FF2B5EF4-FFF2-40B4-BE49-F238E27FC236}">
                  <a16:creationId xmlns:a16="http://schemas.microsoft.com/office/drawing/2014/main" id="{F39D8149-BD30-0147-8ECC-E46E4B12D72F}"/>
                </a:ext>
              </a:extLst>
            </p:cNvPr>
            <p:cNvSpPr/>
            <p:nvPr/>
          </p:nvSpPr>
          <p:spPr bwMode="auto">
            <a:xfrm>
              <a:off x="4306317" y="3048053"/>
              <a:ext cx="388620" cy="291541"/>
            </a:xfrm>
            <a:prstGeom prst="ellipse">
              <a:avLst/>
            </a:prstGeom>
            <a:solidFill>
              <a:schemeClr val="accent2"/>
            </a:solidFill>
            <a:ln w="12700" cap="flat" cmpd="sng" algn="ctr">
              <a:solidFill>
                <a:schemeClr val="tx1"/>
              </a:solidFill>
              <a:prstDash val="solid"/>
              <a:round/>
              <a:headEnd type="none" w="med" len="med"/>
              <a:tailEnd type="none" w="med" len="med"/>
            </a:ln>
            <a:effectLst/>
          </p:spPr>
          <p:txBody>
            <a:bodyPr vert="horz" wrap="square" lIns="116616" tIns="58308" rIns="116616" bIns="58308" numCol="1" rtlCol="0" anchor="t" anchorCtr="0" compatLnSpc="1">
              <a:prstTxWarp prst="textNoShape">
                <a:avLst/>
              </a:prstTxWarp>
            </a:bodyPr>
            <a:lstStyle/>
            <a:p>
              <a:pPr algn="ctr" defTabSz="1166036" fontAlgn="base">
                <a:spcBef>
                  <a:spcPct val="0"/>
                </a:spcBef>
                <a:spcAft>
                  <a:spcPct val="0"/>
                </a:spcAft>
              </a:pPr>
              <a:endParaRPr lang="en-US" sz="3061" b="1">
                <a:latin typeface="Arial Narrow" charset="0"/>
              </a:endParaRPr>
            </a:p>
          </p:txBody>
        </p:sp>
        <p:sp>
          <p:nvSpPr>
            <p:cNvPr id="6" name="Oval 5">
              <a:extLst>
                <a:ext uri="{FF2B5EF4-FFF2-40B4-BE49-F238E27FC236}">
                  <a16:creationId xmlns:a16="http://schemas.microsoft.com/office/drawing/2014/main" id="{1A26DB8A-8939-174A-9929-22213BD067E2}"/>
                </a:ext>
              </a:extLst>
            </p:cNvPr>
            <p:cNvSpPr/>
            <p:nvPr/>
          </p:nvSpPr>
          <p:spPr bwMode="auto">
            <a:xfrm>
              <a:off x="3529077" y="3829661"/>
              <a:ext cx="388620" cy="291541"/>
            </a:xfrm>
            <a:prstGeom prst="ellipse">
              <a:avLst/>
            </a:prstGeom>
            <a:solidFill>
              <a:srgbClr val="92D050"/>
            </a:solidFill>
            <a:ln w="12700" cap="flat" cmpd="sng" algn="ctr">
              <a:solidFill>
                <a:schemeClr val="tx1"/>
              </a:solidFill>
              <a:prstDash val="solid"/>
              <a:round/>
              <a:headEnd type="none" w="med" len="med"/>
              <a:tailEnd type="none" w="med" len="med"/>
            </a:ln>
            <a:effectLst/>
          </p:spPr>
          <p:txBody>
            <a:bodyPr vert="horz" wrap="square" lIns="116616" tIns="58308" rIns="116616" bIns="58308" numCol="1" rtlCol="0" anchor="t" anchorCtr="0" compatLnSpc="1">
              <a:prstTxWarp prst="textNoShape">
                <a:avLst/>
              </a:prstTxWarp>
            </a:bodyPr>
            <a:lstStyle/>
            <a:p>
              <a:pPr algn="ctr" defTabSz="1166036" fontAlgn="base">
                <a:spcBef>
                  <a:spcPct val="0"/>
                </a:spcBef>
                <a:spcAft>
                  <a:spcPct val="0"/>
                </a:spcAft>
              </a:pPr>
              <a:endParaRPr lang="en-US" sz="3061" b="1">
                <a:latin typeface="Arial Narrow" charset="0"/>
              </a:endParaRPr>
            </a:p>
          </p:txBody>
        </p:sp>
        <p:sp>
          <p:nvSpPr>
            <p:cNvPr id="7" name="Oval 6">
              <a:extLst>
                <a:ext uri="{FF2B5EF4-FFF2-40B4-BE49-F238E27FC236}">
                  <a16:creationId xmlns:a16="http://schemas.microsoft.com/office/drawing/2014/main" id="{EA865609-CB30-F54B-8EB8-A0A9D9DF15FE}"/>
                </a:ext>
              </a:extLst>
            </p:cNvPr>
            <p:cNvSpPr/>
            <p:nvPr/>
          </p:nvSpPr>
          <p:spPr bwMode="auto">
            <a:xfrm>
              <a:off x="4549315" y="3908903"/>
              <a:ext cx="388620" cy="291541"/>
            </a:xfrm>
            <a:prstGeom prst="ellipse">
              <a:avLst/>
            </a:prstGeom>
            <a:solidFill>
              <a:srgbClr val="7030A0"/>
            </a:solidFill>
            <a:ln w="12700" cap="flat" cmpd="sng" algn="ctr">
              <a:solidFill>
                <a:schemeClr val="tx1"/>
              </a:solidFill>
              <a:prstDash val="solid"/>
              <a:round/>
              <a:headEnd type="none" w="med" len="med"/>
              <a:tailEnd type="none" w="med" len="med"/>
            </a:ln>
            <a:effectLst/>
          </p:spPr>
          <p:txBody>
            <a:bodyPr vert="horz" wrap="square" lIns="116616" tIns="58308" rIns="116616" bIns="58308" numCol="1" rtlCol="0" anchor="t" anchorCtr="0" compatLnSpc="1">
              <a:prstTxWarp prst="textNoShape">
                <a:avLst/>
              </a:prstTxWarp>
            </a:bodyPr>
            <a:lstStyle/>
            <a:p>
              <a:pPr algn="ctr" defTabSz="1166036" fontAlgn="base">
                <a:spcBef>
                  <a:spcPct val="0"/>
                </a:spcBef>
                <a:spcAft>
                  <a:spcPct val="0"/>
                </a:spcAft>
              </a:pPr>
              <a:endParaRPr lang="en-US" sz="3061" b="1">
                <a:latin typeface="Arial Narrow" charset="0"/>
              </a:endParaRPr>
            </a:p>
          </p:txBody>
        </p:sp>
        <p:sp>
          <p:nvSpPr>
            <p:cNvPr id="8" name="Oval 7">
              <a:extLst>
                <a:ext uri="{FF2B5EF4-FFF2-40B4-BE49-F238E27FC236}">
                  <a16:creationId xmlns:a16="http://schemas.microsoft.com/office/drawing/2014/main" id="{F2D15E0B-EA26-6D4A-8203-8C6464D3164C}"/>
                </a:ext>
              </a:extLst>
            </p:cNvPr>
            <p:cNvSpPr/>
            <p:nvPr/>
          </p:nvSpPr>
          <p:spPr bwMode="auto">
            <a:xfrm>
              <a:off x="5598567" y="3274968"/>
              <a:ext cx="388620" cy="291541"/>
            </a:xfrm>
            <a:prstGeom prst="ellipse">
              <a:avLst/>
            </a:prstGeom>
            <a:solidFill>
              <a:srgbClr val="996633"/>
            </a:solidFill>
            <a:ln w="12700" cap="flat" cmpd="sng" algn="ctr">
              <a:solidFill>
                <a:schemeClr val="tx1"/>
              </a:solidFill>
              <a:prstDash val="solid"/>
              <a:round/>
              <a:headEnd type="none" w="med" len="med"/>
              <a:tailEnd type="none" w="med" len="med"/>
            </a:ln>
            <a:effectLst/>
          </p:spPr>
          <p:txBody>
            <a:bodyPr vert="horz" wrap="square" lIns="116616" tIns="58308" rIns="116616" bIns="58308" numCol="1" rtlCol="0" anchor="t" anchorCtr="0" compatLnSpc="1">
              <a:prstTxWarp prst="textNoShape">
                <a:avLst/>
              </a:prstTxWarp>
            </a:bodyPr>
            <a:lstStyle/>
            <a:p>
              <a:pPr algn="ctr" defTabSz="1166036" fontAlgn="base">
                <a:spcBef>
                  <a:spcPct val="0"/>
                </a:spcBef>
                <a:spcAft>
                  <a:spcPct val="0"/>
                </a:spcAft>
              </a:pPr>
              <a:endParaRPr lang="en-US" sz="3061" b="1">
                <a:latin typeface="Arial Narrow" charset="0"/>
              </a:endParaRPr>
            </a:p>
          </p:txBody>
        </p:sp>
        <p:sp>
          <p:nvSpPr>
            <p:cNvPr id="9" name="Oval 8">
              <a:extLst>
                <a:ext uri="{FF2B5EF4-FFF2-40B4-BE49-F238E27FC236}">
                  <a16:creationId xmlns:a16="http://schemas.microsoft.com/office/drawing/2014/main" id="{4F273CEE-A2CF-3241-9BA0-2B0612080E49}"/>
                </a:ext>
              </a:extLst>
            </p:cNvPr>
            <p:cNvSpPr/>
            <p:nvPr/>
          </p:nvSpPr>
          <p:spPr bwMode="auto">
            <a:xfrm>
              <a:off x="3034490" y="3733668"/>
              <a:ext cx="388620" cy="291541"/>
            </a:xfrm>
            <a:prstGeom prst="ellipse">
              <a:avLst/>
            </a:prstGeom>
            <a:solidFill>
              <a:srgbClr val="FFFF00"/>
            </a:solidFill>
            <a:ln w="12700" cap="flat" cmpd="sng" algn="ctr">
              <a:solidFill>
                <a:schemeClr val="tx1"/>
              </a:solidFill>
              <a:prstDash val="solid"/>
              <a:round/>
              <a:headEnd type="none" w="med" len="med"/>
              <a:tailEnd type="none" w="med" len="med"/>
            </a:ln>
            <a:effectLst/>
          </p:spPr>
          <p:txBody>
            <a:bodyPr vert="horz" wrap="square" lIns="116616" tIns="58308" rIns="116616" bIns="58308" numCol="1" rtlCol="0" anchor="t" anchorCtr="0" compatLnSpc="1">
              <a:prstTxWarp prst="textNoShape">
                <a:avLst/>
              </a:prstTxWarp>
            </a:bodyPr>
            <a:lstStyle/>
            <a:p>
              <a:pPr algn="ctr" defTabSz="1166036" fontAlgn="base">
                <a:spcBef>
                  <a:spcPct val="0"/>
                </a:spcBef>
                <a:spcAft>
                  <a:spcPct val="0"/>
                </a:spcAft>
              </a:pPr>
              <a:endParaRPr lang="en-US" sz="3061" b="1">
                <a:latin typeface="Arial Narrow" charset="0"/>
              </a:endParaRPr>
            </a:p>
          </p:txBody>
        </p:sp>
        <p:sp>
          <p:nvSpPr>
            <p:cNvPr id="10" name="Oval 9">
              <a:extLst>
                <a:ext uri="{FF2B5EF4-FFF2-40B4-BE49-F238E27FC236}">
                  <a16:creationId xmlns:a16="http://schemas.microsoft.com/office/drawing/2014/main" id="{252D3491-2D4F-DA4A-AC65-B651682B1202}"/>
                </a:ext>
              </a:extLst>
            </p:cNvPr>
            <p:cNvSpPr/>
            <p:nvPr/>
          </p:nvSpPr>
          <p:spPr bwMode="auto">
            <a:xfrm>
              <a:off x="3034490" y="4178942"/>
              <a:ext cx="388620" cy="291541"/>
            </a:xfrm>
            <a:prstGeom prst="ellipse">
              <a:avLst/>
            </a:prstGeom>
            <a:solidFill>
              <a:srgbClr val="92D050"/>
            </a:solidFill>
            <a:ln w="12700" cap="flat" cmpd="sng" algn="ctr">
              <a:solidFill>
                <a:schemeClr val="tx1"/>
              </a:solidFill>
              <a:prstDash val="solid"/>
              <a:round/>
              <a:headEnd type="none" w="med" len="med"/>
              <a:tailEnd type="none" w="med" len="med"/>
            </a:ln>
            <a:effectLst/>
          </p:spPr>
          <p:txBody>
            <a:bodyPr vert="horz" wrap="square" lIns="116616" tIns="58308" rIns="116616" bIns="58308" numCol="1" rtlCol="0" anchor="t" anchorCtr="0" compatLnSpc="1">
              <a:prstTxWarp prst="textNoShape">
                <a:avLst/>
              </a:prstTxWarp>
            </a:bodyPr>
            <a:lstStyle/>
            <a:p>
              <a:pPr algn="ctr" defTabSz="1166036" fontAlgn="base">
                <a:spcBef>
                  <a:spcPct val="0"/>
                </a:spcBef>
                <a:spcAft>
                  <a:spcPct val="0"/>
                </a:spcAft>
              </a:pPr>
              <a:endParaRPr lang="en-US" sz="3061" b="1">
                <a:latin typeface="Arial Narrow" charset="0"/>
              </a:endParaRPr>
            </a:p>
          </p:txBody>
        </p:sp>
        <p:sp>
          <p:nvSpPr>
            <p:cNvPr id="11" name="Oval 10">
              <a:extLst>
                <a:ext uri="{FF2B5EF4-FFF2-40B4-BE49-F238E27FC236}">
                  <a16:creationId xmlns:a16="http://schemas.microsoft.com/office/drawing/2014/main" id="{CD514634-027C-1B40-84EC-82EE0DF853B8}"/>
                </a:ext>
              </a:extLst>
            </p:cNvPr>
            <p:cNvSpPr/>
            <p:nvPr/>
          </p:nvSpPr>
          <p:spPr bwMode="auto">
            <a:xfrm>
              <a:off x="4017196" y="3915304"/>
              <a:ext cx="388620" cy="291541"/>
            </a:xfrm>
            <a:prstGeom prst="ellipse">
              <a:avLst/>
            </a:prstGeom>
            <a:solidFill>
              <a:srgbClr val="0070C0"/>
            </a:solidFill>
            <a:ln w="12700" cap="flat" cmpd="sng" algn="ctr">
              <a:solidFill>
                <a:schemeClr val="tx1"/>
              </a:solidFill>
              <a:prstDash val="solid"/>
              <a:round/>
              <a:headEnd type="none" w="med" len="med"/>
              <a:tailEnd type="none" w="med" len="med"/>
            </a:ln>
            <a:effectLst/>
          </p:spPr>
          <p:txBody>
            <a:bodyPr vert="horz" wrap="square" lIns="116616" tIns="58308" rIns="116616" bIns="58308" numCol="1" rtlCol="0" anchor="t" anchorCtr="0" compatLnSpc="1">
              <a:prstTxWarp prst="textNoShape">
                <a:avLst/>
              </a:prstTxWarp>
            </a:bodyPr>
            <a:lstStyle/>
            <a:p>
              <a:pPr algn="ctr" defTabSz="1166036" fontAlgn="base">
                <a:spcBef>
                  <a:spcPct val="0"/>
                </a:spcBef>
                <a:spcAft>
                  <a:spcPct val="0"/>
                </a:spcAft>
              </a:pPr>
              <a:endParaRPr lang="en-US" sz="3061" b="1">
                <a:latin typeface="Arial Narrow" charset="0"/>
              </a:endParaRPr>
            </a:p>
          </p:txBody>
        </p:sp>
        <p:sp>
          <p:nvSpPr>
            <p:cNvPr id="12" name="Oval 11">
              <a:extLst>
                <a:ext uri="{FF2B5EF4-FFF2-40B4-BE49-F238E27FC236}">
                  <a16:creationId xmlns:a16="http://schemas.microsoft.com/office/drawing/2014/main" id="{596EAE2D-719B-384F-A1D1-337C9B78F5D0}"/>
                </a:ext>
              </a:extLst>
            </p:cNvPr>
            <p:cNvSpPr/>
            <p:nvPr/>
          </p:nvSpPr>
          <p:spPr bwMode="auto">
            <a:xfrm>
              <a:off x="3156172" y="3306605"/>
              <a:ext cx="388620" cy="291541"/>
            </a:xfrm>
            <a:prstGeom prst="ellipse">
              <a:avLst/>
            </a:prstGeom>
            <a:solidFill>
              <a:schemeClr val="accent4"/>
            </a:solidFill>
            <a:ln w="12700" cap="flat" cmpd="sng" algn="ctr">
              <a:solidFill>
                <a:schemeClr val="tx1"/>
              </a:solidFill>
              <a:prstDash val="solid"/>
              <a:round/>
              <a:headEnd type="none" w="med" len="med"/>
              <a:tailEnd type="none" w="med" len="med"/>
            </a:ln>
            <a:effectLst/>
          </p:spPr>
          <p:txBody>
            <a:bodyPr vert="horz" wrap="square" lIns="116616" tIns="58308" rIns="116616" bIns="58308" numCol="1" rtlCol="0" anchor="t" anchorCtr="0" compatLnSpc="1">
              <a:prstTxWarp prst="textNoShape">
                <a:avLst/>
              </a:prstTxWarp>
            </a:bodyPr>
            <a:lstStyle/>
            <a:p>
              <a:pPr algn="ctr" defTabSz="1166036" fontAlgn="base">
                <a:spcBef>
                  <a:spcPct val="0"/>
                </a:spcBef>
                <a:spcAft>
                  <a:spcPct val="0"/>
                </a:spcAft>
              </a:pPr>
              <a:endParaRPr lang="en-US" sz="3061" b="1">
                <a:latin typeface="Arial Narrow" charset="0"/>
              </a:endParaRPr>
            </a:p>
          </p:txBody>
        </p:sp>
        <p:sp>
          <p:nvSpPr>
            <p:cNvPr id="13" name="Oval 12">
              <a:extLst>
                <a:ext uri="{FF2B5EF4-FFF2-40B4-BE49-F238E27FC236}">
                  <a16:creationId xmlns:a16="http://schemas.microsoft.com/office/drawing/2014/main" id="{25F25C8D-A3D8-0842-9970-B0B93A039250}"/>
                </a:ext>
              </a:extLst>
            </p:cNvPr>
            <p:cNvSpPr/>
            <p:nvPr/>
          </p:nvSpPr>
          <p:spPr bwMode="auto">
            <a:xfrm>
              <a:off x="5096997" y="3840972"/>
              <a:ext cx="388620" cy="291541"/>
            </a:xfrm>
            <a:prstGeom prst="ellipse">
              <a:avLst/>
            </a:prstGeom>
            <a:solidFill>
              <a:schemeClr val="accent1">
                <a:lumMod val="60000"/>
                <a:lumOff val="40000"/>
              </a:schemeClr>
            </a:solidFill>
            <a:ln w="12700" cap="flat" cmpd="sng" algn="ctr">
              <a:solidFill>
                <a:schemeClr val="tx1"/>
              </a:solidFill>
              <a:prstDash val="solid"/>
              <a:round/>
              <a:headEnd type="none" w="med" len="med"/>
              <a:tailEnd type="none" w="med" len="med"/>
            </a:ln>
            <a:effectLst/>
          </p:spPr>
          <p:txBody>
            <a:bodyPr vert="horz" wrap="square" lIns="116616" tIns="58308" rIns="116616" bIns="58308" numCol="1" rtlCol="0" anchor="t" anchorCtr="0" compatLnSpc="1">
              <a:prstTxWarp prst="textNoShape">
                <a:avLst/>
              </a:prstTxWarp>
            </a:bodyPr>
            <a:lstStyle/>
            <a:p>
              <a:pPr algn="ctr" defTabSz="1166036" fontAlgn="base">
                <a:spcBef>
                  <a:spcPct val="0"/>
                </a:spcBef>
                <a:spcAft>
                  <a:spcPct val="0"/>
                </a:spcAft>
              </a:pPr>
              <a:endParaRPr lang="en-US" sz="3061" b="1">
                <a:latin typeface="Arial Narrow" charset="0"/>
              </a:endParaRPr>
            </a:p>
          </p:txBody>
        </p:sp>
        <p:cxnSp>
          <p:nvCxnSpPr>
            <p:cNvPr id="14" name="Straight Arrow Connector 13">
              <a:extLst>
                <a:ext uri="{FF2B5EF4-FFF2-40B4-BE49-F238E27FC236}">
                  <a16:creationId xmlns:a16="http://schemas.microsoft.com/office/drawing/2014/main" id="{28F78380-D727-FB47-AB3F-E21D73ED5C18}"/>
                </a:ext>
              </a:extLst>
            </p:cNvPr>
            <p:cNvCxnSpPr>
              <a:cxnSpLocks/>
              <a:stCxn id="12" idx="6"/>
              <a:endCxn id="5" idx="2"/>
            </p:cNvCxnSpPr>
            <p:nvPr/>
          </p:nvCxnSpPr>
          <p:spPr>
            <a:xfrm flipV="1">
              <a:off x="3544792" y="3193824"/>
              <a:ext cx="761525" cy="258552"/>
            </a:xfrm>
            <a:prstGeom prst="straightConnector1">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5" name="Straight Arrow Connector 14">
              <a:extLst>
                <a:ext uri="{FF2B5EF4-FFF2-40B4-BE49-F238E27FC236}">
                  <a16:creationId xmlns:a16="http://schemas.microsoft.com/office/drawing/2014/main" id="{DF943F07-4073-FC43-9C4E-C9A6AB489CFA}"/>
                </a:ext>
              </a:extLst>
            </p:cNvPr>
            <p:cNvCxnSpPr>
              <a:cxnSpLocks/>
              <a:stCxn id="5" idx="6"/>
              <a:endCxn id="8" idx="2"/>
            </p:cNvCxnSpPr>
            <p:nvPr/>
          </p:nvCxnSpPr>
          <p:spPr>
            <a:xfrm>
              <a:off x="4694937" y="3193824"/>
              <a:ext cx="903630" cy="226915"/>
            </a:xfrm>
            <a:prstGeom prst="straightConnector1">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6" name="Straight Arrow Connector 15">
              <a:extLst>
                <a:ext uri="{FF2B5EF4-FFF2-40B4-BE49-F238E27FC236}">
                  <a16:creationId xmlns:a16="http://schemas.microsoft.com/office/drawing/2014/main" id="{17936F7F-2247-7945-988E-746B74A51256}"/>
                </a:ext>
              </a:extLst>
            </p:cNvPr>
            <p:cNvCxnSpPr>
              <a:cxnSpLocks/>
              <a:stCxn id="5" idx="3"/>
              <a:endCxn id="9" idx="7"/>
            </p:cNvCxnSpPr>
            <p:nvPr/>
          </p:nvCxnSpPr>
          <p:spPr>
            <a:xfrm flipH="1">
              <a:off x="3366198" y="3296899"/>
              <a:ext cx="997031" cy="479464"/>
            </a:xfrm>
            <a:prstGeom prst="straightConnector1">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7" name="Straight Arrow Connector 16">
              <a:extLst>
                <a:ext uri="{FF2B5EF4-FFF2-40B4-BE49-F238E27FC236}">
                  <a16:creationId xmlns:a16="http://schemas.microsoft.com/office/drawing/2014/main" id="{D2D38783-31C1-A347-9702-EB075DE6773B}"/>
                </a:ext>
              </a:extLst>
            </p:cNvPr>
            <p:cNvCxnSpPr>
              <a:cxnSpLocks/>
              <a:stCxn id="5" idx="5"/>
              <a:endCxn id="13" idx="1"/>
            </p:cNvCxnSpPr>
            <p:nvPr/>
          </p:nvCxnSpPr>
          <p:spPr>
            <a:xfrm>
              <a:off x="4638025" y="3296899"/>
              <a:ext cx="515884" cy="586768"/>
            </a:xfrm>
            <a:prstGeom prst="straightConnector1">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8" name="Straight Arrow Connector 17">
              <a:extLst>
                <a:ext uri="{FF2B5EF4-FFF2-40B4-BE49-F238E27FC236}">
                  <a16:creationId xmlns:a16="http://schemas.microsoft.com/office/drawing/2014/main" id="{408CACC0-05FD-1A42-9B38-6EBAACFDAFFA}"/>
                </a:ext>
              </a:extLst>
            </p:cNvPr>
            <p:cNvCxnSpPr>
              <a:cxnSpLocks/>
              <a:stCxn id="11" idx="0"/>
              <a:endCxn id="5" idx="4"/>
            </p:cNvCxnSpPr>
            <p:nvPr/>
          </p:nvCxnSpPr>
          <p:spPr>
            <a:xfrm flipV="1">
              <a:off x="4211506" y="3339594"/>
              <a:ext cx="289121" cy="575710"/>
            </a:xfrm>
            <a:prstGeom prst="straightConnector1">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9" name="Straight Arrow Connector 18">
              <a:extLst>
                <a:ext uri="{FF2B5EF4-FFF2-40B4-BE49-F238E27FC236}">
                  <a16:creationId xmlns:a16="http://schemas.microsoft.com/office/drawing/2014/main" id="{762F46BF-809A-C549-A317-74B052B164CF}"/>
                </a:ext>
              </a:extLst>
            </p:cNvPr>
            <p:cNvCxnSpPr>
              <a:cxnSpLocks/>
              <a:stCxn id="5" idx="3"/>
              <a:endCxn id="6" idx="7"/>
            </p:cNvCxnSpPr>
            <p:nvPr/>
          </p:nvCxnSpPr>
          <p:spPr>
            <a:xfrm flipH="1">
              <a:off x="3860785" y="3296899"/>
              <a:ext cx="502444" cy="575457"/>
            </a:xfrm>
            <a:prstGeom prst="straightConnector1">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0" name="Straight Arrow Connector 19">
              <a:extLst>
                <a:ext uri="{FF2B5EF4-FFF2-40B4-BE49-F238E27FC236}">
                  <a16:creationId xmlns:a16="http://schemas.microsoft.com/office/drawing/2014/main" id="{A076FADF-E78D-1F46-AEBC-2456B34D8B8C}"/>
                </a:ext>
              </a:extLst>
            </p:cNvPr>
            <p:cNvCxnSpPr>
              <a:cxnSpLocks/>
              <a:stCxn id="6" idx="4"/>
              <a:endCxn id="10" idx="7"/>
            </p:cNvCxnSpPr>
            <p:nvPr/>
          </p:nvCxnSpPr>
          <p:spPr>
            <a:xfrm flipH="1">
              <a:off x="3366198" y="4121202"/>
              <a:ext cx="357189" cy="100435"/>
            </a:xfrm>
            <a:prstGeom prst="straightConnector1">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1" name="Straight Arrow Connector 20">
              <a:extLst>
                <a:ext uri="{FF2B5EF4-FFF2-40B4-BE49-F238E27FC236}">
                  <a16:creationId xmlns:a16="http://schemas.microsoft.com/office/drawing/2014/main" id="{6186E61A-59C4-D540-919B-F6A98F4C1605}"/>
                </a:ext>
              </a:extLst>
            </p:cNvPr>
            <p:cNvCxnSpPr>
              <a:cxnSpLocks/>
              <a:stCxn id="7" idx="0"/>
              <a:endCxn id="5" idx="4"/>
            </p:cNvCxnSpPr>
            <p:nvPr/>
          </p:nvCxnSpPr>
          <p:spPr>
            <a:xfrm flipH="1" flipV="1">
              <a:off x="4500627" y="3339594"/>
              <a:ext cx="242998" cy="569309"/>
            </a:xfrm>
            <a:prstGeom prst="straightConnector1">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2" name="Oval 21">
              <a:extLst>
                <a:ext uri="{FF2B5EF4-FFF2-40B4-BE49-F238E27FC236}">
                  <a16:creationId xmlns:a16="http://schemas.microsoft.com/office/drawing/2014/main" id="{4104CB60-C110-604C-ABA7-5AD7C33BAB1C}"/>
                </a:ext>
              </a:extLst>
            </p:cNvPr>
            <p:cNvSpPr/>
            <p:nvPr/>
          </p:nvSpPr>
          <p:spPr bwMode="auto">
            <a:xfrm>
              <a:off x="4677356" y="4727472"/>
              <a:ext cx="388620" cy="291541"/>
            </a:xfrm>
            <a:prstGeom prst="ellipse">
              <a:avLst/>
            </a:prstGeom>
            <a:solidFill>
              <a:srgbClr val="7030A0"/>
            </a:solidFill>
            <a:ln w="12700" cap="flat" cmpd="sng" algn="ctr">
              <a:solidFill>
                <a:schemeClr val="tx1"/>
              </a:solidFill>
              <a:prstDash val="solid"/>
              <a:round/>
              <a:headEnd type="none" w="med" len="med"/>
              <a:tailEnd type="none" w="med" len="med"/>
            </a:ln>
            <a:effectLst/>
          </p:spPr>
          <p:txBody>
            <a:bodyPr vert="horz" wrap="square" lIns="116616" tIns="58308" rIns="116616" bIns="58308" numCol="1" rtlCol="0" anchor="t" anchorCtr="0" compatLnSpc="1">
              <a:prstTxWarp prst="textNoShape">
                <a:avLst/>
              </a:prstTxWarp>
            </a:bodyPr>
            <a:lstStyle/>
            <a:p>
              <a:pPr algn="ctr" defTabSz="1166036" fontAlgn="base">
                <a:spcBef>
                  <a:spcPct val="0"/>
                </a:spcBef>
                <a:spcAft>
                  <a:spcPct val="0"/>
                </a:spcAft>
              </a:pPr>
              <a:endParaRPr lang="en-US" sz="3061" b="1">
                <a:latin typeface="Arial Narrow" charset="0"/>
              </a:endParaRPr>
            </a:p>
          </p:txBody>
        </p:sp>
        <p:cxnSp>
          <p:nvCxnSpPr>
            <p:cNvPr id="23" name="Straight Arrow Connector 22">
              <a:extLst>
                <a:ext uri="{FF2B5EF4-FFF2-40B4-BE49-F238E27FC236}">
                  <a16:creationId xmlns:a16="http://schemas.microsoft.com/office/drawing/2014/main" id="{21FF37EB-B9C1-244F-80B5-F4A79DB094D7}"/>
                </a:ext>
              </a:extLst>
            </p:cNvPr>
            <p:cNvCxnSpPr>
              <a:cxnSpLocks/>
              <a:stCxn id="22" idx="0"/>
              <a:endCxn id="7" idx="4"/>
            </p:cNvCxnSpPr>
            <p:nvPr/>
          </p:nvCxnSpPr>
          <p:spPr>
            <a:xfrm flipH="1" flipV="1">
              <a:off x="4743625" y="4200444"/>
              <a:ext cx="128041" cy="527028"/>
            </a:xfrm>
            <a:prstGeom prst="straightConnector1">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4" name="Oval 23">
              <a:extLst>
                <a:ext uri="{FF2B5EF4-FFF2-40B4-BE49-F238E27FC236}">
                  <a16:creationId xmlns:a16="http://schemas.microsoft.com/office/drawing/2014/main" id="{E57EAEA6-2343-0A46-94CB-18F5E7BF73C4}"/>
                </a:ext>
              </a:extLst>
            </p:cNvPr>
            <p:cNvSpPr/>
            <p:nvPr/>
          </p:nvSpPr>
          <p:spPr bwMode="auto">
            <a:xfrm>
              <a:off x="3341835" y="4534370"/>
              <a:ext cx="388620" cy="291541"/>
            </a:xfrm>
            <a:prstGeom prst="ellipse">
              <a:avLst/>
            </a:prstGeom>
            <a:solidFill>
              <a:srgbClr val="92D050"/>
            </a:solidFill>
            <a:ln w="12700" cap="flat" cmpd="sng" algn="ctr">
              <a:solidFill>
                <a:schemeClr val="tx1"/>
              </a:solidFill>
              <a:prstDash val="solid"/>
              <a:round/>
              <a:headEnd type="none" w="med" len="med"/>
              <a:tailEnd type="none" w="med" len="med"/>
            </a:ln>
            <a:effectLst/>
          </p:spPr>
          <p:txBody>
            <a:bodyPr vert="horz" wrap="square" lIns="116616" tIns="58308" rIns="116616" bIns="58308" numCol="1" rtlCol="0" anchor="t" anchorCtr="0" compatLnSpc="1">
              <a:prstTxWarp prst="textNoShape">
                <a:avLst/>
              </a:prstTxWarp>
            </a:bodyPr>
            <a:lstStyle/>
            <a:p>
              <a:pPr algn="ctr" defTabSz="1166036" fontAlgn="base">
                <a:spcBef>
                  <a:spcPct val="0"/>
                </a:spcBef>
                <a:spcAft>
                  <a:spcPct val="0"/>
                </a:spcAft>
              </a:pPr>
              <a:endParaRPr lang="en-US" sz="3061" b="1">
                <a:latin typeface="Arial Narrow" charset="0"/>
              </a:endParaRPr>
            </a:p>
          </p:txBody>
        </p:sp>
        <p:cxnSp>
          <p:nvCxnSpPr>
            <p:cNvPr id="25" name="Straight Arrow Connector 24">
              <a:extLst>
                <a:ext uri="{FF2B5EF4-FFF2-40B4-BE49-F238E27FC236}">
                  <a16:creationId xmlns:a16="http://schemas.microsoft.com/office/drawing/2014/main" id="{FCF43A7D-AF09-2A48-88E9-70F37E987B9F}"/>
                </a:ext>
              </a:extLst>
            </p:cNvPr>
            <p:cNvCxnSpPr>
              <a:cxnSpLocks/>
              <a:stCxn id="6" idx="4"/>
              <a:endCxn id="24" idx="0"/>
            </p:cNvCxnSpPr>
            <p:nvPr/>
          </p:nvCxnSpPr>
          <p:spPr>
            <a:xfrm flipH="1">
              <a:off x="3536145" y="4121202"/>
              <a:ext cx="187242" cy="413168"/>
            </a:xfrm>
            <a:prstGeom prst="straightConnector1">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6" name="Oval 25">
              <a:extLst>
                <a:ext uri="{FF2B5EF4-FFF2-40B4-BE49-F238E27FC236}">
                  <a16:creationId xmlns:a16="http://schemas.microsoft.com/office/drawing/2014/main" id="{1C620A93-F992-994A-B7E4-C9C39B177D1F}"/>
                </a:ext>
              </a:extLst>
            </p:cNvPr>
            <p:cNvSpPr/>
            <p:nvPr/>
          </p:nvSpPr>
          <p:spPr bwMode="auto">
            <a:xfrm>
              <a:off x="3789051" y="4348478"/>
              <a:ext cx="388620" cy="291541"/>
            </a:xfrm>
            <a:prstGeom prst="ellipse">
              <a:avLst/>
            </a:prstGeom>
            <a:solidFill>
              <a:srgbClr val="0070C0"/>
            </a:solidFill>
            <a:ln w="12700" cap="flat" cmpd="sng" algn="ctr">
              <a:solidFill>
                <a:schemeClr val="tx1"/>
              </a:solidFill>
              <a:prstDash val="solid"/>
              <a:round/>
              <a:headEnd type="none" w="med" len="med"/>
              <a:tailEnd type="none" w="med" len="med"/>
            </a:ln>
            <a:effectLst/>
          </p:spPr>
          <p:txBody>
            <a:bodyPr vert="horz" wrap="square" lIns="116616" tIns="58308" rIns="116616" bIns="58308" numCol="1" rtlCol="0" anchor="t" anchorCtr="0" compatLnSpc="1">
              <a:prstTxWarp prst="textNoShape">
                <a:avLst/>
              </a:prstTxWarp>
            </a:bodyPr>
            <a:lstStyle/>
            <a:p>
              <a:pPr algn="ctr" defTabSz="1166036" fontAlgn="base">
                <a:spcBef>
                  <a:spcPct val="0"/>
                </a:spcBef>
                <a:spcAft>
                  <a:spcPct val="0"/>
                </a:spcAft>
              </a:pPr>
              <a:endParaRPr lang="en-US" sz="3061" b="1">
                <a:latin typeface="Arial Narrow" charset="0"/>
              </a:endParaRPr>
            </a:p>
          </p:txBody>
        </p:sp>
        <p:cxnSp>
          <p:nvCxnSpPr>
            <p:cNvPr id="27" name="Straight Arrow Connector 26">
              <a:extLst>
                <a:ext uri="{FF2B5EF4-FFF2-40B4-BE49-F238E27FC236}">
                  <a16:creationId xmlns:a16="http://schemas.microsoft.com/office/drawing/2014/main" id="{F9C2EBD8-4984-0349-AA8C-167A168EB69E}"/>
                </a:ext>
              </a:extLst>
            </p:cNvPr>
            <p:cNvCxnSpPr>
              <a:cxnSpLocks/>
              <a:stCxn id="26" idx="0"/>
              <a:endCxn id="11" idx="4"/>
            </p:cNvCxnSpPr>
            <p:nvPr/>
          </p:nvCxnSpPr>
          <p:spPr>
            <a:xfrm flipV="1">
              <a:off x="3983361" y="4206845"/>
              <a:ext cx="228145" cy="141633"/>
            </a:xfrm>
            <a:prstGeom prst="straightConnector1">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8" name="Oval 27">
              <a:extLst>
                <a:ext uri="{FF2B5EF4-FFF2-40B4-BE49-F238E27FC236}">
                  <a16:creationId xmlns:a16="http://schemas.microsoft.com/office/drawing/2014/main" id="{C4BFBDE3-CD48-934F-BF09-52F4A74F3114}"/>
                </a:ext>
              </a:extLst>
            </p:cNvPr>
            <p:cNvSpPr/>
            <p:nvPr/>
          </p:nvSpPr>
          <p:spPr bwMode="auto">
            <a:xfrm>
              <a:off x="4099075" y="4736029"/>
              <a:ext cx="388620" cy="291541"/>
            </a:xfrm>
            <a:prstGeom prst="ellipse">
              <a:avLst/>
            </a:prstGeom>
            <a:solidFill>
              <a:srgbClr val="0070C0"/>
            </a:solidFill>
            <a:ln w="12700" cap="flat" cmpd="sng" algn="ctr">
              <a:solidFill>
                <a:schemeClr val="tx1"/>
              </a:solidFill>
              <a:prstDash val="solid"/>
              <a:round/>
              <a:headEnd type="none" w="med" len="med"/>
              <a:tailEnd type="none" w="med" len="med"/>
            </a:ln>
            <a:effectLst/>
          </p:spPr>
          <p:txBody>
            <a:bodyPr vert="horz" wrap="square" lIns="116616" tIns="58308" rIns="116616" bIns="58308" numCol="1" rtlCol="0" anchor="t" anchorCtr="0" compatLnSpc="1">
              <a:prstTxWarp prst="textNoShape">
                <a:avLst/>
              </a:prstTxWarp>
            </a:bodyPr>
            <a:lstStyle/>
            <a:p>
              <a:pPr algn="ctr" defTabSz="1166036" fontAlgn="base">
                <a:spcBef>
                  <a:spcPct val="0"/>
                </a:spcBef>
                <a:spcAft>
                  <a:spcPct val="0"/>
                </a:spcAft>
              </a:pPr>
              <a:endParaRPr lang="en-US" sz="3061" b="1">
                <a:latin typeface="Arial Narrow" charset="0"/>
              </a:endParaRPr>
            </a:p>
          </p:txBody>
        </p:sp>
        <p:cxnSp>
          <p:nvCxnSpPr>
            <p:cNvPr id="29" name="Straight Arrow Connector 28">
              <a:extLst>
                <a:ext uri="{FF2B5EF4-FFF2-40B4-BE49-F238E27FC236}">
                  <a16:creationId xmlns:a16="http://schemas.microsoft.com/office/drawing/2014/main" id="{E894229C-C470-114F-B085-47B7F87F1518}"/>
                </a:ext>
              </a:extLst>
            </p:cNvPr>
            <p:cNvCxnSpPr>
              <a:cxnSpLocks/>
              <a:stCxn id="28" idx="0"/>
              <a:endCxn id="11" idx="4"/>
            </p:cNvCxnSpPr>
            <p:nvPr/>
          </p:nvCxnSpPr>
          <p:spPr>
            <a:xfrm flipH="1" flipV="1">
              <a:off x="4211506" y="4206845"/>
              <a:ext cx="81879" cy="529184"/>
            </a:xfrm>
            <a:prstGeom prst="straightConnector1">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0" name="Oval 29">
              <a:extLst>
                <a:ext uri="{FF2B5EF4-FFF2-40B4-BE49-F238E27FC236}">
                  <a16:creationId xmlns:a16="http://schemas.microsoft.com/office/drawing/2014/main" id="{72FC3026-80C8-4F4A-A78F-37A15A623F97}"/>
                </a:ext>
              </a:extLst>
            </p:cNvPr>
            <p:cNvSpPr/>
            <p:nvPr/>
          </p:nvSpPr>
          <p:spPr bwMode="auto">
            <a:xfrm>
              <a:off x="5617907" y="4301100"/>
              <a:ext cx="388620" cy="291541"/>
            </a:xfrm>
            <a:prstGeom prst="ellipse">
              <a:avLst/>
            </a:prstGeom>
            <a:solidFill>
              <a:schemeClr val="accent1">
                <a:lumMod val="60000"/>
                <a:lumOff val="40000"/>
              </a:schemeClr>
            </a:solidFill>
            <a:ln w="12700" cap="flat" cmpd="sng" algn="ctr">
              <a:solidFill>
                <a:schemeClr val="tx1"/>
              </a:solidFill>
              <a:prstDash val="solid"/>
              <a:round/>
              <a:headEnd type="none" w="med" len="med"/>
              <a:tailEnd type="none" w="med" len="med"/>
            </a:ln>
            <a:effectLst/>
          </p:spPr>
          <p:txBody>
            <a:bodyPr vert="horz" wrap="square" lIns="116616" tIns="58308" rIns="116616" bIns="58308" numCol="1" rtlCol="0" anchor="t" anchorCtr="0" compatLnSpc="1">
              <a:prstTxWarp prst="textNoShape">
                <a:avLst/>
              </a:prstTxWarp>
            </a:bodyPr>
            <a:lstStyle/>
            <a:p>
              <a:pPr algn="ctr" defTabSz="1166036" fontAlgn="base">
                <a:spcBef>
                  <a:spcPct val="0"/>
                </a:spcBef>
                <a:spcAft>
                  <a:spcPct val="0"/>
                </a:spcAft>
              </a:pPr>
              <a:endParaRPr lang="en-US" sz="3061" b="1">
                <a:latin typeface="Arial Narrow" charset="0"/>
              </a:endParaRPr>
            </a:p>
          </p:txBody>
        </p:sp>
        <p:sp>
          <p:nvSpPr>
            <p:cNvPr id="31" name="Oval 30">
              <a:extLst>
                <a:ext uri="{FF2B5EF4-FFF2-40B4-BE49-F238E27FC236}">
                  <a16:creationId xmlns:a16="http://schemas.microsoft.com/office/drawing/2014/main" id="{B03A83C5-7B87-4249-9B8A-3C67BDA0BE5F}"/>
                </a:ext>
              </a:extLst>
            </p:cNvPr>
            <p:cNvSpPr/>
            <p:nvPr/>
          </p:nvSpPr>
          <p:spPr bwMode="auto">
            <a:xfrm>
              <a:off x="5077863" y="4311487"/>
              <a:ext cx="388620" cy="291541"/>
            </a:xfrm>
            <a:prstGeom prst="ellipse">
              <a:avLst/>
            </a:prstGeom>
            <a:solidFill>
              <a:schemeClr val="accent1">
                <a:lumMod val="60000"/>
                <a:lumOff val="40000"/>
              </a:schemeClr>
            </a:solidFill>
            <a:ln w="12700" cap="flat" cmpd="sng" algn="ctr">
              <a:solidFill>
                <a:schemeClr val="tx1"/>
              </a:solidFill>
              <a:prstDash val="solid"/>
              <a:round/>
              <a:headEnd type="none" w="med" len="med"/>
              <a:tailEnd type="none" w="med" len="med"/>
            </a:ln>
            <a:effectLst/>
          </p:spPr>
          <p:txBody>
            <a:bodyPr vert="horz" wrap="square" lIns="116616" tIns="58308" rIns="116616" bIns="58308" numCol="1" rtlCol="0" anchor="t" anchorCtr="0" compatLnSpc="1">
              <a:prstTxWarp prst="textNoShape">
                <a:avLst/>
              </a:prstTxWarp>
            </a:bodyPr>
            <a:lstStyle/>
            <a:p>
              <a:pPr algn="ctr" defTabSz="1166036" fontAlgn="base">
                <a:spcBef>
                  <a:spcPct val="0"/>
                </a:spcBef>
                <a:spcAft>
                  <a:spcPct val="0"/>
                </a:spcAft>
              </a:pPr>
              <a:endParaRPr lang="en-US" sz="3061" b="1">
                <a:latin typeface="Arial Narrow" charset="0"/>
              </a:endParaRPr>
            </a:p>
          </p:txBody>
        </p:sp>
        <p:cxnSp>
          <p:nvCxnSpPr>
            <p:cNvPr id="32" name="Straight Arrow Connector 31">
              <a:extLst>
                <a:ext uri="{FF2B5EF4-FFF2-40B4-BE49-F238E27FC236}">
                  <a16:creationId xmlns:a16="http://schemas.microsoft.com/office/drawing/2014/main" id="{E69FFD6C-890F-7D43-B231-D9A56198EEFF}"/>
                </a:ext>
              </a:extLst>
            </p:cNvPr>
            <p:cNvCxnSpPr>
              <a:cxnSpLocks/>
              <a:stCxn id="13" idx="4"/>
              <a:endCxn id="30" idx="0"/>
            </p:cNvCxnSpPr>
            <p:nvPr/>
          </p:nvCxnSpPr>
          <p:spPr>
            <a:xfrm>
              <a:off x="5291307" y="4132513"/>
              <a:ext cx="520910" cy="168587"/>
            </a:xfrm>
            <a:prstGeom prst="straightConnector1">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3" name="Straight Arrow Connector 32">
              <a:extLst>
                <a:ext uri="{FF2B5EF4-FFF2-40B4-BE49-F238E27FC236}">
                  <a16:creationId xmlns:a16="http://schemas.microsoft.com/office/drawing/2014/main" id="{C81593A8-7DEC-334F-A6ED-F5D1333CDA58}"/>
                </a:ext>
              </a:extLst>
            </p:cNvPr>
            <p:cNvCxnSpPr>
              <a:cxnSpLocks/>
              <a:stCxn id="13" idx="4"/>
              <a:endCxn id="31" idx="0"/>
            </p:cNvCxnSpPr>
            <p:nvPr/>
          </p:nvCxnSpPr>
          <p:spPr>
            <a:xfrm flipH="1">
              <a:off x="5272173" y="4132513"/>
              <a:ext cx="19134" cy="178974"/>
            </a:xfrm>
            <a:prstGeom prst="straightConnector1">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4" name="Oval 33">
              <a:extLst>
                <a:ext uri="{FF2B5EF4-FFF2-40B4-BE49-F238E27FC236}">
                  <a16:creationId xmlns:a16="http://schemas.microsoft.com/office/drawing/2014/main" id="{D09F6D49-8F69-4E40-BA4E-1C4045380353}"/>
                </a:ext>
              </a:extLst>
            </p:cNvPr>
            <p:cNvSpPr/>
            <p:nvPr/>
          </p:nvSpPr>
          <p:spPr bwMode="auto">
            <a:xfrm>
              <a:off x="5628407" y="3741798"/>
              <a:ext cx="388620" cy="291541"/>
            </a:xfrm>
            <a:prstGeom prst="ellipse">
              <a:avLst/>
            </a:prstGeom>
            <a:solidFill>
              <a:schemeClr val="bg1">
                <a:lumMod val="65000"/>
              </a:schemeClr>
            </a:solidFill>
            <a:ln w="12700" cap="flat" cmpd="sng" algn="ctr">
              <a:solidFill>
                <a:schemeClr val="tx1"/>
              </a:solidFill>
              <a:prstDash val="solid"/>
              <a:round/>
              <a:headEnd type="none" w="med" len="med"/>
              <a:tailEnd type="none" w="med" len="med"/>
            </a:ln>
            <a:effectLst/>
          </p:spPr>
          <p:txBody>
            <a:bodyPr vert="horz" wrap="square" lIns="116616" tIns="58308" rIns="116616" bIns="58308" numCol="1" rtlCol="0" anchor="t" anchorCtr="0" compatLnSpc="1">
              <a:prstTxWarp prst="textNoShape">
                <a:avLst/>
              </a:prstTxWarp>
            </a:bodyPr>
            <a:lstStyle/>
            <a:p>
              <a:pPr algn="ctr" defTabSz="1166036" fontAlgn="base">
                <a:spcBef>
                  <a:spcPct val="0"/>
                </a:spcBef>
                <a:spcAft>
                  <a:spcPct val="0"/>
                </a:spcAft>
              </a:pPr>
              <a:endParaRPr lang="en-US" sz="3061" b="1">
                <a:latin typeface="Arial Narrow" charset="0"/>
              </a:endParaRPr>
            </a:p>
          </p:txBody>
        </p:sp>
        <p:cxnSp>
          <p:nvCxnSpPr>
            <p:cNvPr id="35" name="Straight Arrow Connector 34">
              <a:extLst>
                <a:ext uri="{FF2B5EF4-FFF2-40B4-BE49-F238E27FC236}">
                  <a16:creationId xmlns:a16="http://schemas.microsoft.com/office/drawing/2014/main" id="{B5268AE8-9FF2-D649-95CE-C5DFE4778EFF}"/>
                </a:ext>
              </a:extLst>
            </p:cNvPr>
            <p:cNvCxnSpPr>
              <a:cxnSpLocks/>
              <a:stCxn id="5" idx="5"/>
              <a:endCxn id="34" idx="1"/>
            </p:cNvCxnSpPr>
            <p:nvPr/>
          </p:nvCxnSpPr>
          <p:spPr>
            <a:xfrm>
              <a:off x="4638025" y="3296899"/>
              <a:ext cx="1047294" cy="487594"/>
            </a:xfrm>
            <a:prstGeom prst="straightConnector1">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37" name="TextBox 36">
            <a:extLst>
              <a:ext uri="{FF2B5EF4-FFF2-40B4-BE49-F238E27FC236}">
                <a16:creationId xmlns:a16="http://schemas.microsoft.com/office/drawing/2014/main" id="{F6A1842A-2817-7946-80EA-E6B9FFA71C21}"/>
              </a:ext>
            </a:extLst>
          </p:cNvPr>
          <p:cNvSpPr txBox="1"/>
          <p:nvPr/>
        </p:nvSpPr>
        <p:spPr>
          <a:xfrm>
            <a:off x="5762240" y="2068931"/>
            <a:ext cx="2741135" cy="836896"/>
          </a:xfrm>
          <a:prstGeom prst="rect">
            <a:avLst/>
          </a:prstGeom>
          <a:noFill/>
        </p:spPr>
        <p:txBody>
          <a:bodyPr wrap="none" rtlCol="0">
            <a:spAutoFit/>
          </a:bodyPr>
          <a:lstStyle/>
          <a:p>
            <a:pPr algn="ctr"/>
            <a:r>
              <a:rPr lang="en-US" b="1" dirty="0"/>
              <a:t>Customer Data</a:t>
            </a:r>
          </a:p>
          <a:p>
            <a:pPr algn="ctr"/>
            <a:r>
              <a:rPr lang="en-US" b="1" dirty="0"/>
              <a:t>Or Any Subgraph</a:t>
            </a:r>
          </a:p>
        </p:txBody>
      </p:sp>
      <p:cxnSp>
        <p:nvCxnSpPr>
          <p:cNvPr id="39" name="Straight Arrow Connector 38">
            <a:extLst>
              <a:ext uri="{FF2B5EF4-FFF2-40B4-BE49-F238E27FC236}">
                <a16:creationId xmlns:a16="http://schemas.microsoft.com/office/drawing/2014/main" id="{FFF1F3FF-0FC0-2046-A36E-9046EBA30E19}"/>
              </a:ext>
            </a:extLst>
          </p:cNvPr>
          <p:cNvCxnSpPr>
            <a:cxnSpLocks/>
          </p:cNvCxnSpPr>
          <p:nvPr/>
        </p:nvCxnSpPr>
        <p:spPr>
          <a:xfrm flipH="1">
            <a:off x="7560306" y="2492427"/>
            <a:ext cx="2046360" cy="917701"/>
          </a:xfrm>
          <a:prstGeom prst="straightConnector1">
            <a:avLst/>
          </a:prstGeom>
          <a:ln w="76200" cap="rnd">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40" name="Rectangle 39">
            <a:extLst>
              <a:ext uri="{FF2B5EF4-FFF2-40B4-BE49-F238E27FC236}">
                <a16:creationId xmlns:a16="http://schemas.microsoft.com/office/drawing/2014/main" id="{4156AD61-14D6-AC46-84F1-DCCB7A5F35C2}"/>
              </a:ext>
            </a:extLst>
          </p:cNvPr>
          <p:cNvSpPr/>
          <p:nvPr/>
        </p:nvSpPr>
        <p:spPr>
          <a:xfrm>
            <a:off x="9660612" y="2300662"/>
            <a:ext cx="457200" cy="457200"/>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41" name="Rectangle 40">
            <a:extLst>
              <a:ext uri="{FF2B5EF4-FFF2-40B4-BE49-F238E27FC236}">
                <a16:creationId xmlns:a16="http://schemas.microsoft.com/office/drawing/2014/main" id="{E54A068E-C970-564C-AF00-02AD4053CF91}"/>
              </a:ext>
            </a:extLst>
          </p:cNvPr>
          <p:cNvSpPr/>
          <p:nvPr/>
        </p:nvSpPr>
        <p:spPr>
          <a:xfrm>
            <a:off x="10117812" y="2300662"/>
            <a:ext cx="457200" cy="4572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42" name="Rectangle 41">
            <a:extLst>
              <a:ext uri="{FF2B5EF4-FFF2-40B4-BE49-F238E27FC236}">
                <a16:creationId xmlns:a16="http://schemas.microsoft.com/office/drawing/2014/main" id="{3985F499-9736-FF48-8B25-78EE92DAA59D}"/>
              </a:ext>
            </a:extLst>
          </p:cNvPr>
          <p:cNvSpPr/>
          <p:nvPr/>
        </p:nvSpPr>
        <p:spPr>
          <a:xfrm>
            <a:off x="10562273" y="2300662"/>
            <a:ext cx="457200" cy="457200"/>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43" name="Rectangle 42">
            <a:extLst>
              <a:ext uri="{FF2B5EF4-FFF2-40B4-BE49-F238E27FC236}">
                <a16:creationId xmlns:a16="http://schemas.microsoft.com/office/drawing/2014/main" id="{1210B52A-D4ED-504B-A8F8-0BDA9E089827}"/>
              </a:ext>
            </a:extLst>
          </p:cNvPr>
          <p:cNvSpPr/>
          <p:nvPr/>
        </p:nvSpPr>
        <p:spPr>
          <a:xfrm>
            <a:off x="11019473" y="2300662"/>
            <a:ext cx="457200" cy="457200"/>
          </a:xfrm>
          <a:prstGeom prst="rect">
            <a:avLst/>
          </a:prstGeom>
          <a:solidFill>
            <a:schemeClr val="tx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44" name="Rectangle 43">
            <a:extLst>
              <a:ext uri="{FF2B5EF4-FFF2-40B4-BE49-F238E27FC236}">
                <a16:creationId xmlns:a16="http://schemas.microsoft.com/office/drawing/2014/main" id="{B16E8560-276B-4348-938A-072AFA5E219C}"/>
              </a:ext>
            </a:extLst>
          </p:cNvPr>
          <p:cNvSpPr/>
          <p:nvPr/>
        </p:nvSpPr>
        <p:spPr>
          <a:xfrm>
            <a:off x="11476673" y="2300662"/>
            <a:ext cx="457200" cy="457200"/>
          </a:xfrm>
          <a:prstGeom prst="rect">
            <a:avLst/>
          </a:pr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45" name="Rectangle 44">
            <a:extLst>
              <a:ext uri="{FF2B5EF4-FFF2-40B4-BE49-F238E27FC236}">
                <a16:creationId xmlns:a16="http://schemas.microsoft.com/office/drawing/2014/main" id="{4EE68A50-8793-0044-BA96-6E316D4D2133}"/>
              </a:ext>
            </a:extLst>
          </p:cNvPr>
          <p:cNvSpPr/>
          <p:nvPr/>
        </p:nvSpPr>
        <p:spPr>
          <a:xfrm>
            <a:off x="11933873" y="2300662"/>
            <a:ext cx="457200" cy="457200"/>
          </a:xfrm>
          <a:prstGeom prst="rect">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46" name="TextBox 45">
            <a:extLst>
              <a:ext uri="{FF2B5EF4-FFF2-40B4-BE49-F238E27FC236}">
                <a16:creationId xmlns:a16="http://schemas.microsoft.com/office/drawing/2014/main" id="{88D888C2-6918-7A41-B7FA-99F33780636F}"/>
              </a:ext>
            </a:extLst>
          </p:cNvPr>
          <p:cNvSpPr txBox="1"/>
          <p:nvPr/>
        </p:nvSpPr>
        <p:spPr>
          <a:xfrm>
            <a:off x="10117812" y="1800025"/>
            <a:ext cx="1757212" cy="464614"/>
          </a:xfrm>
          <a:prstGeom prst="rect">
            <a:avLst/>
          </a:prstGeom>
          <a:noFill/>
        </p:spPr>
        <p:txBody>
          <a:bodyPr wrap="none" rtlCol="0">
            <a:spAutoFit/>
          </a:bodyPr>
          <a:lstStyle/>
          <a:p>
            <a:pPr algn="ctr"/>
            <a:r>
              <a:rPr lang="en-US" dirty="0"/>
              <a:t>Embedding</a:t>
            </a:r>
          </a:p>
        </p:txBody>
      </p:sp>
    </p:spTree>
    <p:extLst>
      <p:ext uri="{BB962C8B-B14F-4D97-AF65-F5344CB8AC3E}">
        <p14:creationId xmlns:p14="http://schemas.microsoft.com/office/powerpoint/2010/main" val="347876376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8009" y="437360"/>
            <a:ext cx="16149197" cy="1348333"/>
          </a:xfrm>
          <a:ln w="12700">
            <a:miter lim="400000"/>
          </a:ln>
        </p:spPr>
        <p:txBody>
          <a:bodyPr vert="horz" wrap="square" lIns="0" tIns="0" rIns="0" bIns="0" rtlCol="0" anchor="ctr" anchorCtr="0">
            <a:noAutofit/>
          </a:bodyPr>
          <a:lstStyle/>
          <a:p>
            <a:pPr defTabSz="894078">
              <a:lnSpc>
                <a:spcPct val="70000"/>
              </a:lnSpc>
            </a:pPr>
            <a:r>
              <a:rPr lang="en-US" b="1" kern="1200" dirty="0">
                <a:ln w="6350">
                  <a:noFill/>
                </a:ln>
              </a:rPr>
              <a:t>Compiled Programs versus Graph Applications</a:t>
            </a:r>
          </a:p>
        </p:txBody>
      </p:sp>
      <p:sp>
        <p:nvSpPr>
          <p:cNvPr id="3" name="Rectangle 2">
            <a:extLst>
              <a:ext uri="{FF2B5EF4-FFF2-40B4-BE49-F238E27FC236}">
                <a16:creationId xmlns:a16="http://schemas.microsoft.com/office/drawing/2014/main" id="{6E7F4344-6843-4A96-A18D-361F4A7A4FF2}"/>
              </a:ext>
            </a:extLst>
          </p:cNvPr>
          <p:cNvSpPr/>
          <p:nvPr/>
        </p:nvSpPr>
        <p:spPr>
          <a:xfrm>
            <a:off x="1806596" y="3319676"/>
            <a:ext cx="14138021" cy="1475927"/>
          </a:xfrm>
          <a:prstGeom prst="rect">
            <a:avLst/>
          </a:prstGeom>
          <a:solidFill>
            <a:schemeClr val="accent1"/>
          </a:solidFill>
          <a:ln w="12700" cap="flat">
            <a:solidFill>
              <a:srgbClr val="FFC000"/>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74507" tIns="74507" rIns="74507" bIns="74507" numCol="1" spcCol="38100" rtlCol="0" anchor="ctr">
            <a:noAutofit/>
          </a:bodyPr>
          <a:lstStyle/>
          <a:p>
            <a:pPr algn="ctr" defTabSz="1210761" hangingPunct="0"/>
            <a:endParaRPr lang="en-US" sz="4693" dirty="0">
              <a:solidFill>
                <a:schemeClr val="bg1"/>
              </a:solidFill>
              <a:latin typeface="Helvetica Neue Medium"/>
              <a:ea typeface="Helvetica Neue Medium"/>
              <a:cs typeface="Helvetica Neue Medium"/>
              <a:sym typeface="Helvetica Neue Medium"/>
            </a:endParaRPr>
          </a:p>
        </p:txBody>
      </p:sp>
      <p:sp>
        <p:nvSpPr>
          <p:cNvPr id="4" name="TextBox 3">
            <a:extLst>
              <a:ext uri="{FF2B5EF4-FFF2-40B4-BE49-F238E27FC236}">
                <a16:creationId xmlns:a16="http://schemas.microsoft.com/office/drawing/2014/main" id="{2D96AB9A-F9C9-4C23-B088-A20C88996F19}"/>
              </a:ext>
            </a:extLst>
          </p:cNvPr>
          <p:cNvSpPr txBox="1"/>
          <p:nvPr/>
        </p:nvSpPr>
        <p:spPr>
          <a:xfrm>
            <a:off x="2037263" y="3421464"/>
            <a:ext cx="2775373" cy="109196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t" anchorCtr="0">
            <a:spAutoFit/>
          </a:bodyPr>
          <a:lstStyle/>
          <a:p>
            <a:pPr defTabSz="3576310" hangingPunct="0"/>
            <a:r>
              <a:rPr lang="en-US" sz="3548" b="1" dirty="0">
                <a:solidFill>
                  <a:schemeClr val="bg1"/>
                </a:solidFill>
                <a:sym typeface="Helvetica Neue"/>
              </a:rPr>
              <a:t>Branch Prediction</a:t>
            </a:r>
          </a:p>
        </p:txBody>
      </p:sp>
      <p:sp>
        <p:nvSpPr>
          <p:cNvPr id="13" name="Rectangle 12">
            <a:extLst>
              <a:ext uri="{FF2B5EF4-FFF2-40B4-BE49-F238E27FC236}">
                <a16:creationId xmlns:a16="http://schemas.microsoft.com/office/drawing/2014/main" id="{201D63F9-31F1-49FC-93F7-7C367173F96A}"/>
              </a:ext>
            </a:extLst>
          </p:cNvPr>
          <p:cNvSpPr/>
          <p:nvPr/>
        </p:nvSpPr>
        <p:spPr>
          <a:xfrm>
            <a:off x="1806596" y="5392701"/>
            <a:ext cx="14138021" cy="1516330"/>
          </a:xfrm>
          <a:prstGeom prst="rect">
            <a:avLst/>
          </a:prstGeom>
          <a:solidFill>
            <a:schemeClr val="accent1"/>
          </a:solidFill>
          <a:ln w="12700" cap="flat">
            <a:solidFill>
              <a:srgbClr val="FFC000"/>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74507" tIns="74507" rIns="74507" bIns="74507" numCol="1" spcCol="38100" rtlCol="0" anchor="ctr">
            <a:noAutofit/>
          </a:bodyPr>
          <a:lstStyle/>
          <a:p>
            <a:pPr algn="ctr" defTabSz="1210761" hangingPunct="0"/>
            <a:endParaRPr lang="en-US" sz="4693" dirty="0">
              <a:solidFill>
                <a:schemeClr val="bg1"/>
              </a:solidFill>
              <a:latin typeface="Helvetica Neue Medium"/>
              <a:ea typeface="Helvetica Neue Medium"/>
              <a:cs typeface="Helvetica Neue Medium"/>
              <a:sym typeface="Helvetica Neue Medium"/>
            </a:endParaRPr>
          </a:p>
        </p:txBody>
      </p:sp>
      <p:sp>
        <p:nvSpPr>
          <p:cNvPr id="14" name="Rectangle 13">
            <a:extLst>
              <a:ext uri="{FF2B5EF4-FFF2-40B4-BE49-F238E27FC236}">
                <a16:creationId xmlns:a16="http://schemas.microsoft.com/office/drawing/2014/main" id="{F01EBFE4-80E8-44E4-9F81-F16EC5F47946}"/>
              </a:ext>
            </a:extLst>
          </p:cNvPr>
          <p:cNvSpPr/>
          <p:nvPr/>
        </p:nvSpPr>
        <p:spPr>
          <a:xfrm>
            <a:off x="1806596" y="7421353"/>
            <a:ext cx="14138021" cy="1516330"/>
          </a:xfrm>
          <a:prstGeom prst="rect">
            <a:avLst/>
          </a:prstGeom>
          <a:solidFill>
            <a:schemeClr val="accent1"/>
          </a:solidFill>
          <a:ln w="12700" cap="flat">
            <a:solidFill>
              <a:srgbClr val="FFC000"/>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74507" tIns="74507" rIns="74507" bIns="74507" numCol="1" spcCol="38100" rtlCol="0" anchor="ctr">
            <a:noAutofit/>
          </a:bodyPr>
          <a:lstStyle/>
          <a:p>
            <a:pPr algn="ctr" defTabSz="1210761" hangingPunct="0"/>
            <a:endParaRPr lang="en-US" sz="4693" dirty="0">
              <a:solidFill>
                <a:schemeClr val="bg1"/>
              </a:solidFill>
              <a:latin typeface="Helvetica Neue Medium"/>
              <a:ea typeface="Helvetica Neue Medium"/>
              <a:cs typeface="Helvetica Neue Medium"/>
              <a:sym typeface="Helvetica Neue Medium"/>
            </a:endParaRPr>
          </a:p>
        </p:txBody>
      </p:sp>
      <p:sp>
        <p:nvSpPr>
          <p:cNvPr id="8" name="TextBox 7">
            <a:extLst>
              <a:ext uri="{FF2B5EF4-FFF2-40B4-BE49-F238E27FC236}">
                <a16:creationId xmlns:a16="http://schemas.microsoft.com/office/drawing/2014/main" id="{AD7D77D8-FDD7-4D9E-B516-E135DCD69D8B}"/>
              </a:ext>
            </a:extLst>
          </p:cNvPr>
          <p:cNvSpPr txBox="1"/>
          <p:nvPr/>
        </p:nvSpPr>
        <p:spPr>
          <a:xfrm>
            <a:off x="2011207" y="5524966"/>
            <a:ext cx="2775373" cy="54598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t" anchorCtr="0">
            <a:spAutoFit/>
          </a:bodyPr>
          <a:lstStyle/>
          <a:p>
            <a:pPr defTabSz="3576310" hangingPunct="0"/>
            <a:r>
              <a:rPr lang="en-US" sz="3548" b="1" dirty="0">
                <a:solidFill>
                  <a:schemeClr val="bg1"/>
                </a:solidFill>
                <a:sym typeface="Helvetica Neue"/>
              </a:rPr>
              <a:t>Locality</a:t>
            </a:r>
          </a:p>
        </p:txBody>
      </p:sp>
      <p:sp>
        <p:nvSpPr>
          <p:cNvPr id="15" name="TextBox 14">
            <a:extLst>
              <a:ext uri="{FF2B5EF4-FFF2-40B4-BE49-F238E27FC236}">
                <a16:creationId xmlns:a16="http://schemas.microsoft.com/office/drawing/2014/main" id="{61741630-726D-483F-B3AD-0BD39C802910}"/>
              </a:ext>
            </a:extLst>
          </p:cNvPr>
          <p:cNvSpPr txBox="1"/>
          <p:nvPr/>
        </p:nvSpPr>
        <p:spPr>
          <a:xfrm>
            <a:off x="2037263" y="7551168"/>
            <a:ext cx="2775373" cy="54598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t" anchorCtr="0">
            <a:spAutoFit/>
          </a:bodyPr>
          <a:lstStyle/>
          <a:p>
            <a:pPr defTabSz="3576310" hangingPunct="0"/>
            <a:r>
              <a:rPr lang="en-US" sz="3548" b="1" dirty="0">
                <a:solidFill>
                  <a:schemeClr val="bg1"/>
                </a:solidFill>
                <a:sym typeface="Helvetica Neue"/>
              </a:rPr>
              <a:t>Data Access</a:t>
            </a:r>
          </a:p>
        </p:txBody>
      </p:sp>
      <p:sp>
        <p:nvSpPr>
          <p:cNvPr id="5" name="TextBox 4">
            <a:extLst>
              <a:ext uri="{FF2B5EF4-FFF2-40B4-BE49-F238E27FC236}">
                <a16:creationId xmlns:a16="http://schemas.microsoft.com/office/drawing/2014/main" id="{0573EF3D-9AD3-400E-AFAE-1019BABF7F5B}"/>
              </a:ext>
            </a:extLst>
          </p:cNvPr>
          <p:cNvSpPr txBox="1"/>
          <p:nvPr/>
        </p:nvSpPr>
        <p:spPr>
          <a:xfrm>
            <a:off x="6835734" y="2034765"/>
            <a:ext cx="3743960" cy="109196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t" anchorCtr="0">
            <a:spAutoFit/>
          </a:bodyPr>
          <a:lstStyle/>
          <a:p>
            <a:pPr algn="ctr" defTabSz="3576310" hangingPunct="0"/>
            <a:r>
              <a:rPr lang="en-US" sz="3548" b="1" dirty="0">
                <a:sym typeface="Helvetica Neue"/>
              </a:rPr>
              <a:t>Compiled Programs</a:t>
            </a:r>
          </a:p>
        </p:txBody>
      </p:sp>
      <p:sp>
        <p:nvSpPr>
          <p:cNvPr id="16" name="TextBox 15">
            <a:extLst>
              <a:ext uri="{FF2B5EF4-FFF2-40B4-BE49-F238E27FC236}">
                <a16:creationId xmlns:a16="http://schemas.microsoft.com/office/drawing/2014/main" id="{EFDD2C34-31D3-4AE7-BA10-340931611C6D}"/>
              </a:ext>
            </a:extLst>
          </p:cNvPr>
          <p:cNvSpPr txBox="1"/>
          <p:nvPr/>
        </p:nvSpPr>
        <p:spPr>
          <a:xfrm>
            <a:off x="12200656" y="2015725"/>
            <a:ext cx="3743960" cy="109196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t" anchorCtr="0">
            <a:spAutoFit/>
          </a:bodyPr>
          <a:lstStyle/>
          <a:p>
            <a:pPr algn="ctr" defTabSz="3576310" hangingPunct="0"/>
            <a:r>
              <a:rPr lang="en-US" sz="3548" b="1" dirty="0"/>
              <a:t>Graph</a:t>
            </a:r>
          </a:p>
          <a:p>
            <a:pPr algn="ctr" defTabSz="3576310" hangingPunct="0"/>
            <a:r>
              <a:rPr lang="en-US" sz="3548" b="1" dirty="0">
                <a:sym typeface="Helvetica Neue"/>
              </a:rPr>
              <a:t>Traversal</a:t>
            </a:r>
          </a:p>
        </p:txBody>
      </p:sp>
      <p:sp>
        <p:nvSpPr>
          <p:cNvPr id="6" name="TextBox 5">
            <a:extLst>
              <a:ext uri="{FF2B5EF4-FFF2-40B4-BE49-F238E27FC236}">
                <a16:creationId xmlns:a16="http://schemas.microsoft.com/office/drawing/2014/main" id="{5698177C-377C-416C-97AD-428F73D6A137}"/>
              </a:ext>
            </a:extLst>
          </p:cNvPr>
          <p:cNvSpPr txBox="1"/>
          <p:nvPr/>
        </p:nvSpPr>
        <p:spPr>
          <a:xfrm>
            <a:off x="7580001" y="3565514"/>
            <a:ext cx="2255426" cy="812530"/>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0" tIns="0" rIns="0" bIns="0" numCol="1" spcCol="38100" rtlCol="0" anchor="t" anchorCtr="0">
            <a:spAutoFit/>
          </a:bodyPr>
          <a:lstStyle/>
          <a:p>
            <a:pPr algn="ctr" defTabSz="3576310" hangingPunct="0"/>
            <a:r>
              <a:rPr lang="en-US" sz="2640" i="1" dirty="0">
                <a:solidFill>
                  <a:schemeClr val="bg1"/>
                </a:solidFill>
                <a:sym typeface="Helvetica Neue"/>
              </a:rPr>
              <a:t>Branches have</a:t>
            </a:r>
          </a:p>
          <a:p>
            <a:pPr algn="ctr" defTabSz="3576310" hangingPunct="0"/>
            <a:r>
              <a:rPr lang="en-US" sz="2640" i="1" dirty="0">
                <a:solidFill>
                  <a:schemeClr val="bg1"/>
                </a:solidFill>
                <a:sym typeface="Helvetica Neue"/>
              </a:rPr>
              <a:t>regular pattern</a:t>
            </a:r>
          </a:p>
        </p:txBody>
      </p:sp>
      <p:sp>
        <p:nvSpPr>
          <p:cNvPr id="17" name="TextBox 16">
            <a:extLst>
              <a:ext uri="{FF2B5EF4-FFF2-40B4-BE49-F238E27FC236}">
                <a16:creationId xmlns:a16="http://schemas.microsoft.com/office/drawing/2014/main" id="{D3AC0FAB-66BB-4756-8168-0181071B2D91}"/>
              </a:ext>
            </a:extLst>
          </p:cNvPr>
          <p:cNvSpPr txBox="1"/>
          <p:nvPr/>
        </p:nvSpPr>
        <p:spPr>
          <a:xfrm>
            <a:off x="7105883" y="5664684"/>
            <a:ext cx="3147907" cy="812530"/>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t" anchorCtr="0">
            <a:spAutoFit/>
          </a:bodyPr>
          <a:lstStyle/>
          <a:p>
            <a:pPr algn="ctr" defTabSz="3576310" hangingPunct="0"/>
            <a:r>
              <a:rPr lang="en-US" sz="2640" i="1" dirty="0">
                <a:solidFill>
                  <a:schemeClr val="bg1"/>
                </a:solidFill>
                <a:sym typeface="Helvetica Neue"/>
              </a:rPr>
              <a:t>Same or neighboring data likely used</a:t>
            </a:r>
          </a:p>
        </p:txBody>
      </p:sp>
      <p:sp>
        <p:nvSpPr>
          <p:cNvPr id="18" name="TextBox 17">
            <a:extLst>
              <a:ext uri="{FF2B5EF4-FFF2-40B4-BE49-F238E27FC236}">
                <a16:creationId xmlns:a16="http://schemas.microsoft.com/office/drawing/2014/main" id="{264E9399-049F-466F-B12A-BB22D9823471}"/>
              </a:ext>
            </a:extLst>
          </p:cNvPr>
          <p:cNvSpPr txBox="1"/>
          <p:nvPr/>
        </p:nvSpPr>
        <p:spPr>
          <a:xfrm>
            <a:off x="7105883" y="7690886"/>
            <a:ext cx="3147907" cy="812530"/>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t" anchorCtr="0">
            <a:spAutoFit/>
          </a:bodyPr>
          <a:lstStyle/>
          <a:p>
            <a:pPr algn="ctr" defTabSz="3576310" hangingPunct="0"/>
            <a:r>
              <a:rPr lang="en-US" sz="2640" i="1" dirty="0">
                <a:solidFill>
                  <a:schemeClr val="bg1"/>
                </a:solidFill>
                <a:sym typeface="Helvetica Neue"/>
              </a:rPr>
              <a:t>Same operation on neighboring data</a:t>
            </a:r>
          </a:p>
        </p:txBody>
      </p:sp>
      <p:sp>
        <p:nvSpPr>
          <p:cNvPr id="19" name="TextBox 18">
            <a:extLst>
              <a:ext uri="{FF2B5EF4-FFF2-40B4-BE49-F238E27FC236}">
                <a16:creationId xmlns:a16="http://schemas.microsoft.com/office/drawing/2014/main" id="{122D99F5-193F-4C40-AD9B-C3C7BA7E4521}"/>
              </a:ext>
            </a:extLst>
          </p:cNvPr>
          <p:cNvSpPr txBox="1"/>
          <p:nvPr/>
        </p:nvSpPr>
        <p:spPr>
          <a:xfrm>
            <a:off x="12498683" y="3404886"/>
            <a:ext cx="3147907" cy="121879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t" anchorCtr="0">
            <a:spAutoFit/>
          </a:bodyPr>
          <a:lstStyle/>
          <a:p>
            <a:pPr algn="ctr" defTabSz="3576310" hangingPunct="0"/>
            <a:r>
              <a:rPr lang="en-US" sz="2640" i="1" dirty="0">
                <a:solidFill>
                  <a:schemeClr val="bg1"/>
                </a:solidFill>
                <a:sym typeface="Helvetica Neue"/>
              </a:rPr>
              <a:t>Branch outcome is data dependent (“Pointer hopping”)</a:t>
            </a:r>
          </a:p>
        </p:txBody>
      </p:sp>
      <p:sp>
        <p:nvSpPr>
          <p:cNvPr id="20" name="TextBox 19">
            <a:extLst>
              <a:ext uri="{FF2B5EF4-FFF2-40B4-BE49-F238E27FC236}">
                <a16:creationId xmlns:a16="http://schemas.microsoft.com/office/drawing/2014/main" id="{169FFAC8-BE4B-4A05-AD6A-84A3147D4B0C}"/>
              </a:ext>
            </a:extLst>
          </p:cNvPr>
          <p:cNvSpPr txBox="1"/>
          <p:nvPr/>
        </p:nvSpPr>
        <p:spPr>
          <a:xfrm>
            <a:off x="12200657" y="5664684"/>
            <a:ext cx="3147907" cy="812530"/>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t" anchorCtr="0">
            <a:spAutoFit/>
          </a:bodyPr>
          <a:lstStyle/>
          <a:p>
            <a:pPr algn="ctr" defTabSz="3576310" hangingPunct="0"/>
            <a:r>
              <a:rPr lang="en-US" sz="2640" i="1" dirty="0">
                <a:solidFill>
                  <a:schemeClr val="bg1"/>
                </a:solidFill>
                <a:sym typeface="Helvetica Neue"/>
              </a:rPr>
              <a:t>Data is randomly distributed in RAM</a:t>
            </a:r>
          </a:p>
        </p:txBody>
      </p:sp>
      <p:sp>
        <p:nvSpPr>
          <p:cNvPr id="21" name="TextBox 20">
            <a:extLst>
              <a:ext uri="{FF2B5EF4-FFF2-40B4-BE49-F238E27FC236}">
                <a16:creationId xmlns:a16="http://schemas.microsoft.com/office/drawing/2014/main" id="{E071CE12-04AF-48B8-A395-EBE00E41F7F3}"/>
              </a:ext>
            </a:extLst>
          </p:cNvPr>
          <p:cNvSpPr txBox="1"/>
          <p:nvPr/>
        </p:nvSpPr>
        <p:spPr>
          <a:xfrm>
            <a:off x="12200656" y="7690886"/>
            <a:ext cx="3147907" cy="812530"/>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t" anchorCtr="0">
            <a:spAutoFit/>
          </a:bodyPr>
          <a:lstStyle/>
          <a:p>
            <a:pPr algn="ctr" defTabSz="3576310" hangingPunct="0"/>
            <a:r>
              <a:rPr lang="en-US" sz="2640" i="1" dirty="0">
                <a:solidFill>
                  <a:schemeClr val="bg1"/>
                </a:solidFill>
                <a:sym typeface="Helvetica Neue"/>
              </a:rPr>
              <a:t>Operations on scattered data</a:t>
            </a:r>
          </a:p>
        </p:txBody>
      </p:sp>
      <p:sp>
        <p:nvSpPr>
          <p:cNvPr id="7" name="Footer Placeholder 6">
            <a:extLst>
              <a:ext uri="{FF2B5EF4-FFF2-40B4-BE49-F238E27FC236}">
                <a16:creationId xmlns:a16="http://schemas.microsoft.com/office/drawing/2014/main" id="{EFD0463F-CE81-4D47-B436-B4DDC40D0A08}"/>
              </a:ext>
            </a:extLst>
          </p:cNvPr>
          <p:cNvSpPr>
            <a:spLocks noGrp="1"/>
          </p:cNvSpPr>
          <p:nvPr>
            <p:ph type="ftr" sz="quarter" idx="10"/>
          </p:nvPr>
        </p:nvSpPr>
        <p:spPr/>
        <p:txBody>
          <a:bodyPr/>
          <a:lstStyle/>
          <a:p>
            <a:r>
              <a:rPr lang="en-US" dirty="0"/>
              <a:t>Intel Confidential</a:t>
            </a:r>
          </a:p>
        </p:txBody>
      </p:sp>
    </p:spTree>
    <p:extLst>
      <p:ext uri="{BB962C8B-B14F-4D97-AF65-F5344CB8AC3E}">
        <p14:creationId xmlns:p14="http://schemas.microsoft.com/office/powerpoint/2010/main" val="4163110597"/>
      </p:ext>
    </p:extLst>
  </p:cSld>
  <p:clrMapOvr>
    <a:masterClrMapping/>
  </p:clrMapOvr>
  <mc:AlternateContent xmlns:mc="http://schemas.openxmlformats.org/markup-compatibility/2006" xmlns:p14="http://schemas.microsoft.com/office/powerpoint/2010/main">
    <mc:Choice Requires="p14">
      <p:transition p14:dur="250">
        <p:wipe/>
      </p:transition>
    </mc:Choice>
    <mc:Fallback xmlns="">
      <p:transition>
        <p:wip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A76B060-FA20-9342-9506-EB8967FC5B08}"/>
              </a:ext>
            </a:extLst>
          </p:cNvPr>
          <p:cNvSpPr>
            <a:spLocks noGrp="1"/>
          </p:cNvSpPr>
          <p:nvPr>
            <p:ph type="title"/>
          </p:nvPr>
        </p:nvSpPr>
        <p:spPr/>
        <p:txBody>
          <a:bodyPr/>
          <a:lstStyle/>
          <a:p>
            <a:r>
              <a:rPr lang="en-US" dirty="0"/>
              <a:t>What If We Designed Our Chip Around Graph Traversal?</a:t>
            </a:r>
          </a:p>
        </p:txBody>
      </p:sp>
      <p:sp>
        <p:nvSpPr>
          <p:cNvPr id="4" name="Content Placeholder 3">
            <a:extLst>
              <a:ext uri="{FF2B5EF4-FFF2-40B4-BE49-F238E27FC236}">
                <a16:creationId xmlns:a16="http://schemas.microsoft.com/office/drawing/2014/main" id="{174A8DF1-00CE-A84F-8FBF-D351DD5FED2D}"/>
              </a:ext>
            </a:extLst>
          </p:cNvPr>
          <p:cNvSpPr>
            <a:spLocks noGrp="1"/>
          </p:cNvSpPr>
          <p:nvPr>
            <p:ph idx="1"/>
          </p:nvPr>
        </p:nvSpPr>
        <p:spPr>
          <a:xfrm>
            <a:off x="9746959" y="1995990"/>
            <a:ext cx="7264400" cy="6628674"/>
          </a:xfrm>
        </p:spPr>
        <p:txBody>
          <a:bodyPr/>
          <a:lstStyle/>
          <a:p>
            <a:r>
              <a:rPr lang="en-US" dirty="0"/>
              <a:t>Deep analysis of what instructions and memory patterns are </a:t>
            </a:r>
            <a:r>
              <a:rPr lang="en-US" b="1" dirty="0"/>
              <a:t>actually</a:t>
            </a:r>
            <a:r>
              <a:rPr lang="en-US" dirty="0"/>
              <a:t> being used in graph database traversal</a:t>
            </a:r>
          </a:p>
          <a:p>
            <a:r>
              <a:rPr lang="en-US" dirty="0"/>
              <a:t>Focus on the smallest RISC instructions that will do the work</a:t>
            </a:r>
          </a:p>
          <a:p>
            <a:r>
              <a:rPr lang="en-US" dirty="0"/>
              <a:t>Create memory access design that will allow fast access without the need for elaborate and wasteful cache circuitry</a:t>
            </a:r>
          </a:p>
          <a:p>
            <a:r>
              <a:rPr lang="en-US" dirty="0"/>
              <a:t>Some algorithms show a 1,000x increase in performance</a:t>
            </a:r>
          </a:p>
        </p:txBody>
      </p:sp>
      <p:sp>
        <p:nvSpPr>
          <p:cNvPr id="3" name="Slide Number Placeholder 2">
            <a:extLst>
              <a:ext uri="{FF2B5EF4-FFF2-40B4-BE49-F238E27FC236}">
                <a16:creationId xmlns:a16="http://schemas.microsoft.com/office/drawing/2014/main" id="{FFB8FE27-46A4-4645-B66C-C9A9B48DF2F7}"/>
              </a:ext>
            </a:extLst>
          </p:cNvPr>
          <p:cNvSpPr>
            <a:spLocks noGrp="1"/>
          </p:cNvSpPr>
          <p:nvPr>
            <p:ph type="sldNum" sz="quarter" idx="12"/>
          </p:nvPr>
        </p:nvSpPr>
        <p:spPr/>
        <p:txBody>
          <a:bodyPr/>
          <a:lstStyle/>
          <a:p>
            <a:fld id="{3310D8EA-3107-4873-B9AB-DD7D3E79053A}" type="slidenum">
              <a:rPr lang="en-US" smtClean="0"/>
              <a:t>17</a:t>
            </a:fld>
            <a:endParaRPr lang="en-US"/>
          </a:p>
        </p:txBody>
      </p:sp>
      <p:pic>
        <p:nvPicPr>
          <p:cNvPr id="3074" name="Picture 2">
            <a:extLst>
              <a:ext uri="{FF2B5EF4-FFF2-40B4-BE49-F238E27FC236}">
                <a16:creationId xmlns:a16="http://schemas.microsoft.com/office/drawing/2014/main" id="{834B4401-DC0B-9D4A-8CE7-6D8AC6ED6819}"/>
              </a:ext>
            </a:extLst>
          </p:cNvPr>
          <p:cNvPicPr>
            <a:picLocks noChangeAspect="1" noChangeArrowheads="1"/>
          </p:cNvPicPr>
          <p:nvPr/>
        </p:nvPicPr>
        <p:blipFill>
          <a:blip r:embed="rId2">
            <a:extLst>
              <a:ext uri="{28A0092B-C50C-407E-A947-70E740481C1C}">
                <a14:useLocalDpi xmlns:a14="http://schemas.microsoft.com/office/drawing/2010/main"/>
              </a:ext>
            </a:extLst>
          </a:blip>
          <a:srcRect/>
          <a:stretch>
            <a:fillRect/>
          </a:stretch>
        </p:blipFill>
        <p:spPr bwMode="auto">
          <a:xfrm>
            <a:off x="726439" y="2222739"/>
            <a:ext cx="8712200" cy="2857500"/>
          </a:xfrm>
          <a:prstGeom prst="rect">
            <a:avLst/>
          </a:prstGeom>
          <a:noFill/>
          <a:extLst>
            <a:ext uri="{909E8E84-426E-40DD-AFC4-6F175D3DCCD1}">
              <a14:hiddenFill xmlns:a14="http://schemas.microsoft.com/office/drawing/2010/main">
                <a:solidFill>
                  <a:srgbClr val="FFFFFF"/>
                </a:solidFill>
              </a14:hiddenFill>
            </a:ext>
          </a:extLst>
        </p:spPr>
      </p:pic>
      <p:sp>
        <p:nvSpPr>
          <p:cNvPr id="6" name="TextBox 5">
            <a:extLst>
              <a:ext uri="{FF2B5EF4-FFF2-40B4-BE49-F238E27FC236}">
                <a16:creationId xmlns:a16="http://schemas.microsoft.com/office/drawing/2014/main" id="{930DA10B-A8AF-ED41-93B6-3331590F1DA9}"/>
              </a:ext>
            </a:extLst>
          </p:cNvPr>
          <p:cNvSpPr txBox="1"/>
          <p:nvPr/>
        </p:nvSpPr>
        <p:spPr>
          <a:xfrm>
            <a:off x="4229100" y="8585192"/>
            <a:ext cx="13288638" cy="464614"/>
          </a:xfrm>
          <a:prstGeom prst="rect">
            <a:avLst/>
          </a:prstGeom>
          <a:noFill/>
        </p:spPr>
        <p:txBody>
          <a:bodyPr wrap="none" rtlCol="0">
            <a:spAutoFit/>
          </a:bodyPr>
          <a:lstStyle/>
          <a:p>
            <a:r>
              <a:rPr lang="en-US" dirty="0"/>
              <a:t>https://dmccreary.medium.com/intels-incredible-piuma-graph-analytics-hardware-a2e9c3daf8d8</a:t>
            </a:r>
          </a:p>
        </p:txBody>
      </p:sp>
    </p:spTree>
    <p:extLst>
      <p:ext uri="{BB962C8B-B14F-4D97-AF65-F5344CB8AC3E}">
        <p14:creationId xmlns:p14="http://schemas.microsoft.com/office/powerpoint/2010/main" val="55193227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AC5F97-7639-C946-A62C-425EDEF244F6}"/>
              </a:ext>
            </a:extLst>
          </p:cNvPr>
          <p:cNvSpPr>
            <a:spLocks noGrp="1"/>
          </p:cNvSpPr>
          <p:nvPr>
            <p:ph type="title"/>
          </p:nvPr>
        </p:nvSpPr>
        <p:spPr/>
        <p:txBody>
          <a:bodyPr/>
          <a:lstStyle/>
          <a:p>
            <a:r>
              <a:rPr lang="en-US" dirty="0"/>
              <a:t>Why Are Similarity Calculations Critical?</a:t>
            </a:r>
          </a:p>
        </p:txBody>
      </p:sp>
      <p:sp>
        <p:nvSpPr>
          <p:cNvPr id="3" name="Content Placeholder 2">
            <a:extLst>
              <a:ext uri="{FF2B5EF4-FFF2-40B4-BE49-F238E27FC236}">
                <a16:creationId xmlns:a16="http://schemas.microsoft.com/office/drawing/2014/main" id="{7B313750-2E61-2149-B2FB-FE4C3FB2A565}"/>
              </a:ext>
            </a:extLst>
          </p:cNvPr>
          <p:cNvSpPr>
            <a:spLocks noGrp="1"/>
          </p:cNvSpPr>
          <p:nvPr>
            <p:ph idx="1"/>
          </p:nvPr>
        </p:nvSpPr>
        <p:spPr>
          <a:xfrm>
            <a:off x="8027561" y="2243113"/>
            <a:ext cx="9103650" cy="6836658"/>
          </a:xfrm>
        </p:spPr>
        <p:txBody>
          <a:bodyPr/>
          <a:lstStyle/>
          <a:p>
            <a:r>
              <a:rPr lang="en-US" b="1" dirty="0"/>
              <a:t>Similarity</a:t>
            </a:r>
            <a:r>
              <a:rPr lang="en-US" dirty="0"/>
              <a:t> is at the foundation of recommendation engines</a:t>
            </a:r>
          </a:p>
          <a:p>
            <a:r>
              <a:rPr lang="en-US" b="1" dirty="0"/>
              <a:t>Recommendation</a:t>
            </a:r>
            <a:r>
              <a:rPr lang="en-US" dirty="0"/>
              <a:t> engines power sites like:</a:t>
            </a:r>
          </a:p>
          <a:p>
            <a:pPr marL="502931" indent="-502931"/>
            <a:r>
              <a:rPr lang="en-US" dirty="0"/>
              <a:t> Google – recommend a document</a:t>
            </a:r>
          </a:p>
          <a:p>
            <a:pPr marL="502931" indent="-502931"/>
            <a:r>
              <a:rPr lang="en-US" dirty="0"/>
              <a:t> NetFlix™ – recommend a movie</a:t>
            </a:r>
          </a:p>
          <a:p>
            <a:pPr marL="502931" indent="-502931"/>
            <a:r>
              <a:rPr lang="en-US" dirty="0"/>
              <a:t> Amazon - recommend a product</a:t>
            </a:r>
          </a:p>
          <a:p>
            <a:pPr marL="502931" indent="-502931"/>
            <a:r>
              <a:rPr lang="en-US" dirty="0"/>
              <a:t>Pintrest™ – recommend an interest</a:t>
            </a:r>
          </a:p>
          <a:p>
            <a:pPr marL="502931" indent="-502931"/>
            <a:r>
              <a:rPr lang="en-US" dirty="0"/>
              <a:t>Healthcare – recommend a care path</a:t>
            </a:r>
          </a:p>
          <a:p>
            <a:pPr>
              <a:buNone/>
            </a:pPr>
            <a:r>
              <a:rPr lang="en-US" dirty="0"/>
              <a:t>Recommendations must take into account many factors including recent data</a:t>
            </a:r>
          </a:p>
          <a:p>
            <a:pPr>
              <a:buNone/>
            </a:pPr>
            <a:r>
              <a:rPr lang="en-US" dirty="0"/>
              <a:t>To be useful, interactive web sites we set a goal of response times of under 200 milliseconds or less</a:t>
            </a:r>
          </a:p>
        </p:txBody>
      </p:sp>
      <p:sp>
        <p:nvSpPr>
          <p:cNvPr id="4" name="Slide Number Placeholder 3">
            <a:extLst>
              <a:ext uri="{FF2B5EF4-FFF2-40B4-BE49-F238E27FC236}">
                <a16:creationId xmlns:a16="http://schemas.microsoft.com/office/drawing/2014/main" id="{4B0D69E2-C052-3247-8811-F95847F94583}"/>
              </a:ext>
            </a:extLst>
          </p:cNvPr>
          <p:cNvSpPr>
            <a:spLocks noGrp="1"/>
          </p:cNvSpPr>
          <p:nvPr>
            <p:ph type="sldNum" sz="quarter" idx="12"/>
          </p:nvPr>
        </p:nvSpPr>
        <p:spPr/>
        <p:txBody>
          <a:bodyPr/>
          <a:lstStyle/>
          <a:p>
            <a:fld id="{3310D8EA-3107-4873-B9AB-DD7D3E79053A}" type="slidenum">
              <a:rPr lang="en-US" smtClean="0"/>
              <a:t>18</a:t>
            </a:fld>
            <a:endParaRPr lang="en-US"/>
          </a:p>
        </p:txBody>
      </p:sp>
      <p:sp>
        <p:nvSpPr>
          <p:cNvPr id="6" name="Rectangle 5">
            <a:extLst>
              <a:ext uri="{FF2B5EF4-FFF2-40B4-BE49-F238E27FC236}">
                <a16:creationId xmlns:a16="http://schemas.microsoft.com/office/drawing/2014/main" id="{C6E72B62-FCA6-2741-9B86-93E48AA4F7B3}"/>
              </a:ext>
            </a:extLst>
          </p:cNvPr>
          <p:cNvSpPr/>
          <p:nvPr/>
        </p:nvSpPr>
        <p:spPr>
          <a:xfrm>
            <a:off x="996262" y="5785974"/>
            <a:ext cx="5920087" cy="1015419"/>
          </a:xfrm>
          <a:prstGeom prst="rect">
            <a:avLst/>
          </a:prstGeom>
          <a:solidFill>
            <a:schemeClr val="bg1">
              <a:lumMod val="50000"/>
            </a:schemeClr>
          </a:solidFill>
          <a:ln w="28575">
            <a:solidFill>
              <a:schemeClr val="tx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4112" tIns="67056" rIns="134112" bIns="67056" numCol="1" spcCol="0" rtlCol="0" fromWordArt="0" anchor="ctr" anchorCtr="0" forceAA="0" compatLnSpc="1">
            <a:prstTxWarp prst="textNoShape">
              <a:avLst/>
            </a:prstTxWarp>
            <a:noAutofit/>
          </a:bodyPr>
          <a:lstStyle/>
          <a:p>
            <a:pPr algn="ctr"/>
            <a:r>
              <a:rPr lang="en-US" sz="3548" b="1" dirty="0"/>
              <a:t>Similarity</a:t>
            </a:r>
          </a:p>
        </p:txBody>
      </p:sp>
      <p:sp>
        <p:nvSpPr>
          <p:cNvPr id="7" name="Rectangle 6">
            <a:extLst>
              <a:ext uri="{FF2B5EF4-FFF2-40B4-BE49-F238E27FC236}">
                <a16:creationId xmlns:a16="http://schemas.microsoft.com/office/drawing/2014/main" id="{3E4CB0A6-B536-EC43-9576-DAD8CF76C9B3}"/>
              </a:ext>
            </a:extLst>
          </p:cNvPr>
          <p:cNvSpPr/>
          <p:nvPr/>
        </p:nvSpPr>
        <p:spPr>
          <a:xfrm>
            <a:off x="1373054" y="4770555"/>
            <a:ext cx="5102642" cy="1015419"/>
          </a:xfrm>
          <a:prstGeom prst="rect">
            <a:avLst/>
          </a:prstGeom>
          <a:solidFill>
            <a:schemeClr val="accent2"/>
          </a:solidFill>
          <a:ln w="28575">
            <a:solidFill>
              <a:schemeClr val="tx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4112" tIns="67056" rIns="134112" bIns="67056" numCol="1" spcCol="0" rtlCol="0" fromWordArt="0" anchor="ctr" anchorCtr="0" forceAA="0" compatLnSpc="1">
            <a:prstTxWarp prst="textNoShape">
              <a:avLst/>
            </a:prstTxWarp>
            <a:noAutofit/>
          </a:bodyPr>
          <a:lstStyle/>
          <a:p>
            <a:pPr algn="ctr"/>
            <a:r>
              <a:rPr lang="en-US" sz="3548" b="1" dirty="0">
                <a:solidFill>
                  <a:schemeClr val="tx1">
                    <a:lumMod val="50000"/>
                  </a:schemeClr>
                </a:solidFill>
              </a:rPr>
              <a:t>Recommendation</a:t>
            </a:r>
          </a:p>
        </p:txBody>
      </p:sp>
      <p:sp>
        <p:nvSpPr>
          <p:cNvPr id="8" name="Rectangle 7">
            <a:extLst>
              <a:ext uri="{FF2B5EF4-FFF2-40B4-BE49-F238E27FC236}">
                <a16:creationId xmlns:a16="http://schemas.microsoft.com/office/drawing/2014/main" id="{D2A031DD-9FAE-2F4C-8944-DCC743CCF2E1}"/>
              </a:ext>
            </a:extLst>
          </p:cNvPr>
          <p:cNvSpPr/>
          <p:nvPr/>
        </p:nvSpPr>
        <p:spPr>
          <a:xfrm>
            <a:off x="1749847" y="3755137"/>
            <a:ext cx="4151082" cy="1015419"/>
          </a:xfrm>
          <a:prstGeom prst="rect">
            <a:avLst/>
          </a:prstGeom>
          <a:solidFill>
            <a:schemeClr val="accent1"/>
          </a:solidFill>
          <a:ln w="28575">
            <a:solidFill>
              <a:schemeClr val="tx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4112" tIns="67056" rIns="134112" bIns="67056" numCol="1" spcCol="0" rtlCol="0" fromWordArt="0" anchor="ctr" anchorCtr="0" forceAA="0" compatLnSpc="1">
            <a:prstTxWarp prst="textNoShape">
              <a:avLst/>
            </a:prstTxWarp>
            <a:noAutofit/>
          </a:bodyPr>
          <a:lstStyle/>
          <a:p>
            <a:pPr algn="ctr"/>
            <a:r>
              <a:rPr lang="en-US" sz="3548" b="1" dirty="0"/>
              <a:t>Next Best Action</a:t>
            </a:r>
          </a:p>
        </p:txBody>
      </p:sp>
    </p:spTree>
    <p:extLst>
      <p:ext uri="{BB962C8B-B14F-4D97-AF65-F5344CB8AC3E}">
        <p14:creationId xmlns:p14="http://schemas.microsoft.com/office/powerpoint/2010/main" val="319325740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3592E62D-B0B2-0D4F-8A6E-F371153D942A}"/>
              </a:ext>
            </a:extLst>
          </p:cNvPr>
          <p:cNvSpPr>
            <a:spLocks noGrp="1"/>
          </p:cNvSpPr>
          <p:nvPr>
            <p:ph type="title"/>
          </p:nvPr>
        </p:nvSpPr>
        <p:spPr>
          <a:xfrm>
            <a:off x="726439" y="2"/>
            <a:ext cx="16596361" cy="1484896"/>
          </a:xfrm>
        </p:spPr>
        <p:txBody>
          <a:bodyPr/>
          <a:lstStyle/>
          <a:p>
            <a:r>
              <a:rPr lang="en-US" sz="4000" dirty="0"/>
              <a:t>Euclidian Geometry</a:t>
            </a:r>
          </a:p>
        </p:txBody>
      </p:sp>
      <p:sp>
        <p:nvSpPr>
          <p:cNvPr id="9" name="Content Placeholder 8">
            <a:extLst>
              <a:ext uri="{FF2B5EF4-FFF2-40B4-BE49-F238E27FC236}">
                <a16:creationId xmlns:a16="http://schemas.microsoft.com/office/drawing/2014/main" id="{41C237DE-C53F-D14F-8D52-9BB95D610A67}"/>
              </a:ext>
            </a:extLst>
          </p:cNvPr>
          <p:cNvSpPr>
            <a:spLocks noGrp="1"/>
          </p:cNvSpPr>
          <p:nvPr>
            <p:ph idx="1"/>
          </p:nvPr>
        </p:nvSpPr>
        <p:spPr>
          <a:xfrm>
            <a:off x="7221266" y="5963146"/>
            <a:ext cx="8280400" cy="2527139"/>
          </a:xfrm>
        </p:spPr>
        <p:txBody>
          <a:bodyPr/>
          <a:lstStyle/>
          <a:p>
            <a:r>
              <a:rPr lang="en-US" sz="2400" dirty="0"/>
              <a:t>When all points in a plane have </a:t>
            </a:r>
            <a:r>
              <a:rPr lang="en-US" sz="2400" b="1" dirty="0"/>
              <a:t>equal</a:t>
            </a:r>
            <a:r>
              <a:rPr lang="en-US" sz="2400" dirty="0"/>
              <a:t> spacing, we have “Euclidian” geometry</a:t>
            </a:r>
          </a:p>
          <a:p>
            <a:r>
              <a:rPr lang="en-US" sz="2400" dirty="0"/>
              <a:t>Euclidian geometry has properties that are ideal for “SIMD” architectures: single instruction, multiple data</a:t>
            </a:r>
          </a:p>
          <a:p>
            <a:r>
              <a:rPr lang="en-US" sz="2400" dirty="0"/>
              <a:t>Each item has </a:t>
            </a:r>
            <a:r>
              <a:rPr lang="en-US" sz="2400" b="1" dirty="0"/>
              <a:t>uniform</a:t>
            </a:r>
            <a:r>
              <a:rPr lang="en-US" sz="2400" dirty="0"/>
              <a:t> homogeneous data (red, green, blue values)</a:t>
            </a:r>
          </a:p>
        </p:txBody>
      </p:sp>
      <p:sp>
        <p:nvSpPr>
          <p:cNvPr id="5" name="Slide Number Placeholder 4">
            <a:extLst>
              <a:ext uri="{FF2B5EF4-FFF2-40B4-BE49-F238E27FC236}">
                <a16:creationId xmlns:a16="http://schemas.microsoft.com/office/drawing/2014/main" id="{964F5669-5B72-8A4F-920C-92088C244E04}"/>
              </a:ext>
            </a:extLst>
          </p:cNvPr>
          <p:cNvSpPr>
            <a:spLocks noGrp="1"/>
          </p:cNvSpPr>
          <p:nvPr>
            <p:ph type="sldNum" sz="quarter" idx="12"/>
          </p:nvPr>
        </p:nvSpPr>
        <p:spPr/>
        <p:txBody>
          <a:bodyPr/>
          <a:lstStyle/>
          <a:p>
            <a:fld id="{3310D8EA-3107-4873-B9AB-DD7D3E79053A}" type="slidenum">
              <a:rPr lang="en-US" smtClean="0"/>
              <a:t>19</a:t>
            </a:fld>
            <a:endParaRPr lang="en-US"/>
          </a:p>
        </p:txBody>
      </p:sp>
      <p:pic>
        <p:nvPicPr>
          <p:cNvPr id="2050" name="Picture 2">
            <a:extLst>
              <a:ext uri="{FF2B5EF4-FFF2-40B4-BE49-F238E27FC236}">
                <a16:creationId xmlns:a16="http://schemas.microsoft.com/office/drawing/2014/main" id="{8F60BF0F-CB9D-F942-AD3C-D781CE4E4AC5}"/>
              </a:ext>
            </a:extLst>
          </p:cNvPr>
          <p:cNvPicPr>
            <a:picLocks noChangeAspect="1" noChangeArrowheads="1"/>
          </p:cNvPicPr>
          <p:nvPr/>
        </p:nvPicPr>
        <p:blipFill>
          <a:blip r:embed="rId2">
            <a:extLst>
              <a:ext uri="{28A0092B-C50C-407E-A947-70E740481C1C}">
                <a14:useLocalDpi xmlns:a14="http://schemas.microsoft.com/office/drawing/2010/main"/>
              </a:ext>
            </a:extLst>
          </a:blip>
          <a:srcRect/>
          <a:stretch>
            <a:fillRect/>
          </a:stretch>
        </p:blipFill>
        <p:spPr bwMode="auto">
          <a:xfrm>
            <a:off x="1225237" y="1934054"/>
            <a:ext cx="4879801" cy="5748241"/>
          </a:xfrm>
          <a:prstGeom prst="rect">
            <a:avLst/>
          </a:prstGeom>
          <a:noFill/>
          <a:extLst>
            <a:ext uri="{909E8E84-426E-40DD-AFC4-6F175D3DCCD1}">
              <a14:hiddenFill xmlns:a14="http://schemas.microsoft.com/office/drawing/2010/main">
                <a:solidFill>
                  <a:srgbClr val="FFFFFF"/>
                </a:solidFill>
              </a14:hiddenFill>
            </a:ext>
          </a:extLst>
        </p:spPr>
      </p:pic>
      <p:sp>
        <p:nvSpPr>
          <p:cNvPr id="10" name="TextBox 9">
            <a:extLst>
              <a:ext uri="{FF2B5EF4-FFF2-40B4-BE49-F238E27FC236}">
                <a16:creationId xmlns:a16="http://schemas.microsoft.com/office/drawing/2014/main" id="{C2365A00-A60F-8149-8936-345EAA9D1D0C}"/>
              </a:ext>
            </a:extLst>
          </p:cNvPr>
          <p:cNvSpPr txBox="1"/>
          <p:nvPr/>
        </p:nvSpPr>
        <p:spPr>
          <a:xfrm>
            <a:off x="1461114" y="7804892"/>
            <a:ext cx="4487334" cy="1209177"/>
          </a:xfrm>
          <a:prstGeom prst="rect">
            <a:avLst/>
          </a:prstGeom>
          <a:noFill/>
        </p:spPr>
        <p:txBody>
          <a:bodyPr wrap="square" rtlCol="0">
            <a:spAutoFit/>
          </a:bodyPr>
          <a:lstStyle/>
          <a:p>
            <a:pPr algn="ctr"/>
            <a:r>
              <a:rPr lang="en-US" sz="2400" dirty="0"/>
              <a:t>Detail from </a:t>
            </a:r>
            <a:r>
              <a:rPr lang="en-US" sz="2400" i="1" dirty="0"/>
              <a:t>The School of Athens </a:t>
            </a:r>
            <a:r>
              <a:rPr lang="en-US" sz="2400" dirty="0"/>
              <a:t>depicting the instruction of </a:t>
            </a:r>
            <a:r>
              <a:rPr lang="en-US" sz="2400" b="1" dirty="0"/>
              <a:t>plane</a:t>
            </a:r>
            <a:r>
              <a:rPr lang="en-US" sz="2400" dirty="0"/>
              <a:t> geometry</a:t>
            </a:r>
          </a:p>
        </p:txBody>
      </p:sp>
      <p:sp>
        <p:nvSpPr>
          <p:cNvPr id="11" name="TextBox 10">
            <a:extLst>
              <a:ext uri="{FF2B5EF4-FFF2-40B4-BE49-F238E27FC236}">
                <a16:creationId xmlns:a16="http://schemas.microsoft.com/office/drawing/2014/main" id="{02151B09-F1CE-EB44-849B-C9EB02A6E013}"/>
              </a:ext>
            </a:extLst>
          </p:cNvPr>
          <p:cNvSpPr txBox="1"/>
          <p:nvPr/>
        </p:nvSpPr>
        <p:spPr>
          <a:xfrm>
            <a:off x="11361466" y="9014069"/>
            <a:ext cx="5160387" cy="369332"/>
          </a:xfrm>
          <a:prstGeom prst="rect">
            <a:avLst/>
          </a:prstGeom>
          <a:noFill/>
        </p:spPr>
        <p:txBody>
          <a:bodyPr wrap="none" rtlCol="0">
            <a:spAutoFit/>
          </a:bodyPr>
          <a:lstStyle/>
          <a:p>
            <a:r>
              <a:rPr lang="en-US" sz="1800" dirty="0">
                <a:solidFill>
                  <a:schemeClr val="bg1">
                    <a:lumMod val="50000"/>
                  </a:schemeClr>
                </a:solidFill>
              </a:rPr>
              <a:t>https://</a:t>
            </a:r>
            <a:r>
              <a:rPr lang="en-US" sz="1800" dirty="0" err="1">
                <a:solidFill>
                  <a:schemeClr val="bg1">
                    <a:lumMod val="50000"/>
                  </a:schemeClr>
                </a:solidFill>
              </a:rPr>
              <a:t>en.wikipedia.org</a:t>
            </a:r>
            <a:r>
              <a:rPr lang="en-US" sz="1800" dirty="0">
                <a:solidFill>
                  <a:schemeClr val="bg1">
                    <a:lumMod val="50000"/>
                  </a:schemeClr>
                </a:solidFill>
              </a:rPr>
              <a:t>/wiki/</a:t>
            </a:r>
            <a:r>
              <a:rPr lang="en-US" sz="1800" dirty="0" err="1">
                <a:solidFill>
                  <a:schemeClr val="bg1">
                    <a:lumMod val="50000"/>
                  </a:schemeClr>
                </a:solidFill>
              </a:rPr>
              <a:t>Euclidean_geometry</a:t>
            </a:r>
            <a:endParaRPr lang="en-US" sz="1800" dirty="0">
              <a:solidFill>
                <a:schemeClr val="bg1">
                  <a:lumMod val="50000"/>
                </a:schemeClr>
              </a:solidFill>
            </a:endParaRPr>
          </a:p>
        </p:txBody>
      </p:sp>
      <p:sp>
        <p:nvSpPr>
          <p:cNvPr id="14" name="Oval 13">
            <a:extLst>
              <a:ext uri="{FF2B5EF4-FFF2-40B4-BE49-F238E27FC236}">
                <a16:creationId xmlns:a16="http://schemas.microsoft.com/office/drawing/2014/main" id="{E33782E9-9559-124F-9A0D-F8A6514406F9}"/>
              </a:ext>
            </a:extLst>
          </p:cNvPr>
          <p:cNvSpPr/>
          <p:nvPr/>
        </p:nvSpPr>
        <p:spPr bwMode="auto">
          <a:xfrm>
            <a:off x="10701718" y="2744464"/>
            <a:ext cx="388620" cy="291541"/>
          </a:xfrm>
          <a:prstGeom prst="ellipse">
            <a:avLst/>
          </a:prstGeom>
          <a:solidFill>
            <a:schemeClr val="accent1">
              <a:lumMod val="20000"/>
              <a:lumOff val="80000"/>
            </a:schemeClr>
          </a:solidFill>
          <a:ln w="12700" cap="flat" cmpd="sng" algn="ctr">
            <a:solidFill>
              <a:schemeClr val="tx1"/>
            </a:solidFill>
            <a:prstDash val="solid"/>
            <a:round/>
            <a:headEnd type="none" w="med" len="med"/>
            <a:tailEnd type="none" w="med" len="med"/>
          </a:ln>
          <a:effectLst/>
        </p:spPr>
        <p:txBody>
          <a:bodyPr vert="horz" wrap="square" lIns="116616" tIns="58308" rIns="116616" bIns="58308" numCol="1" rtlCol="0" anchor="t" anchorCtr="0" compatLnSpc="1">
            <a:prstTxWarp prst="textNoShape">
              <a:avLst/>
            </a:prstTxWarp>
          </a:bodyPr>
          <a:lstStyle/>
          <a:p>
            <a:pPr algn="ctr" defTabSz="1166036" fontAlgn="base">
              <a:spcBef>
                <a:spcPct val="0"/>
              </a:spcBef>
              <a:spcAft>
                <a:spcPct val="0"/>
              </a:spcAft>
            </a:pPr>
            <a:endParaRPr lang="en-US" sz="3061" b="1">
              <a:latin typeface="Arial Narrow" charset="0"/>
            </a:endParaRPr>
          </a:p>
        </p:txBody>
      </p:sp>
      <p:sp>
        <p:nvSpPr>
          <p:cNvPr id="15" name="Oval 14">
            <a:extLst>
              <a:ext uri="{FF2B5EF4-FFF2-40B4-BE49-F238E27FC236}">
                <a16:creationId xmlns:a16="http://schemas.microsoft.com/office/drawing/2014/main" id="{C4B9BE11-C8D3-D947-AAD8-96F8E6204A6A}"/>
              </a:ext>
            </a:extLst>
          </p:cNvPr>
          <p:cNvSpPr/>
          <p:nvPr/>
        </p:nvSpPr>
        <p:spPr bwMode="auto">
          <a:xfrm>
            <a:off x="10701718" y="3349068"/>
            <a:ext cx="388620" cy="291541"/>
          </a:xfrm>
          <a:prstGeom prst="ellipse">
            <a:avLst/>
          </a:prstGeom>
          <a:solidFill>
            <a:schemeClr val="accent1">
              <a:lumMod val="40000"/>
              <a:lumOff val="60000"/>
            </a:schemeClr>
          </a:solidFill>
          <a:ln w="12700" cap="flat" cmpd="sng" algn="ctr">
            <a:solidFill>
              <a:schemeClr val="tx1"/>
            </a:solidFill>
            <a:prstDash val="solid"/>
            <a:round/>
            <a:headEnd type="none" w="med" len="med"/>
            <a:tailEnd type="none" w="med" len="med"/>
          </a:ln>
          <a:effectLst/>
        </p:spPr>
        <p:txBody>
          <a:bodyPr vert="horz" wrap="square" lIns="116616" tIns="58308" rIns="116616" bIns="58308" numCol="1" rtlCol="0" anchor="t" anchorCtr="0" compatLnSpc="1">
            <a:prstTxWarp prst="textNoShape">
              <a:avLst/>
            </a:prstTxWarp>
          </a:bodyPr>
          <a:lstStyle/>
          <a:p>
            <a:pPr algn="ctr" defTabSz="1166036" fontAlgn="base">
              <a:spcBef>
                <a:spcPct val="0"/>
              </a:spcBef>
              <a:spcAft>
                <a:spcPct val="0"/>
              </a:spcAft>
            </a:pPr>
            <a:endParaRPr lang="en-US" sz="3061" b="1">
              <a:latin typeface="Arial Narrow" charset="0"/>
            </a:endParaRPr>
          </a:p>
        </p:txBody>
      </p:sp>
      <p:sp>
        <p:nvSpPr>
          <p:cNvPr id="16" name="Oval 15">
            <a:extLst>
              <a:ext uri="{FF2B5EF4-FFF2-40B4-BE49-F238E27FC236}">
                <a16:creationId xmlns:a16="http://schemas.microsoft.com/office/drawing/2014/main" id="{E2D6EDDE-F363-E249-BCC3-2AF5A0C96AF2}"/>
              </a:ext>
            </a:extLst>
          </p:cNvPr>
          <p:cNvSpPr/>
          <p:nvPr/>
        </p:nvSpPr>
        <p:spPr bwMode="auto">
          <a:xfrm>
            <a:off x="9998981" y="3951698"/>
            <a:ext cx="388620" cy="291541"/>
          </a:xfrm>
          <a:prstGeom prst="ellipse">
            <a:avLst/>
          </a:prstGeom>
          <a:solidFill>
            <a:schemeClr val="bg1">
              <a:lumMod val="75000"/>
            </a:schemeClr>
          </a:solidFill>
          <a:ln w="12700" cap="flat" cmpd="sng" algn="ctr">
            <a:solidFill>
              <a:schemeClr val="tx1"/>
            </a:solidFill>
            <a:prstDash val="solid"/>
            <a:round/>
            <a:headEnd type="none" w="med" len="med"/>
            <a:tailEnd type="none" w="med" len="med"/>
          </a:ln>
          <a:effectLst/>
        </p:spPr>
        <p:txBody>
          <a:bodyPr vert="horz" wrap="square" lIns="116616" tIns="58308" rIns="116616" bIns="58308" numCol="1" rtlCol="0" anchor="t" anchorCtr="0" compatLnSpc="1">
            <a:prstTxWarp prst="textNoShape">
              <a:avLst/>
            </a:prstTxWarp>
          </a:bodyPr>
          <a:lstStyle/>
          <a:p>
            <a:pPr algn="ctr" defTabSz="1166036" fontAlgn="base">
              <a:spcBef>
                <a:spcPct val="0"/>
              </a:spcBef>
              <a:spcAft>
                <a:spcPct val="0"/>
              </a:spcAft>
            </a:pPr>
            <a:endParaRPr lang="en-US" sz="3061" b="1">
              <a:latin typeface="Arial Narrow" charset="0"/>
            </a:endParaRPr>
          </a:p>
        </p:txBody>
      </p:sp>
      <p:sp>
        <p:nvSpPr>
          <p:cNvPr id="19" name="Oval 18">
            <a:extLst>
              <a:ext uri="{FF2B5EF4-FFF2-40B4-BE49-F238E27FC236}">
                <a16:creationId xmlns:a16="http://schemas.microsoft.com/office/drawing/2014/main" id="{2E98063F-82B0-3B41-8F62-80A28C738027}"/>
              </a:ext>
            </a:extLst>
          </p:cNvPr>
          <p:cNvSpPr/>
          <p:nvPr/>
        </p:nvSpPr>
        <p:spPr bwMode="auto">
          <a:xfrm>
            <a:off x="9998981" y="3349068"/>
            <a:ext cx="388620" cy="291541"/>
          </a:xfrm>
          <a:prstGeom prst="ellipse">
            <a:avLst/>
          </a:prstGeom>
          <a:solidFill>
            <a:schemeClr val="bg1">
              <a:lumMod val="85000"/>
            </a:schemeClr>
          </a:solidFill>
          <a:ln w="12700" cap="flat" cmpd="sng" algn="ctr">
            <a:solidFill>
              <a:schemeClr val="tx1"/>
            </a:solidFill>
            <a:prstDash val="solid"/>
            <a:round/>
            <a:headEnd type="none" w="med" len="med"/>
            <a:tailEnd type="none" w="med" len="med"/>
          </a:ln>
          <a:effectLst/>
        </p:spPr>
        <p:txBody>
          <a:bodyPr vert="horz" wrap="square" lIns="116616" tIns="58308" rIns="116616" bIns="58308" numCol="1" rtlCol="0" anchor="t" anchorCtr="0" compatLnSpc="1">
            <a:prstTxWarp prst="textNoShape">
              <a:avLst/>
            </a:prstTxWarp>
          </a:bodyPr>
          <a:lstStyle/>
          <a:p>
            <a:pPr algn="ctr" defTabSz="1166036" fontAlgn="base">
              <a:spcBef>
                <a:spcPct val="0"/>
              </a:spcBef>
              <a:spcAft>
                <a:spcPct val="0"/>
              </a:spcAft>
            </a:pPr>
            <a:endParaRPr lang="en-US" sz="3061" b="1">
              <a:latin typeface="Arial Narrow" charset="0"/>
            </a:endParaRPr>
          </a:p>
        </p:txBody>
      </p:sp>
      <p:sp>
        <p:nvSpPr>
          <p:cNvPr id="21" name="Oval 20">
            <a:extLst>
              <a:ext uri="{FF2B5EF4-FFF2-40B4-BE49-F238E27FC236}">
                <a16:creationId xmlns:a16="http://schemas.microsoft.com/office/drawing/2014/main" id="{3AB835FB-B360-284D-AA25-A43AEA7D5374}"/>
              </a:ext>
            </a:extLst>
          </p:cNvPr>
          <p:cNvSpPr/>
          <p:nvPr/>
        </p:nvSpPr>
        <p:spPr bwMode="auto">
          <a:xfrm>
            <a:off x="9991092" y="2744464"/>
            <a:ext cx="388620" cy="291541"/>
          </a:xfrm>
          <a:prstGeom prst="ellipse">
            <a:avLst/>
          </a:prstGeom>
          <a:solidFill>
            <a:schemeClr val="bg1">
              <a:lumMod val="65000"/>
            </a:schemeClr>
          </a:solidFill>
          <a:ln w="12700" cap="flat" cmpd="sng" algn="ctr">
            <a:solidFill>
              <a:schemeClr val="tx1"/>
            </a:solidFill>
            <a:prstDash val="solid"/>
            <a:round/>
            <a:headEnd type="none" w="med" len="med"/>
            <a:tailEnd type="none" w="med" len="med"/>
          </a:ln>
          <a:effectLst/>
        </p:spPr>
        <p:txBody>
          <a:bodyPr vert="horz" wrap="square" lIns="116616" tIns="58308" rIns="116616" bIns="58308" numCol="1" rtlCol="0" anchor="t" anchorCtr="0" compatLnSpc="1">
            <a:prstTxWarp prst="textNoShape">
              <a:avLst/>
            </a:prstTxWarp>
          </a:bodyPr>
          <a:lstStyle/>
          <a:p>
            <a:pPr algn="ctr" defTabSz="1166036" fontAlgn="base">
              <a:spcBef>
                <a:spcPct val="0"/>
              </a:spcBef>
              <a:spcAft>
                <a:spcPct val="0"/>
              </a:spcAft>
            </a:pPr>
            <a:endParaRPr lang="en-US" sz="3061" b="1">
              <a:latin typeface="Arial Narrow" charset="0"/>
            </a:endParaRPr>
          </a:p>
        </p:txBody>
      </p:sp>
      <p:cxnSp>
        <p:nvCxnSpPr>
          <p:cNvPr id="23" name="Straight Arrow Connector 22">
            <a:extLst>
              <a:ext uri="{FF2B5EF4-FFF2-40B4-BE49-F238E27FC236}">
                <a16:creationId xmlns:a16="http://schemas.microsoft.com/office/drawing/2014/main" id="{398ABE91-996F-2C49-A9A8-584893D57FC0}"/>
              </a:ext>
            </a:extLst>
          </p:cNvPr>
          <p:cNvCxnSpPr>
            <a:cxnSpLocks/>
            <a:stCxn id="21" idx="6"/>
            <a:endCxn id="14" idx="2"/>
          </p:cNvCxnSpPr>
          <p:nvPr/>
        </p:nvCxnSpPr>
        <p:spPr>
          <a:xfrm>
            <a:off x="10379712" y="2890235"/>
            <a:ext cx="322006" cy="0"/>
          </a:xfrm>
          <a:prstGeom prst="straightConnector1">
            <a:avLst/>
          </a:prstGeom>
          <a:ln w="28575">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4" name="Straight Arrow Connector 23">
            <a:extLst>
              <a:ext uri="{FF2B5EF4-FFF2-40B4-BE49-F238E27FC236}">
                <a16:creationId xmlns:a16="http://schemas.microsoft.com/office/drawing/2014/main" id="{CBE79284-58E9-6B4D-866C-FB9F5F264811}"/>
              </a:ext>
            </a:extLst>
          </p:cNvPr>
          <p:cNvCxnSpPr>
            <a:cxnSpLocks/>
            <a:stCxn id="14" idx="4"/>
            <a:endCxn id="15" idx="0"/>
          </p:cNvCxnSpPr>
          <p:nvPr/>
        </p:nvCxnSpPr>
        <p:spPr>
          <a:xfrm>
            <a:off x="10896028" y="3036005"/>
            <a:ext cx="0" cy="313063"/>
          </a:xfrm>
          <a:prstGeom prst="straightConnector1">
            <a:avLst/>
          </a:prstGeom>
          <a:ln w="28575">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0" name="Straight Arrow Connector 29">
            <a:extLst>
              <a:ext uri="{FF2B5EF4-FFF2-40B4-BE49-F238E27FC236}">
                <a16:creationId xmlns:a16="http://schemas.microsoft.com/office/drawing/2014/main" id="{1BC6BDFB-028B-C744-8630-230793BB1827}"/>
              </a:ext>
            </a:extLst>
          </p:cNvPr>
          <p:cNvCxnSpPr>
            <a:cxnSpLocks/>
            <a:stCxn id="15" idx="2"/>
            <a:endCxn id="19" idx="6"/>
          </p:cNvCxnSpPr>
          <p:nvPr/>
        </p:nvCxnSpPr>
        <p:spPr>
          <a:xfrm flipH="1">
            <a:off x="10387601" y="3494839"/>
            <a:ext cx="314117" cy="0"/>
          </a:xfrm>
          <a:prstGeom prst="straightConnector1">
            <a:avLst/>
          </a:prstGeom>
          <a:ln w="28575">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1" name="Straight Arrow Connector 30">
            <a:extLst>
              <a:ext uri="{FF2B5EF4-FFF2-40B4-BE49-F238E27FC236}">
                <a16:creationId xmlns:a16="http://schemas.microsoft.com/office/drawing/2014/main" id="{A9C31132-F661-D546-8866-0FB70E61A4AE}"/>
              </a:ext>
            </a:extLst>
          </p:cNvPr>
          <p:cNvCxnSpPr>
            <a:cxnSpLocks/>
            <a:stCxn id="21" idx="4"/>
            <a:endCxn id="19" idx="0"/>
          </p:cNvCxnSpPr>
          <p:nvPr/>
        </p:nvCxnSpPr>
        <p:spPr>
          <a:xfrm>
            <a:off x="10185402" y="3036005"/>
            <a:ext cx="7889" cy="313063"/>
          </a:xfrm>
          <a:prstGeom prst="straightConnector1">
            <a:avLst/>
          </a:prstGeom>
          <a:ln w="28575">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3" name="Straight Arrow Connector 32">
            <a:extLst>
              <a:ext uri="{FF2B5EF4-FFF2-40B4-BE49-F238E27FC236}">
                <a16:creationId xmlns:a16="http://schemas.microsoft.com/office/drawing/2014/main" id="{84C99289-1951-CE4C-B129-0698E072E177}"/>
              </a:ext>
            </a:extLst>
          </p:cNvPr>
          <p:cNvCxnSpPr>
            <a:cxnSpLocks/>
            <a:stCxn id="16" idx="0"/>
            <a:endCxn id="19" idx="4"/>
          </p:cNvCxnSpPr>
          <p:nvPr/>
        </p:nvCxnSpPr>
        <p:spPr>
          <a:xfrm flipV="1">
            <a:off x="10193291" y="3640609"/>
            <a:ext cx="0" cy="311089"/>
          </a:xfrm>
          <a:prstGeom prst="straightConnector1">
            <a:avLst/>
          </a:prstGeom>
          <a:ln w="28575">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4" name="Oval 33">
            <a:extLst>
              <a:ext uri="{FF2B5EF4-FFF2-40B4-BE49-F238E27FC236}">
                <a16:creationId xmlns:a16="http://schemas.microsoft.com/office/drawing/2014/main" id="{EFF9D270-280B-1149-9027-C57F2B1FA720}"/>
              </a:ext>
            </a:extLst>
          </p:cNvPr>
          <p:cNvSpPr/>
          <p:nvPr/>
        </p:nvSpPr>
        <p:spPr bwMode="auto">
          <a:xfrm>
            <a:off x="9998981" y="4554328"/>
            <a:ext cx="388620" cy="291541"/>
          </a:xfrm>
          <a:prstGeom prst="ellipse">
            <a:avLst/>
          </a:prstGeom>
          <a:solidFill>
            <a:schemeClr val="bg1">
              <a:lumMod val="50000"/>
            </a:schemeClr>
          </a:solidFill>
          <a:ln w="12700" cap="flat" cmpd="sng" algn="ctr">
            <a:solidFill>
              <a:schemeClr val="tx1"/>
            </a:solidFill>
            <a:prstDash val="solid"/>
            <a:round/>
            <a:headEnd type="none" w="med" len="med"/>
            <a:tailEnd type="none" w="med" len="med"/>
          </a:ln>
          <a:effectLst/>
        </p:spPr>
        <p:txBody>
          <a:bodyPr vert="horz" wrap="square" lIns="116616" tIns="58308" rIns="116616" bIns="58308" numCol="1" rtlCol="0" anchor="t" anchorCtr="0" compatLnSpc="1">
            <a:prstTxWarp prst="textNoShape">
              <a:avLst/>
            </a:prstTxWarp>
          </a:bodyPr>
          <a:lstStyle/>
          <a:p>
            <a:pPr algn="ctr" defTabSz="1166036" fontAlgn="base">
              <a:spcBef>
                <a:spcPct val="0"/>
              </a:spcBef>
              <a:spcAft>
                <a:spcPct val="0"/>
              </a:spcAft>
            </a:pPr>
            <a:endParaRPr lang="en-US" sz="3061" b="1">
              <a:latin typeface="Arial Narrow" charset="0"/>
            </a:endParaRPr>
          </a:p>
        </p:txBody>
      </p:sp>
      <p:cxnSp>
        <p:nvCxnSpPr>
          <p:cNvPr id="73" name="Straight Arrow Connector 72">
            <a:extLst>
              <a:ext uri="{FF2B5EF4-FFF2-40B4-BE49-F238E27FC236}">
                <a16:creationId xmlns:a16="http://schemas.microsoft.com/office/drawing/2014/main" id="{2372B441-DB1B-434A-A57E-1E969FC6D74C}"/>
              </a:ext>
            </a:extLst>
          </p:cNvPr>
          <p:cNvCxnSpPr>
            <a:cxnSpLocks/>
            <a:stCxn id="34" idx="0"/>
            <a:endCxn id="16" idx="4"/>
          </p:cNvCxnSpPr>
          <p:nvPr/>
        </p:nvCxnSpPr>
        <p:spPr>
          <a:xfrm flipV="1">
            <a:off x="10193291" y="4243239"/>
            <a:ext cx="0" cy="311089"/>
          </a:xfrm>
          <a:prstGeom prst="straightConnector1">
            <a:avLst/>
          </a:prstGeom>
          <a:ln w="28575">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77" name="Oval 76">
            <a:extLst>
              <a:ext uri="{FF2B5EF4-FFF2-40B4-BE49-F238E27FC236}">
                <a16:creationId xmlns:a16="http://schemas.microsoft.com/office/drawing/2014/main" id="{008FFFBB-99C2-4344-9589-DF8B19125014}"/>
              </a:ext>
            </a:extLst>
          </p:cNvPr>
          <p:cNvSpPr/>
          <p:nvPr/>
        </p:nvSpPr>
        <p:spPr bwMode="auto">
          <a:xfrm>
            <a:off x="10697415" y="3942162"/>
            <a:ext cx="388620" cy="291541"/>
          </a:xfrm>
          <a:prstGeom prst="ellipse">
            <a:avLst/>
          </a:prstGeom>
          <a:solidFill>
            <a:schemeClr val="accent1">
              <a:lumMod val="60000"/>
              <a:lumOff val="40000"/>
            </a:schemeClr>
          </a:solidFill>
          <a:ln w="12700" cap="flat" cmpd="sng" algn="ctr">
            <a:solidFill>
              <a:schemeClr val="tx1"/>
            </a:solidFill>
            <a:prstDash val="solid"/>
            <a:round/>
            <a:headEnd type="none" w="med" len="med"/>
            <a:tailEnd type="none" w="med" len="med"/>
          </a:ln>
          <a:effectLst/>
        </p:spPr>
        <p:txBody>
          <a:bodyPr vert="horz" wrap="square" lIns="116616" tIns="58308" rIns="116616" bIns="58308" numCol="1" rtlCol="0" anchor="t" anchorCtr="0" compatLnSpc="1">
            <a:prstTxWarp prst="textNoShape">
              <a:avLst/>
            </a:prstTxWarp>
          </a:bodyPr>
          <a:lstStyle/>
          <a:p>
            <a:pPr algn="ctr" defTabSz="1166036" fontAlgn="base">
              <a:spcBef>
                <a:spcPct val="0"/>
              </a:spcBef>
              <a:spcAft>
                <a:spcPct val="0"/>
              </a:spcAft>
            </a:pPr>
            <a:endParaRPr lang="en-US" sz="3061" b="1">
              <a:latin typeface="Arial Narrow" charset="0"/>
            </a:endParaRPr>
          </a:p>
        </p:txBody>
      </p:sp>
      <p:sp>
        <p:nvSpPr>
          <p:cNvPr id="78" name="Oval 77">
            <a:extLst>
              <a:ext uri="{FF2B5EF4-FFF2-40B4-BE49-F238E27FC236}">
                <a16:creationId xmlns:a16="http://schemas.microsoft.com/office/drawing/2014/main" id="{239B98F6-FF6B-3342-9DD8-3A83440EA2A9}"/>
              </a:ext>
            </a:extLst>
          </p:cNvPr>
          <p:cNvSpPr/>
          <p:nvPr/>
        </p:nvSpPr>
        <p:spPr bwMode="auto">
          <a:xfrm>
            <a:off x="10697415" y="4554328"/>
            <a:ext cx="388620" cy="291541"/>
          </a:xfrm>
          <a:prstGeom prst="ellipse">
            <a:avLst/>
          </a:prstGeom>
          <a:solidFill>
            <a:schemeClr val="accent1">
              <a:lumMod val="75000"/>
            </a:schemeClr>
          </a:solidFill>
          <a:ln w="12700" cap="flat" cmpd="sng" algn="ctr">
            <a:solidFill>
              <a:schemeClr val="tx1"/>
            </a:solidFill>
            <a:prstDash val="solid"/>
            <a:round/>
            <a:headEnd type="none" w="med" len="med"/>
            <a:tailEnd type="none" w="med" len="med"/>
          </a:ln>
          <a:effectLst/>
        </p:spPr>
        <p:txBody>
          <a:bodyPr vert="horz" wrap="square" lIns="116616" tIns="58308" rIns="116616" bIns="58308" numCol="1" rtlCol="0" anchor="t" anchorCtr="0" compatLnSpc="1">
            <a:prstTxWarp prst="textNoShape">
              <a:avLst/>
            </a:prstTxWarp>
          </a:bodyPr>
          <a:lstStyle/>
          <a:p>
            <a:pPr algn="ctr" defTabSz="1166036" fontAlgn="base">
              <a:spcBef>
                <a:spcPct val="0"/>
              </a:spcBef>
              <a:spcAft>
                <a:spcPct val="0"/>
              </a:spcAft>
            </a:pPr>
            <a:endParaRPr lang="en-US" sz="3061" b="1">
              <a:latin typeface="Arial Narrow" charset="0"/>
            </a:endParaRPr>
          </a:p>
        </p:txBody>
      </p:sp>
      <p:cxnSp>
        <p:nvCxnSpPr>
          <p:cNvPr id="79" name="Straight Arrow Connector 78">
            <a:extLst>
              <a:ext uri="{FF2B5EF4-FFF2-40B4-BE49-F238E27FC236}">
                <a16:creationId xmlns:a16="http://schemas.microsoft.com/office/drawing/2014/main" id="{9426950A-5CE6-D241-AFAD-3E5038253FD9}"/>
              </a:ext>
            </a:extLst>
          </p:cNvPr>
          <p:cNvCxnSpPr>
            <a:cxnSpLocks/>
            <a:endCxn id="77" idx="2"/>
          </p:cNvCxnSpPr>
          <p:nvPr/>
        </p:nvCxnSpPr>
        <p:spPr>
          <a:xfrm>
            <a:off x="10375409" y="4087933"/>
            <a:ext cx="322006" cy="0"/>
          </a:xfrm>
          <a:prstGeom prst="straightConnector1">
            <a:avLst/>
          </a:prstGeom>
          <a:ln w="28575">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0" name="Straight Arrow Connector 79">
            <a:extLst>
              <a:ext uri="{FF2B5EF4-FFF2-40B4-BE49-F238E27FC236}">
                <a16:creationId xmlns:a16="http://schemas.microsoft.com/office/drawing/2014/main" id="{E68D5CE6-6A39-3546-92E7-D5CA1EEAABE0}"/>
              </a:ext>
            </a:extLst>
          </p:cNvPr>
          <p:cNvCxnSpPr>
            <a:cxnSpLocks/>
            <a:stCxn id="77" idx="4"/>
            <a:endCxn id="78" idx="0"/>
          </p:cNvCxnSpPr>
          <p:nvPr/>
        </p:nvCxnSpPr>
        <p:spPr>
          <a:xfrm>
            <a:off x="10891725" y="4233703"/>
            <a:ext cx="0" cy="320625"/>
          </a:xfrm>
          <a:prstGeom prst="straightConnector1">
            <a:avLst/>
          </a:prstGeom>
          <a:ln w="28575">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1" name="Straight Arrow Connector 80">
            <a:extLst>
              <a:ext uri="{FF2B5EF4-FFF2-40B4-BE49-F238E27FC236}">
                <a16:creationId xmlns:a16="http://schemas.microsoft.com/office/drawing/2014/main" id="{35CB8104-95F5-7D45-AA52-1ADCC4A09CF9}"/>
              </a:ext>
            </a:extLst>
          </p:cNvPr>
          <p:cNvCxnSpPr>
            <a:cxnSpLocks/>
            <a:stCxn id="78" idx="2"/>
            <a:endCxn id="34" idx="6"/>
          </p:cNvCxnSpPr>
          <p:nvPr/>
        </p:nvCxnSpPr>
        <p:spPr>
          <a:xfrm flipH="1">
            <a:off x="10387601" y="4700099"/>
            <a:ext cx="309814" cy="0"/>
          </a:xfrm>
          <a:prstGeom prst="straightConnector1">
            <a:avLst/>
          </a:prstGeom>
          <a:ln w="28575">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7" name="Straight Arrow Connector 86">
            <a:extLst>
              <a:ext uri="{FF2B5EF4-FFF2-40B4-BE49-F238E27FC236}">
                <a16:creationId xmlns:a16="http://schemas.microsoft.com/office/drawing/2014/main" id="{DAAB5969-E02B-7B4E-B1F2-4C58FBA44B6F}"/>
              </a:ext>
            </a:extLst>
          </p:cNvPr>
          <p:cNvCxnSpPr>
            <a:cxnSpLocks/>
            <a:stCxn id="15" idx="4"/>
            <a:endCxn id="77" idx="0"/>
          </p:cNvCxnSpPr>
          <p:nvPr/>
        </p:nvCxnSpPr>
        <p:spPr>
          <a:xfrm flipH="1">
            <a:off x="10891725" y="3640609"/>
            <a:ext cx="4303" cy="301553"/>
          </a:xfrm>
          <a:prstGeom prst="straightConnector1">
            <a:avLst/>
          </a:prstGeom>
          <a:ln w="28575">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90" name="Oval 89">
            <a:extLst>
              <a:ext uri="{FF2B5EF4-FFF2-40B4-BE49-F238E27FC236}">
                <a16:creationId xmlns:a16="http://schemas.microsoft.com/office/drawing/2014/main" id="{BE10539B-5214-E54A-BDAF-6261A5307378}"/>
              </a:ext>
            </a:extLst>
          </p:cNvPr>
          <p:cNvSpPr/>
          <p:nvPr/>
        </p:nvSpPr>
        <p:spPr bwMode="auto">
          <a:xfrm>
            <a:off x="11416647" y="2744464"/>
            <a:ext cx="388620" cy="291541"/>
          </a:xfrm>
          <a:prstGeom prst="ellipse">
            <a:avLst/>
          </a:prstGeom>
          <a:solidFill>
            <a:schemeClr val="accent1">
              <a:lumMod val="20000"/>
              <a:lumOff val="80000"/>
            </a:schemeClr>
          </a:solidFill>
          <a:ln w="12700" cap="flat" cmpd="sng" algn="ctr">
            <a:solidFill>
              <a:schemeClr val="tx1"/>
            </a:solidFill>
            <a:prstDash val="solid"/>
            <a:round/>
            <a:headEnd type="none" w="med" len="med"/>
            <a:tailEnd type="none" w="med" len="med"/>
          </a:ln>
          <a:effectLst/>
        </p:spPr>
        <p:txBody>
          <a:bodyPr vert="horz" wrap="square" lIns="116616" tIns="58308" rIns="116616" bIns="58308" numCol="1" rtlCol="0" anchor="t" anchorCtr="0" compatLnSpc="1">
            <a:prstTxWarp prst="textNoShape">
              <a:avLst/>
            </a:prstTxWarp>
          </a:bodyPr>
          <a:lstStyle/>
          <a:p>
            <a:pPr algn="ctr" defTabSz="1166036" fontAlgn="base">
              <a:spcBef>
                <a:spcPct val="0"/>
              </a:spcBef>
              <a:spcAft>
                <a:spcPct val="0"/>
              </a:spcAft>
            </a:pPr>
            <a:endParaRPr lang="en-US" sz="3061" b="1">
              <a:latin typeface="Arial Narrow" charset="0"/>
            </a:endParaRPr>
          </a:p>
        </p:txBody>
      </p:sp>
      <p:sp>
        <p:nvSpPr>
          <p:cNvPr id="91" name="Oval 90">
            <a:extLst>
              <a:ext uri="{FF2B5EF4-FFF2-40B4-BE49-F238E27FC236}">
                <a16:creationId xmlns:a16="http://schemas.microsoft.com/office/drawing/2014/main" id="{7DF46CBB-261E-944C-8DF3-B0266BC6265E}"/>
              </a:ext>
            </a:extLst>
          </p:cNvPr>
          <p:cNvSpPr/>
          <p:nvPr/>
        </p:nvSpPr>
        <p:spPr bwMode="auto">
          <a:xfrm>
            <a:off x="11416647" y="3349068"/>
            <a:ext cx="388620" cy="291541"/>
          </a:xfrm>
          <a:prstGeom prst="ellipse">
            <a:avLst/>
          </a:prstGeom>
          <a:solidFill>
            <a:schemeClr val="accent1">
              <a:lumMod val="40000"/>
              <a:lumOff val="60000"/>
            </a:schemeClr>
          </a:solidFill>
          <a:ln w="12700" cap="flat" cmpd="sng" algn="ctr">
            <a:solidFill>
              <a:schemeClr val="tx1"/>
            </a:solidFill>
            <a:prstDash val="solid"/>
            <a:round/>
            <a:headEnd type="none" w="med" len="med"/>
            <a:tailEnd type="none" w="med" len="med"/>
          </a:ln>
          <a:effectLst/>
        </p:spPr>
        <p:txBody>
          <a:bodyPr vert="horz" wrap="square" lIns="116616" tIns="58308" rIns="116616" bIns="58308" numCol="1" rtlCol="0" anchor="t" anchorCtr="0" compatLnSpc="1">
            <a:prstTxWarp prst="textNoShape">
              <a:avLst/>
            </a:prstTxWarp>
          </a:bodyPr>
          <a:lstStyle/>
          <a:p>
            <a:pPr algn="ctr" defTabSz="1166036" fontAlgn="base">
              <a:spcBef>
                <a:spcPct val="0"/>
              </a:spcBef>
              <a:spcAft>
                <a:spcPct val="0"/>
              </a:spcAft>
            </a:pPr>
            <a:endParaRPr lang="en-US" sz="3061" b="1">
              <a:latin typeface="Arial Narrow" charset="0"/>
            </a:endParaRPr>
          </a:p>
        </p:txBody>
      </p:sp>
      <p:cxnSp>
        <p:nvCxnSpPr>
          <p:cNvPr id="92" name="Straight Arrow Connector 91">
            <a:extLst>
              <a:ext uri="{FF2B5EF4-FFF2-40B4-BE49-F238E27FC236}">
                <a16:creationId xmlns:a16="http://schemas.microsoft.com/office/drawing/2014/main" id="{DFACEDC4-0193-3046-AC06-8A105C73C3E9}"/>
              </a:ext>
            </a:extLst>
          </p:cNvPr>
          <p:cNvCxnSpPr>
            <a:cxnSpLocks/>
            <a:endCxn id="90" idx="2"/>
          </p:cNvCxnSpPr>
          <p:nvPr/>
        </p:nvCxnSpPr>
        <p:spPr>
          <a:xfrm>
            <a:off x="11094641" y="2890235"/>
            <a:ext cx="322006" cy="0"/>
          </a:xfrm>
          <a:prstGeom prst="straightConnector1">
            <a:avLst/>
          </a:prstGeom>
          <a:ln w="28575">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3" name="Straight Arrow Connector 92">
            <a:extLst>
              <a:ext uri="{FF2B5EF4-FFF2-40B4-BE49-F238E27FC236}">
                <a16:creationId xmlns:a16="http://schemas.microsoft.com/office/drawing/2014/main" id="{E4A80831-4974-D84D-91EB-29437C71DA8A}"/>
              </a:ext>
            </a:extLst>
          </p:cNvPr>
          <p:cNvCxnSpPr>
            <a:cxnSpLocks/>
            <a:stCxn id="90" idx="4"/>
            <a:endCxn id="91" idx="0"/>
          </p:cNvCxnSpPr>
          <p:nvPr/>
        </p:nvCxnSpPr>
        <p:spPr>
          <a:xfrm>
            <a:off x="11610957" y="3036005"/>
            <a:ext cx="0" cy="313063"/>
          </a:xfrm>
          <a:prstGeom prst="straightConnector1">
            <a:avLst/>
          </a:prstGeom>
          <a:ln w="28575">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4" name="Straight Arrow Connector 93">
            <a:extLst>
              <a:ext uri="{FF2B5EF4-FFF2-40B4-BE49-F238E27FC236}">
                <a16:creationId xmlns:a16="http://schemas.microsoft.com/office/drawing/2014/main" id="{2AFDE1C5-038A-D944-BBCE-80F4BCE06E71}"/>
              </a:ext>
            </a:extLst>
          </p:cNvPr>
          <p:cNvCxnSpPr>
            <a:cxnSpLocks/>
            <a:stCxn id="91" idx="2"/>
          </p:cNvCxnSpPr>
          <p:nvPr/>
        </p:nvCxnSpPr>
        <p:spPr>
          <a:xfrm flipH="1">
            <a:off x="11102530" y="3494839"/>
            <a:ext cx="314117" cy="0"/>
          </a:xfrm>
          <a:prstGeom prst="straightConnector1">
            <a:avLst/>
          </a:prstGeom>
          <a:ln w="28575">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95" name="Oval 94">
            <a:extLst>
              <a:ext uri="{FF2B5EF4-FFF2-40B4-BE49-F238E27FC236}">
                <a16:creationId xmlns:a16="http://schemas.microsoft.com/office/drawing/2014/main" id="{9910456D-9941-CD43-A9D9-AEE40213D9AE}"/>
              </a:ext>
            </a:extLst>
          </p:cNvPr>
          <p:cNvSpPr/>
          <p:nvPr/>
        </p:nvSpPr>
        <p:spPr bwMode="auto">
          <a:xfrm>
            <a:off x="11412344" y="3942162"/>
            <a:ext cx="388620" cy="291541"/>
          </a:xfrm>
          <a:prstGeom prst="ellipse">
            <a:avLst/>
          </a:prstGeom>
          <a:solidFill>
            <a:schemeClr val="accent1">
              <a:lumMod val="75000"/>
            </a:schemeClr>
          </a:solidFill>
          <a:ln w="12700" cap="flat" cmpd="sng" algn="ctr">
            <a:solidFill>
              <a:schemeClr val="tx1"/>
            </a:solidFill>
            <a:prstDash val="solid"/>
            <a:round/>
            <a:headEnd type="none" w="med" len="med"/>
            <a:tailEnd type="none" w="med" len="med"/>
          </a:ln>
          <a:effectLst/>
        </p:spPr>
        <p:txBody>
          <a:bodyPr vert="horz" wrap="square" lIns="116616" tIns="58308" rIns="116616" bIns="58308" numCol="1" rtlCol="0" anchor="t" anchorCtr="0" compatLnSpc="1">
            <a:prstTxWarp prst="textNoShape">
              <a:avLst/>
            </a:prstTxWarp>
          </a:bodyPr>
          <a:lstStyle/>
          <a:p>
            <a:pPr algn="ctr" defTabSz="1166036" fontAlgn="base">
              <a:spcBef>
                <a:spcPct val="0"/>
              </a:spcBef>
              <a:spcAft>
                <a:spcPct val="0"/>
              </a:spcAft>
            </a:pPr>
            <a:endParaRPr lang="en-US" sz="3061" b="1">
              <a:latin typeface="Arial Narrow" charset="0"/>
            </a:endParaRPr>
          </a:p>
        </p:txBody>
      </p:sp>
      <p:sp>
        <p:nvSpPr>
          <p:cNvPr id="96" name="Oval 95">
            <a:extLst>
              <a:ext uri="{FF2B5EF4-FFF2-40B4-BE49-F238E27FC236}">
                <a16:creationId xmlns:a16="http://schemas.microsoft.com/office/drawing/2014/main" id="{6BF80CC1-655D-0745-8AC7-F6E36E5748EA}"/>
              </a:ext>
            </a:extLst>
          </p:cNvPr>
          <p:cNvSpPr/>
          <p:nvPr/>
        </p:nvSpPr>
        <p:spPr bwMode="auto">
          <a:xfrm>
            <a:off x="11412344" y="4546766"/>
            <a:ext cx="388620" cy="291541"/>
          </a:xfrm>
          <a:prstGeom prst="ellipse">
            <a:avLst/>
          </a:prstGeom>
          <a:solidFill>
            <a:schemeClr val="accent1">
              <a:lumMod val="50000"/>
            </a:schemeClr>
          </a:solidFill>
          <a:ln w="12700" cap="flat" cmpd="sng" algn="ctr">
            <a:solidFill>
              <a:schemeClr val="tx1"/>
            </a:solidFill>
            <a:prstDash val="solid"/>
            <a:round/>
            <a:headEnd type="none" w="med" len="med"/>
            <a:tailEnd type="none" w="med" len="med"/>
          </a:ln>
          <a:effectLst/>
        </p:spPr>
        <p:txBody>
          <a:bodyPr vert="horz" wrap="square" lIns="116616" tIns="58308" rIns="116616" bIns="58308" numCol="1" rtlCol="0" anchor="t" anchorCtr="0" compatLnSpc="1">
            <a:prstTxWarp prst="textNoShape">
              <a:avLst/>
            </a:prstTxWarp>
          </a:bodyPr>
          <a:lstStyle/>
          <a:p>
            <a:pPr algn="ctr" defTabSz="1166036" fontAlgn="base">
              <a:spcBef>
                <a:spcPct val="0"/>
              </a:spcBef>
              <a:spcAft>
                <a:spcPct val="0"/>
              </a:spcAft>
            </a:pPr>
            <a:endParaRPr lang="en-US" sz="3061" b="1">
              <a:latin typeface="Arial Narrow" charset="0"/>
            </a:endParaRPr>
          </a:p>
        </p:txBody>
      </p:sp>
      <p:cxnSp>
        <p:nvCxnSpPr>
          <p:cNvPr id="97" name="Straight Arrow Connector 96">
            <a:extLst>
              <a:ext uri="{FF2B5EF4-FFF2-40B4-BE49-F238E27FC236}">
                <a16:creationId xmlns:a16="http://schemas.microsoft.com/office/drawing/2014/main" id="{6627FB01-52B3-6A45-9BF5-38215FC369AB}"/>
              </a:ext>
            </a:extLst>
          </p:cNvPr>
          <p:cNvCxnSpPr>
            <a:cxnSpLocks/>
            <a:endCxn id="95" idx="2"/>
          </p:cNvCxnSpPr>
          <p:nvPr/>
        </p:nvCxnSpPr>
        <p:spPr>
          <a:xfrm>
            <a:off x="11090338" y="4087933"/>
            <a:ext cx="322006" cy="0"/>
          </a:xfrm>
          <a:prstGeom prst="straightConnector1">
            <a:avLst/>
          </a:prstGeom>
          <a:ln w="28575">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8" name="Straight Arrow Connector 97">
            <a:extLst>
              <a:ext uri="{FF2B5EF4-FFF2-40B4-BE49-F238E27FC236}">
                <a16:creationId xmlns:a16="http://schemas.microsoft.com/office/drawing/2014/main" id="{72EA88C6-98A9-7B4A-ABE5-49BAAA49BE81}"/>
              </a:ext>
            </a:extLst>
          </p:cNvPr>
          <p:cNvCxnSpPr>
            <a:cxnSpLocks/>
            <a:stCxn id="95" idx="4"/>
            <a:endCxn id="96" idx="0"/>
          </p:cNvCxnSpPr>
          <p:nvPr/>
        </p:nvCxnSpPr>
        <p:spPr>
          <a:xfrm>
            <a:off x="11606654" y="4233703"/>
            <a:ext cx="0" cy="313063"/>
          </a:xfrm>
          <a:prstGeom prst="straightConnector1">
            <a:avLst/>
          </a:prstGeom>
          <a:ln w="28575">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9" name="Straight Arrow Connector 98">
            <a:extLst>
              <a:ext uri="{FF2B5EF4-FFF2-40B4-BE49-F238E27FC236}">
                <a16:creationId xmlns:a16="http://schemas.microsoft.com/office/drawing/2014/main" id="{11749C04-1742-5041-9C43-FFDEBEE3AE18}"/>
              </a:ext>
            </a:extLst>
          </p:cNvPr>
          <p:cNvCxnSpPr>
            <a:cxnSpLocks/>
            <a:stCxn id="96" idx="2"/>
            <a:endCxn id="78" idx="6"/>
          </p:cNvCxnSpPr>
          <p:nvPr/>
        </p:nvCxnSpPr>
        <p:spPr>
          <a:xfrm flipH="1">
            <a:off x="11086035" y="4692537"/>
            <a:ext cx="326309" cy="7562"/>
          </a:xfrm>
          <a:prstGeom prst="straightConnector1">
            <a:avLst/>
          </a:prstGeom>
          <a:ln w="28575">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00" name="Straight Arrow Connector 99">
            <a:extLst>
              <a:ext uri="{FF2B5EF4-FFF2-40B4-BE49-F238E27FC236}">
                <a16:creationId xmlns:a16="http://schemas.microsoft.com/office/drawing/2014/main" id="{5C116421-6116-9944-8813-C2A1AB7C1F50}"/>
              </a:ext>
            </a:extLst>
          </p:cNvPr>
          <p:cNvCxnSpPr>
            <a:cxnSpLocks/>
            <a:stCxn id="91" idx="4"/>
            <a:endCxn id="95" idx="0"/>
          </p:cNvCxnSpPr>
          <p:nvPr/>
        </p:nvCxnSpPr>
        <p:spPr>
          <a:xfrm flipH="1">
            <a:off x="11606654" y="3640609"/>
            <a:ext cx="4303" cy="301553"/>
          </a:xfrm>
          <a:prstGeom prst="straightConnector1">
            <a:avLst/>
          </a:prstGeom>
          <a:ln w="28575">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07" name="Oval 106">
            <a:extLst>
              <a:ext uri="{FF2B5EF4-FFF2-40B4-BE49-F238E27FC236}">
                <a16:creationId xmlns:a16="http://schemas.microsoft.com/office/drawing/2014/main" id="{94F6D4EB-FAF1-5C49-A2BB-A1131A64B406}"/>
              </a:ext>
            </a:extLst>
          </p:cNvPr>
          <p:cNvSpPr/>
          <p:nvPr/>
        </p:nvSpPr>
        <p:spPr bwMode="auto">
          <a:xfrm>
            <a:off x="9998981" y="5160173"/>
            <a:ext cx="388620" cy="291541"/>
          </a:xfrm>
          <a:prstGeom prst="ellipse">
            <a:avLst/>
          </a:prstGeom>
          <a:solidFill>
            <a:schemeClr val="bg1">
              <a:lumMod val="50000"/>
            </a:schemeClr>
          </a:solidFill>
          <a:ln w="12700" cap="flat" cmpd="sng" algn="ctr">
            <a:solidFill>
              <a:schemeClr val="tx1"/>
            </a:solidFill>
            <a:prstDash val="solid"/>
            <a:round/>
            <a:headEnd type="none" w="med" len="med"/>
            <a:tailEnd type="none" w="med" len="med"/>
          </a:ln>
          <a:effectLst/>
        </p:spPr>
        <p:txBody>
          <a:bodyPr vert="horz" wrap="square" lIns="116616" tIns="58308" rIns="116616" bIns="58308" numCol="1" rtlCol="0" anchor="t" anchorCtr="0" compatLnSpc="1">
            <a:prstTxWarp prst="textNoShape">
              <a:avLst/>
            </a:prstTxWarp>
          </a:bodyPr>
          <a:lstStyle/>
          <a:p>
            <a:pPr algn="ctr" defTabSz="1166036" fontAlgn="base">
              <a:spcBef>
                <a:spcPct val="0"/>
              </a:spcBef>
              <a:spcAft>
                <a:spcPct val="0"/>
              </a:spcAft>
            </a:pPr>
            <a:endParaRPr lang="en-US" sz="3061" b="1">
              <a:latin typeface="Arial Narrow" charset="0"/>
            </a:endParaRPr>
          </a:p>
        </p:txBody>
      </p:sp>
      <p:cxnSp>
        <p:nvCxnSpPr>
          <p:cNvPr id="108" name="Straight Arrow Connector 107">
            <a:extLst>
              <a:ext uri="{FF2B5EF4-FFF2-40B4-BE49-F238E27FC236}">
                <a16:creationId xmlns:a16="http://schemas.microsoft.com/office/drawing/2014/main" id="{ADD81F2D-3773-0542-97C4-BC195644B92C}"/>
              </a:ext>
            </a:extLst>
          </p:cNvPr>
          <p:cNvCxnSpPr>
            <a:cxnSpLocks/>
            <a:stCxn id="107" idx="0"/>
          </p:cNvCxnSpPr>
          <p:nvPr/>
        </p:nvCxnSpPr>
        <p:spPr>
          <a:xfrm flipV="1">
            <a:off x="10193291" y="4849084"/>
            <a:ext cx="0" cy="311089"/>
          </a:xfrm>
          <a:prstGeom prst="straightConnector1">
            <a:avLst/>
          </a:prstGeom>
          <a:ln w="28575">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09" name="Oval 108">
            <a:extLst>
              <a:ext uri="{FF2B5EF4-FFF2-40B4-BE49-F238E27FC236}">
                <a16:creationId xmlns:a16="http://schemas.microsoft.com/office/drawing/2014/main" id="{DE0C262E-BFEB-3C47-8FFF-F0FF32DA690B}"/>
              </a:ext>
            </a:extLst>
          </p:cNvPr>
          <p:cNvSpPr/>
          <p:nvPr/>
        </p:nvSpPr>
        <p:spPr bwMode="auto">
          <a:xfrm>
            <a:off x="10697415" y="5160173"/>
            <a:ext cx="388620" cy="291541"/>
          </a:xfrm>
          <a:prstGeom prst="ellipse">
            <a:avLst/>
          </a:prstGeom>
          <a:solidFill>
            <a:schemeClr val="accent1">
              <a:lumMod val="75000"/>
            </a:schemeClr>
          </a:solidFill>
          <a:ln w="12700" cap="flat" cmpd="sng" algn="ctr">
            <a:solidFill>
              <a:schemeClr val="tx1"/>
            </a:solidFill>
            <a:prstDash val="solid"/>
            <a:round/>
            <a:headEnd type="none" w="med" len="med"/>
            <a:tailEnd type="none" w="med" len="med"/>
          </a:ln>
          <a:effectLst/>
        </p:spPr>
        <p:txBody>
          <a:bodyPr vert="horz" wrap="square" lIns="116616" tIns="58308" rIns="116616" bIns="58308" numCol="1" rtlCol="0" anchor="t" anchorCtr="0" compatLnSpc="1">
            <a:prstTxWarp prst="textNoShape">
              <a:avLst/>
            </a:prstTxWarp>
          </a:bodyPr>
          <a:lstStyle/>
          <a:p>
            <a:pPr algn="ctr" defTabSz="1166036" fontAlgn="base">
              <a:spcBef>
                <a:spcPct val="0"/>
              </a:spcBef>
              <a:spcAft>
                <a:spcPct val="0"/>
              </a:spcAft>
            </a:pPr>
            <a:endParaRPr lang="en-US" sz="3061" b="1">
              <a:latin typeface="Arial Narrow" charset="0"/>
            </a:endParaRPr>
          </a:p>
        </p:txBody>
      </p:sp>
      <p:cxnSp>
        <p:nvCxnSpPr>
          <p:cNvPr id="110" name="Straight Arrow Connector 109">
            <a:extLst>
              <a:ext uri="{FF2B5EF4-FFF2-40B4-BE49-F238E27FC236}">
                <a16:creationId xmlns:a16="http://schemas.microsoft.com/office/drawing/2014/main" id="{732665A5-807C-5E4A-B9E9-656BAE9A0A39}"/>
              </a:ext>
            </a:extLst>
          </p:cNvPr>
          <p:cNvCxnSpPr>
            <a:cxnSpLocks/>
            <a:endCxn id="109" idx="0"/>
          </p:cNvCxnSpPr>
          <p:nvPr/>
        </p:nvCxnSpPr>
        <p:spPr>
          <a:xfrm>
            <a:off x="10891725" y="4839548"/>
            <a:ext cx="0" cy="320625"/>
          </a:xfrm>
          <a:prstGeom prst="straightConnector1">
            <a:avLst/>
          </a:prstGeom>
          <a:ln w="28575">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11" name="Straight Arrow Connector 110">
            <a:extLst>
              <a:ext uri="{FF2B5EF4-FFF2-40B4-BE49-F238E27FC236}">
                <a16:creationId xmlns:a16="http://schemas.microsoft.com/office/drawing/2014/main" id="{DA8E70DF-5C95-8D41-9F28-C8A3A82ED760}"/>
              </a:ext>
            </a:extLst>
          </p:cNvPr>
          <p:cNvCxnSpPr>
            <a:cxnSpLocks/>
            <a:stCxn id="109" idx="2"/>
            <a:endCxn id="107" idx="6"/>
          </p:cNvCxnSpPr>
          <p:nvPr/>
        </p:nvCxnSpPr>
        <p:spPr>
          <a:xfrm flipH="1">
            <a:off x="10387601" y="5305944"/>
            <a:ext cx="309814" cy="0"/>
          </a:xfrm>
          <a:prstGeom prst="straightConnector1">
            <a:avLst/>
          </a:prstGeom>
          <a:ln w="28575">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12" name="Oval 111">
            <a:extLst>
              <a:ext uri="{FF2B5EF4-FFF2-40B4-BE49-F238E27FC236}">
                <a16:creationId xmlns:a16="http://schemas.microsoft.com/office/drawing/2014/main" id="{29E3E12C-364E-8543-B1F4-620ACD89A388}"/>
              </a:ext>
            </a:extLst>
          </p:cNvPr>
          <p:cNvSpPr/>
          <p:nvPr/>
        </p:nvSpPr>
        <p:spPr bwMode="auto">
          <a:xfrm>
            <a:off x="11412344" y="5152611"/>
            <a:ext cx="388620" cy="291541"/>
          </a:xfrm>
          <a:prstGeom prst="ellipse">
            <a:avLst/>
          </a:prstGeom>
          <a:solidFill>
            <a:schemeClr val="accent1">
              <a:lumMod val="50000"/>
            </a:schemeClr>
          </a:solidFill>
          <a:ln w="12700" cap="flat" cmpd="sng" algn="ctr">
            <a:solidFill>
              <a:schemeClr val="tx1"/>
            </a:solidFill>
            <a:prstDash val="solid"/>
            <a:round/>
            <a:headEnd type="none" w="med" len="med"/>
            <a:tailEnd type="none" w="med" len="med"/>
          </a:ln>
          <a:effectLst/>
        </p:spPr>
        <p:txBody>
          <a:bodyPr vert="horz" wrap="square" lIns="116616" tIns="58308" rIns="116616" bIns="58308" numCol="1" rtlCol="0" anchor="t" anchorCtr="0" compatLnSpc="1">
            <a:prstTxWarp prst="textNoShape">
              <a:avLst/>
            </a:prstTxWarp>
          </a:bodyPr>
          <a:lstStyle/>
          <a:p>
            <a:pPr algn="ctr" defTabSz="1166036" fontAlgn="base">
              <a:spcBef>
                <a:spcPct val="0"/>
              </a:spcBef>
              <a:spcAft>
                <a:spcPct val="0"/>
              </a:spcAft>
            </a:pPr>
            <a:endParaRPr lang="en-US" sz="3061" b="1">
              <a:latin typeface="Arial Narrow" charset="0"/>
            </a:endParaRPr>
          </a:p>
        </p:txBody>
      </p:sp>
      <p:cxnSp>
        <p:nvCxnSpPr>
          <p:cNvPr id="113" name="Straight Arrow Connector 112">
            <a:extLst>
              <a:ext uri="{FF2B5EF4-FFF2-40B4-BE49-F238E27FC236}">
                <a16:creationId xmlns:a16="http://schemas.microsoft.com/office/drawing/2014/main" id="{546AF8EA-9E12-844F-84CA-50C580415412}"/>
              </a:ext>
            </a:extLst>
          </p:cNvPr>
          <p:cNvCxnSpPr>
            <a:cxnSpLocks/>
            <a:endCxn id="112" idx="0"/>
          </p:cNvCxnSpPr>
          <p:nvPr/>
        </p:nvCxnSpPr>
        <p:spPr>
          <a:xfrm>
            <a:off x="11606654" y="4839548"/>
            <a:ext cx="0" cy="313063"/>
          </a:xfrm>
          <a:prstGeom prst="straightConnector1">
            <a:avLst/>
          </a:prstGeom>
          <a:ln w="28575">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14" name="Straight Arrow Connector 113">
            <a:extLst>
              <a:ext uri="{FF2B5EF4-FFF2-40B4-BE49-F238E27FC236}">
                <a16:creationId xmlns:a16="http://schemas.microsoft.com/office/drawing/2014/main" id="{E4DDDB72-CEEF-2B48-B487-989E2C7DF6A1}"/>
              </a:ext>
            </a:extLst>
          </p:cNvPr>
          <p:cNvCxnSpPr>
            <a:cxnSpLocks/>
            <a:stCxn id="112" idx="2"/>
            <a:endCxn id="109" idx="6"/>
          </p:cNvCxnSpPr>
          <p:nvPr/>
        </p:nvCxnSpPr>
        <p:spPr>
          <a:xfrm flipH="1">
            <a:off x="11086035" y="5298382"/>
            <a:ext cx="326309" cy="7562"/>
          </a:xfrm>
          <a:prstGeom prst="straightConnector1">
            <a:avLst/>
          </a:prstGeom>
          <a:ln w="28575">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15" name="Oval 114">
            <a:extLst>
              <a:ext uri="{FF2B5EF4-FFF2-40B4-BE49-F238E27FC236}">
                <a16:creationId xmlns:a16="http://schemas.microsoft.com/office/drawing/2014/main" id="{AA760911-E455-9B46-9EB1-E259C5CD6FAC}"/>
              </a:ext>
            </a:extLst>
          </p:cNvPr>
          <p:cNvSpPr/>
          <p:nvPr/>
        </p:nvSpPr>
        <p:spPr bwMode="auto">
          <a:xfrm>
            <a:off x="12131575" y="2744464"/>
            <a:ext cx="388620" cy="291541"/>
          </a:xfrm>
          <a:prstGeom prst="ellipse">
            <a:avLst/>
          </a:prstGeom>
          <a:solidFill>
            <a:schemeClr val="accent1">
              <a:lumMod val="20000"/>
              <a:lumOff val="80000"/>
            </a:schemeClr>
          </a:solidFill>
          <a:ln w="12700" cap="flat" cmpd="sng" algn="ctr">
            <a:solidFill>
              <a:schemeClr val="tx1"/>
            </a:solidFill>
            <a:prstDash val="solid"/>
            <a:round/>
            <a:headEnd type="none" w="med" len="med"/>
            <a:tailEnd type="none" w="med" len="med"/>
          </a:ln>
          <a:effectLst/>
        </p:spPr>
        <p:txBody>
          <a:bodyPr vert="horz" wrap="square" lIns="116616" tIns="58308" rIns="116616" bIns="58308" numCol="1" rtlCol="0" anchor="t" anchorCtr="0" compatLnSpc="1">
            <a:prstTxWarp prst="textNoShape">
              <a:avLst/>
            </a:prstTxWarp>
          </a:bodyPr>
          <a:lstStyle/>
          <a:p>
            <a:pPr algn="ctr" defTabSz="1166036" fontAlgn="base">
              <a:spcBef>
                <a:spcPct val="0"/>
              </a:spcBef>
              <a:spcAft>
                <a:spcPct val="0"/>
              </a:spcAft>
            </a:pPr>
            <a:endParaRPr lang="en-US" sz="3061" b="1">
              <a:latin typeface="Arial Narrow" charset="0"/>
            </a:endParaRPr>
          </a:p>
        </p:txBody>
      </p:sp>
      <p:sp>
        <p:nvSpPr>
          <p:cNvPr id="116" name="Oval 115">
            <a:extLst>
              <a:ext uri="{FF2B5EF4-FFF2-40B4-BE49-F238E27FC236}">
                <a16:creationId xmlns:a16="http://schemas.microsoft.com/office/drawing/2014/main" id="{7B0A90B3-9510-964B-B5C4-7281D30A7A66}"/>
              </a:ext>
            </a:extLst>
          </p:cNvPr>
          <p:cNvSpPr/>
          <p:nvPr/>
        </p:nvSpPr>
        <p:spPr bwMode="auto">
          <a:xfrm>
            <a:off x="12131575" y="3349068"/>
            <a:ext cx="388620" cy="291541"/>
          </a:xfrm>
          <a:prstGeom prst="ellipse">
            <a:avLst/>
          </a:prstGeom>
          <a:solidFill>
            <a:schemeClr val="accent1">
              <a:lumMod val="40000"/>
              <a:lumOff val="60000"/>
            </a:schemeClr>
          </a:solidFill>
          <a:ln w="12700" cap="flat" cmpd="sng" algn="ctr">
            <a:solidFill>
              <a:schemeClr val="tx1"/>
            </a:solidFill>
            <a:prstDash val="solid"/>
            <a:round/>
            <a:headEnd type="none" w="med" len="med"/>
            <a:tailEnd type="none" w="med" len="med"/>
          </a:ln>
          <a:effectLst/>
        </p:spPr>
        <p:txBody>
          <a:bodyPr vert="horz" wrap="square" lIns="116616" tIns="58308" rIns="116616" bIns="58308" numCol="1" rtlCol="0" anchor="t" anchorCtr="0" compatLnSpc="1">
            <a:prstTxWarp prst="textNoShape">
              <a:avLst/>
            </a:prstTxWarp>
          </a:bodyPr>
          <a:lstStyle/>
          <a:p>
            <a:pPr algn="ctr" defTabSz="1166036" fontAlgn="base">
              <a:spcBef>
                <a:spcPct val="0"/>
              </a:spcBef>
              <a:spcAft>
                <a:spcPct val="0"/>
              </a:spcAft>
            </a:pPr>
            <a:endParaRPr lang="en-US" sz="3061" b="1">
              <a:latin typeface="Arial Narrow" charset="0"/>
            </a:endParaRPr>
          </a:p>
        </p:txBody>
      </p:sp>
      <p:cxnSp>
        <p:nvCxnSpPr>
          <p:cNvPr id="117" name="Straight Arrow Connector 116">
            <a:extLst>
              <a:ext uri="{FF2B5EF4-FFF2-40B4-BE49-F238E27FC236}">
                <a16:creationId xmlns:a16="http://schemas.microsoft.com/office/drawing/2014/main" id="{CB4FA604-77BE-9F43-8038-1CAE8B74E115}"/>
              </a:ext>
            </a:extLst>
          </p:cNvPr>
          <p:cNvCxnSpPr>
            <a:cxnSpLocks/>
            <a:endCxn id="115" idx="2"/>
          </p:cNvCxnSpPr>
          <p:nvPr/>
        </p:nvCxnSpPr>
        <p:spPr>
          <a:xfrm>
            <a:off x="11809569" y="2890235"/>
            <a:ext cx="322006" cy="0"/>
          </a:xfrm>
          <a:prstGeom prst="straightConnector1">
            <a:avLst/>
          </a:prstGeom>
          <a:ln w="28575">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18" name="Straight Arrow Connector 117">
            <a:extLst>
              <a:ext uri="{FF2B5EF4-FFF2-40B4-BE49-F238E27FC236}">
                <a16:creationId xmlns:a16="http://schemas.microsoft.com/office/drawing/2014/main" id="{AF7FE865-D81D-874B-A5FF-956DDCBC5707}"/>
              </a:ext>
            </a:extLst>
          </p:cNvPr>
          <p:cNvCxnSpPr>
            <a:cxnSpLocks/>
            <a:stCxn id="115" idx="4"/>
            <a:endCxn id="116" idx="0"/>
          </p:cNvCxnSpPr>
          <p:nvPr/>
        </p:nvCxnSpPr>
        <p:spPr>
          <a:xfrm>
            <a:off x="12325885" y="3036005"/>
            <a:ext cx="0" cy="313063"/>
          </a:xfrm>
          <a:prstGeom prst="straightConnector1">
            <a:avLst/>
          </a:prstGeom>
          <a:ln w="28575">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19" name="Straight Arrow Connector 118">
            <a:extLst>
              <a:ext uri="{FF2B5EF4-FFF2-40B4-BE49-F238E27FC236}">
                <a16:creationId xmlns:a16="http://schemas.microsoft.com/office/drawing/2014/main" id="{FF23AAF9-0E0C-F042-8041-0C61666FE99F}"/>
              </a:ext>
            </a:extLst>
          </p:cNvPr>
          <p:cNvCxnSpPr>
            <a:cxnSpLocks/>
            <a:stCxn id="116" idx="2"/>
          </p:cNvCxnSpPr>
          <p:nvPr/>
        </p:nvCxnSpPr>
        <p:spPr>
          <a:xfrm flipH="1">
            <a:off x="11817458" y="3494839"/>
            <a:ext cx="314117" cy="0"/>
          </a:xfrm>
          <a:prstGeom prst="straightConnector1">
            <a:avLst/>
          </a:prstGeom>
          <a:ln w="28575">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20" name="Oval 119">
            <a:extLst>
              <a:ext uri="{FF2B5EF4-FFF2-40B4-BE49-F238E27FC236}">
                <a16:creationId xmlns:a16="http://schemas.microsoft.com/office/drawing/2014/main" id="{5E96A97E-7960-944C-8246-FD8B3EF181EA}"/>
              </a:ext>
            </a:extLst>
          </p:cNvPr>
          <p:cNvSpPr/>
          <p:nvPr/>
        </p:nvSpPr>
        <p:spPr bwMode="auto">
          <a:xfrm>
            <a:off x="12127272" y="3942162"/>
            <a:ext cx="388620" cy="291541"/>
          </a:xfrm>
          <a:prstGeom prst="ellipse">
            <a:avLst/>
          </a:prstGeom>
          <a:solidFill>
            <a:schemeClr val="accent1">
              <a:lumMod val="75000"/>
            </a:schemeClr>
          </a:solidFill>
          <a:ln w="12700" cap="flat" cmpd="sng" algn="ctr">
            <a:solidFill>
              <a:schemeClr val="tx1"/>
            </a:solidFill>
            <a:prstDash val="solid"/>
            <a:round/>
            <a:headEnd type="none" w="med" len="med"/>
            <a:tailEnd type="none" w="med" len="med"/>
          </a:ln>
          <a:effectLst/>
        </p:spPr>
        <p:txBody>
          <a:bodyPr vert="horz" wrap="square" lIns="116616" tIns="58308" rIns="116616" bIns="58308" numCol="1" rtlCol="0" anchor="t" anchorCtr="0" compatLnSpc="1">
            <a:prstTxWarp prst="textNoShape">
              <a:avLst/>
            </a:prstTxWarp>
          </a:bodyPr>
          <a:lstStyle/>
          <a:p>
            <a:pPr algn="ctr" defTabSz="1166036" fontAlgn="base">
              <a:spcBef>
                <a:spcPct val="0"/>
              </a:spcBef>
              <a:spcAft>
                <a:spcPct val="0"/>
              </a:spcAft>
            </a:pPr>
            <a:endParaRPr lang="en-US" sz="3061" b="1">
              <a:latin typeface="Arial Narrow" charset="0"/>
            </a:endParaRPr>
          </a:p>
        </p:txBody>
      </p:sp>
      <p:sp>
        <p:nvSpPr>
          <p:cNvPr id="121" name="Oval 120">
            <a:extLst>
              <a:ext uri="{FF2B5EF4-FFF2-40B4-BE49-F238E27FC236}">
                <a16:creationId xmlns:a16="http://schemas.microsoft.com/office/drawing/2014/main" id="{4F8361A5-B994-6648-AA25-DD7C31624770}"/>
              </a:ext>
            </a:extLst>
          </p:cNvPr>
          <p:cNvSpPr/>
          <p:nvPr/>
        </p:nvSpPr>
        <p:spPr bwMode="auto">
          <a:xfrm>
            <a:off x="12127272" y="4546766"/>
            <a:ext cx="388620" cy="291541"/>
          </a:xfrm>
          <a:prstGeom prst="ellipse">
            <a:avLst/>
          </a:prstGeom>
          <a:solidFill>
            <a:schemeClr val="accent2">
              <a:lumMod val="50000"/>
            </a:schemeClr>
          </a:solidFill>
          <a:ln w="12700" cap="flat" cmpd="sng" algn="ctr">
            <a:solidFill>
              <a:schemeClr val="tx1"/>
            </a:solidFill>
            <a:prstDash val="solid"/>
            <a:round/>
            <a:headEnd type="none" w="med" len="med"/>
            <a:tailEnd type="none" w="med" len="med"/>
          </a:ln>
          <a:effectLst/>
        </p:spPr>
        <p:txBody>
          <a:bodyPr vert="horz" wrap="square" lIns="116616" tIns="58308" rIns="116616" bIns="58308" numCol="1" rtlCol="0" anchor="t" anchorCtr="0" compatLnSpc="1">
            <a:prstTxWarp prst="textNoShape">
              <a:avLst/>
            </a:prstTxWarp>
          </a:bodyPr>
          <a:lstStyle/>
          <a:p>
            <a:pPr algn="ctr" defTabSz="1166036" fontAlgn="base">
              <a:spcBef>
                <a:spcPct val="0"/>
              </a:spcBef>
              <a:spcAft>
                <a:spcPct val="0"/>
              </a:spcAft>
            </a:pPr>
            <a:endParaRPr lang="en-US" sz="3061" b="1">
              <a:latin typeface="Arial Narrow" charset="0"/>
            </a:endParaRPr>
          </a:p>
        </p:txBody>
      </p:sp>
      <p:cxnSp>
        <p:nvCxnSpPr>
          <p:cNvPr id="122" name="Straight Arrow Connector 121">
            <a:extLst>
              <a:ext uri="{FF2B5EF4-FFF2-40B4-BE49-F238E27FC236}">
                <a16:creationId xmlns:a16="http://schemas.microsoft.com/office/drawing/2014/main" id="{63777F33-122D-6744-9726-76DF1DB14377}"/>
              </a:ext>
            </a:extLst>
          </p:cNvPr>
          <p:cNvCxnSpPr>
            <a:cxnSpLocks/>
            <a:endCxn id="120" idx="2"/>
          </p:cNvCxnSpPr>
          <p:nvPr/>
        </p:nvCxnSpPr>
        <p:spPr>
          <a:xfrm>
            <a:off x="11805266" y="4087933"/>
            <a:ext cx="322006" cy="0"/>
          </a:xfrm>
          <a:prstGeom prst="straightConnector1">
            <a:avLst/>
          </a:prstGeom>
          <a:ln w="28575">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23" name="Straight Arrow Connector 122">
            <a:extLst>
              <a:ext uri="{FF2B5EF4-FFF2-40B4-BE49-F238E27FC236}">
                <a16:creationId xmlns:a16="http://schemas.microsoft.com/office/drawing/2014/main" id="{976F682E-54AD-8F4F-A9CF-AEC85F07ABE9}"/>
              </a:ext>
            </a:extLst>
          </p:cNvPr>
          <p:cNvCxnSpPr>
            <a:cxnSpLocks/>
            <a:stCxn id="120" idx="4"/>
            <a:endCxn id="121" idx="0"/>
          </p:cNvCxnSpPr>
          <p:nvPr/>
        </p:nvCxnSpPr>
        <p:spPr>
          <a:xfrm>
            <a:off x="12321582" y="4233703"/>
            <a:ext cx="0" cy="313063"/>
          </a:xfrm>
          <a:prstGeom prst="straightConnector1">
            <a:avLst/>
          </a:prstGeom>
          <a:ln w="28575">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24" name="Straight Arrow Connector 123">
            <a:extLst>
              <a:ext uri="{FF2B5EF4-FFF2-40B4-BE49-F238E27FC236}">
                <a16:creationId xmlns:a16="http://schemas.microsoft.com/office/drawing/2014/main" id="{2C8271B5-3341-2E4F-BE01-17FCA77D4FAE}"/>
              </a:ext>
            </a:extLst>
          </p:cNvPr>
          <p:cNvCxnSpPr>
            <a:cxnSpLocks/>
            <a:stCxn id="121" idx="2"/>
          </p:cNvCxnSpPr>
          <p:nvPr/>
        </p:nvCxnSpPr>
        <p:spPr>
          <a:xfrm flipH="1">
            <a:off x="11800963" y="4692537"/>
            <a:ext cx="326309" cy="7562"/>
          </a:xfrm>
          <a:prstGeom prst="straightConnector1">
            <a:avLst/>
          </a:prstGeom>
          <a:ln w="28575">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25" name="Straight Arrow Connector 124">
            <a:extLst>
              <a:ext uri="{FF2B5EF4-FFF2-40B4-BE49-F238E27FC236}">
                <a16:creationId xmlns:a16="http://schemas.microsoft.com/office/drawing/2014/main" id="{2865F8E3-B976-9D4A-8A63-2252B01E18ED}"/>
              </a:ext>
            </a:extLst>
          </p:cNvPr>
          <p:cNvCxnSpPr>
            <a:cxnSpLocks/>
            <a:stCxn id="116" idx="4"/>
            <a:endCxn id="120" idx="0"/>
          </p:cNvCxnSpPr>
          <p:nvPr/>
        </p:nvCxnSpPr>
        <p:spPr>
          <a:xfrm flipH="1">
            <a:off x="12321582" y="3640609"/>
            <a:ext cx="4303" cy="301553"/>
          </a:xfrm>
          <a:prstGeom prst="straightConnector1">
            <a:avLst/>
          </a:prstGeom>
          <a:ln w="28575">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26" name="Oval 125">
            <a:extLst>
              <a:ext uri="{FF2B5EF4-FFF2-40B4-BE49-F238E27FC236}">
                <a16:creationId xmlns:a16="http://schemas.microsoft.com/office/drawing/2014/main" id="{251ACECA-950F-684F-B7EC-E0A54A6AF007}"/>
              </a:ext>
            </a:extLst>
          </p:cNvPr>
          <p:cNvSpPr/>
          <p:nvPr/>
        </p:nvSpPr>
        <p:spPr bwMode="auto">
          <a:xfrm>
            <a:off x="12127272" y="5152611"/>
            <a:ext cx="388620" cy="291541"/>
          </a:xfrm>
          <a:prstGeom prst="ellipse">
            <a:avLst/>
          </a:prstGeom>
          <a:solidFill>
            <a:schemeClr val="accent1">
              <a:lumMod val="50000"/>
            </a:schemeClr>
          </a:solidFill>
          <a:ln w="12700" cap="flat" cmpd="sng" algn="ctr">
            <a:solidFill>
              <a:schemeClr val="tx1"/>
            </a:solidFill>
            <a:prstDash val="solid"/>
            <a:round/>
            <a:headEnd type="none" w="med" len="med"/>
            <a:tailEnd type="none" w="med" len="med"/>
          </a:ln>
          <a:effectLst/>
        </p:spPr>
        <p:txBody>
          <a:bodyPr vert="horz" wrap="square" lIns="116616" tIns="58308" rIns="116616" bIns="58308" numCol="1" rtlCol="0" anchor="t" anchorCtr="0" compatLnSpc="1">
            <a:prstTxWarp prst="textNoShape">
              <a:avLst/>
            </a:prstTxWarp>
          </a:bodyPr>
          <a:lstStyle/>
          <a:p>
            <a:pPr algn="ctr" defTabSz="1166036" fontAlgn="base">
              <a:spcBef>
                <a:spcPct val="0"/>
              </a:spcBef>
              <a:spcAft>
                <a:spcPct val="0"/>
              </a:spcAft>
            </a:pPr>
            <a:endParaRPr lang="en-US" sz="3061" b="1">
              <a:latin typeface="Arial Narrow" charset="0"/>
            </a:endParaRPr>
          </a:p>
        </p:txBody>
      </p:sp>
      <p:cxnSp>
        <p:nvCxnSpPr>
          <p:cNvPr id="127" name="Straight Arrow Connector 126">
            <a:extLst>
              <a:ext uri="{FF2B5EF4-FFF2-40B4-BE49-F238E27FC236}">
                <a16:creationId xmlns:a16="http://schemas.microsoft.com/office/drawing/2014/main" id="{149FBC3A-193F-F145-99ED-CDD96D719ABE}"/>
              </a:ext>
            </a:extLst>
          </p:cNvPr>
          <p:cNvCxnSpPr>
            <a:cxnSpLocks/>
            <a:endCxn id="126" idx="0"/>
          </p:cNvCxnSpPr>
          <p:nvPr/>
        </p:nvCxnSpPr>
        <p:spPr>
          <a:xfrm>
            <a:off x="12321582" y="4839548"/>
            <a:ext cx="0" cy="313063"/>
          </a:xfrm>
          <a:prstGeom prst="straightConnector1">
            <a:avLst/>
          </a:prstGeom>
          <a:ln w="28575">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28" name="Straight Arrow Connector 127">
            <a:extLst>
              <a:ext uri="{FF2B5EF4-FFF2-40B4-BE49-F238E27FC236}">
                <a16:creationId xmlns:a16="http://schemas.microsoft.com/office/drawing/2014/main" id="{292F7EDA-845C-9247-B07C-7DCF2086D0CA}"/>
              </a:ext>
            </a:extLst>
          </p:cNvPr>
          <p:cNvCxnSpPr>
            <a:cxnSpLocks/>
            <a:stCxn id="126" idx="2"/>
          </p:cNvCxnSpPr>
          <p:nvPr/>
        </p:nvCxnSpPr>
        <p:spPr>
          <a:xfrm flipH="1">
            <a:off x="11800963" y="5298382"/>
            <a:ext cx="326309" cy="7562"/>
          </a:xfrm>
          <a:prstGeom prst="straightConnector1">
            <a:avLst/>
          </a:prstGeom>
          <a:ln w="28575">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29" name="Oval 128">
            <a:extLst>
              <a:ext uri="{FF2B5EF4-FFF2-40B4-BE49-F238E27FC236}">
                <a16:creationId xmlns:a16="http://schemas.microsoft.com/office/drawing/2014/main" id="{F7BE6625-40DE-4C42-8561-1BB50B232464}"/>
              </a:ext>
            </a:extLst>
          </p:cNvPr>
          <p:cNvSpPr/>
          <p:nvPr/>
        </p:nvSpPr>
        <p:spPr bwMode="auto">
          <a:xfrm>
            <a:off x="12837897" y="2744464"/>
            <a:ext cx="388620" cy="291541"/>
          </a:xfrm>
          <a:prstGeom prst="ellipse">
            <a:avLst/>
          </a:prstGeom>
          <a:solidFill>
            <a:schemeClr val="accent1">
              <a:lumMod val="20000"/>
              <a:lumOff val="80000"/>
            </a:schemeClr>
          </a:solidFill>
          <a:ln w="12700" cap="flat" cmpd="sng" algn="ctr">
            <a:solidFill>
              <a:schemeClr val="tx1"/>
            </a:solidFill>
            <a:prstDash val="solid"/>
            <a:round/>
            <a:headEnd type="none" w="med" len="med"/>
            <a:tailEnd type="none" w="med" len="med"/>
          </a:ln>
          <a:effectLst/>
        </p:spPr>
        <p:txBody>
          <a:bodyPr vert="horz" wrap="square" lIns="116616" tIns="58308" rIns="116616" bIns="58308" numCol="1" rtlCol="0" anchor="t" anchorCtr="0" compatLnSpc="1">
            <a:prstTxWarp prst="textNoShape">
              <a:avLst/>
            </a:prstTxWarp>
          </a:bodyPr>
          <a:lstStyle/>
          <a:p>
            <a:pPr algn="ctr" defTabSz="1166036" fontAlgn="base">
              <a:spcBef>
                <a:spcPct val="0"/>
              </a:spcBef>
              <a:spcAft>
                <a:spcPct val="0"/>
              </a:spcAft>
            </a:pPr>
            <a:endParaRPr lang="en-US" sz="3061" b="1">
              <a:latin typeface="Arial Narrow" charset="0"/>
            </a:endParaRPr>
          </a:p>
        </p:txBody>
      </p:sp>
      <p:sp>
        <p:nvSpPr>
          <p:cNvPr id="130" name="Oval 129">
            <a:extLst>
              <a:ext uri="{FF2B5EF4-FFF2-40B4-BE49-F238E27FC236}">
                <a16:creationId xmlns:a16="http://schemas.microsoft.com/office/drawing/2014/main" id="{47245184-12E7-9A47-AD79-1F7FFC8A579E}"/>
              </a:ext>
            </a:extLst>
          </p:cNvPr>
          <p:cNvSpPr/>
          <p:nvPr/>
        </p:nvSpPr>
        <p:spPr bwMode="auto">
          <a:xfrm>
            <a:off x="12837897" y="3349068"/>
            <a:ext cx="388620" cy="291541"/>
          </a:xfrm>
          <a:prstGeom prst="ellipse">
            <a:avLst/>
          </a:prstGeom>
          <a:solidFill>
            <a:schemeClr val="accent1">
              <a:lumMod val="40000"/>
              <a:lumOff val="60000"/>
            </a:schemeClr>
          </a:solidFill>
          <a:ln w="12700" cap="flat" cmpd="sng" algn="ctr">
            <a:solidFill>
              <a:schemeClr val="tx1"/>
            </a:solidFill>
            <a:prstDash val="solid"/>
            <a:round/>
            <a:headEnd type="none" w="med" len="med"/>
            <a:tailEnd type="none" w="med" len="med"/>
          </a:ln>
          <a:effectLst/>
        </p:spPr>
        <p:txBody>
          <a:bodyPr vert="horz" wrap="square" lIns="116616" tIns="58308" rIns="116616" bIns="58308" numCol="1" rtlCol="0" anchor="t" anchorCtr="0" compatLnSpc="1">
            <a:prstTxWarp prst="textNoShape">
              <a:avLst/>
            </a:prstTxWarp>
          </a:bodyPr>
          <a:lstStyle/>
          <a:p>
            <a:pPr algn="ctr" defTabSz="1166036" fontAlgn="base">
              <a:spcBef>
                <a:spcPct val="0"/>
              </a:spcBef>
              <a:spcAft>
                <a:spcPct val="0"/>
              </a:spcAft>
            </a:pPr>
            <a:endParaRPr lang="en-US" sz="3061" b="1">
              <a:latin typeface="Arial Narrow" charset="0"/>
            </a:endParaRPr>
          </a:p>
        </p:txBody>
      </p:sp>
      <p:cxnSp>
        <p:nvCxnSpPr>
          <p:cNvPr id="131" name="Straight Arrow Connector 130">
            <a:extLst>
              <a:ext uri="{FF2B5EF4-FFF2-40B4-BE49-F238E27FC236}">
                <a16:creationId xmlns:a16="http://schemas.microsoft.com/office/drawing/2014/main" id="{51C844BB-25D9-4540-91AC-89D25ABC38AF}"/>
              </a:ext>
            </a:extLst>
          </p:cNvPr>
          <p:cNvCxnSpPr>
            <a:cxnSpLocks/>
            <a:endCxn id="129" idx="2"/>
          </p:cNvCxnSpPr>
          <p:nvPr/>
        </p:nvCxnSpPr>
        <p:spPr>
          <a:xfrm>
            <a:off x="12515891" y="2890235"/>
            <a:ext cx="322006" cy="0"/>
          </a:xfrm>
          <a:prstGeom prst="straightConnector1">
            <a:avLst/>
          </a:prstGeom>
          <a:ln w="28575">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2" name="Straight Arrow Connector 131">
            <a:extLst>
              <a:ext uri="{FF2B5EF4-FFF2-40B4-BE49-F238E27FC236}">
                <a16:creationId xmlns:a16="http://schemas.microsoft.com/office/drawing/2014/main" id="{073241CA-79A7-B64A-B34D-C14E89DED4F6}"/>
              </a:ext>
            </a:extLst>
          </p:cNvPr>
          <p:cNvCxnSpPr>
            <a:cxnSpLocks/>
            <a:stCxn id="129" idx="4"/>
            <a:endCxn id="130" idx="0"/>
          </p:cNvCxnSpPr>
          <p:nvPr/>
        </p:nvCxnSpPr>
        <p:spPr>
          <a:xfrm>
            <a:off x="13032207" y="3036005"/>
            <a:ext cx="0" cy="313063"/>
          </a:xfrm>
          <a:prstGeom prst="straightConnector1">
            <a:avLst/>
          </a:prstGeom>
          <a:ln w="28575">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3" name="Straight Arrow Connector 132">
            <a:extLst>
              <a:ext uri="{FF2B5EF4-FFF2-40B4-BE49-F238E27FC236}">
                <a16:creationId xmlns:a16="http://schemas.microsoft.com/office/drawing/2014/main" id="{DF18F367-DFD4-B64E-A8FD-8FA20803707A}"/>
              </a:ext>
            </a:extLst>
          </p:cNvPr>
          <p:cNvCxnSpPr>
            <a:cxnSpLocks/>
            <a:stCxn id="130" idx="2"/>
          </p:cNvCxnSpPr>
          <p:nvPr/>
        </p:nvCxnSpPr>
        <p:spPr>
          <a:xfrm flipH="1">
            <a:off x="12523780" y="3494839"/>
            <a:ext cx="314117" cy="0"/>
          </a:xfrm>
          <a:prstGeom prst="straightConnector1">
            <a:avLst/>
          </a:prstGeom>
          <a:ln w="28575">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34" name="Oval 133">
            <a:extLst>
              <a:ext uri="{FF2B5EF4-FFF2-40B4-BE49-F238E27FC236}">
                <a16:creationId xmlns:a16="http://schemas.microsoft.com/office/drawing/2014/main" id="{7AA66187-2EC3-1347-9827-1D88D1985EC9}"/>
              </a:ext>
            </a:extLst>
          </p:cNvPr>
          <p:cNvSpPr/>
          <p:nvPr/>
        </p:nvSpPr>
        <p:spPr bwMode="auto">
          <a:xfrm>
            <a:off x="12833594" y="3942162"/>
            <a:ext cx="388620" cy="291541"/>
          </a:xfrm>
          <a:prstGeom prst="ellipse">
            <a:avLst/>
          </a:prstGeom>
          <a:solidFill>
            <a:schemeClr val="accent1">
              <a:lumMod val="75000"/>
            </a:schemeClr>
          </a:solidFill>
          <a:ln w="12700" cap="flat" cmpd="sng" algn="ctr">
            <a:solidFill>
              <a:schemeClr val="tx1"/>
            </a:solidFill>
            <a:prstDash val="solid"/>
            <a:round/>
            <a:headEnd type="none" w="med" len="med"/>
            <a:tailEnd type="none" w="med" len="med"/>
          </a:ln>
          <a:effectLst/>
        </p:spPr>
        <p:txBody>
          <a:bodyPr vert="horz" wrap="square" lIns="116616" tIns="58308" rIns="116616" bIns="58308" numCol="1" rtlCol="0" anchor="t" anchorCtr="0" compatLnSpc="1">
            <a:prstTxWarp prst="textNoShape">
              <a:avLst/>
            </a:prstTxWarp>
          </a:bodyPr>
          <a:lstStyle/>
          <a:p>
            <a:pPr algn="ctr" defTabSz="1166036" fontAlgn="base">
              <a:spcBef>
                <a:spcPct val="0"/>
              </a:spcBef>
              <a:spcAft>
                <a:spcPct val="0"/>
              </a:spcAft>
            </a:pPr>
            <a:endParaRPr lang="en-US" sz="3061" b="1">
              <a:latin typeface="Arial Narrow" charset="0"/>
            </a:endParaRPr>
          </a:p>
        </p:txBody>
      </p:sp>
      <p:sp>
        <p:nvSpPr>
          <p:cNvPr id="135" name="Oval 134">
            <a:extLst>
              <a:ext uri="{FF2B5EF4-FFF2-40B4-BE49-F238E27FC236}">
                <a16:creationId xmlns:a16="http://schemas.microsoft.com/office/drawing/2014/main" id="{CDB0E33D-EB91-1449-B34A-2DDE6100D887}"/>
              </a:ext>
            </a:extLst>
          </p:cNvPr>
          <p:cNvSpPr/>
          <p:nvPr/>
        </p:nvSpPr>
        <p:spPr bwMode="auto">
          <a:xfrm>
            <a:off x="12833594" y="4546766"/>
            <a:ext cx="388620" cy="291541"/>
          </a:xfrm>
          <a:prstGeom prst="ellipse">
            <a:avLst/>
          </a:prstGeom>
          <a:solidFill>
            <a:schemeClr val="accent1">
              <a:lumMod val="50000"/>
            </a:schemeClr>
          </a:solidFill>
          <a:ln w="12700" cap="flat" cmpd="sng" algn="ctr">
            <a:solidFill>
              <a:schemeClr val="tx1"/>
            </a:solidFill>
            <a:prstDash val="solid"/>
            <a:round/>
            <a:headEnd type="none" w="med" len="med"/>
            <a:tailEnd type="none" w="med" len="med"/>
          </a:ln>
          <a:effectLst/>
        </p:spPr>
        <p:txBody>
          <a:bodyPr vert="horz" wrap="square" lIns="116616" tIns="58308" rIns="116616" bIns="58308" numCol="1" rtlCol="0" anchor="t" anchorCtr="0" compatLnSpc="1">
            <a:prstTxWarp prst="textNoShape">
              <a:avLst/>
            </a:prstTxWarp>
          </a:bodyPr>
          <a:lstStyle/>
          <a:p>
            <a:pPr algn="ctr" defTabSz="1166036" fontAlgn="base">
              <a:spcBef>
                <a:spcPct val="0"/>
              </a:spcBef>
              <a:spcAft>
                <a:spcPct val="0"/>
              </a:spcAft>
            </a:pPr>
            <a:endParaRPr lang="en-US" sz="3061" b="1">
              <a:latin typeface="Arial Narrow" charset="0"/>
            </a:endParaRPr>
          </a:p>
        </p:txBody>
      </p:sp>
      <p:cxnSp>
        <p:nvCxnSpPr>
          <p:cNvPr id="136" name="Straight Arrow Connector 135">
            <a:extLst>
              <a:ext uri="{FF2B5EF4-FFF2-40B4-BE49-F238E27FC236}">
                <a16:creationId xmlns:a16="http://schemas.microsoft.com/office/drawing/2014/main" id="{0E59D3B7-5384-014D-BC66-5CD836E5EF70}"/>
              </a:ext>
            </a:extLst>
          </p:cNvPr>
          <p:cNvCxnSpPr>
            <a:cxnSpLocks/>
            <a:endCxn id="134" idx="2"/>
          </p:cNvCxnSpPr>
          <p:nvPr/>
        </p:nvCxnSpPr>
        <p:spPr>
          <a:xfrm>
            <a:off x="12511588" y="4087933"/>
            <a:ext cx="322006" cy="0"/>
          </a:xfrm>
          <a:prstGeom prst="straightConnector1">
            <a:avLst/>
          </a:prstGeom>
          <a:ln w="28575">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7" name="Straight Arrow Connector 136">
            <a:extLst>
              <a:ext uri="{FF2B5EF4-FFF2-40B4-BE49-F238E27FC236}">
                <a16:creationId xmlns:a16="http://schemas.microsoft.com/office/drawing/2014/main" id="{B1306F62-3DAC-214B-BBE2-883AEBED03AB}"/>
              </a:ext>
            </a:extLst>
          </p:cNvPr>
          <p:cNvCxnSpPr>
            <a:cxnSpLocks/>
            <a:stCxn id="134" idx="4"/>
            <a:endCxn id="135" idx="0"/>
          </p:cNvCxnSpPr>
          <p:nvPr/>
        </p:nvCxnSpPr>
        <p:spPr>
          <a:xfrm>
            <a:off x="13027904" y="4233703"/>
            <a:ext cx="0" cy="313063"/>
          </a:xfrm>
          <a:prstGeom prst="straightConnector1">
            <a:avLst/>
          </a:prstGeom>
          <a:ln w="28575">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8" name="Straight Arrow Connector 137">
            <a:extLst>
              <a:ext uri="{FF2B5EF4-FFF2-40B4-BE49-F238E27FC236}">
                <a16:creationId xmlns:a16="http://schemas.microsoft.com/office/drawing/2014/main" id="{2333A442-E1C5-004D-A487-13B853A782F3}"/>
              </a:ext>
            </a:extLst>
          </p:cNvPr>
          <p:cNvCxnSpPr>
            <a:cxnSpLocks/>
            <a:stCxn id="135" idx="2"/>
          </p:cNvCxnSpPr>
          <p:nvPr/>
        </p:nvCxnSpPr>
        <p:spPr>
          <a:xfrm flipH="1">
            <a:off x="12507285" y="4692537"/>
            <a:ext cx="326309" cy="7562"/>
          </a:xfrm>
          <a:prstGeom prst="straightConnector1">
            <a:avLst/>
          </a:prstGeom>
          <a:ln w="28575">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9" name="Straight Arrow Connector 138">
            <a:extLst>
              <a:ext uri="{FF2B5EF4-FFF2-40B4-BE49-F238E27FC236}">
                <a16:creationId xmlns:a16="http://schemas.microsoft.com/office/drawing/2014/main" id="{F4D15870-44A7-B54A-BD49-3E9B44E2CB4F}"/>
              </a:ext>
            </a:extLst>
          </p:cNvPr>
          <p:cNvCxnSpPr>
            <a:cxnSpLocks/>
            <a:stCxn id="130" idx="4"/>
            <a:endCxn id="134" idx="0"/>
          </p:cNvCxnSpPr>
          <p:nvPr/>
        </p:nvCxnSpPr>
        <p:spPr>
          <a:xfrm flipH="1">
            <a:off x="13027904" y="3640609"/>
            <a:ext cx="4303" cy="301553"/>
          </a:xfrm>
          <a:prstGeom prst="straightConnector1">
            <a:avLst/>
          </a:prstGeom>
          <a:ln w="28575">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40" name="Oval 139">
            <a:extLst>
              <a:ext uri="{FF2B5EF4-FFF2-40B4-BE49-F238E27FC236}">
                <a16:creationId xmlns:a16="http://schemas.microsoft.com/office/drawing/2014/main" id="{28E24C82-E6AD-A340-A2AB-02B8F57C7D39}"/>
              </a:ext>
            </a:extLst>
          </p:cNvPr>
          <p:cNvSpPr/>
          <p:nvPr/>
        </p:nvSpPr>
        <p:spPr bwMode="auto">
          <a:xfrm>
            <a:off x="12833594" y="5152611"/>
            <a:ext cx="388620" cy="291541"/>
          </a:xfrm>
          <a:prstGeom prst="ellipse">
            <a:avLst/>
          </a:prstGeom>
          <a:solidFill>
            <a:srgbClr val="C00000"/>
          </a:solidFill>
          <a:ln w="12700" cap="flat" cmpd="sng" algn="ctr">
            <a:solidFill>
              <a:schemeClr val="tx1">
                <a:lumMod val="50000"/>
              </a:schemeClr>
            </a:solidFill>
            <a:prstDash val="solid"/>
            <a:round/>
            <a:headEnd type="none" w="med" len="med"/>
            <a:tailEnd type="none" w="med" len="med"/>
          </a:ln>
          <a:effectLst/>
        </p:spPr>
        <p:txBody>
          <a:bodyPr vert="horz" wrap="square" lIns="116616" tIns="58308" rIns="116616" bIns="58308" numCol="1" rtlCol="0" anchor="t" anchorCtr="0" compatLnSpc="1">
            <a:prstTxWarp prst="textNoShape">
              <a:avLst/>
            </a:prstTxWarp>
          </a:bodyPr>
          <a:lstStyle/>
          <a:p>
            <a:pPr algn="ctr" defTabSz="1166036" fontAlgn="base">
              <a:spcBef>
                <a:spcPct val="0"/>
              </a:spcBef>
              <a:spcAft>
                <a:spcPct val="0"/>
              </a:spcAft>
            </a:pPr>
            <a:endParaRPr lang="en-US" sz="3061" b="1">
              <a:latin typeface="Arial Narrow" charset="0"/>
            </a:endParaRPr>
          </a:p>
        </p:txBody>
      </p:sp>
      <p:cxnSp>
        <p:nvCxnSpPr>
          <p:cNvPr id="141" name="Straight Arrow Connector 140">
            <a:extLst>
              <a:ext uri="{FF2B5EF4-FFF2-40B4-BE49-F238E27FC236}">
                <a16:creationId xmlns:a16="http://schemas.microsoft.com/office/drawing/2014/main" id="{B0D5E2E9-97C5-D843-AC7D-620D4C42CFA2}"/>
              </a:ext>
            </a:extLst>
          </p:cNvPr>
          <p:cNvCxnSpPr>
            <a:cxnSpLocks/>
            <a:endCxn id="140" idx="0"/>
          </p:cNvCxnSpPr>
          <p:nvPr/>
        </p:nvCxnSpPr>
        <p:spPr>
          <a:xfrm>
            <a:off x="13027904" y="4839548"/>
            <a:ext cx="0" cy="313063"/>
          </a:xfrm>
          <a:prstGeom prst="straightConnector1">
            <a:avLst/>
          </a:prstGeom>
          <a:ln w="28575">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42" name="Straight Arrow Connector 141">
            <a:extLst>
              <a:ext uri="{FF2B5EF4-FFF2-40B4-BE49-F238E27FC236}">
                <a16:creationId xmlns:a16="http://schemas.microsoft.com/office/drawing/2014/main" id="{5845B587-D16B-1A46-A4FE-B581C4B24DA1}"/>
              </a:ext>
            </a:extLst>
          </p:cNvPr>
          <p:cNvCxnSpPr>
            <a:cxnSpLocks/>
            <a:stCxn id="140" idx="2"/>
          </p:cNvCxnSpPr>
          <p:nvPr/>
        </p:nvCxnSpPr>
        <p:spPr>
          <a:xfrm flipH="1">
            <a:off x="12507285" y="5298382"/>
            <a:ext cx="326309" cy="7562"/>
          </a:xfrm>
          <a:prstGeom prst="straightConnector1">
            <a:avLst/>
          </a:prstGeom>
          <a:ln w="28575">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069" name="Straight Arrow Connector 2068">
            <a:extLst>
              <a:ext uri="{FF2B5EF4-FFF2-40B4-BE49-F238E27FC236}">
                <a16:creationId xmlns:a16="http://schemas.microsoft.com/office/drawing/2014/main" id="{6A877AD3-D30D-564E-8B52-65BE6E4250F8}"/>
              </a:ext>
            </a:extLst>
          </p:cNvPr>
          <p:cNvCxnSpPr>
            <a:cxnSpLocks/>
          </p:cNvCxnSpPr>
          <p:nvPr/>
        </p:nvCxnSpPr>
        <p:spPr>
          <a:xfrm>
            <a:off x="10172209" y="2536825"/>
            <a:ext cx="719516" cy="0"/>
          </a:xfrm>
          <a:prstGeom prst="straightConnector1">
            <a:avLst/>
          </a:prstGeom>
          <a:ln w="12700" cap="rnd">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2071" name="TextBox 2070">
            <a:extLst>
              <a:ext uri="{FF2B5EF4-FFF2-40B4-BE49-F238E27FC236}">
                <a16:creationId xmlns:a16="http://schemas.microsoft.com/office/drawing/2014/main" id="{AEF7303A-4CC1-8345-9A1D-EA8DDC84DE40}"/>
              </a:ext>
            </a:extLst>
          </p:cNvPr>
          <p:cNvSpPr txBox="1"/>
          <p:nvPr/>
        </p:nvSpPr>
        <p:spPr>
          <a:xfrm>
            <a:off x="8369632" y="2320647"/>
            <a:ext cx="1309974" cy="338554"/>
          </a:xfrm>
          <a:prstGeom prst="rect">
            <a:avLst/>
          </a:prstGeom>
          <a:noFill/>
        </p:spPr>
        <p:txBody>
          <a:bodyPr wrap="none" rtlCol="0">
            <a:spAutoFit/>
          </a:bodyPr>
          <a:lstStyle/>
          <a:p>
            <a:r>
              <a:rPr lang="en-US" sz="1600" dirty="0"/>
              <a:t>d = constant</a:t>
            </a:r>
          </a:p>
        </p:txBody>
      </p:sp>
      <p:cxnSp>
        <p:nvCxnSpPr>
          <p:cNvPr id="147" name="Straight Arrow Connector 146">
            <a:extLst>
              <a:ext uri="{FF2B5EF4-FFF2-40B4-BE49-F238E27FC236}">
                <a16:creationId xmlns:a16="http://schemas.microsoft.com/office/drawing/2014/main" id="{4C0A26ED-2013-234A-BC05-B7549229A36C}"/>
              </a:ext>
            </a:extLst>
          </p:cNvPr>
          <p:cNvCxnSpPr>
            <a:cxnSpLocks/>
          </p:cNvCxnSpPr>
          <p:nvPr/>
        </p:nvCxnSpPr>
        <p:spPr>
          <a:xfrm flipV="1">
            <a:off x="9628279" y="2890235"/>
            <a:ext cx="0" cy="604603"/>
          </a:xfrm>
          <a:prstGeom prst="straightConnector1">
            <a:avLst/>
          </a:prstGeom>
          <a:ln w="12700" cap="rnd">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50" name="Straight Arrow Connector 149">
            <a:extLst>
              <a:ext uri="{FF2B5EF4-FFF2-40B4-BE49-F238E27FC236}">
                <a16:creationId xmlns:a16="http://schemas.microsoft.com/office/drawing/2014/main" id="{88E3ED5B-42E4-A843-B91B-5DC762184528}"/>
              </a:ext>
            </a:extLst>
          </p:cNvPr>
          <p:cNvCxnSpPr>
            <a:cxnSpLocks/>
            <a:stCxn id="2075" idx="1"/>
          </p:cNvCxnSpPr>
          <p:nvPr/>
        </p:nvCxnSpPr>
        <p:spPr>
          <a:xfrm flipH="1">
            <a:off x="13240732" y="4555585"/>
            <a:ext cx="1176142" cy="680745"/>
          </a:xfrm>
          <a:prstGeom prst="straightConnector1">
            <a:avLst/>
          </a:prstGeom>
          <a:ln w="28575">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2075" name="TextBox 2074">
            <a:extLst>
              <a:ext uri="{FF2B5EF4-FFF2-40B4-BE49-F238E27FC236}">
                <a16:creationId xmlns:a16="http://schemas.microsoft.com/office/drawing/2014/main" id="{E952DE99-CE53-D647-AC07-F0B3BB14DD33}"/>
              </a:ext>
            </a:extLst>
          </p:cNvPr>
          <p:cNvSpPr txBox="1"/>
          <p:nvPr/>
        </p:nvSpPr>
        <p:spPr>
          <a:xfrm>
            <a:off x="14416874" y="3950996"/>
            <a:ext cx="1455848" cy="1209177"/>
          </a:xfrm>
          <a:prstGeom prst="rect">
            <a:avLst/>
          </a:prstGeom>
          <a:noFill/>
        </p:spPr>
        <p:txBody>
          <a:bodyPr wrap="none" rtlCol="0">
            <a:spAutoFit/>
          </a:bodyPr>
          <a:lstStyle/>
          <a:p>
            <a:r>
              <a:rPr lang="en-US" dirty="0"/>
              <a:t>Red=192</a:t>
            </a:r>
          </a:p>
          <a:p>
            <a:r>
              <a:rPr lang="en-US" dirty="0"/>
              <a:t>Green=0</a:t>
            </a:r>
          </a:p>
          <a:p>
            <a:r>
              <a:rPr lang="en-US" dirty="0"/>
              <a:t>Blue=0</a:t>
            </a:r>
          </a:p>
        </p:txBody>
      </p:sp>
      <p:cxnSp>
        <p:nvCxnSpPr>
          <p:cNvPr id="154" name="Straight Arrow Connector 153">
            <a:extLst>
              <a:ext uri="{FF2B5EF4-FFF2-40B4-BE49-F238E27FC236}">
                <a16:creationId xmlns:a16="http://schemas.microsoft.com/office/drawing/2014/main" id="{977C61F8-4C75-7B4A-AC26-595C1876DA39}"/>
              </a:ext>
            </a:extLst>
          </p:cNvPr>
          <p:cNvCxnSpPr>
            <a:cxnSpLocks/>
          </p:cNvCxnSpPr>
          <p:nvPr/>
        </p:nvCxnSpPr>
        <p:spPr>
          <a:xfrm flipH="1">
            <a:off x="13040813" y="2502239"/>
            <a:ext cx="1176142" cy="680745"/>
          </a:xfrm>
          <a:prstGeom prst="straightConnector1">
            <a:avLst/>
          </a:prstGeom>
          <a:ln w="28575">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2077" name="TextBox 2076">
            <a:extLst>
              <a:ext uri="{FF2B5EF4-FFF2-40B4-BE49-F238E27FC236}">
                <a16:creationId xmlns:a16="http://schemas.microsoft.com/office/drawing/2014/main" id="{119718B9-61BC-714B-A125-97A504E856FF}"/>
              </a:ext>
            </a:extLst>
          </p:cNvPr>
          <p:cNvSpPr txBox="1"/>
          <p:nvPr/>
        </p:nvSpPr>
        <p:spPr>
          <a:xfrm>
            <a:off x="14261877" y="2066717"/>
            <a:ext cx="1921433" cy="464614"/>
          </a:xfrm>
          <a:prstGeom prst="rect">
            <a:avLst/>
          </a:prstGeom>
          <a:noFill/>
        </p:spPr>
        <p:txBody>
          <a:bodyPr wrap="square" rtlCol="0">
            <a:spAutoFit/>
          </a:bodyPr>
          <a:lstStyle/>
          <a:p>
            <a:r>
              <a:rPr lang="en-US" dirty="0"/>
              <a:t>NEXT_TO</a:t>
            </a:r>
          </a:p>
        </p:txBody>
      </p:sp>
    </p:spTree>
    <p:extLst>
      <p:ext uri="{BB962C8B-B14F-4D97-AF65-F5344CB8AC3E}">
        <p14:creationId xmlns:p14="http://schemas.microsoft.com/office/powerpoint/2010/main" val="132807478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0BEC12B-D5F8-314F-B101-E047987AA2D6}"/>
              </a:ext>
            </a:extLst>
          </p:cNvPr>
          <p:cNvSpPr>
            <a:spLocks noGrp="1"/>
          </p:cNvSpPr>
          <p:nvPr>
            <p:ph type="title"/>
          </p:nvPr>
        </p:nvSpPr>
        <p:spPr/>
        <p:txBody>
          <a:bodyPr/>
          <a:lstStyle/>
          <a:p>
            <a:r>
              <a:rPr lang="en-US" dirty="0"/>
              <a:t>Talk Description</a:t>
            </a:r>
          </a:p>
        </p:txBody>
      </p:sp>
      <p:sp>
        <p:nvSpPr>
          <p:cNvPr id="3" name="Content Placeholder 2">
            <a:extLst>
              <a:ext uri="{FF2B5EF4-FFF2-40B4-BE49-F238E27FC236}">
                <a16:creationId xmlns:a16="http://schemas.microsoft.com/office/drawing/2014/main" id="{4C69C98D-F3A3-E44A-9085-58975FFACC41}"/>
              </a:ext>
            </a:extLst>
          </p:cNvPr>
          <p:cNvSpPr>
            <a:spLocks noGrp="1"/>
          </p:cNvSpPr>
          <p:nvPr>
            <p:ph idx="1"/>
          </p:nvPr>
        </p:nvSpPr>
        <p:spPr/>
        <p:txBody>
          <a:bodyPr/>
          <a:lstStyle/>
          <a:p>
            <a:pPr marL="0" indent="0">
              <a:buNone/>
            </a:pPr>
            <a:r>
              <a:rPr lang="en-US" dirty="0"/>
              <a:t>Title: Graph Hardware Is Coming!</a:t>
            </a:r>
          </a:p>
          <a:p>
            <a:pPr marL="0" indent="0">
              <a:buNone/>
            </a:pPr>
            <a:r>
              <a:rPr lang="en-US" dirty="0"/>
              <a:t>In this session we will show how current general-purpose CPU hardware fails to delivery high performance graph analytics.  We will how that by doing a detailed analysis of the actual functionally needed by graph queries, we can redesign hardware that is optimized for fast graph traversal.  We will also show how by combining graph and machine learning that an entire new generation of “sparse matrix” processing will move large enterprise graphs to an entire new level of performance.</a:t>
            </a:r>
          </a:p>
          <a:p>
            <a:pPr marL="0" indent="0">
              <a:buNone/>
            </a:pPr>
            <a:r>
              <a:rPr lang="en-US" dirty="0"/>
              <a:t>After this session participants will:</a:t>
            </a:r>
          </a:p>
          <a:p>
            <a:r>
              <a:rPr lang="en-US" dirty="0"/>
              <a:t>Understand the limitations of today’s current hardware</a:t>
            </a:r>
          </a:p>
          <a:p>
            <a:r>
              <a:rPr lang="en-US" dirty="0"/>
              <a:t>Understand the needs of large graph analytics workloads</a:t>
            </a:r>
          </a:p>
          <a:p>
            <a:r>
              <a:rPr lang="en-US" dirty="0"/>
              <a:t>Understand how hardware can be redesigned for faster performance and lower power consumption</a:t>
            </a:r>
          </a:p>
          <a:p>
            <a:pPr marL="0" indent="0">
              <a:buNone/>
            </a:pPr>
            <a:endParaRPr lang="en-US" dirty="0"/>
          </a:p>
        </p:txBody>
      </p:sp>
    </p:spTree>
    <p:extLst>
      <p:ext uri="{BB962C8B-B14F-4D97-AF65-F5344CB8AC3E}">
        <p14:creationId xmlns:p14="http://schemas.microsoft.com/office/powerpoint/2010/main" val="234062310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B3A6D698-64FA-C74B-8645-B04294E71B74}"/>
              </a:ext>
            </a:extLst>
          </p:cNvPr>
          <p:cNvSpPr>
            <a:spLocks noGrp="1"/>
          </p:cNvSpPr>
          <p:nvPr>
            <p:ph type="title"/>
          </p:nvPr>
        </p:nvSpPr>
        <p:spPr/>
        <p:txBody>
          <a:bodyPr/>
          <a:lstStyle/>
          <a:p>
            <a:r>
              <a:rPr lang="en-US" dirty="0"/>
              <a:t>Insight through Convolutions in Neural Networks</a:t>
            </a:r>
          </a:p>
        </p:txBody>
      </p:sp>
      <p:sp>
        <p:nvSpPr>
          <p:cNvPr id="9" name="Content Placeholder 8">
            <a:extLst>
              <a:ext uri="{FF2B5EF4-FFF2-40B4-BE49-F238E27FC236}">
                <a16:creationId xmlns:a16="http://schemas.microsoft.com/office/drawing/2014/main" id="{D8E27129-6901-1544-9B85-28CA18EAEE1F}"/>
              </a:ext>
            </a:extLst>
          </p:cNvPr>
          <p:cNvSpPr>
            <a:spLocks noGrp="1"/>
          </p:cNvSpPr>
          <p:nvPr>
            <p:ph idx="1"/>
          </p:nvPr>
        </p:nvSpPr>
        <p:spPr>
          <a:xfrm>
            <a:off x="10436087" y="2024743"/>
            <a:ext cx="6886712" cy="6628674"/>
          </a:xfrm>
        </p:spPr>
        <p:txBody>
          <a:bodyPr/>
          <a:lstStyle/>
          <a:p>
            <a:r>
              <a:rPr lang="en-US" dirty="0"/>
              <a:t>Uniform operations on regions of the image</a:t>
            </a:r>
          </a:p>
          <a:p>
            <a:r>
              <a:rPr lang="en-US" dirty="0"/>
              <a:t>Input is an array of pixels</a:t>
            </a:r>
          </a:p>
          <a:p>
            <a:r>
              <a:rPr lang="en-US" dirty="0"/>
              <a:t>Output is an array of pixels</a:t>
            </a:r>
          </a:p>
          <a:p>
            <a:r>
              <a:rPr lang="en-US" dirty="0"/>
              <a:t>Transform is an array of pixels</a:t>
            </a:r>
          </a:p>
          <a:p>
            <a:r>
              <a:rPr lang="en-US" dirty="0"/>
              <a:t>Unit of work is matrix multiplication that can be executed in parallel</a:t>
            </a:r>
          </a:p>
        </p:txBody>
      </p:sp>
      <p:sp>
        <p:nvSpPr>
          <p:cNvPr id="5" name="Slide Number Placeholder 4">
            <a:extLst>
              <a:ext uri="{FF2B5EF4-FFF2-40B4-BE49-F238E27FC236}">
                <a16:creationId xmlns:a16="http://schemas.microsoft.com/office/drawing/2014/main" id="{F08DC87C-5E3C-2A48-A5CE-9DB028DBBB71}"/>
              </a:ext>
            </a:extLst>
          </p:cNvPr>
          <p:cNvSpPr>
            <a:spLocks noGrp="1"/>
          </p:cNvSpPr>
          <p:nvPr>
            <p:ph type="sldNum" sz="quarter" idx="12"/>
          </p:nvPr>
        </p:nvSpPr>
        <p:spPr/>
        <p:txBody>
          <a:bodyPr/>
          <a:lstStyle/>
          <a:p>
            <a:fld id="{3310D8EA-3107-4873-B9AB-DD7D3E79053A}" type="slidenum">
              <a:rPr lang="en-US" smtClean="0"/>
              <a:t>20</a:t>
            </a:fld>
            <a:endParaRPr lang="en-US"/>
          </a:p>
        </p:txBody>
      </p:sp>
      <p:pic>
        <p:nvPicPr>
          <p:cNvPr id="4098" name="Picture 2" descr="Why convolutions always use odd-numbers as filter_size - Data Science Stack  Exchange">
            <a:extLst>
              <a:ext uri="{FF2B5EF4-FFF2-40B4-BE49-F238E27FC236}">
                <a16:creationId xmlns:a16="http://schemas.microsoft.com/office/drawing/2014/main" id="{D74FEF08-3E84-C54F-8F97-65B740FBDBC2}"/>
              </a:ext>
            </a:extLst>
          </p:cNvPr>
          <p:cNvPicPr>
            <a:picLocks noChangeAspect="1" noChangeArrowheads="1"/>
          </p:cNvPicPr>
          <p:nvPr/>
        </p:nvPicPr>
        <p:blipFill>
          <a:blip r:embed="rId2">
            <a:extLst>
              <a:ext uri="{28A0092B-C50C-407E-A947-70E740481C1C}">
                <a14:useLocalDpi xmlns:a14="http://schemas.microsoft.com/office/drawing/2010/main"/>
              </a:ext>
            </a:extLst>
          </a:blip>
          <a:srcRect/>
          <a:stretch>
            <a:fillRect/>
          </a:stretch>
        </p:blipFill>
        <p:spPr bwMode="auto">
          <a:xfrm>
            <a:off x="726439" y="2024743"/>
            <a:ext cx="9192813" cy="629707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7854988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2D3380-4692-8640-8A1A-42E9CFA62909}"/>
              </a:ext>
            </a:extLst>
          </p:cNvPr>
          <p:cNvSpPr>
            <a:spLocks noGrp="1"/>
          </p:cNvSpPr>
          <p:nvPr>
            <p:ph type="title"/>
          </p:nvPr>
        </p:nvSpPr>
        <p:spPr/>
        <p:txBody>
          <a:bodyPr/>
          <a:lstStyle/>
          <a:p>
            <a:r>
              <a:rPr lang="en-US" dirty="0"/>
              <a:t>Non-Euclidian Geometry</a:t>
            </a:r>
          </a:p>
        </p:txBody>
      </p:sp>
      <p:sp>
        <p:nvSpPr>
          <p:cNvPr id="3" name="Content Placeholder 2">
            <a:extLst>
              <a:ext uri="{FF2B5EF4-FFF2-40B4-BE49-F238E27FC236}">
                <a16:creationId xmlns:a16="http://schemas.microsoft.com/office/drawing/2014/main" id="{DBC8CE2A-296D-8741-8AF1-536807F8A3A2}"/>
              </a:ext>
            </a:extLst>
          </p:cNvPr>
          <p:cNvSpPr>
            <a:spLocks noGrp="1"/>
          </p:cNvSpPr>
          <p:nvPr>
            <p:ph idx="1"/>
          </p:nvPr>
        </p:nvSpPr>
        <p:spPr>
          <a:xfrm>
            <a:off x="8154648" y="2525605"/>
            <a:ext cx="9168151" cy="6127812"/>
          </a:xfrm>
        </p:spPr>
        <p:txBody>
          <a:bodyPr/>
          <a:lstStyle/>
          <a:p>
            <a:r>
              <a:rPr lang="en-US" dirty="0"/>
              <a:t>Every vertex and in a graph holds connected knowledge</a:t>
            </a:r>
          </a:p>
          <a:p>
            <a:r>
              <a:rPr lang="en-US" dirty="0"/>
              <a:t>Data is heterogeneous – every </a:t>
            </a:r>
            <a:r>
              <a:rPr lang="en-US" b="1" dirty="0"/>
              <a:t>node</a:t>
            </a:r>
            <a:r>
              <a:rPr lang="en-US" dirty="0"/>
              <a:t> has a different type</a:t>
            </a:r>
          </a:p>
          <a:p>
            <a:r>
              <a:rPr lang="en-US" dirty="0"/>
              <a:t>The relationship </a:t>
            </a:r>
            <a:r>
              <a:rPr lang="en-US" b="1" dirty="0"/>
              <a:t>types</a:t>
            </a:r>
            <a:r>
              <a:rPr lang="en-US" dirty="0"/>
              <a:t> are heterogeneous</a:t>
            </a:r>
          </a:p>
          <a:p>
            <a:r>
              <a:rPr lang="en-US" dirty="0"/>
              <a:t>Insight is gained through graph </a:t>
            </a:r>
            <a:r>
              <a:rPr lang="en-US" b="1" dirty="0"/>
              <a:t>traversal</a:t>
            </a:r>
          </a:p>
          <a:p>
            <a:r>
              <a:rPr lang="en-US" dirty="0"/>
              <a:t>Similar to a SQL query, but our focus is on edge-traversal</a:t>
            </a:r>
          </a:p>
          <a:p>
            <a:r>
              <a:rPr lang="en-US" dirty="0"/>
              <a:t>We need high core counts and fast memory to speed parallel traversal</a:t>
            </a:r>
          </a:p>
        </p:txBody>
      </p:sp>
      <p:sp>
        <p:nvSpPr>
          <p:cNvPr id="6" name="Oval 5">
            <a:extLst>
              <a:ext uri="{FF2B5EF4-FFF2-40B4-BE49-F238E27FC236}">
                <a16:creationId xmlns:a16="http://schemas.microsoft.com/office/drawing/2014/main" id="{050130BE-00EA-0346-AAD8-627E9CAA4793}"/>
              </a:ext>
            </a:extLst>
          </p:cNvPr>
          <p:cNvSpPr/>
          <p:nvPr/>
        </p:nvSpPr>
        <p:spPr>
          <a:xfrm>
            <a:off x="4864656" y="2960319"/>
            <a:ext cx="459597" cy="454349"/>
          </a:xfrm>
          <a:prstGeom prst="ellipse">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sp>
        <p:nvSpPr>
          <p:cNvPr id="7" name="Oval 6">
            <a:extLst>
              <a:ext uri="{FF2B5EF4-FFF2-40B4-BE49-F238E27FC236}">
                <a16:creationId xmlns:a16="http://schemas.microsoft.com/office/drawing/2014/main" id="{2DE8D13D-3664-1B45-8AC5-D3614AA0EC4D}"/>
              </a:ext>
            </a:extLst>
          </p:cNvPr>
          <p:cNvSpPr/>
          <p:nvPr/>
        </p:nvSpPr>
        <p:spPr>
          <a:xfrm>
            <a:off x="5893960" y="3792468"/>
            <a:ext cx="459597" cy="454349"/>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cxnSp>
        <p:nvCxnSpPr>
          <p:cNvPr id="8" name="Straight Arrow Connector 7">
            <a:extLst>
              <a:ext uri="{FF2B5EF4-FFF2-40B4-BE49-F238E27FC236}">
                <a16:creationId xmlns:a16="http://schemas.microsoft.com/office/drawing/2014/main" id="{7B4494DB-3E63-DA4C-B2BE-27E8484C08FA}"/>
              </a:ext>
            </a:extLst>
          </p:cNvPr>
          <p:cNvCxnSpPr>
            <a:cxnSpLocks/>
            <a:stCxn id="6" idx="5"/>
            <a:endCxn id="7" idx="1"/>
          </p:cNvCxnSpPr>
          <p:nvPr/>
        </p:nvCxnSpPr>
        <p:spPr>
          <a:xfrm>
            <a:off x="5256947" y="3348130"/>
            <a:ext cx="704319" cy="510876"/>
          </a:xfrm>
          <a:prstGeom prst="straightConnector1">
            <a:avLst/>
          </a:prstGeom>
          <a:ln w="57150" cap="rnd">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9" name="Oval 8">
            <a:extLst>
              <a:ext uri="{FF2B5EF4-FFF2-40B4-BE49-F238E27FC236}">
                <a16:creationId xmlns:a16="http://schemas.microsoft.com/office/drawing/2014/main" id="{AD9E79AE-687A-5E40-B2BC-8476E47DA308}"/>
              </a:ext>
            </a:extLst>
          </p:cNvPr>
          <p:cNvSpPr/>
          <p:nvPr/>
        </p:nvSpPr>
        <p:spPr>
          <a:xfrm>
            <a:off x="4310084" y="3888592"/>
            <a:ext cx="459597" cy="454349"/>
          </a:xfrm>
          <a:prstGeom prst="ellipse">
            <a:avLst/>
          </a:prstGeom>
          <a:solidFill>
            <a:srgbClr val="00877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sp>
        <p:nvSpPr>
          <p:cNvPr id="10" name="Oval 9">
            <a:extLst>
              <a:ext uri="{FF2B5EF4-FFF2-40B4-BE49-F238E27FC236}">
                <a16:creationId xmlns:a16="http://schemas.microsoft.com/office/drawing/2014/main" id="{518C547D-B34F-844C-BEE2-22C83EA0100F}"/>
              </a:ext>
            </a:extLst>
          </p:cNvPr>
          <p:cNvSpPr/>
          <p:nvPr/>
        </p:nvSpPr>
        <p:spPr>
          <a:xfrm>
            <a:off x="5160353" y="5014067"/>
            <a:ext cx="459597" cy="454349"/>
          </a:xfrm>
          <a:prstGeom prst="ellipse">
            <a:avLst/>
          </a:prstGeom>
          <a:solidFill>
            <a:schemeClr val="accent1"/>
          </a:solidFill>
          <a:ln>
            <a:solidFill>
              <a:schemeClr val="tx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cxnSp>
        <p:nvCxnSpPr>
          <p:cNvPr id="11" name="Straight Arrow Connector 10">
            <a:extLst>
              <a:ext uri="{FF2B5EF4-FFF2-40B4-BE49-F238E27FC236}">
                <a16:creationId xmlns:a16="http://schemas.microsoft.com/office/drawing/2014/main" id="{569D980D-064C-7E46-BAC5-62661A2E143F}"/>
              </a:ext>
            </a:extLst>
          </p:cNvPr>
          <p:cNvCxnSpPr/>
          <p:nvPr/>
        </p:nvCxnSpPr>
        <p:spPr>
          <a:xfrm>
            <a:off x="4702376" y="4276406"/>
            <a:ext cx="525284" cy="804201"/>
          </a:xfrm>
          <a:prstGeom prst="straightConnector1">
            <a:avLst/>
          </a:prstGeom>
          <a:ln w="57150" cap="rnd">
            <a:solidFill>
              <a:schemeClr val="accent2"/>
            </a:solidFill>
            <a:tailEnd type="triangle"/>
          </a:ln>
        </p:spPr>
        <p:style>
          <a:lnRef idx="1">
            <a:schemeClr val="accent1"/>
          </a:lnRef>
          <a:fillRef idx="0">
            <a:schemeClr val="accent1"/>
          </a:fillRef>
          <a:effectRef idx="0">
            <a:schemeClr val="accent1"/>
          </a:effectRef>
          <a:fontRef idx="minor">
            <a:schemeClr val="tx1"/>
          </a:fontRef>
        </p:style>
      </p:cxnSp>
      <p:sp>
        <p:nvSpPr>
          <p:cNvPr id="12" name="Oval 11">
            <a:extLst>
              <a:ext uri="{FF2B5EF4-FFF2-40B4-BE49-F238E27FC236}">
                <a16:creationId xmlns:a16="http://schemas.microsoft.com/office/drawing/2014/main" id="{1B7B51C6-C358-F747-838E-EC6D460E6EF3}"/>
              </a:ext>
            </a:extLst>
          </p:cNvPr>
          <p:cNvSpPr/>
          <p:nvPr/>
        </p:nvSpPr>
        <p:spPr>
          <a:xfrm>
            <a:off x="3676935" y="4857022"/>
            <a:ext cx="459597" cy="454349"/>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sp>
        <p:nvSpPr>
          <p:cNvPr id="13" name="Oval 12">
            <a:extLst>
              <a:ext uri="{FF2B5EF4-FFF2-40B4-BE49-F238E27FC236}">
                <a16:creationId xmlns:a16="http://schemas.microsoft.com/office/drawing/2014/main" id="{551595ED-66B5-284A-80B3-760D33AB178C}"/>
              </a:ext>
            </a:extLst>
          </p:cNvPr>
          <p:cNvSpPr/>
          <p:nvPr/>
        </p:nvSpPr>
        <p:spPr>
          <a:xfrm>
            <a:off x="4021493" y="5781894"/>
            <a:ext cx="459597" cy="454349"/>
          </a:xfrm>
          <a:prstGeom prst="ellipse">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cxnSp>
        <p:nvCxnSpPr>
          <p:cNvPr id="14" name="Straight Arrow Connector 13">
            <a:extLst>
              <a:ext uri="{FF2B5EF4-FFF2-40B4-BE49-F238E27FC236}">
                <a16:creationId xmlns:a16="http://schemas.microsoft.com/office/drawing/2014/main" id="{EFB51D34-85FB-F546-BB13-279A65C861A1}"/>
              </a:ext>
            </a:extLst>
          </p:cNvPr>
          <p:cNvCxnSpPr/>
          <p:nvPr/>
        </p:nvCxnSpPr>
        <p:spPr>
          <a:xfrm>
            <a:off x="4136535" y="5084198"/>
            <a:ext cx="1023821" cy="157045"/>
          </a:xfrm>
          <a:prstGeom prst="straightConnector1">
            <a:avLst/>
          </a:prstGeom>
          <a:ln w="57150" cap="rnd">
            <a:solidFill>
              <a:srgbClr val="7030A0"/>
            </a:solidFill>
            <a:tailEnd type="triangle"/>
          </a:ln>
        </p:spPr>
        <p:style>
          <a:lnRef idx="1">
            <a:schemeClr val="accent1"/>
          </a:lnRef>
          <a:fillRef idx="0">
            <a:schemeClr val="accent1"/>
          </a:fillRef>
          <a:effectRef idx="0">
            <a:schemeClr val="accent1"/>
          </a:effectRef>
          <a:fontRef idx="minor">
            <a:schemeClr val="tx1"/>
          </a:fontRef>
        </p:style>
      </p:cxnSp>
      <p:cxnSp>
        <p:nvCxnSpPr>
          <p:cNvPr id="15" name="Straight Arrow Connector 14">
            <a:extLst>
              <a:ext uri="{FF2B5EF4-FFF2-40B4-BE49-F238E27FC236}">
                <a16:creationId xmlns:a16="http://schemas.microsoft.com/office/drawing/2014/main" id="{E23BB7E5-FBCD-5047-87A3-3187F9264861}"/>
              </a:ext>
            </a:extLst>
          </p:cNvPr>
          <p:cNvCxnSpPr/>
          <p:nvPr/>
        </p:nvCxnSpPr>
        <p:spPr>
          <a:xfrm flipV="1">
            <a:off x="4769681" y="4019643"/>
            <a:ext cx="1124281" cy="96124"/>
          </a:xfrm>
          <a:prstGeom prst="straightConnector1">
            <a:avLst/>
          </a:prstGeom>
          <a:ln w="57150" cap="rnd">
            <a:solidFill>
              <a:srgbClr val="7030A0"/>
            </a:solidFill>
            <a:tailEnd type="triangle"/>
          </a:ln>
        </p:spPr>
        <p:style>
          <a:lnRef idx="1">
            <a:schemeClr val="accent1"/>
          </a:lnRef>
          <a:fillRef idx="0">
            <a:schemeClr val="accent1"/>
          </a:fillRef>
          <a:effectRef idx="0">
            <a:schemeClr val="accent1"/>
          </a:effectRef>
          <a:fontRef idx="minor">
            <a:schemeClr val="tx1"/>
          </a:fontRef>
        </p:style>
      </p:cxnSp>
      <p:sp>
        <p:nvSpPr>
          <p:cNvPr id="16" name="Oval 15">
            <a:extLst>
              <a:ext uri="{FF2B5EF4-FFF2-40B4-BE49-F238E27FC236}">
                <a16:creationId xmlns:a16="http://schemas.microsoft.com/office/drawing/2014/main" id="{A715FE77-1A01-934B-8C47-B73895B040DF}"/>
              </a:ext>
            </a:extLst>
          </p:cNvPr>
          <p:cNvSpPr/>
          <p:nvPr/>
        </p:nvSpPr>
        <p:spPr>
          <a:xfrm>
            <a:off x="6480849" y="4630441"/>
            <a:ext cx="459597" cy="454349"/>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cxnSp>
        <p:nvCxnSpPr>
          <p:cNvPr id="17" name="Straight Arrow Connector 16">
            <a:extLst>
              <a:ext uri="{FF2B5EF4-FFF2-40B4-BE49-F238E27FC236}">
                <a16:creationId xmlns:a16="http://schemas.microsoft.com/office/drawing/2014/main" id="{F0501427-4A50-3640-B83F-7B5378F45A47}"/>
              </a:ext>
            </a:extLst>
          </p:cNvPr>
          <p:cNvCxnSpPr/>
          <p:nvPr/>
        </p:nvCxnSpPr>
        <p:spPr>
          <a:xfrm flipH="1">
            <a:off x="5552646" y="4180282"/>
            <a:ext cx="408623" cy="900325"/>
          </a:xfrm>
          <a:prstGeom prst="straightConnector1">
            <a:avLst/>
          </a:prstGeom>
          <a:ln w="57150" cap="rnd">
            <a:solidFill>
              <a:srgbClr val="55565A"/>
            </a:solidFill>
            <a:tailEnd type="triangle"/>
          </a:ln>
        </p:spPr>
        <p:style>
          <a:lnRef idx="1">
            <a:schemeClr val="accent1"/>
          </a:lnRef>
          <a:fillRef idx="0">
            <a:schemeClr val="accent1"/>
          </a:fillRef>
          <a:effectRef idx="0">
            <a:schemeClr val="accent1"/>
          </a:effectRef>
          <a:fontRef idx="minor">
            <a:schemeClr val="tx1"/>
          </a:fontRef>
        </p:style>
      </p:cxnSp>
      <p:sp>
        <p:nvSpPr>
          <p:cNvPr id="18" name="Oval 17">
            <a:extLst>
              <a:ext uri="{FF2B5EF4-FFF2-40B4-BE49-F238E27FC236}">
                <a16:creationId xmlns:a16="http://schemas.microsoft.com/office/drawing/2014/main" id="{B0859289-5237-F24F-B1C8-9A6AC97A6C6F}"/>
              </a:ext>
            </a:extLst>
          </p:cNvPr>
          <p:cNvSpPr/>
          <p:nvPr/>
        </p:nvSpPr>
        <p:spPr>
          <a:xfrm>
            <a:off x="5094453" y="6009068"/>
            <a:ext cx="459597" cy="454349"/>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cxnSp>
        <p:nvCxnSpPr>
          <p:cNvPr id="19" name="Straight Arrow Connector 18">
            <a:extLst>
              <a:ext uri="{FF2B5EF4-FFF2-40B4-BE49-F238E27FC236}">
                <a16:creationId xmlns:a16="http://schemas.microsoft.com/office/drawing/2014/main" id="{FBAFB394-7921-8848-B55C-AD3A76985198}"/>
              </a:ext>
            </a:extLst>
          </p:cNvPr>
          <p:cNvCxnSpPr/>
          <p:nvPr/>
        </p:nvCxnSpPr>
        <p:spPr>
          <a:xfrm flipV="1">
            <a:off x="5324255" y="5468416"/>
            <a:ext cx="65898" cy="540650"/>
          </a:xfrm>
          <a:prstGeom prst="straightConnector1">
            <a:avLst/>
          </a:prstGeom>
          <a:ln w="57150" cap="rnd">
            <a:solidFill>
              <a:srgbClr val="55565A"/>
            </a:solidFill>
            <a:tailEnd type="triangle"/>
          </a:ln>
        </p:spPr>
        <p:style>
          <a:lnRef idx="1">
            <a:schemeClr val="accent1"/>
          </a:lnRef>
          <a:fillRef idx="0">
            <a:schemeClr val="accent1"/>
          </a:fillRef>
          <a:effectRef idx="0">
            <a:schemeClr val="accent1"/>
          </a:effectRef>
          <a:fontRef idx="minor">
            <a:schemeClr val="tx1"/>
          </a:fontRef>
        </p:style>
      </p:cxnSp>
      <p:cxnSp>
        <p:nvCxnSpPr>
          <p:cNvPr id="20" name="Straight Arrow Connector 19">
            <a:extLst>
              <a:ext uri="{FF2B5EF4-FFF2-40B4-BE49-F238E27FC236}">
                <a16:creationId xmlns:a16="http://schemas.microsoft.com/office/drawing/2014/main" id="{9E0F213D-3733-9247-B4F1-E318E61A9298}"/>
              </a:ext>
            </a:extLst>
          </p:cNvPr>
          <p:cNvCxnSpPr/>
          <p:nvPr/>
        </p:nvCxnSpPr>
        <p:spPr>
          <a:xfrm flipV="1">
            <a:off x="5486748" y="5018255"/>
            <a:ext cx="1061410" cy="1057351"/>
          </a:xfrm>
          <a:prstGeom prst="straightConnector1">
            <a:avLst/>
          </a:prstGeom>
          <a:ln w="57150" cap="rnd">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21" name="Straight Arrow Connector 20">
            <a:extLst>
              <a:ext uri="{FF2B5EF4-FFF2-40B4-BE49-F238E27FC236}">
                <a16:creationId xmlns:a16="http://schemas.microsoft.com/office/drawing/2014/main" id="{DBAED14E-D9E9-BC43-8A4C-F9292FDE34B7}"/>
              </a:ext>
            </a:extLst>
          </p:cNvPr>
          <p:cNvCxnSpPr/>
          <p:nvPr/>
        </p:nvCxnSpPr>
        <p:spPr>
          <a:xfrm flipH="1" flipV="1">
            <a:off x="6286254" y="4180282"/>
            <a:ext cx="261901" cy="516696"/>
          </a:xfrm>
          <a:prstGeom prst="straightConnector1">
            <a:avLst/>
          </a:prstGeom>
          <a:ln w="57150" cap="rnd">
            <a:solidFill>
              <a:srgbClr val="008770"/>
            </a:solidFill>
            <a:tailEnd type="triangle"/>
          </a:ln>
        </p:spPr>
        <p:style>
          <a:lnRef idx="1">
            <a:schemeClr val="accent1"/>
          </a:lnRef>
          <a:fillRef idx="0">
            <a:schemeClr val="accent1"/>
          </a:fillRef>
          <a:effectRef idx="0">
            <a:schemeClr val="accent1"/>
          </a:effectRef>
          <a:fontRef idx="minor">
            <a:schemeClr val="tx1"/>
          </a:fontRef>
        </p:style>
      </p:cxnSp>
      <p:cxnSp>
        <p:nvCxnSpPr>
          <p:cNvPr id="22" name="Straight Arrow Connector 21">
            <a:extLst>
              <a:ext uri="{FF2B5EF4-FFF2-40B4-BE49-F238E27FC236}">
                <a16:creationId xmlns:a16="http://schemas.microsoft.com/office/drawing/2014/main" id="{5BBDF779-F18B-934D-8541-B5EF7AECE907}"/>
              </a:ext>
            </a:extLst>
          </p:cNvPr>
          <p:cNvCxnSpPr/>
          <p:nvPr/>
        </p:nvCxnSpPr>
        <p:spPr>
          <a:xfrm flipH="1">
            <a:off x="4702376" y="3348131"/>
            <a:ext cx="229587" cy="606997"/>
          </a:xfrm>
          <a:prstGeom prst="straightConnector1">
            <a:avLst/>
          </a:prstGeom>
          <a:ln w="57150" cap="rnd">
            <a:solidFill>
              <a:srgbClr val="4472C4"/>
            </a:solidFill>
            <a:tailEnd type="triangle"/>
          </a:ln>
        </p:spPr>
        <p:style>
          <a:lnRef idx="1">
            <a:schemeClr val="accent1"/>
          </a:lnRef>
          <a:fillRef idx="0">
            <a:schemeClr val="accent1"/>
          </a:fillRef>
          <a:effectRef idx="0">
            <a:schemeClr val="accent1"/>
          </a:effectRef>
          <a:fontRef idx="minor">
            <a:schemeClr val="tx1"/>
          </a:fontRef>
        </p:style>
      </p:cxnSp>
      <p:cxnSp>
        <p:nvCxnSpPr>
          <p:cNvPr id="23" name="Straight Arrow Connector 22">
            <a:extLst>
              <a:ext uri="{FF2B5EF4-FFF2-40B4-BE49-F238E27FC236}">
                <a16:creationId xmlns:a16="http://schemas.microsoft.com/office/drawing/2014/main" id="{2635D4FB-7DFE-FE48-8E14-A9FF64B5BB05}"/>
              </a:ext>
            </a:extLst>
          </p:cNvPr>
          <p:cNvCxnSpPr/>
          <p:nvPr/>
        </p:nvCxnSpPr>
        <p:spPr>
          <a:xfrm flipH="1">
            <a:off x="3906733" y="4276406"/>
            <a:ext cx="470655" cy="580618"/>
          </a:xfrm>
          <a:prstGeom prst="straightConnector1">
            <a:avLst/>
          </a:prstGeom>
          <a:ln w="57150" cap="rnd">
            <a:solidFill>
              <a:srgbClr val="008770"/>
            </a:solidFill>
            <a:tailEnd type="triangle"/>
          </a:ln>
        </p:spPr>
        <p:style>
          <a:lnRef idx="1">
            <a:schemeClr val="accent1"/>
          </a:lnRef>
          <a:fillRef idx="0">
            <a:schemeClr val="accent1"/>
          </a:fillRef>
          <a:effectRef idx="0">
            <a:schemeClr val="accent1"/>
          </a:effectRef>
          <a:fontRef idx="minor">
            <a:schemeClr val="tx1"/>
          </a:fontRef>
        </p:style>
      </p:cxnSp>
      <p:cxnSp>
        <p:nvCxnSpPr>
          <p:cNvPr id="24" name="Straight Arrow Connector 23">
            <a:extLst>
              <a:ext uri="{FF2B5EF4-FFF2-40B4-BE49-F238E27FC236}">
                <a16:creationId xmlns:a16="http://schemas.microsoft.com/office/drawing/2014/main" id="{282918DD-1528-ED44-9FB9-B4DFA7E9F7B6}"/>
              </a:ext>
            </a:extLst>
          </p:cNvPr>
          <p:cNvCxnSpPr/>
          <p:nvPr/>
        </p:nvCxnSpPr>
        <p:spPr>
          <a:xfrm>
            <a:off x="4481091" y="6009068"/>
            <a:ext cx="613363" cy="227175"/>
          </a:xfrm>
          <a:prstGeom prst="straightConnector1">
            <a:avLst/>
          </a:prstGeom>
          <a:ln w="57150" cap="rnd">
            <a:solidFill>
              <a:srgbClr val="55565A"/>
            </a:solidFill>
            <a:tailEnd type="triangle"/>
          </a:ln>
        </p:spPr>
        <p:style>
          <a:lnRef idx="1">
            <a:schemeClr val="accent1"/>
          </a:lnRef>
          <a:fillRef idx="0">
            <a:schemeClr val="accent1"/>
          </a:fillRef>
          <a:effectRef idx="0">
            <a:schemeClr val="accent1"/>
          </a:effectRef>
          <a:fontRef idx="minor">
            <a:schemeClr val="tx1"/>
          </a:fontRef>
        </p:style>
      </p:cxnSp>
      <p:cxnSp>
        <p:nvCxnSpPr>
          <p:cNvPr id="25" name="Straight Arrow Connector 24">
            <a:extLst>
              <a:ext uri="{FF2B5EF4-FFF2-40B4-BE49-F238E27FC236}">
                <a16:creationId xmlns:a16="http://schemas.microsoft.com/office/drawing/2014/main" id="{2A5096AB-6C67-3A44-9FD1-29C0131DA053}"/>
              </a:ext>
            </a:extLst>
          </p:cNvPr>
          <p:cNvCxnSpPr>
            <a:endCxn id="12" idx="3"/>
          </p:cNvCxnSpPr>
          <p:nvPr/>
        </p:nvCxnSpPr>
        <p:spPr>
          <a:xfrm flipV="1">
            <a:off x="3149906" y="5244835"/>
            <a:ext cx="594336" cy="358871"/>
          </a:xfrm>
          <a:prstGeom prst="straightConnector1">
            <a:avLst/>
          </a:prstGeom>
          <a:ln w="57150" cap="rnd">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26" name="Straight Arrow Connector 25">
            <a:extLst>
              <a:ext uri="{FF2B5EF4-FFF2-40B4-BE49-F238E27FC236}">
                <a16:creationId xmlns:a16="http://schemas.microsoft.com/office/drawing/2014/main" id="{F1F81DFF-D2B2-664F-971A-CC261682E700}"/>
              </a:ext>
            </a:extLst>
          </p:cNvPr>
          <p:cNvCxnSpPr/>
          <p:nvPr/>
        </p:nvCxnSpPr>
        <p:spPr>
          <a:xfrm flipH="1" flipV="1">
            <a:off x="3862411" y="3193003"/>
            <a:ext cx="979517" cy="11392"/>
          </a:xfrm>
          <a:prstGeom prst="straightConnector1">
            <a:avLst/>
          </a:prstGeom>
          <a:ln w="57150" cap="rnd">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27" name="Oval 26">
            <a:extLst>
              <a:ext uri="{FF2B5EF4-FFF2-40B4-BE49-F238E27FC236}">
                <a16:creationId xmlns:a16="http://schemas.microsoft.com/office/drawing/2014/main" id="{BBDF1EEF-B17E-0A4E-823C-EEF941151E84}"/>
              </a:ext>
            </a:extLst>
          </p:cNvPr>
          <p:cNvSpPr/>
          <p:nvPr/>
        </p:nvSpPr>
        <p:spPr>
          <a:xfrm>
            <a:off x="3402812" y="2965828"/>
            <a:ext cx="459597" cy="454349"/>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sp>
        <p:nvSpPr>
          <p:cNvPr id="28" name="Oval 27">
            <a:extLst>
              <a:ext uri="{FF2B5EF4-FFF2-40B4-BE49-F238E27FC236}">
                <a16:creationId xmlns:a16="http://schemas.microsoft.com/office/drawing/2014/main" id="{A2B90816-0BB2-3C4B-954F-55333B0F9C0C}"/>
              </a:ext>
            </a:extLst>
          </p:cNvPr>
          <p:cNvSpPr/>
          <p:nvPr/>
        </p:nvSpPr>
        <p:spPr>
          <a:xfrm>
            <a:off x="3310006" y="3837785"/>
            <a:ext cx="459597" cy="454349"/>
          </a:xfrm>
          <a:prstGeom prst="ellipse">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cxnSp>
        <p:nvCxnSpPr>
          <p:cNvPr id="29" name="Straight Arrow Connector 28">
            <a:extLst>
              <a:ext uri="{FF2B5EF4-FFF2-40B4-BE49-F238E27FC236}">
                <a16:creationId xmlns:a16="http://schemas.microsoft.com/office/drawing/2014/main" id="{02713CD9-92E9-8A4F-8E0A-9F820C2250B8}"/>
              </a:ext>
            </a:extLst>
          </p:cNvPr>
          <p:cNvCxnSpPr/>
          <p:nvPr/>
        </p:nvCxnSpPr>
        <p:spPr>
          <a:xfrm>
            <a:off x="3769603" y="4064960"/>
            <a:ext cx="540480" cy="50807"/>
          </a:xfrm>
          <a:prstGeom prst="straightConnector1">
            <a:avLst/>
          </a:prstGeom>
          <a:ln w="57150" cap="rnd">
            <a:solidFill>
              <a:srgbClr val="008770"/>
            </a:solidFill>
            <a:tailEnd type="triangle"/>
          </a:ln>
        </p:spPr>
        <p:style>
          <a:lnRef idx="1">
            <a:schemeClr val="accent1"/>
          </a:lnRef>
          <a:fillRef idx="0">
            <a:schemeClr val="accent1"/>
          </a:fillRef>
          <a:effectRef idx="0">
            <a:schemeClr val="accent1"/>
          </a:effectRef>
          <a:fontRef idx="minor">
            <a:schemeClr val="tx1"/>
          </a:fontRef>
        </p:style>
      </p:cxnSp>
      <p:sp>
        <p:nvSpPr>
          <p:cNvPr id="30" name="Oval 29">
            <a:extLst>
              <a:ext uri="{FF2B5EF4-FFF2-40B4-BE49-F238E27FC236}">
                <a16:creationId xmlns:a16="http://schemas.microsoft.com/office/drawing/2014/main" id="{1572116A-B955-B84F-B626-2E6A6E9BDB75}"/>
              </a:ext>
            </a:extLst>
          </p:cNvPr>
          <p:cNvSpPr/>
          <p:nvPr/>
        </p:nvSpPr>
        <p:spPr>
          <a:xfrm>
            <a:off x="2743658" y="5549809"/>
            <a:ext cx="459597" cy="454349"/>
          </a:xfrm>
          <a:prstGeom prst="ellipse">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cxnSp>
        <p:nvCxnSpPr>
          <p:cNvPr id="31" name="Straight Arrow Connector 30">
            <a:extLst>
              <a:ext uri="{FF2B5EF4-FFF2-40B4-BE49-F238E27FC236}">
                <a16:creationId xmlns:a16="http://schemas.microsoft.com/office/drawing/2014/main" id="{5FDC0EC3-D297-BB47-A351-137DE00538FF}"/>
              </a:ext>
            </a:extLst>
          </p:cNvPr>
          <p:cNvCxnSpPr/>
          <p:nvPr/>
        </p:nvCxnSpPr>
        <p:spPr>
          <a:xfrm>
            <a:off x="3203255" y="5776986"/>
            <a:ext cx="818238" cy="232083"/>
          </a:xfrm>
          <a:prstGeom prst="straightConnector1">
            <a:avLst/>
          </a:prstGeom>
          <a:ln w="57150" cap="rnd">
            <a:solidFill>
              <a:srgbClr val="008770"/>
            </a:solidFill>
            <a:tailEnd type="triangle"/>
          </a:ln>
        </p:spPr>
        <p:style>
          <a:lnRef idx="1">
            <a:schemeClr val="accent1"/>
          </a:lnRef>
          <a:fillRef idx="0">
            <a:schemeClr val="accent1"/>
          </a:fillRef>
          <a:effectRef idx="0">
            <a:schemeClr val="accent1"/>
          </a:effectRef>
          <a:fontRef idx="minor">
            <a:schemeClr val="tx1"/>
          </a:fontRef>
        </p:style>
      </p:cxnSp>
      <p:sp>
        <p:nvSpPr>
          <p:cNvPr id="32" name="Oval 31">
            <a:extLst>
              <a:ext uri="{FF2B5EF4-FFF2-40B4-BE49-F238E27FC236}">
                <a16:creationId xmlns:a16="http://schemas.microsoft.com/office/drawing/2014/main" id="{2CDCEAE6-61B2-B149-8842-EC4C9BD4F104}"/>
              </a:ext>
            </a:extLst>
          </p:cNvPr>
          <p:cNvSpPr/>
          <p:nvPr/>
        </p:nvSpPr>
        <p:spPr>
          <a:xfrm>
            <a:off x="2102381" y="6178938"/>
            <a:ext cx="459597" cy="454349"/>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cxnSp>
        <p:nvCxnSpPr>
          <p:cNvPr id="33" name="Straight Arrow Connector 32">
            <a:extLst>
              <a:ext uri="{FF2B5EF4-FFF2-40B4-BE49-F238E27FC236}">
                <a16:creationId xmlns:a16="http://schemas.microsoft.com/office/drawing/2014/main" id="{2523A5C0-0E28-164A-AF2D-730A7F79A5B5}"/>
              </a:ext>
            </a:extLst>
          </p:cNvPr>
          <p:cNvCxnSpPr>
            <a:cxnSpLocks/>
            <a:stCxn id="32" idx="7"/>
            <a:endCxn id="30" idx="3"/>
          </p:cNvCxnSpPr>
          <p:nvPr/>
        </p:nvCxnSpPr>
        <p:spPr>
          <a:xfrm flipV="1">
            <a:off x="2494672" y="5937620"/>
            <a:ext cx="316292" cy="307856"/>
          </a:xfrm>
          <a:prstGeom prst="straightConnector1">
            <a:avLst/>
          </a:prstGeom>
          <a:ln w="57150" cap="rnd">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34" name="Oval 33">
            <a:extLst>
              <a:ext uri="{FF2B5EF4-FFF2-40B4-BE49-F238E27FC236}">
                <a16:creationId xmlns:a16="http://schemas.microsoft.com/office/drawing/2014/main" id="{93C3A67E-A406-154F-A47B-9B502569733E}"/>
              </a:ext>
            </a:extLst>
          </p:cNvPr>
          <p:cNvSpPr/>
          <p:nvPr/>
        </p:nvSpPr>
        <p:spPr>
          <a:xfrm>
            <a:off x="2611652" y="4488434"/>
            <a:ext cx="459597" cy="454349"/>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sp>
        <p:nvSpPr>
          <p:cNvPr id="35" name="Oval 34">
            <a:extLst>
              <a:ext uri="{FF2B5EF4-FFF2-40B4-BE49-F238E27FC236}">
                <a16:creationId xmlns:a16="http://schemas.microsoft.com/office/drawing/2014/main" id="{246F5E8E-46AA-5945-8B1A-0638391C57D4}"/>
              </a:ext>
            </a:extLst>
          </p:cNvPr>
          <p:cNvSpPr/>
          <p:nvPr/>
        </p:nvSpPr>
        <p:spPr>
          <a:xfrm>
            <a:off x="3503903" y="6463416"/>
            <a:ext cx="459597" cy="454349"/>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cxnSp>
        <p:nvCxnSpPr>
          <p:cNvPr id="36" name="Straight Arrow Connector 35">
            <a:extLst>
              <a:ext uri="{FF2B5EF4-FFF2-40B4-BE49-F238E27FC236}">
                <a16:creationId xmlns:a16="http://schemas.microsoft.com/office/drawing/2014/main" id="{305271C7-777B-B84C-96BD-30FC3AA00E5D}"/>
              </a:ext>
            </a:extLst>
          </p:cNvPr>
          <p:cNvCxnSpPr>
            <a:stCxn id="28" idx="3"/>
            <a:endCxn id="34" idx="7"/>
          </p:cNvCxnSpPr>
          <p:nvPr/>
        </p:nvCxnSpPr>
        <p:spPr>
          <a:xfrm flipH="1">
            <a:off x="3003945" y="4225597"/>
            <a:ext cx="373368" cy="329373"/>
          </a:xfrm>
          <a:prstGeom prst="straightConnector1">
            <a:avLst/>
          </a:prstGeom>
          <a:ln w="57150" cap="rnd">
            <a:solidFill>
              <a:schemeClr val="accent2"/>
            </a:solidFill>
            <a:tailEnd type="triangle"/>
          </a:ln>
        </p:spPr>
        <p:style>
          <a:lnRef idx="1">
            <a:schemeClr val="accent1"/>
          </a:lnRef>
          <a:fillRef idx="0">
            <a:schemeClr val="accent1"/>
          </a:fillRef>
          <a:effectRef idx="0">
            <a:schemeClr val="accent1"/>
          </a:effectRef>
          <a:fontRef idx="minor">
            <a:schemeClr val="tx1"/>
          </a:fontRef>
        </p:style>
      </p:cxnSp>
      <p:cxnSp>
        <p:nvCxnSpPr>
          <p:cNvPr id="37" name="Straight Arrow Connector 36">
            <a:extLst>
              <a:ext uri="{FF2B5EF4-FFF2-40B4-BE49-F238E27FC236}">
                <a16:creationId xmlns:a16="http://schemas.microsoft.com/office/drawing/2014/main" id="{39D7CA7B-3A2C-0D4B-A807-9C000C793B8E}"/>
              </a:ext>
            </a:extLst>
          </p:cNvPr>
          <p:cNvCxnSpPr>
            <a:stCxn id="12" idx="1"/>
            <a:endCxn id="34" idx="6"/>
          </p:cNvCxnSpPr>
          <p:nvPr/>
        </p:nvCxnSpPr>
        <p:spPr>
          <a:xfrm flipH="1" flipV="1">
            <a:off x="3071250" y="4715609"/>
            <a:ext cx="672991" cy="207950"/>
          </a:xfrm>
          <a:prstGeom prst="straightConnector1">
            <a:avLst/>
          </a:prstGeom>
          <a:ln w="57150" cap="rnd">
            <a:solidFill>
              <a:srgbClr val="4472C4"/>
            </a:solidFill>
            <a:tailEnd type="triangle"/>
          </a:ln>
        </p:spPr>
        <p:style>
          <a:lnRef idx="1">
            <a:schemeClr val="accent1"/>
          </a:lnRef>
          <a:fillRef idx="0">
            <a:schemeClr val="accent1"/>
          </a:fillRef>
          <a:effectRef idx="0">
            <a:schemeClr val="accent1"/>
          </a:effectRef>
          <a:fontRef idx="minor">
            <a:schemeClr val="tx1"/>
          </a:fontRef>
        </p:style>
      </p:cxnSp>
      <p:cxnSp>
        <p:nvCxnSpPr>
          <p:cNvPr id="38" name="Straight Arrow Connector 37">
            <a:extLst>
              <a:ext uri="{FF2B5EF4-FFF2-40B4-BE49-F238E27FC236}">
                <a16:creationId xmlns:a16="http://schemas.microsoft.com/office/drawing/2014/main" id="{0A16129D-C7D5-1B40-91EF-E1E5CA1842F5}"/>
              </a:ext>
            </a:extLst>
          </p:cNvPr>
          <p:cNvCxnSpPr>
            <a:stCxn id="34" idx="4"/>
            <a:endCxn id="30" idx="0"/>
          </p:cNvCxnSpPr>
          <p:nvPr/>
        </p:nvCxnSpPr>
        <p:spPr>
          <a:xfrm>
            <a:off x="2841454" y="4942783"/>
            <a:ext cx="132006" cy="607028"/>
          </a:xfrm>
          <a:prstGeom prst="straightConnector1">
            <a:avLst/>
          </a:prstGeom>
          <a:ln w="57150" cap="rnd">
            <a:solidFill>
              <a:srgbClr val="7030A0"/>
            </a:solidFill>
            <a:tailEnd type="triangle"/>
          </a:ln>
        </p:spPr>
        <p:style>
          <a:lnRef idx="1">
            <a:schemeClr val="accent1"/>
          </a:lnRef>
          <a:fillRef idx="0">
            <a:schemeClr val="accent1"/>
          </a:fillRef>
          <a:effectRef idx="0">
            <a:schemeClr val="accent1"/>
          </a:effectRef>
          <a:fontRef idx="minor">
            <a:schemeClr val="tx1"/>
          </a:fontRef>
        </p:style>
      </p:cxnSp>
      <p:cxnSp>
        <p:nvCxnSpPr>
          <p:cNvPr id="39" name="Straight Arrow Connector 38">
            <a:extLst>
              <a:ext uri="{FF2B5EF4-FFF2-40B4-BE49-F238E27FC236}">
                <a16:creationId xmlns:a16="http://schemas.microsoft.com/office/drawing/2014/main" id="{EDE6ACEA-3A3C-CE45-9E3F-3B59A74BD5B4}"/>
              </a:ext>
            </a:extLst>
          </p:cNvPr>
          <p:cNvCxnSpPr>
            <a:stCxn id="13" idx="3"/>
            <a:endCxn id="35" idx="7"/>
          </p:cNvCxnSpPr>
          <p:nvPr/>
        </p:nvCxnSpPr>
        <p:spPr>
          <a:xfrm flipH="1">
            <a:off x="3896194" y="6169705"/>
            <a:ext cx="192605" cy="360249"/>
          </a:xfrm>
          <a:prstGeom prst="straightConnector1">
            <a:avLst/>
          </a:prstGeom>
          <a:ln w="57150" cap="rnd">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40" name="Oval 39">
            <a:extLst>
              <a:ext uri="{FF2B5EF4-FFF2-40B4-BE49-F238E27FC236}">
                <a16:creationId xmlns:a16="http://schemas.microsoft.com/office/drawing/2014/main" id="{D6DC45A9-D479-1745-875B-9BF9994C5429}"/>
              </a:ext>
            </a:extLst>
          </p:cNvPr>
          <p:cNvSpPr/>
          <p:nvPr/>
        </p:nvSpPr>
        <p:spPr>
          <a:xfrm>
            <a:off x="2438531" y="3208755"/>
            <a:ext cx="459597" cy="454349"/>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cxnSp>
        <p:nvCxnSpPr>
          <p:cNvPr id="41" name="Straight Arrow Connector 40">
            <a:extLst>
              <a:ext uri="{FF2B5EF4-FFF2-40B4-BE49-F238E27FC236}">
                <a16:creationId xmlns:a16="http://schemas.microsoft.com/office/drawing/2014/main" id="{5858A0E7-4D6E-D740-98AD-15F86EEA5118}"/>
              </a:ext>
            </a:extLst>
          </p:cNvPr>
          <p:cNvCxnSpPr>
            <a:stCxn id="40" idx="6"/>
            <a:endCxn id="27" idx="2"/>
          </p:cNvCxnSpPr>
          <p:nvPr/>
        </p:nvCxnSpPr>
        <p:spPr>
          <a:xfrm flipV="1">
            <a:off x="2898130" y="3193005"/>
            <a:ext cx="504683" cy="242927"/>
          </a:xfrm>
          <a:prstGeom prst="straightConnector1">
            <a:avLst/>
          </a:prstGeom>
          <a:ln w="57150" cap="rnd">
            <a:solidFill>
              <a:schemeClr val="accent2"/>
            </a:solidFill>
            <a:tailEnd type="triangle"/>
          </a:ln>
        </p:spPr>
        <p:style>
          <a:lnRef idx="1">
            <a:schemeClr val="accent1"/>
          </a:lnRef>
          <a:fillRef idx="0">
            <a:schemeClr val="accent1"/>
          </a:fillRef>
          <a:effectRef idx="0">
            <a:schemeClr val="accent1"/>
          </a:effectRef>
          <a:fontRef idx="minor">
            <a:schemeClr val="tx1"/>
          </a:fontRef>
        </p:style>
      </p:cxnSp>
      <p:cxnSp>
        <p:nvCxnSpPr>
          <p:cNvPr id="42" name="Straight Arrow Connector 41">
            <a:extLst>
              <a:ext uri="{FF2B5EF4-FFF2-40B4-BE49-F238E27FC236}">
                <a16:creationId xmlns:a16="http://schemas.microsoft.com/office/drawing/2014/main" id="{31F01FB2-57D2-064E-8703-7EEFCFFAED77}"/>
              </a:ext>
            </a:extLst>
          </p:cNvPr>
          <p:cNvCxnSpPr>
            <a:stCxn id="40" idx="5"/>
            <a:endCxn id="28" idx="1"/>
          </p:cNvCxnSpPr>
          <p:nvPr/>
        </p:nvCxnSpPr>
        <p:spPr>
          <a:xfrm>
            <a:off x="2830824" y="3596566"/>
            <a:ext cx="546489" cy="307757"/>
          </a:xfrm>
          <a:prstGeom prst="straightConnector1">
            <a:avLst/>
          </a:prstGeom>
          <a:ln w="57150" cap="rnd">
            <a:solidFill>
              <a:srgbClr val="7030A0"/>
            </a:solidFill>
            <a:tailEnd type="triangle"/>
          </a:ln>
        </p:spPr>
        <p:style>
          <a:lnRef idx="1">
            <a:schemeClr val="accent1"/>
          </a:lnRef>
          <a:fillRef idx="0">
            <a:schemeClr val="accent1"/>
          </a:fillRef>
          <a:effectRef idx="0">
            <a:schemeClr val="accent1"/>
          </a:effectRef>
          <a:fontRef idx="minor">
            <a:schemeClr val="tx1"/>
          </a:fontRef>
        </p:style>
      </p:cxnSp>
      <p:cxnSp>
        <p:nvCxnSpPr>
          <p:cNvPr id="43" name="Straight Arrow Connector 42">
            <a:extLst>
              <a:ext uri="{FF2B5EF4-FFF2-40B4-BE49-F238E27FC236}">
                <a16:creationId xmlns:a16="http://schemas.microsoft.com/office/drawing/2014/main" id="{D23F1884-312E-E248-8A83-22DE706C8B73}"/>
              </a:ext>
            </a:extLst>
          </p:cNvPr>
          <p:cNvCxnSpPr>
            <a:endCxn id="34" idx="1"/>
          </p:cNvCxnSpPr>
          <p:nvPr/>
        </p:nvCxnSpPr>
        <p:spPr>
          <a:xfrm>
            <a:off x="2057561" y="4274672"/>
            <a:ext cx="621398" cy="280300"/>
          </a:xfrm>
          <a:prstGeom prst="straightConnector1">
            <a:avLst/>
          </a:prstGeom>
          <a:ln w="57150" cap="rnd">
            <a:solidFill>
              <a:srgbClr val="7030A0"/>
            </a:solidFill>
            <a:tailEnd type="triangle"/>
          </a:ln>
        </p:spPr>
        <p:style>
          <a:lnRef idx="1">
            <a:schemeClr val="accent1"/>
          </a:lnRef>
          <a:fillRef idx="0">
            <a:schemeClr val="accent1"/>
          </a:fillRef>
          <a:effectRef idx="0">
            <a:schemeClr val="accent1"/>
          </a:effectRef>
          <a:fontRef idx="minor">
            <a:schemeClr val="tx1"/>
          </a:fontRef>
        </p:style>
      </p:cxnSp>
      <p:sp>
        <p:nvSpPr>
          <p:cNvPr id="44" name="Oval 43">
            <a:extLst>
              <a:ext uri="{FF2B5EF4-FFF2-40B4-BE49-F238E27FC236}">
                <a16:creationId xmlns:a16="http://schemas.microsoft.com/office/drawing/2014/main" id="{F05F6ED0-E091-B345-83AD-08752AD9B623}"/>
              </a:ext>
            </a:extLst>
          </p:cNvPr>
          <p:cNvSpPr/>
          <p:nvPr/>
        </p:nvSpPr>
        <p:spPr>
          <a:xfrm>
            <a:off x="1628622" y="3935934"/>
            <a:ext cx="459597" cy="454349"/>
          </a:xfrm>
          <a:prstGeom prst="ellipse">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cxnSp>
        <p:nvCxnSpPr>
          <p:cNvPr id="45" name="Straight Arrow Connector 44">
            <a:extLst>
              <a:ext uri="{FF2B5EF4-FFF2-40B4-BE49-F238E27FC236}">
                <a16:creationId xmlns:a16="http://schemas.microsoft.com/office/drawing/2014/main" id="{235AE735-4366-C54B-9DA7-6789FB56093A}"/>
              </a:ext>
            </a:extLst>
          </p:cNvPr>
          <p:cNvCxnSpPr>
            <a:stCxn id="46" idx="7"/>
            <a:endCxn id="34" idx="3"/>
          </p:cNvCxnSpPr>
          <p:nvPr/>
        </p:nvCxnSpPr>
        <p:spPr>
          <a:xfrm flipV="1">
            <a:off x="2069393" y="4876246"/>
            <a:ext cx="609566" cy="401398"/>
          </a:xfrm>
          <a:prstGeom prst="straightConnector1">
            <a:avLst/>
          </a:prstGeom>
          <a:ln w="57150" cap="rnd">
            <a:solidFill>
              <a:srgbClr val="008770"/>
            </a:solidFill>
            <a:tailEnd type="triangle"/>
          </a:ln>
        </p:spPr>
        <p:style>
          <a:lnRef idx="1">
            <a:schemeClr val="accent1"/>
          </a:lnRef>
          <a:fillRef idx="0">
            <a:schemeClr val="accent1"/>
          </a:fillRef>
          <a:effectRef idx="0">
            <a:schemeClr val="accent1"/>
          </a:effectRef>
          <a:fontRef idx="minor">
            <a:schemeClr val="tx1"/>
          </a:fontRef>
        </p:style>
      </p:cxnSp>
      <p:sp>
        <p:nvSpPr>
          <p:cNvPr id="46" name="Oval 45">
            <a:extLst>
              <a:ext uri="{FF2B5EF4-FFF2-40B4-BE49-F238E27FC236}">
                <a16:creationId xmlns:a16="http://schemas.microsoft.com/office/drawing/2014/main" id="{481657DB-E7EE-8348-B3A4-E50413D49EDE}"/>
              </a:ext>
            </a:extLst>
          </p:cNvPr>
          <p:cNvSpPr/>
          <p:nvPr/>
        </p:nvSpPr>
        <p:spPr>
          <a:xfrm>
            <a:off x="1677102" y="5211106"/>
            <a:ext cx="459597" cy="454349"/>
          </a:xfrm>
          <a:prstGeom prst="ellipse">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cxnSp>
        <p:nvCxnSpPr>
          <p:cNvPr id="56" name="Straight Arrow Connector 55">
            <a:extLst>
              <a:ext uri="{FF2B5EF4-FFF2-40B4-BE49-F238E27FC236}">
                <a16:creationId xmlns:a16="http://schemas.microsoft.com/office/drawing/2014/main" id="{D781E705-3592-CE41-9F0B-4AC73977E349}"/>
              </a:ext>
            </a:extLst>
          </p:cNvPr>
          <p:cNvCxnSpPr>
            <a:cxnSpLocks/>
            <a:stCxn id="44" idx="7"/>
            <a:endCxn id="40" idx="3"/>
          </p:cNvCxnSpPr>
          <p:nvPr/>
        </p:nvCxnSpPr>
        <p:spPr>
          <a:xfrm flipV="1">
            <a:off x="2020913" y="3596566"/>
            <a:ext cx="484924" cy="405906"/>
          </a:xfrm>
          <a:prstGeom prst="straightConnector1">
            <a:avLst/>
          </a:prstGeom>
          <a:ln w="57150" cap="rnd">
            <a:solidFill>
              <a:srgbClr val="7030A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9901285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1095B7C-CB32-3B42-A33F-C5C40BB228A6}"/>
              </a:ext>
            </a:extLst>
          </p:cNvPr>
          <p:cNvSpPr>
            <a:spLocks noGrp="1"/>
          </p:cNvSpPr>
          <p:nvPr>
            <p:ph type="title"/>
          </p:nvPr>
        </p:nvSpPr>
        <p:spPr>
          <a:ln w="12700">
            <a:miter lim="400000"/>
          </a:ln>
        </p:spPr>
        <p:txBody>
          <a:bodyPr vert="horz" wrap="square" lIns="0" tIns="0" rIns="0" bIns="0" rtlCol="0" anchor="ctr" anchorCtr="0">
            <a:noAutofit/>
          </a:bodyPr>
          <a:lstStyle/>
          <a:p>
            <a:pPr defTabSz="894078">
              <a:lnSpc>
                <a:spcPct val="70000"/>
              </a:lnSpc>
              <a:spcBef>
                <a:spcPct val="0"/>
              </a:spcBef>
              <a:buSzTx/>
            </a:pPr>
            <a:r>
              <a:rPr lang="en-US" b="1" kern="1200" dirty="0">
                <a:ln w="6350">
                  <a:noFill/>
                </a:ln>
              </a:rPr>
              <a:t>Dense (Image) to Sparse (Clinical) Processing </a:t>
            </a:r>
          </a:p>
        </p:txBody>
      </p:sp>
      <p:sp>
        <p:nvSpPr>
          <p:cNvPr id="3" name="Text Placeholder 2">
            <a:extLst>
              <a:ext uri="{FF2B5EF4-FFF2-40B4-BE49-F238E27FC236}">
                <a16:creationId xmlns:a16="http://schemas.microsoft.com/office/drawing/2014/main" id="{38A2DD6A-74A8-9947-A018-6226F92B5674}"/>
              </a:ext>
            </a:extLst>
          </p:cNvPr>
          <p:cNvSpPr>
            <a:spLocks noGrp="1"/>
          </p:cNvSpPr>
          <p:nvPr>
            <p:ph type="body" idx="1"/>
          </p:nvPr>
        </p:nvSpPr>
        <p:spPr>
          <a:xfrm>
            <a:off x="609547" y="7993262"/>
            <a:ext cx="16662507" cy="769708"/>
          </a:xfrm>
        </p:spPr>
        <p:txBody>
          <a:bodyPr>
            <a:normAutofit/>
          </a:bodyPr>
          <a:lstStyle/>
          <a:p>
            <a:pPr marL="0" indent="0" algn="ctr">
              <a:buNone/>
            </a:pPr>
            <a:r>
              <a:rPr lang="en-US" b="1" dirty="0"/>
              <a:t>Sparse Matrix problems are ideal for graph representation.</a:t>
            </a:r>
          </a:p>
        </p:txBody>
      </p:sp>
      <p:sp>
        <p:nvSpPr>
          <p:cNvPr id="4" name="Slide Number Placeholder 3">
            <a:extLst>
              <a:ext uri="{FF2B5EF4-FFF2-40B4-BE49-F238E27FC236}">
                <a16:creationId xmlns:a16="http://schemas.microsoft.com/office/drawing/2014/main" id="{62A4CFF8-2A16-9F49-B66E-28AE647FD08A}"/>
              </a:ext>
            </a:extLst>
          </p:cNvPr>
          <p:cNvSpPr>
            <a:spLocks noGrp="1"/>
          </p:cNvSpPr>
          <p:nvPr>
            <p:ph type="sldNum" idx="12"/>
          </p:nvPr>
        </p:nvSpPr>
        <p:spPr/>
        <p:txBody>
          <a:bodyPr/>
          <a:lstStyle/>
          <a:p>
            <a:pPr defTabSz="1341150">
              <a:defRPr/>
            </a:pPr>
            <a:fld id="{00000000-1234-1234-1234-123412341234}" type="slidenum">
              <a:rPr lang="en" sz="1760">
                <a:solidFill>
                  <a:prstClr val="black">
                    <a:tint val="75000"/>
                  </a:prstClr>
                </a:solidFill>
                <a:latin typeface="Calibri" panose="020F0502020204030204"/>
              </a:rPr>
              <a:pPr defTabSz="1341150">
                <a:defRPr/>
              </a:pPr>
              <a:t>22</a:t>
            </a:fld>
            <a:endParaRPr lang="en" sz="1760">
              <a:solidFill>
                <a:prstClr val="black">
                  <a:tint val="75000"/>
                </a:prstClr>
              </a:solidFill>
              <a:latin typeface="Calibri" panose="020F0502020204030204"/>
            </a:endParaRPr>
          </a:p>
        </p:txBody>
      </p:sp>
      <p:pic>
        <p:nvPicPr>
          <p:cNvPr id="5122" name="Picture 2" descr="Image-1 Introduction to Digital Images">
            <a:extLst>
              <a:ext uri="{FF2B5EF4-FFF2-40B4-BE49-F238E27FC236}">
                <a16:creationId xmlns:a16="http://schemas.microsoft.com/office/drawing/2014/main" id="{31B4170A-2BE4-5140-B124-94F44A1D0C98}"/>
              </a:ext>
            </a:extLst>
          </p:cNvPr>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1608976" y="3268665"/>
            <a:ext cx="4356100" cy="1866899"/>
          </a:xfrm>
          <a:prstGeom prst="rect">
            <a:avLst/>
          </a:prstGeom>
          <a:noFill/>
          <a:extLst>
            <a:ext uri="{909E8E84-426E-40DD-AFC4-6F175D3DCCD1}">
              <a14:hiddenFill xmlns:a14="http://schemas.microsoft.com/office/drawing/2010/main">
                <a:solidFill>
                  <a:srgbClr val="FFFFFF"/>
                </a:solidFill>
              </a14:hiddenFill>
            </a:ext>
          </a:extLst>
        </p:spPr>
      </p:pic>
      <p:sp>
        <p:nvSpPr>
          <p:cNvPr id="5" name="TextBox 4">
            <a:extLst>
              <a:ext uri="{FF2B5EF4-FFF2-40B4-BE49-F238E27FC236}">
                <a16:creationId xmlns:a16="http://schemas.microsoft.com/office/drawing/2014/main" id="{F8C57F94-843E-B049-947A-2A4AB2E06B1C}"/>
              </a:ext>
            </a:extLst>
          </p:cNvPr>
          <p:cNvSpPr txBox="1"/>
          <p:nvPr/>
        </p:nvSpPr>
        <p:spPr>
          <a:xfrm>
            <a:off x="1290101" y="5679673"/>
            <a:ext cx="5251304" cy="1175899"/>
          </a:xfrm>
          <a:prstGeom prst="rect">
            <a:avLst/>
          </a:prstGeom>
          <a:noFill/>
        </p:spPr>
        <p:txBody>
          <a:bodyPr wrap="square" rtlCol="0">
            <a:spAutoFit/>
          </a:bodyPr>
          <a:lstStyle/>
          <a:p>
            <a:pPr defTabSz="1341150">
              <a:defRPr/>
            </a:pPr>
            <a:r>
              <a:rPr lang="en-US" sz="2347" dirty="0">
                <a:solidFill>
                  <a:prstClr val="black"/>
                </a:solidFill>
                <a:latin typeface="Calibri" panose="020F0502020204030204"/>
              </a:rPr>
              <a:t>For an image matrix, almost very point in the array has non-zero values for the RGB or grayscale intensity.</a:t>
            </a:r>
          </a:p>
        </p:txBody>
      </p:sp>
      <p:sp>
        <p:nvSpPr>
          <p:cNvPr id="6" name="TextBox 5">
            <a:extLst>
              <a:ext uri="{FF2B5EF4-FFF2-40B4-BE49-F238E27FC236}">
                <a16:creationId xmlns:a16="http://schemas.microsoft.com/office/drawing/2014/main" id="{4DA580C2-195D-D245-A1D7-0BC7B8178E32}"/>
              </a:ext>
            </a:extLst>
          </p:cNvPr>
          <p:cNvSpPr txBox="1"/>
          <p:nvPr/>
        </p:nvSpPr>
        <p:spPr>
          <a:xfrm>
            <a:off x="2150249" y="2052534"/>
            <a:ext cx="3324500" cy="769441"/>
          </a:xfrm>
          <a:prstGeom prst="rect">
            <a:avLst/>
          </a:prstGeom>
          <a:noFill/>
        </p:spPr>
        <p:txBody>
          <a:bodyPr wrap="none" rtlCol="0">
            <a:spAutoFit/>
          </a:bodyPr>
          <a:lstStyle/>
          <a:p>
            <a:pPr defTabSz="1341150">
              <a:defRPr/>
            </a:pPr>
            <a:r>
              <a:rPr lang="en-US" sz="4400" b="1" dirty="0">
                <a:solidFill>
                  <a:prstClr val="black"/>
                </a:solidFill>
                <a:latin typeface="Calibri" panose="020F0502020204030204"/>
              </a:rPr>
              <a:t>Dense Matrix</a:t>
            </a:r>
          </a:p>
        </p:txBody>
      </p:sp>
      <p:sp>
        <p:nvSpPr>
          <p:cNvPr id="8" name="TextBox 7">
            <a:extLst>
              <a:ext uri="{FF2B5EF4-FFF2-40B4-BE49-F238E27FC236}">
                <a16:creationId xmlns:a16="http://schemas.microsoft.com/office/drawing/2014/main" id="{209B5BEF-81F3-054E-B42D-69E01EC9107C}"/>
              </a:ext>
            </a:extLst>
          </p:cNvPr>
          <p:cNvSpPr txBox="1"/>
          <p:nvPr/>
        </p:nvSpPr>
        <p:spPr>
          <a:xfrm>
            <a:off x="10003840" y="2013944"/>
            <a:ext cx="3423438" cy="769441"/>
          </a:xfrm>
          <a:prstGeom prst="rect">
            <a:avLst/>
          </a:prstGeom>
          <a:noFill/>
        </p:spPr>
        <p:txBody>
          <a:bodyPr wrap="none" rtlCol="0">
            <a:spAutoFit/>
          </a:bodyPr>
          <a:lstStyle/>
          <a:p>
            <a:pPr defTabSz="1341150">
              <a:defRPr/>
            </a:pPr>
            <a:r>
              <a:rPr lang="en-US" sz="4400" b="1" dirty="0">
                <a:solidFill>
                  <a:prstClr val="black"/>
                </a:solidFill>
                <a:latin typeface="Calibri" panose="020F0502020204030204"/>
              </a:rPr>
              <a:t>Sparse Matrix</a:t>
            </a:r>
          </a:p>
        </p:txBody>
      </p:sp>
      <p:graphicFrame>
        <p:nvGraphicFramePr>
          <p:cNvPr id="7" name="Table 8">
            <a:extLst>
              <a:ext uri="{FF2B5EF4-FFF2-40B4-BE49-F238E27FC236}">
                <a16:creationId xmlns:a16="http://schemas.microsoft.com/office/drawing/2014/main" id="{6B5D3FCE-2345-8E46-B27E-2933A239B179}"/>
              </a:ext>
            </a:extLst>
          </p:cNvPr>
          <p:cNvGraphicFramePr>
            <a:graphicFrameLocks noGrp="1"/>
          </p:cNvGraphicFramePr>
          <p:nvPr/>
        </p:nvGraphicFramePr>
        <p:xfrm>
          <a:off x="7914479" y="3872041"/>
          <a:ext cx="8677020" cy="2861955"/>
        </p:xfrm>
        <a:graphic>
          <a:graphicData uri="http://schemas.openxmlformats.org/drawingml/2006/table">
            <a:tbl>
              <a:tblPr firstRow="1" bandRow="1">
                <a:tableStyleId>{5FD0F851-EC5A-4D38-B0AD-8093EC10F338}</a:tableStyleId>
              </a:tblPr>
              <a:tblGrid>
                <a:gridCol w="2582973">
                  <a:extLst>
                    <a:ext uri="{9D8B030D-6E8A-4147-A177-3AD203B41FA5}">
                      <a16:colId xmlns:a16="http://schemas.microsoft.com/office/drawing/2014/main" val="4294579075"/>
                    </a:ext>
                  </a:extLst>
                </a:gridCol>
                <a:gridCol w="1164331">
                  <a:extLst>
                    <a:ext uri="{9D8B030D-6E8A-4147-A177-3AD203B41FA5}">
                      <a16:colId xmlns:a16="http://schemas.microsoft.com/office/drawing/2014/main" val="1201018329"/>
                    </a:ext>
                  </a:extLst>
                </a:gridCol>
                <a:gridCol w="1060998">
                  <a:extLst>
                    <a:ext uri="{9D8B030D-6E8A-4147-A177-3AD203B41FA5}">
                      <a16:colId xmlns:a16="http://schemas.microsoft.com/office/drawing/2014/main" val="2221701844"/>
                    </a:ext>
                  </a:extLst>
                </a:gridCol>
                <a:gridCol w="1225272">
                  <a:extLst>
                    <a:ext uri="{9D8B030D-6E8A-4147-A177-3AD203B41FA5}">
                      <a16:colId xmlns:a16="http://schemas.microsoft.com/office/drawing/2014/main" val="3094000525"/>
                    </a:ext>
                  </a:extLst>
                </a:gridCol>
                <a:gridCol w="1197275">
                  <a:extLst>
                    <a:ext uri="{9D8B030D-6E8A-4147-A177-3AD203B41FA5}">
                      <a16:colId xmlns:a16="http://schemas.microsoft.com/office/drawing/2014/main" val="1140971808"/>
                    </a:ext>
                  </a:extLst>
                </a:gridCol>
                <a:gridCol w="1446171">
                  <a:extLst>
                    <a:ext uri="{9D8B030D-6E8A-4147-A177-3AD203B41FA5}">
                      <a16:colId xmlns:a16="http://schemas.microsoft.com/office/drawing/2014/main" val="3427741795"/>
                    </a:ext>
                  </a:extLst>
                </a:gridCol>
              </a:tblGrid>
              <a:tr h="885723">
                <a:tc>
                  <a:txBody>
                    <a:bodyPr/>
                    <a:lstStyle/>
                    <a:p>
                      <a:endParaRPr lang="en-US" sz="1800"/>
                    </a:p>
                  </a:txBody>
                  <a:tcPr marL="91439" marR="9143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800" dirty="0"/>
                        <a:t>D64.9</a:t>
                      </a:r>
                    </a:p>
                  </a:txBody>
                  <a:tcPr marL="91439" marR="9143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800" dirty="0"/>
                        <a:t>F32.9</a:t>
                      </a:r>
                    </a:p>
                  </a:txBody>
                  <a:tcPr marL="91439" marR="9143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800" dirty="0"/>
                        <a:t>R53.83</a:t>
                      </a:r>
                    </a:p>
                  </a:txBody>
                  <a:tcPr marL="91439" marR="9143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800" dirty="0"/>
                        <a:t>I50.9</a:t>
                      </a:r>
                    </a:p>
                  </a:txBody>
                  <a:tcPr marL="91439" marR="9143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800" dirty="0"/>
                        <a:t>R50.9</a:t>
                      </a:r>
                    </a:p>
                  </a:txBody>
                  <a:tcPr marL="91439" marR="9143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731441495"/>
                  </a:ext>
                </a:extLst>
              </a:tr>
              <a:tr h="494058">
                <a:tc>
                  <a:txBody>
                    <a:bodyPr/>
                    <a:lstStyle/>
                    <a:p>
                      <a:r>
                        <a:rPr lang="en-US" sz="1800" dirty="0"/>
                        <a:t>Jane Doe</a:t>
                      </a:r>
                    </a:p>
                  </a:txBody>
                  <a:tcPr marL="91439" marR="9143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800" dirty="0">
                          <a:solidFill>
                            <a:schemeClr val="bg1">
                              <a:lumMod val="65000"/>
                            </a:schemeClr>
                          </a:solidFill>
                        </a:rPr>
                        <a:t>0</a:t>
                      </a:r>
                    </a:p>
                  </a:txBody>
                  <a:tcPr marL="91439" marR="9143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2100" b="1" dirty="0"/>
                        <a:t>1</a:t>
                      </a:r>
                    </a:p>
                  </a:txBody>
                  <a:tcPr marL="91439" marR="9143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ctr" defTabSz="1165860" rtl="0" eaLnBrk="1" fontAlgn="auto" latinLnBrk="0" hangingPunct="1">
                        <a:lnSpc>
                          <a:spcPct val="100000"/>
                        </a:lnSpc>
                        <a:spcBef>
                          <a:spcPts val="0"/>
                        </a:spcBef>
                        <a:spcAft>
                          <a:spcPts val="0"/>
                        </a:spcAft>
                        <a:buClrTx/>
                        <a:buSzTx/>
                        <a:buFontTx/>
                        <a:buNone/>
                        <a:tabLst/>
                        <a:defRPr/>
                      </a:pPr>
                      <a:r>
                        <a:rPr lang="en-US" sz="1800" dirty="0">
                          <a:solidFill>
                            <a:schemeClr val="bg1">
                              <a:lumMod val="65000"/>
                            </a:schemeClr>
                          </a:solidFill>
                        </a:rPr>
                        <a:t>0</a:t>
                      </a:r>
                    </a:p>
                  </a:txBody>
                  <a:tcPr marL="91439" marR="9143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ctr" defTabSz="1165860" rtl="0" eaLnBrk="1" fontAlgn="auto" latinLnBrk="0" hangingPunct="1">
                        <a:lnSpc>
                          <a:spcPct val="100000"/>
                        </a:lnSpc>
                        <a:spcBef>
                          <a:spcPts val="0"/>
                        </a:spcBef>
                        <a:spcAft>
                          <a:spcPts val="0"/>
                        </a:spcAft>
                        <a:buClrTx/>
                        <a:buSzTx/>
                        <a:buFontTx/>
                        <a:buNone/>
                        <a:tabLst/>
                        <a:defRPr/>
                      </a:pPr>
                      <a:r>
                        <a:rPr lang="en-US" sz="1800" dirty="0">
                          <a:solidFill>
                            <a:schemeClr val="bg1">
                              <a:lumMod val="65000"/>
                            </a:schemeClr>
                          </a:solidFill>
                        </a:rPr>
                        <a:t>0</a:t>
                      </a:r>
                    </a:p>
                  </a:txBody>
                  <a:tcPr marL="91439" marR="9143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ctr" defTabSz="1165860" rtl="0" eaLnBrk="1" fontAlgn="auto" latinLnBrk="0" hangingPunct="1">
                        <a:lnSpc>
                          <a:spcPct val="100000"/>
                        </a:lnSpc>
                        <a:spcBef>
                          <a:spcPts val="0"/>
                        </a:spcBef>
                        <a:spcAft>
                          <a:spcPts val="0"/>
                        </a:spcAft>
                        <a:buClrTx/>
                        <a:buSzTx/>
                        <a:buFontTx/>
                        <a:buNone/>
                        <a:tabLst/>
                        <a:defRPr/>
                      </a:pPr>
                      <a:r>
                        <a:rPr lang="en-US" sz="1800" dirty="0">
                          <a:solidFill>
                            <a:schemeClr val="bg1">
                              <a:lumMod val="65000"/>
                            </a:schemeClr>
                          </a:solidFill>
                        </a:rPr>
                        <a:t>0</a:t>
                      </a:r>
                    </a:p>
                  </a:txBody>
                  <a:tcPr marL="91439" marR="9143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370607140"/>
                  </a:ext>
                </a:extLst>
              </a:tr>
              <a:tr h="494058">
                <a:tc>
                  <a:txBody>
                    <a:bodyPr/>
                    <a:lstStyle/>
                    <a:p>
                      <a:r>
                        <a:rPr lang="en-US" sz="1800" dirty="0"/>
                        <a:t>Fred Smith</a:t>
                      </a:r>
                    </a:p>
                  </a:txBody>
                  <a:tcPr marL="91439" marR="9143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ctr" defTabSz="1165860" rtl="0" eaLnBrk="1" fontAlgn="auto" latinLnBrk="0" hangingPunct="1">
                        <a:lnSpc>
                          <a:spcPct val="100000"/>
                        </a:lnSpc>
                        <a:spcBef>
                          <a:spcPts val="0"/>
                        </a:spcBef>
                        <a:spcAft>
                          <a:spcPts val="0"/>
                        </a:spcAft>
                        <a:buClrTx/>
                        <a:buSzTx/>
                        <a:buFontTx/>
                        <a:buNone/>
                        <a:tabLst/>
                        <a:defRPr/>
                      </a:pPr>
                      <a:r>
                        <a:rPr lang="en-US" sz="1800" dirty="0">
                          <a:solidFill>
                            <a:schemeClr val="bg1">
                              <a:lumMod val="65000"/>
                            </a:schemeClr>
                          </a:solidFill>
                        </a:rPr>
                        <a:t>0</a:t>
                      </a:r>
                    </a:p>
                  </a:txBody>
                  <a:tcPr marL="91439" marR="9143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ctr" defTabSz="1165860" rtl="0" eaLnBrk="1" fontAlgn="auto" latinLnBrk="0" hangingPunct="1">
                        <a:lnSpc>
                          <a:spcPct val="100000"/>
                        </a:lnSpc>
                        <a:spcBef>
                          <a:spcPts val="0"/>
                        </a:spcBef>
                        <a:spcAft>
                          <a:spcPts val="0"/>
                        </a:spcAft>
                        <a:buClrTx/>
                        <a:buSzTx/>
                        <a:buFontTx/>
                        <a:buNone/>
                        <a:tabLst/>
                        <a:defRPr/>
                      </a:pPr>
                      <a:r>
                        <a:rPr lang="en-US" sz="1800" dirty="0">
                          <a:solidFill>
                            <a:schemeClr val="bg1">
                              <a:lumMod val="65000"/>
                            </a:schemeClr>
                          </a:solidFill>
                        </a:rPr>
                        <a:t>0</a:t>
                      </a:r>
                    </a:p>
                  </a:txBody>
                  <a:tcPr marL="91439" marR="9143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914400" rtl="0" eaLnBrk="1" latinLnBrk="0" hangingPunct="1"/>
                      <a:r>
                        <a:rPr lang="en-US" sz="2100" b="1" kern="1200" dirty="0">
                          <a:solidFill>
                            <a:schemeClr val="tx1"/>
                          </a:solidFill>
                          <a:latin typeface="+mn-lt"/>
                          <a:ea typeface="+mn-ea"/>
                          <a:cs typeface="+mn-cs"/>
                        </a:rPr>
                        <a:t>1</a:t>
                      </a:r>
                    </a:p>
                  </a:txBody>
                  <a:tcPr marL="91439" marR="9143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ctr" defTabSz="1165860" rtl="0" eaLnBrk="1" fontAlgn="auto" latinLnBrk="0" hangingPunct="1">
                        <a:lnSpc>
                          <a:spcPct val="100000"/>
                        </a:lnSpc>
                        <a:spcBef>
                          <a:spcPts val="0"/>
                        </a:spcBef>
                        <a:spcAft>
                          <a:spcPts val="0"/>
                        </a:spcAft>
                        <a:buClrTx/>
                        <a:buSzTx/>
                        <a:buFontTx/>
                        <a:buNone/>
                        <a:tabLst/>
                        <a:defRPr/>
                      </a:pPr>
                      <a:r>
                        <a:rPr lang="en-US" sz="1800" dirty="0">
                          <a:solidFill>
                            <a:schemeClr val="bg1">
                              <a:lumMod val="65000"/>
                            </a:schemeClr>
                          </a:solidFill>
                        </a:rPr>
                        <a:t>0</a:t>
                      </a:r>
                    </a:p>
                  </a:txBody>
                  <a:tcPr marL="91439" marR="9143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ctr" defTabSz="1165860" rtl="0" eaLnBrk="1" fontAlgn="auto" latinLnBrk="0" hangingPunct="1">
                        <a:lnSpc>
                          <a:spcPct val="100000"/>
                        </a:lnSpc>
                        <a:spcBef>
                          <a:spcPts val="0"/>
                        </a:spcBef>
                        <a:spcAft>
                          <a:spcPts val="0"/>
                        </a:spcAft>
                        <a:buClrTx/>
                        <a:buSzTx/>
                        <a:buFontTx/>
                        <a:buNone/>
                        <a:tabLst/>
                        <a:defRPr/>
                      </a:pPr>
                      <a:r>
                        <a:rPr lang="en-US" sz="1800" dirty="0">
                          <a:solidFill>
                            <a:schemeClr val="bg1">
                              <a:lumMod val="65000"/>
                            </a:schemeClr>
                          </a:solidFill>
                        </a:rPr>
                        <a:t>0</a:t>
                      </a:r>
                    </a:p>
                  </a:txBody>
                  <a:tcPr marL="91439" marR="9143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725543271"/>
                  </a:ext>
                </a:extLst>
              </a:tr>
              <a:tr h="494058">
                <a:tc>
                  <a:txBody>
                    <a:bodyPr/>
                    <a:lstStyle/>
                    <a:p>
                      <a:r>
                        <a:rPr lang="en-US" sz="1800" dirty="0"/>
                        <a:t>Susan Brown</a:t>
                      </a:r>
                    </a:p>
                  </a:txBody>
                  <a:tcPr marL="91439" marR="9143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ctr" defTabSz="1165860" rtl="0" eaLnBrk="1" fontAlgn="auto" latinLnBrk="0" hangingPunct="1">
                        <a:lnSpc>
                          <a:spcPct val="100000"/>
                        </a:lnSpc>
                        <a:spcBef>
                          <a:spcPts val="0"/>
                        </a:spcBef>
                        <a:spcAft>
                          <a:spcPts val="0"/>
                        </a:spcAft>
                        <a:buClrTx/>
                        <a:buSzTx/>
                        <a:buFontTx/>
                        <a:buNone/>
                        <a:tabLst/>
                        <a:defRPr/>
                      </a:pPr>
                      <a:r>
                        <a:rPr lang="en-US" sz="1800" dirty="0">
                          <a:solidFill>
                            <a:schemeClr val="bg1">
                              <a:lumMod val="65000"/>
                            </a:schemeClr>
                          </a:solidFill>
                        </a:rPr>
                        <a:t>0</a:t>
                      </a:r>
                    </a:p>
                  </a:txBody>
                  <a:tcPr marL="91439" marR="9143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ctr" defTabSz="1165860" rtl="0" eaLnBrk="1" fontAlgn="auto" latinLnBrk="0" hangingPunct="1">
                        <a:lnSpc>
                          <a:spcPct val="100000"/>
                        </a:lnSpc>
                        <a:spcBef>
                          <a:spcPts val="0"/>
                        </a:spcBef>
                        <a:spcAft>
                          <a:spcPts val="0"/>
                        </a:spcAft>
                        <a:buClrTx/>
                        <a:buSzTx/>
                        <a:buFontTx/>
                        <a:buNone/>
                        <a:tabLst/>
                        <a:defRPr/>
                      </a:pPr>
                      <a:r>
                        <a:rPr lang="en-US" sz="1800" dirty="0">
                          <a:solidFill>
                            <a:schemeClr val="bg1">
                              <a:lumMod val="65000"/>
                            </a:schemeClr>
                          </a:solidFill>
                        </a:rPr>
                        <a:t>0</a:t>
                      </a:r>
                    </a:p>
                  </a:txBody>
                  <a:tcPr marL="91439" marR="9143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ctr" defTabSz="1165860" rtl="0" eaLnBrk="1" fontAlgn="auto" latinLnBrk="0" hangingPunct="1">
                        <a:lnSpc>
                          <a:spcPct val="100000"/>
                        </a:lnSpc>
                        <a:spcBef>
                          <a:spcPts val="0"/>
                        </a:spcBef>
                        <a:spcAft>
                          <a:spcPts val="0"/>
                        </a:spcAft>
                        <a:buClrTx/>
                        <a:buSzTx/>
                        <a:buFontTx/>
                        <a:buNone/>
                        <a:tabLst/>
                        <a:defRPr/>
                      </a:pPr>
                      <a:r>
                        <a:rPr lang="en-US" sz="1800" dirty="0">
                          <a:solidFill>
                            <a:schemeClr val="bg1">
                              <a:lumMod val="65000"/>
                            </a:schemeClr>
                          </a:solidFill>
                        </a:rPr>
                        <a:t>0</a:t>
                      </a:r>
                    </a:p>
                  </a:txBody>
                  <a:tcPr marL="91439" marR="9143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ctr" defTabSz="1165860" rtl="0" eaLnBrk="1" fontAlgn="auto" latinLnBrk="0" hangingPunct="1">
                        <a:lnSpc>
                          <a:spcPct val="100000"/>
                        </a:lnSpc>
                        <a:spcBef>
                          <a:spcPts val="0"/>
                        </a:spcBef>
                        <a:spcAft>
                          <a:spcPts val="0"/>
                        </a:spcAft>
                        <a:buClrTx/>
                        <a:buSzTx/>
                        <a:buFontTx/>
                        <a:buNone/>
                        <a:tabLst/>
                        <a:defRPr/>
                      </a:pPr>
                      <a:r>
                        <a:rPr lang="en-US" sz="1800" dirty="0">
                          <a:solidFill>
                            <a:schemeClr val="bg1">
                              <a:lumMod val="65000"/>
                            </a:schemeClr>
                          </a:solidFill>
                        </a:rPr>
                        <a:t>0</a:t>
                      </a:r>
                    </a:p>
                  </a:txBody>
                  <a:tcPr marL="91439" marR="9143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914400" rtl="0" eaLnBrk="1" latinLnBrk="0" hangingPunct="1"/>
                      <a:r>
                        <a:rPr lang="en-US" sz="2100" b="1" kern="1200" dirty="0">
                          <a:solidFill>
                            <a:schemeClr val="tx1"/>
                          </a:solidFill>
                          <a:latin typeface="+mn-lt"/>
                          <a:ea typeface="+mn-ea"/>
                          <a:cs typeface="+mn-cs"/>
                        </a:rPr>
                        <a:t>1</a:t>
                      </a:r>
                    </a:p>
                  </a:txBody>
                  <a:tcPr marL="91439" marR="9143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015502817"/>
                  </a:ext>
                </a:extLst>
              </a:tr>
              <a:tr h="494058">
                <a:tc>
                  <a:txBody>
                    <a:bodyPr/>
                    <a:lstStyle/>
                    <a:p>
                      <a:r>
                        <a:rPr lang="en-US" sz="1800" dirty="0"/>
                        <a:t>Alex Johnson</a:t>
                      </a:r>
                    </a:p>
                  </a:txBody>
                  <a:tcPr marL="91439" marR="9143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ctr" defTabSz="1165860" rtl="0" eaLnBrk="1" fontAlgn="auto" latinLnBrk="0" hangingPunct="1">
                        <a:lnSpc>
                          <a:spcPct val="100000"/>
                        </a:lnSpc>
                        <a:spcBef>
                          <a:spcPts val="0"/>
                        </a:spcBef>
                        <a:spcAft>
                          <a:spcPts val="0"/>
                        </a:spcAft>
                        <a:buClrTx/>
                        <a:buSzTx/>
                        <a:buFontTx/>
                        <a:buNone/>
                        <a:tabLst/>
                        <a:defRPr/>
                      </a:pPr>
                      <a:r>
                        <a:rPr lang="en-US" sz="1800" dirty="0">
                          <a:solidFill>
                            <a:schemeClr val="bg1">
                              <a:lumMod val="65000"/>
                            </a:schemeClr>
                          </a:solidFill>
                        </a:rPr>
                        <a:t>0</a:t>
                      </a:r>
                    </a:p>
                  </a:txBody>
                  <a:tcPr marL="91439" marR="9143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ctr" defTabSz="1165860" rtl="0" eaLnBrk="1" fontAlgn="auto" latinLnBrk="0" hangingPunct="1">
                        <a:lnSpc>
                          <a:spcPct val="100000"/>
                        </a:lnSpc>
                        <a:spcBef>
                          <a:spcPts val="0"/>
                        </a:spcBef>
                        <a:spcAft>
                          <a:spcPts val="0"/>
                        </a:spcAft>
                        <a:buClrTx/>
                        <a:buSzTx/>
                        <a:buFontTx/>
                        <a:buNone/>
                        <a:tabLst/>
                        <a:defRPr/>
                      </a:pPr>
                      <a:r>
                        <a:rPr lang="en-US" sz="1800" dirty="0">
                          <a:solidFill>
                            <a:schemeClr val="bg1">
                              <a:lumMod val="65000"/>
                            </a:schemeClr>
                          </a:solidFill>
                        </a:rPr>
                        <a:t>0</a:t>
                      </a:r>
                    </a:p>
                  </a:txBody>
                  <a:tcPr marL="91439" marR="9143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ctr" defTabSz="1165860" rtl="0" eaLnBrk="1" fontAlgn="auto" latinLnBrk="0" hangingPunct="1">
                        <a:lnSpc>
                          <a:spcPct val="100000"/>
                        </a:lnSpc>
                        <a:spcBef>
                          <a:spcPts val="0"/>
                        </a:spcBef>
                        <a:spcAft>
                          <a:spcPts val="0"/>
                        </a:spcAft>
                        <a:buClrTx/>
                        <a:buSzTx/>
                        <a:buFontTx/>
                        <a:buNone/>
                        <a:tabLst/>
                        <a:defRPr/>
                      </a:pPr>
                      <a:r>
                        <a:rPr lang="en-US" sz="1800" dirty="0">
                          <a:solidFill>
                            <a:schemeClr val="bg1">
                              <a:lumMod val="65000"/>
                            </a:schemeClr>
                          </a:solidFill>
                        </a:rPr>
                        <a:t>0</a:t>
                      </a:r>
                    </a:p>
                  </a:txBody>
                  <a:tcPr marL="91439" marR="9143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914400" rtl="0" eaLnBrk="1" latinLnBrk="0" hangingPunct="1"/>
                      <a:r>
                        <a:rPr lang="en-US" sz="2100" b="1" kern="1200" dirty="0">
                          <a:solidFill>
                            <a:schemeClr val="tx1"/>
                          </a:solidFill>
                          <a:latin typeface="+mn-lt"/>
                          <a:ea typeface="+mn-ea"/>
                          <a:cs typeface="+mn-cs"/>
                        </a:rPr>
                        <a:t>1</a:t>
                      </a:r>
                    </a:p>
                  </a:txBody>
                  <a:tcPr marL="91439" marR="9143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ctr" defTabSz="1165860" rtl="0" eaLnBrk="1" fontAlgn="auto" latinLnBrk="0" hangingPunct="1">
                        <a:lnSpc>
                          <a:spcPct val="100000"/>
                        </a:lnSpc>
                        <a:spcBef>
                          <a:spcPts val="0"/>
                        </a:spcBef>
                        <a:spcAft>
                          <a:spcPts val="0"/>
                        </a:spcAft>
                        <a:buClrTx/>
                        <a:buSzTx/>
                        <a:buFontTx/>
                        <a:buNone/>
                        <a:tabLst/>
                        <a:defRPr/>
                      </a:pPr>
                      <a:r>
                        <a:rPr lang="en-US" sz="1800" dirty="0">
                          <a:solidFill>
                            <a:schemeClr val="bg1">
                              <a:lumMod val="65000"/>
                            </a:schemeClr>
                          </a:solidFill>
                        </a:rPr>
                        <a:t>0</a:t>
                      </a:r>
                    </a:p>
                  </a:txBody>
                  <a:tcPr marL="91439" marR="9143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468125184"/>
                  </a:ext>
                </a:extLst>
              </a:tr>
            </a:tbl>
          </a:graphicData>
        </a:graphic>
      </p:graphicFrame>
      <p:sp>
        <p:nvSpPr>
          <p:cNvPr id="9" name="TextBox 8">
            <a:extLst>
              <a:ext uri="{FF2B5EF4-FFF2-40B4-BE49-F238E27FC236}">
                <a16:creationId xmlns:a16="http://schemas.microsoft.com/office/drawing/2014/main" id="{CA6073FD-A557-824D-AB30-F1503B509FE2}"/>
              </a:ext>
            </a:extLst>
          </p:cNvPr>
          <p:cNvSpPr txBox="1"/>
          <p:nvPr/>
        </p:nvSpPr>
        <p:spPr>
          <a:xfrm>
            <a:off x="10573833" y="3263627"/>
            <a:ext cx="5775940" cy="498598"/>
          </a:xfrm>
          <a:prstGeom prst="rect">
            <a:avLst/>
          </a:prstGeom>
          <a:noFill/>
        </p:spPr>
        <p:txBody>
          <a:bodyPr wrap="none" rtlCol="0">
            <a:spAutoFit/>
          </a:bodyPr>
          <a:lstStyle/>
          <a:p>
            <a:pPr defTabSz="1341150">
              <a:defRPr/>
            </a:pPr>
            <a:r>
              <a:rPr lang="en-US" sz="2640" dirty="0">
                <a:solidFill>
                  <a:prstClr val="black"/>
                </a:solidFill>
                <a:latin typeface="Calibri" panose="020F0502020204030204"/>
              </a:rPr>
              <a:t>ICD-10 Diagnosis Codes (100K of them…)</a:t>
            </a:r>
          </a:p>
        </p:txBody>
      </p:sp>
      <p:sp>
        <p:nvSpPr>
          <p:cNvPr id="10" name="TextBox 9">
            <a:extLst>
              <a:ext uri="{FF2B5EF4-FFF2-40B4-BE49-F238E27FC236}">
                <a16:creationId xmlns:a16="http://schemas.microsoft.com/office/drawing/2014/main" id="{5285A3DB-070C-6E48-B640-9F0C41E96485}"/>
              </a:ext>
            </a:extLst>
          </p:cNvPr>
          <p:cNvSpPr txBox="1"/>
          <p:nvPr/>
        </p:nvSpPr>
        <p:spPr>
          <a:xfrm>
            <a:off x="10244374" y="6915094"/>
            <a:ext cx="3914085" cy="453522"/>
          </a:xfrm>
          <a:prstGeom prst="rect">
            <a:avLst/>
          </a:prstGeom>
          <a:noFill/>
        </p:spPr>
        <p:txBody>
          <a:bodyPr wrap="none" rtlCol="0">
            <a:spAutoFit/>
          </a:bodyPr>
          <a:lstStyle/>
          <a:p>
            <a:pPr defTabSz="1341150">
              <a:defRPr/>
            </a:pPr>
            <a:r>
              <a:rPr lang="en-US" sz="2347" dirty="0">
                <a:solidFill>
                  <a:prstClr val="black"/>
                </a:solidFill>
                <a:latin typeface="Calibri" panose="020F0502020204030204"/>
              </a:rPr>
              <a:t>99.999% of the values are zero</a:t>
            </a:r>
          </a:p>
        </p:txBody>
      </p:sp>
    </p:spTree>
    <p:extLst>
      <p:ext uri="{BB962C8B-B14F-4D97-AF65-F5344CB8AC3E}">
        <p14:creationId xmlns:p14="http://schemas.microsoft.com/office/powerpoint/2010/main" val="142993448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Oval 19">
            <a:extLst>
              <a:ext uri="{FF2B5EF4-FFF2-40B4-BE49-F238E27FC236}">
                <a16:creationId xmlns:a16="http://schemas.microsoft.com/office/drawing/2014/main" id="{A46F5199-0AF6-4844-954F-BD8A1C3C0885}"/>
              </a:ext>
            </a:extLst>
          </p:cNvPr>
          <p:cNvSpPr/>
          <p:nvPr/>
        </p:nvSpPr>
        <p:spPr>
          <a:xfrm>
            <a:off x="7418774" y="2467904"/>
            <a:ext cx="7405141" cy="4557010"/>
          </a:xfrm>
          <a:prstGeom prst="ellipse">
            <a:avLst/>
          </a:prstGeom>
          <a:solidFill>
            <a:schemeClr val="bg1"/>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2" name="Title 1">
            <a:extLst>
              <a:ext uri="{FF2B5EF4-FFF2-40B4-BE49-F238E27FC236}">
                <a16:creationId xmlns:a16="http://schemas.microsoft.com/office/drawing/2014/main" id="{27ED6281-0609-C04A-9E4E-A463BB10F203}"/>
              </a:ext>
            </a:extLst>
          </p:cNvPr>
          <p:cNvSpPr>
            <a:spLocks noGrp="1"/>
          </p:cNvSpPr>
          <p:nvPr>
            <p:ph type="title"/>
          </p:nvPr>
        </p:nvSpPr>
        <p:spPr/>
        <p:txBody>
          <a:bodyPr/>
          <a:lstStyle/>
          <a:p>
            <a:r>
              <a:rPr lang="en-US" dirty="0"/>
              <a:t>Primary Driving Use Case: Real-Time Patient Similarity</a:t>
            </a:r>
          </a:p>
        </p:txBody>
      </p:sp>
      <p:sp>
        <p:nvSpPr>
          <p:cNvPr id="3" name="Text Placeholder 2">
            <a:extLst>
              <a:ext uri="{FF2B5EF4-FFF2-40B4-BE49-F238E27FC236}">
                <a16:creationId xmlns:a16="http://schemas.microsoft.com/office/drawing/2014/main" id="{A48A02D1-DF0D-5C41-BFE8-77661FCE2BE8}"/>
              </a:ext>
            </a:extLst>
          </p:cNvPr>
          <p:cNvSpPr>
            <a:spLocks noGrp="1"/>
          </p:cNvSpPr>
          <p:nvPr>
            <p:ph type="body" idx="1"/>
          </p:nvPr>
        </p:nvSpPr>
        <p:spPr>
          <a:xfrm>
            <a:off x="657345" y="7150644"/>
            <a:ext cx="16662507" cy="1744968"/>
          </a:xfrm>
        </p:spPr>
        <p:txBody>
          <a:bodyPr/>
          <a:lstStyle/>
          <a:p>
            <a:r>
              <a:rPr lang="en-US" sz="2400" dirty="0"/>
              <a:t>Given a new patient that arrives a clinical setting, how can we </a:t>
            </a:r>
            <a:r>
              <a:rPr lang="en-US" sz="2400" b="1" dirty="0"/>
              <a:t>quickly</a:t>
            </a:r>
            <a:r>
              <a:rPr lang="en-US" sz="2400" dirty="0"/>
              <a:t> find the most similar patients?</a:t>
            </a:r>
          </a:p>
          <a:p>
            <a:r>
              <a:rPr lang="en-US" sz="2400" dirty="0"/>
              <a:t>What </a:t>
            </a:r>
            <a:r>
              <a:rPr lang="en-US" sz="2400" b="1" dirty="0"/>
              <a:t>care plans </a:t>
            </a:r>
            <a:r>
              <a:rPr lang="en-US" sz="2400" dirty="0"/>
              <a:t>had the best outcomes?</a:t>
            </a:r>
          </a:p>
          <a:p>
            <a:r>
              <a:rPr lang="en-US" sz="2400" dirty="0"/>
              <a:t>Return the 100 most similar patients in under 1/10</a:t>
            </a:r>
            <a:r>
              <a:rPr lang="en-US" sz="2400" baseline="30000" dirty="0"/>
              <a:t>th</a:t>
            </a:r>
            <a:r>
              <a:rPr lang="en-US" sz="2400" dirty="0"/>
              <a:t> of a second</a:t>
            </a:r>
          </a:p>
          <a:p>
            <a:r>
              <a:rPr lang="en-US" sz="2400" dirty="0"/>
              <a:t>Field of study: Clinical Decision Support</a:t>
            </a:r>
          </a:p>
        </p:txBody>
      </p:sp>
      <p:sp>
        <p:nvSpPr>
          <p:cNvPr id="4" name="Slide Number Placeholder 3">
            <a:extLst>
              <a:ext uri="{FF2B5EF4-FFF2-40B4-BE49-F238E27FC236}">
                <a16:creationId xmlns:a16="http://schemas.microsoft.com/office/drawing/2014/main" id="{9C1902E6-D032-6540-B30E-EA6F34FEAEE3}"/>
              </a:ext>
            </a:extLst>
          </p:cNvPr>
          <p:cNvSpPr>
            <a:spLocks noGrp="1"/>
          </p:cNvSpPr>
          <p:nvPr>
            <p:ph type="sldNum" idx="12"/>
          </p:nvPr>
        </p:nvSpPr>
        <p:spPr/>
        <p:txBody>
          <a:bodyPr/>
          <a:lstStyle/>
          <a:p>
            <a:fld id="{00000000-1234-1234-1234-123412341234}" type="slidenum">
              <a:rPr lang="en" smtClean="0"/>
              <a:pPr/>
              <a:t>23</a:t>
            </a:fld>
            <a:endParaRPr lang="en"/>
          </a:p>
        </p:txBody>
      </p:sp>
      <p:sp>
        <p:nvSpPr>
          <p:cNvPr id="6" name="TextBox 5">
            <a:extLst>
              <a:ext uri="{FF2B5EF4-FFF2-40B4-BE49-F238E27FC236}">
                <a16:creationId xmlns:a16="http://schemas.microsoft.com/office/drawing/2014/main" id="{38B07697-5A47-7046-AD36-0092891D174C}"/>
              </a:ext>
            </a:extLst>
          </p:cNvPr>
          <p:cNvSpPr txBox="1"/>
          <p:nvPr/>
        </p:nvSpPr>
        <p:spPr>
          <a:xfrm>
            <a:off x="1713047" y="5355046"/>
            <a:ext cx="1866216" cy="1015663"/>
          </a:xfrm>
          <a:prstGeom prst="rect">
            <a:avLst/>
          </a:prstGeom>
          <a:noFill/>
        </p:spPr>
        <p:txBody>
          <a:bodyPr wrap="none" rtlCol="0">
            <a:spAutoFit/>
          </a:bodyPr>
          <a:lstStyle/>
          <a:p>
            <a:pPr algn="ctr"/>
            <a:r>
              <a:rPr lang="en-US" sz="2000" b="1" dirty="0"/>
              <a:t>New Patient</a:t>
            </a:r>
          </a:p>
          <a:p>
            <a:pPr algn="ctr"/>
            <a:r>
              <a:rPr lang="en-US" sz="2000" b="1" dirty="0"/>
              <a:t>in Emergency</a:t>
            </a:r>
          </a:p>
          <a:p>
            <a:pPr algn="ctr"/>
            <a:r>
              <a:rPr lang="en-US" sz="2000" b="1" dirty="0"/>
              <a:t>Room</a:t>
            </a:r>
          </a:p>
        </p:txBody>
      </p:sp>
      <p:sp>
        <p:nvSpPr>
          <p:cNvPr id="26" name="TextBox 25">
            <a:extLst>
              <a:ext uri="{FF2B5EF4-FFF2-40B4-BE49-F238E27FC236}">
                <a16:creationId xmlns:a16="http://schemas.microsoft.com/office/drawing/2014/main" id="{21E667D7-0A84-1745-92A1-3CF7304ACA01}"/>
              </a:ext>
            </a:extLst>
          </p:cNvPr>
          <p:cNvSpPr txBox="1"/>
          <p:nvPr/>
        </p:nvSpPr>
        <p:spPr>
          <a:xfrm>
            <a:off x="7708924" y="1914675"/>
            <a:ext cx="7114991" cy="400110"/>
          </a:xfrm>
          <a:prstGeom prst="rect">
            <a:avLst/>
          </a:prstGeom>
          <a:noFill/>
        </p:spPr>
        <p:txBody>
          <a:bodyPr wrap="square" rtlCol="0">
            <a:spAutoFit/>
          </a:bodyPr>
          <a:lstStyle/>
          <a:p>
            <a:pPr algn="ctr"/>
            <a:r>
              <a:rPr lang="en-US" sz="2000" b="1" dirty="0"/>
              <a:t>Sample Patient Populations (100s of millions)</a:t>
            </a:r>
          </a:p>
        </p:txBody>
      </p:sp>
      <p:sp>
        <p:nvSpPr>
          <p:cNvPr id="29" name="TextBox 28">
            <a:extLst>
              <a:ext uri="{FF2B5EF4-FFF2-40B4-BE49-F238E27FC236}">
                <a16:creationId xmlns:a16="http://schemas.microsoft.com/office/drawing/2014/main" id="{73D147AA-9D51-E441-883B-AA6372CBC987}"/>
              </a:ext>
            </a:extLst>
          </p:cNvPr>
          <p:cNvSpPr txBox="1"/>
          <p:nvPr/>
        </p:nvSpPr>
        <p:spPr>
          <a:xfrm>
            <a:off x="3763632" y="4165895"/>
            <a:ext cx="3200406" cy="707886"/>
          </a:xfrm>
          <a:prstGeom prst="rect">
            <a:avLst/>
          </a:prstGeom>
          <a:noFill/>
        </p:spPr>
        <p:txBody>
          <a:bodyPr wrap="square" rtlCol="0">
            <a:spAutoFit/>
          </a:bodyPr>
          <a:lstStyle/>
          <a:p>
            <a:pPr algn="ctr"/>
            <a:r>
              <a:rPr lang="en-US" sz="2000" i="1" dirty="0"/>
              <a:t>Which patients are the most like this patient?</a:t>
            </a:r>
          </a:p>
        </p:txBody>
      </p:sp>
      <p:grpSp>
        <p:nvGrpSpPr>
          <p:cNvPr id="52" name="Group 51">
            <a:extLst>
              <a:ext uri="{FF2B5EF4-FFF2-40B4-BE49-F238E27FC236}">
                <a16:creationId xmlns:a16="http://schemas.microsoft.com/office/drawing/2014/main" id="{E8151177-62DE-D648-973D-FB7E31D94981}"/>
              </a:ext>
            </a:extLst>
          </p:cNvPr>
          <p:cNvGrpSpPr/>
          <p:nvPr/>
        </p:nvGrpSpPr>
        <p:grpSpPr>
          <a:xfrm>
            <a:off x="1983416" y="3473207"/>
            <a:ext cx="1325481" cy="1781019"/>
            <a:chOff x="2441771" y="3385414"/>
            <a:chExt cx="1325481" cy="1781019"/>
          </a:xfrm>
        </p:grpSpPr>
        <p:pic>
          <p:nvPicPr>
            <p:cNvPr id="5" name="Picture 4">
              <a:extLst>
                <a:ext uri="{FF2B5EF4-FFF2-40B4-BE49-F238E27FC236}">
                  <a16:creationId xmlns:a16="http://schemas.microsoft.com/office/drawing/2014/main" id="{9999656C-6D28-234D-A6B9-089D09FC0667}"/>
                </a:ext>
              </a:extLst>
            </p:cNvPr>
            <p:cNvPicPr>
              <a:picLocks noChangeAspect="1"/>
            </p:cNvPicPr>
            <p:nvPr/>
          </p:nvPicPr>
          <p:blipFill rotWithShape="1">
            <a:blip r:embed="rId2"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a:xfrm>
              <a:off x="2441771" y="3385414"/>
              <a:ext cx="1325481" cy="1781019"/>
            </a:xfrm>
            <a:prstGeom prst="rect">
              <a:avLst/>
            </a:prstGeom>
          </p:spPr>
        </p:pic>
        <p:sp>
          <p:nvSpPr>
            <p:cNvPr id="45" name="Rounded Rectangle 44">
              <a:extLst>
                <a:ext uri="{FF2B5EF4-FFF2-40B4-BE49-F238E27FC236}">
                  <a16:creationId xmlns:a16="http://schemas.microsoft.com/office/drawing/2014/main" id="{324B5CCC-C86B-F24D-A83C-3676702C97D4}"/>
                </a:ext>
              </a:extLst>
            </p:cNvPr>
            <p:cNvSpPr/>
            <p:nvPr/>
          </p:nvSpPr>
          <p:spPr>
            <a:xfrm>
              <a:off x="2655502" y="3670300"/>
              <a:ext cx="958850" cy="436656"/>
            </a:xfrm>
            <a:prstGeom prst="roundRect">
              <a:avLst/>
            </a:prstGeom>
            <a:solidFill>
              <a:schemeClr val="tx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grpSp>
          <p:nvGrpSpPr>
            <p:cNvPr id="44" name="Group 43">
              <a:extLst>
                <a:ext uri="{FF2B5EF4-FFF2-40B4-BE49-F238E27FC236}">
                  <a16:creationId xmlns:a16="http://schemas.microsoft.com/office/drawing/2014/main" id="{EBC2B073-D460-244A-9050-54C4B3C214CA}"/>
                </a:ext>
              </a:extLst>
            </p:cNvPr>
            <p:cNvGrpSpPr/>
            <p:nvPr/>
          </p:nvGrpSpPr>
          <p:grpSpPr>
            <a:xfrm>
              <a:off x="2776471" y="3456093"/>
              <a:ext cx="748710" cy="1056883"/>
              <a:chOff x="1496718" y="3334932"/>
              <a:chExt cx="748710" cy="1056883"/>
            </a:xfrm>
          </p:grpSpPr>
          <p:grpSp>
            <p:nvGrpSpPr>
              <p:cNvPr id="40" name="Group 39">
                <a:extLst>
                  <a:ext uri="{FF2B5EF4-FFF2-40B4-BE49-F238E27FC236}">
                    <a16:creationId xmlns:a16="http://schemas.microsoft.com/office/drawing/2014/main" id="{A62F542A-20C6-D947-A723-6EDEE6E75121}"/>
                  </a:ext>
                </a:extLst>
              </p:cNvPr>
              <p:cNvGrpSpPr/>
              <p:nvPr/>
            </p:nvGrpSpPr>
            <p:grpSpPr>
              <a:xfrm>
                <a:off x="1496718" y="3334932"/>
                <a:ext cx="748710" cy="1056883"/>
                <a:chOff x="1843570" y="3508300"/>
                <a:chExt cx="514980" cy="727982"/>
              </a:xfrm>
              <a:solidFill>
                <a:schemeClr val="bg1"/>
              </a:solidFill>
            </p:grpSpPr>
            <p:sp>
              <p:nvSpPr>
                <p:cNvPr id="41" name="Freeform 40">
                  <a:extLst>
                    <a:ext uri="{FF2B5EF4-FFF2-40B4-BE49-F238E27FC236}">
                      <a16:creationId xmlns:a16="http://schemas.microsoft.com/office/drawing/2014/main" id="{55DAE749-DAF6-704F-AC46-B80970D45E4D}"/>
                    </a:ext>
                  </a:extLst>
                </p:cNvPr>
                <p:cNvSpPr/>
                <p:nvPr/>
              </p:nvSpPr>
              <p:spPr>
                <a:xfrm>
                  <a:off x="1843570" y="3787509"/>
                  <a:ext cx="514980" cy="448773"/>
                </a:xfrm>
                <a:custGeom>
                  <a:avLst/>
                  <a:gdLst>
                    <a:gd name="connsiteX0" fmla="*/ 36807 w 576731"/>
                    <a:gd name="connsiteY0" fmla="*/ 449906 h 505924"/>
                    <a:gd name="connsiteX1" fmla="*/ 39982 w 576731"/>
                    <a:gd name="connsiteY1" fmla="*/ 214956 h 505924"/>
                    <a:gd name="connsiteX2" fmla="*/ 55857 w 576731"/>
                    <a:gd name="connsiteY2" fmla="*/ 176856 h 505924"/>
                    <a:gd name="connsiteX3" fmla="*/ 103482 w 576731"/>
                    <a:gd name="connsiteY3" fmla="*/ 160981 h 505924"/>
                    <a:gd name="connsiteX4" fmla="*/ 205082 w 576731"/>
                    <a:gd name="connsiteY4" fmla="*/ 154631 h 505924"/>
                    <a:gd name="connsiteX5" fmla="*/ 230482 w 576731"/>
                    <a:gd name="connsiteY5" fmla="*/ 151456 h 505924"/>
                    <a:gd name="connsiteX6" fmla="*/ 233657 w 576731"/>
                    <a:gd name="connsiteY6" fmla="*/ 18106 h 505924"/>
                    <a:gd name="connsiteX7" fmla="*/ 344782 w 576731"/>
                    <a:gd name="connsiteY7" fmla="*/ 14931 h 505924"/>
                    <a:gd name="connsiteX8" fmla="*/ 344782 w 576731"/>
                    <a:gd name="connsiteY8" fmla="*/ 145106 h 505924"/>
                    <a:gd name="connsiteX9" fmla="*/ 386057 w 576731"/>
                    <a:gd name="connsiteY9" fmla="*/ 151456 h 505924"/>
                    <a:gd name="connsiteX10" fmla="*/ 478132 w 576731"/>
                    <a:gd name="connsiteY10" fmla="*/ 164156 h 505924"/>
                    <a:gd name="connsiteX11" fmla="*/ 519407 w 576731"/>
                    <a:gd name="connsiteY11" fmla="*/ 189556 h 505924"/>
                    <a:gd name="connsiteX12" fmla="*/ 541632 w 576731"/>
                    <a:gd name="connsiteY12" fmla="*/ 234006 h 505924"/>
                    <a:gd name="connsiteX13" fmla="*/ 538457 w 576731"/>
                    <a:gd name="connsiteY13" fmla="*/ 488006 h 505924"/>
                    <a:gd name="connsiteX14" fmla="*/ 36807 w 576731"/>
                    <a:gd name="connsiteY14" fmla="*/ 449906 h 505924"/>
                    <a:gd name="connsiteX0" fmla="*/ 5769 w 545693"/>
                    <a:gd name="connsiteY0" fmla="*/ 449906 h 505924"/>
                    <a:gd name="connsiteX1" fmla="*/ 8944 w 545693"/>
                    <a:gd name="connsiteY1" fmla="*/ 214956 h 505924"/>
                    <a:gd name="connsiteX2" fmla="*/ 24819 w 545693"/>
                    <a:gd name="connsiteY2" fmla="*/ 176856 h 505924"/>
                    <a:gd name="connsiteX3" fmla="*/ 72444 w 545693"/>
                    <a:gd name="connsiteY3" fmla="*/ 160981 h 505924"/>
                    <a:gd name="connsiteX4" fmla="*/ 174044 w 545693"/>
                    <a:gd name="connsiteY4" fmla="*/ 154631 h 505924"/>
                    <a:gd name="connsiteX5" fmla="*/ 199444 w 545693"/>
                    <a:gd name="connsiteY5" fmla="*/ 151456 h 505924"/>
                    <a:gd name="connsiteX6" fmla="*/ 202619 w 545693"/>
                    <a:gd name="connsiteY6" fmla="*/ 18106 h 505924"/>
                    <a:gd name="connsiteX7" fmla="*/ 313744 w 545693"/>
                    <a:gd name="connsiteY7" fmla="*/ 14931 h 505924"/>
                    <a:gd name="connsiteX8" fmla="*/ 313744 w 545693"/>
                    <a:gd name="connsiteY8" fmla="*/ 145106 h 505924"/>
                    <a:gd name="connsiteX9" fmla="*/ 355019 w 545693"/>
                    <a:gd name="connsiteY9" fmla="*/ 151456 h 505924"/>
                    <a:gd name="connsiteX10" fmla="*/ 447094 w 545693"/>
                    <a:gd name="connsiteY10" fmla="*/ 164156 h 505924"/>
                    <a:gd name="connsiteX11" fmla="*/ 488369 w 545693"/>
                    <a:gd name="connsiteY11" fmla="*/ 189556 h 505924"/>
                    <a:gd name="connsiteX12" fmla="*/ 510594 w 545693"/>
                    <a:gd name="connsiteY12" fmla="*/ 234006 h 505924"/>
                    <a:gd name="connsiteX13" fmla="*/ 507419 w 545693"/>
                    <a:gd name="connsiteY13" fmla="*/ 488006 h 505924"/>
                    <a:gd name="connsiteX14" fmla="*/ 5769 w 545693"/>
                    <a:gd name="connsiteY14" fmla="*/ 449906 h 505924"/>
                    <a:gd name="connsiteX0" fmla="*/ 21286 w 561210"/>
                    <a:gd name="connsiteY0" fmla="*/ 449906 h 508025"/>
                    <a:gd name="connsiteX1" fmla="*/ 24461 w 561210"/>
                    <a:gd name="connsiteY1" fmla="*/ 214956 h 508025"/>
                    <a:gd name="connsiteX2" fmla="*/ 40336 w 561210"/>
                    <a:gd name="connsiteY2" fmla="*/ 176856 h 508025"/>
                    <a:gd name="connsiteX3" fmla="*/ 87961 w 561210"/>
                    <a:gd name="connsiteY3" fmla="*/ 160981 h 508025"/>
                    <a:gd name="connsiteX4" fmla="*/ 189561 w 561210"/>
                    <a:gd name="connsiteY4" fmla="*/ 154631 h 508025"/>
                    <a:gd name="connsiteX5" fmla="*/ 214961 w 561210"/>
                    <a:gd name="connsiteY5" fmla="*/ 151456 h 508025"/>
                    <a:gd name="connsiteX6" fmla="*/ 218136 w 561210"/>
                    <a:gd name="connsiteY6" fmla="*/ 18106 h 508025"/>
                    <a:gd name="connsiteX7" fmla="*/ 329261 w 561210"/>
                    <a:gd name="connsiteY7" fmla="*/ 14931 h 508025"/>
                    <a:gd name="connsiteX8" fmla="*/ 329261 w 561210"/>
                    <a:gd name="connsiteY8" fmla="*/ 145106 h 508025"/>
                    <a:gd name="connsiteX9" fmla="*/ 370536 w 561210"/>
                    <a:gd name="connsiteY9" fmla="*/ 151456 h 508025"/>
                    <a:gd name="connsiteX10" fmla="*/ 462611 w 561210"/>
                    <a:gd name="connsiteY10" fmla="*/ 164156 h 508025"/>
                    <a:gd name="connsiteX11" fmla="*/ 503886 w 561210"/>
                    <a:gd name="connsiteY11" fmla="*/ 189556 h 508025"/>
                    <a:gd name="connsiteX12" fmla="*/ 526111 w 561210"/>
                    <a:gd name="connsiteY12" fmla="*/ 234006 h 508025"/>
                    <a:gd name="connsiteX13" fmla="*/ 522936 w 561210"/>
                    <a:gd name="connsiteY13" fmla="*/ 488006 h 508025"/>
                    <a:gd name="connsiteX14" fmla="*/ 21286 w 561210"/>
                    <a:gd name="connsiteY14" fmla="*/ 449906 h 508025"/>
                    <a:gd name="connsiteX0" fmla="*/ 21286 w 561210"/>
                    <a:gd name="connsiteY0" fmla="*/ 449906 h 508025"/>
                    <a:gd name="connsiteX1" fmla="*/ 24461 w 561210"/>
                    <a:gd name="connsiteY1" fmla="*/ 214956 h 508025"/>
                    <a:gd name="connsiteX2" fmla="*/ 40336 w 561210"/>
                    <a:gd name="connsiteY2" fmla="*/ 176856 h 508025"/>
                    <a:gd name="connsiteX3" fmla="*/ 87961 w 561210"/>
                    <a:gd name="connsiteY3" fmla="*/ 160981 h 508025"/>
                    <a:gd name="connsiteX4" fmla="*/ 189561 w 561210"/>
                    <a:gd name="connsiteY4" fmla="*/ 154631 h 508025"/>
                    <a:gd name="connsiteX5" fmla="*/ 214961 w 561210"/>
                    <a:gd name="connsiteY5" fmla="*/ 151456 h 508025"/>
                    <a:gd name="connsiteX6" fmla="*/ 218136 w 561210"/>
                    <a:gd name="connsiteY6" fmla="*/ 18106 h 508025"/>
                    <a:gd name="connsiteX7" fmla="*/ 329261 w 561210"/>
                    <a:gd name="connsiteY7" fmla="*/ 14931 h 508025"/>
                    <a:gd name="connsiteX8" fmla="*/ 329261 w 561210"/>
                    <a:gd name="connsiteY8" fmla="*/ 145106 h 508025"/>
                    <a:gd name="connsiteX9" fmla="*/ 370536 w 561210"/>
                    <a:gd name="connsiteY9" fmla="*/ 151456 h 508025"/>
                    <a:gd name="connsiteX10" fmla="*/ 462611 w 561210"/>
                    <a:gd name="connsiteY10" fmla="*/ 164156 h 508025"/>
                    <a:gd name="connsiteX11" fmla="*/ 503886 w 561210"/>
                    <a:gd name="connsiteY11" fmla="*/ 189556 h 508025"/>
                    <a:gd name="connsiteX12" fmla="*/ 526111 w 561210"/>
                    <a:gd name="connsiteY12" fmla="*/ 234006 h 508025"/>
                    <a:gd name="connsiteX13" fmla="*/ 522936 w 561210"/>
                    <a:gd name="connsiteY13" fmla="*/ 488006 h 508025"/>
                    <a:gd name="connsiteX14" fmla="*/ 21286 w 561210"/>
                    <a:gd name="connsiteY14" fmla="*/ 449906 h 508025"/>
                    <a:gd name="connsiteX0" fmla="*/ 4360 w 544284"/>
                    <a:gd name="connsiteY0" fmla="*/ 449906 h 508025"/>
                    <a:gd name="connsiteX1" fmla="*/ 7535 w 544284"/>
                    <a:gd name="connsiteY1" fmla="*/ 214956 h 508025"/>
                    <a:gd name="connsiteX2" fmla="*/ 23410 w 544284"/>
                    <a:gd name="connsiteY2" fmla="*/ 176856 h 508025"/>
                    <a:gd name="connsiteX3" fmla="*/ 71035 w 544284"/>
                    <a:gd name="connsiteY3" fmla="*/ 160981 h 508025"/>
                    <a:gd name="connsiteX4" fmla="*/ 172635 w 544284"/>
                    <a:gd name="connsiteY4" fmla="*/ 154631 h 508025"/>
                    <a:gd name="connsiteX5" fmla="*/ 198035 w 544284"/>
                    <a:gd name="connsiteY5" fmla="*/ 151456 h 508025"/>
                    <a:gd name="connsiteX6" fmla="*/ 201210 w 544284"/>
                    <a:gd name="connsiteY6" fmla="*/ 18106 h 508025"/>
                    <a:gd name="connsiteX7" fmla="*/ 312335 w 544284"/>
                    <a:gd name="connsiteY7" fmla="*/ 14931 h 508025"/>
                    <a:gd name="connsiteX8" fmla="*/ 312335 w 544284"/>
                    <a:gd name="connsiteY8" fmla="*/ 145106 h 508025"/>
                    <a:gd name="connsiteX9" fmla="*/ 353610 w 544284"/>
                    <a:gd name="connsiteY9" fmla="*/ 151456 h 508025"/>
                    <a:gd name="connsiteX10" fmla="*/ 445685 w 544284"/>
                    <a:gd name="connsiteY10" fmla="*/ 164156 h 508025"/>
                    <a:gd name="connsiteX11" fmla="*/ 486960 w 544284"/>
                    <a:gd name="connsiteY11" fmla="*/ 189556 h 508025"/>
                    <a:gd name="connsiteX12" fmla="*/ 509185 w 544284"/>
                    <a:gd name="connsiteY12" fmla="*/ 234006 h 508025"/>
                    <a:gd name="connsiteX13" fmla="*/ 506010 w 544284"/>
                    <a:gd name="connsiteY13" fmla="*/ 488006 h 508025"/>
                    <a:gd name="connsiteX14" fmla="*/ 4360 w 544284"/>
                    <a:gd name="connsiteY14" fmla="*/ 449906 h 508025"/>
                    <a:gd name="connsiteX0" fmla="*/ 4360 w 544284"/>
                    <a:gd name="connsiteY0" fmla="*/ 449906 h 500804"/>
                    <a:gd name="connsiteX1" fmla="*/ 7535 w 544284"/>
                    <a:gd name="connsiteY1" fmla="*/ 214956 h 500804"/>
                    <a:gd name="connsiteX2" fmla="*/ 23410 w 544284"/>
                    <a:gd name="connsiteY2" fmla="*/ 176856 h 500804"/>
                    <a:gd name="connsiteX3" fmla="*/ 71035 w 544284"/>
                    <a:gd name="connsiteY3" fmla="*/ 160981 h 500804"/>
                    <a:gd name="connsiteX4" fmla="*/ 172635 w 544284"/>
                    <a:gd name="connsiteY4" fmla="*/ 154631 h 500804"/>
                    <a:gd name="connsiteX5" fmla="*/ 198035 w 544284"/>
                    <a:gd name="connsiteY5" fmla="*/ 151456 h 500804"/>
                    <a:gd name="connsiteX6" fmla="*/ 201210 w 544284"/>
                    <a:gd name="connsiteY6" fmla="*/ 18106 h 500804"/>
                    <a:gd name="connsiteX7" fmla="*/ 312335 w 544284"/>
                    <a:gd name="connsiteY7" fmla="*/ 14931 h 500804"/>
                    <a:gd name="connsiteX8" fmla="*/ 312335 w 544284"/>
                    <a:gd name="connsiteY8" fmla="*/ 145106 h 500804"/>
                    <a:gd name="connsiteX9" fmla="*/ 353610 w 544284"/>
                    <a:gd name="connsiteY9" fmla="*/ 151456 h 500804"/>
                    <a:gd name="connsiteX10" fmla="*/ 445685 w 544284"/>
                    <a:gd name="connsiteY10" fmla="*/ 164156 h 500804"/>
                    <a:gd name="connsiteX11" fmla="*/ 486960 w 544284"/>
                    <a:gd name="connsiteY11" fmla="*/ 189556 h 500804"/>
                    <a:gd name="connsiteX12" fmla="*/ 509185 w 544284"/>
                    <a:gd name="connsiteY12" fmla="*/ 234006 h 500804"/>
                    <a:gd name="connsiteX13" fmla="*/ 506010 w 544284"/>
                    <a:gd name="connsiteY13" fmla="*/ 488006 h 500804"/>
                    <a:gd name="connsiteX14" fmla="*/ 4360 w 544284"/>
                    <a:gd name="connsiteY14" fmla="*/ 449906 h 500804"/>
                    <a:gd name="connsiteX0" fmla="*/ 4360 w 544284"/>
                    <a:gd name="connsiteY0" fmla="*/ 449906 h 500804"/>
                    <a:gd name="connsiteX1" fmla="*/ 7535 w 544284"/>
                    <a:gd name="connsiteY1" fmla="*/ 214956 h 500804"/>
                    <a:gd name="connsiteX2" fmla="*/ 23410 w 544284"/>
                    <a:gd name="connsiteY2" fmla="*/ 176856 h 500804"/>
                    <a:gd name="connsiteX3" fmla="*/ 71035 w 544284"/>
                    <a:gd name="connsiteY3" fmla="*/ 160981 h 500804"/>
                    <a:gd name="connsiteX4" fmla="*/ 172635 w 544284"/>
                    <a:gd name="connsiteY4" fmla="*/ 154631 h 500804"/>
                    <a:gd name="connsiteX5" fmla="*/ 198035 w 544284"/>
                    <a:gd name="connsiteY5" fmla="*/ 151456 h 500804"/>
                    <a:gd name="connsiteX6" fmla="*/ 201210 w 544284"/>
                    <a:gd name="connsiteY6" fmla="*/ 18106 h 500804"/>
                    <a:gd name="connsiteX7" fmla="*/ 312335 w 544284"/>
                    <a:gd name="connsiteY7" fmla="*/ 14931 h 500804"/>
                    <a:gd name="connsiteX8" fmla="*/ 312335 w 544284"/>
                    <a:gd name="connsiteY8" fmla="*/ 145106 h 500804"/>
                    <a:gd name="connsiteX9" fmla="*/ 353610 w 544284"/>
                    <a:gd name="connsiteY9" fmla="*/ 151456 h 500804"/>
                    <a:gd name="connsiteX10" fmla="*/ 445685 w 544284"/>
                    <a:gd name="connsiteY10" fmla="*/ 164156 h 500804"/>
                    <a:gd name="connsiteX11" fmla="*/ 486960 w 544284"/>
                    <a:gd name="connsiteY11" fmla="*/ 189556 h 500804"/>
                    <a:gd name="connsiteX12" fmla="*/ 509185 w 544284"/>
                    <a:gd name="connsiteY12" fmla="*/ 234006 h 500804"/>
                    <a:gd name="connsiteX13" fmla="*/ 506010 w 544284"/>
                    <a:gd name="connsiteY13" fmla="*/ 488006 h 500804"/>
                    <a:gd name="connsiteX14" fmla="*/ 4360 w 544284"/>
                    <a:gd name="connsiteY14" fmla="*/ 449906 h 500804"/>
                    <a:gd name="connsiteX0" fmla="*/ 4360 w 519024"/>
                    <a:gd name="connsiteY0" fmla="*/ 449906 h 500804"/>
                    <a:gd name="connsiteX1" fmla="*/ 7535 w 519024"/>
                    <a:gd name="connsiteY1" fmla="*/ 214956 h 500804"/>
                    <a:gd name="connsiteX2" fmla="*/ 23410 w 519024"/>
                    <a:gd name="connsiteY2" fmla="*/ 176856 h 500804"/>
                    <a:gd name="connsiteX3" fmla="*/ 71035 w 519024"/>
                    <a:gd name="connsiteY3" fmla="*/ 160981 h 500804"/>
                    <a:gd name="connsiteX4" fmla="*/ 172635 w 519024"/>
                    <a:gd name="connsiteY4" fmla="*/ 154631 h 500804"/>
                    <a:gd name="connsiteX5" fmla="*/ 198035 w 519024"/>
                    <a:gd name="connsiteY5" fmla="*/ 151456 h 500804"/>
                    <a:gd name="connsiteX6" fmla="*/ 201210 w 519024"/>
                    <a:gd name="connsiteY6" fmla="*/ 18106 h 500804"/>
                    <a:gd name="connsiteX7" fmla="*/ 312335 w 519024"/>
                    <a:gd name="connsiteY7" fmla="*/ 14931 h 500804"/>
                    <a:gd name="connsiteX8" fmla="*/ 312335 w 519024"/>
                    <a:gd name="connsiteY8" fmla="*/ 145106 h 500804"/>
                    <a:gd name="connsiteX9" fmla="*/ 353610 w 519024"/>
                    <a:gd name="connsiteY9" fmla="*/ 151456 h 500804"/>
                    <a:gd name="connsiteX10" fmla="*/ 445685 w 519024"/>
                    <a:gd name="connsiteY10" fmla="*/ 164156 h 500804"/>
                    <a:gd name="connsiteX11" fmla="*/ 486960 w 519024"/>
                    <a:gd name="connsiteY11" fmla="*/ 189556 h 500804"/>
                    <a:gd name="connsiteX12" fmla="*/ 509185 w 519024"/>
                    <a:gd name="connsiteY12" fmla="*/ 234006 h 500804"/>
                    <a:gd name="connsiteX13" fmla="*/ 506010 w 519024"/>
                    <a:gd name="connsiteY13" fmla="*/ 488006 h 500804"/>
                    <a:gd name="connsiteX14" fmla="*/ 4360 w 519024"/>
                    <a:gd name="connsiteY14" fmla="*/ 449906 h 500804"/>
                    <a:gd name="connsiteX0" fmla="*/ 4360 w 519024"/>
                    <a:gd name="connsiteY0" fmla="*/ 449906 h 488006"/>
                    <a:gd name="connsiteX1" fmla="*/ 7535 w 519024"/>
                    <a:gd name="connsiteY1" fmla="*/ 214956 h 488006"/>
                    <a:gd name="connsiteX2" fmla="*/ 23410 w 519024"/>
                    <a:gd name="connsiteY2" fmla="*/ 176856 h 488006"/>
                    <a:gd name="connsiteX3" fmla="*/ 71035 w 519024"/>
                    <a:gd name="connsiteY3" fmla="*/ 160981 h 488006"/>
                    <a:gd name="connsiteX4" fmla="*/ 172635 w 519024"/>
                    <a:gd name="connsiteY4" fmla="*/ 154631 h 488006"/>
                    <a:gd name="connsiteX5" fmla="*/ 198035 w 519024"/>
                    <a:gd name="connsiteY5" fmla="*/ 151456 h 488006"/>
                    <a:gd name="connsiteX6" fmla="*/ 201210 w 519024"/>
                    <a:gd name="connsiteY6" fmla="*/ 18106 h 488006"/>
                    <a:gd name="connsiteX7" fmla="*/ 312335 w 519024"/>
                    <a:gd name="connsiteY7" fmla="*/ 14931 h 488006"/>
                    <a:gd name="connsiteX8" fmla="*/ 312335 w 519024"/>
                    <a:gd name="connsiteY8" fmla="*/ 145106 h 488006"/>
                    <a:gd name="connsiteX9" fmla="*/ 353610 w 519024"/>
                    <a:gd name="connsiteY9" fmla="*/ 151456 h 488006"/>
                    <a:gd name="connsiteX10" fmla="*/ 445685 w 519024"/>
                    <a:gd name="connsiteY10" fmla="*/ 164156 h 488006"/>
                    <a:gd name="connsiteX11" fmla="*/ 486960 w 519024"/>
                    <a:gd name="connsiteY11" fmla="*/ 189556 h 488006"/>
                    <a:gd name="connsiteX12" fmla="*/ 509185 w 519024"/>
                    <a:gd name="connsiteY12" fmla="*/ 234006 h 488006"/>
                    <a:gd name="connsiteX13" fmla="*/ 506010 w 519024"/>
                    <a:gd name="connsiteY13" fmla="*/ 488006 h 488006"/>
                    <a:gd name="connsiteX14" fmla="*/ 4360 w 519024"/>
                    <a:gd name="connsiteY14" fmla="*/ 449906 h 488006"/>
                    <a:gd name="connsiteX0" fmla="*/ 4360 w 523534"/>
                    <a:gd name="connsiteY0" fmla="*/ 449906 h 472131"/>
                    <a:gd name="connsiteX1" fmla="*/ 7535 w 523534"/>
                    <a:gd name="connsiteY1" fmla="*/ 214956 h 472131"/>
                    <a:gd name="connsiteX2" fmla="*/ 23410 w 523534"/>
                    <a:gd name="connsiteY2" fmla="*/ 176856 h 472131"/>
                    <a:gd name="connsiteX3" fmla="*/ 71035 w 523534"/>
                    <a:gd name="connsiteY3" fmla="*/ 160981 h 472131"/>
                    <a:gd name="connsiteX4" fmla="*/ 172635 w 523534"/>
                    <a:gd name="connsiteY4" fmla="*/ 154631 h 472131"/>
                    <a:gd name="connsiteX5" fmla="*/ 198035 w 523534"/>
                    <a:gd name="connsiteY5" fmla="*/ 151456 h 472131"/>
                    <a:gd name="connsiteX6" fmla="*/ 201210 w 523534"/>
                    <a:gd name="connsiteY6" fmla="*/ 18106 h 472131"/>
                    <a:gd name="connsiteX7" fmla="*/ 312335 w 523534"/>
                    <a:gd name="connsiteY7" fmla="*/ 14931 h 472131"/>
                    <a:gd name="connsiteX8" fmla="*/ 312335 w 523534"/>
                    <a:gd name="connsiteY8" fmla="*/ 145106 h 472131"/>
                    <a:gd name="connsiteX9" fmla="*/ 353610 w 523534"/>
                    <a:gd name="connsiteY9" fmla="*/ 151456 h 472131"/>
                    <a:gd name="connsiteX10" fmla="*/ 445685 w 523534"/>
                    <a:gd name="connsiteY10" fmla="*/ 164156 h 472131"/>
                    <a:gd name="connsiteX11" fmla="*/ 486960 w 523534"/>
                    <a:gd name="connsiteY11" fmla="*/ 189556 h 472131"/>
                    <a:gd name="connsiteX12" fmla="*/ 509185 w 523534"/>
                    <a:gd name="connsiteY12" fmla="*/ 234006 h 472131"/>
                    <a:gd name="connsiteX13" fmla="*/ 512360 w 523534"/>
                    <a:gd name="connsiteY13" fmla="*/ 472131 h 472131"/>
                    <a:gd name="connsiteX14" fmla="*/ 4360 w 523534"/>
                    <a:gd name="connsiteY14" fmla="*/ 449906 h 472131"/>
                    <a:gd name="connsiteX0" fmla="*/ 4360 w 513675"/>
                    <a:gd name="connsiteY0" fmla="*/ 449906 h 472131"/>
                    <a:gd name="connsiteX1" fmla="*/ 7535 w 513675"/>
                    <a:gd name="connsiteY1" fmla="*/ 214956 h 472131"/>
                    <a:gd name="connsiteX2" fmla="*/ 23410 w 513675"/>
                    <a:gd name="connsiteY2" fmla="*/ 176856 h 472131"/>
                    <a:gd name="connsiteX3" fmla="*/ 71035 w 513675"/>
                    <a:gd name="connsiteY3" fmla="*/ 160981 h 472131"/>
                    <a:gd name="connsiteX4" fmla="*/ 172635 w 513675"/>
                    <a:gd name="connsiteY4" fmla="*/ 154631 h 472131"/>
                    <a:gd name="connsiteX5" fmla="*/ 198035 w 513675"/>
                    <a:gd name="connsiteY5" fmla="*/ 151456 h 472131"/>
                    <a:gd name="connsiteX6" fmla="*/ 201210 w 513675"/>
                    <a:gd name="connsiteY6" fmla="*/ 18106 h 472131"/>
                    <a:gd name="connsiteX7" fmla="*/ 312335 w 513675"/>
                    <a:gd name="connsiteY7" fmla="*/ 14931 h 472131"/>
                    <a:gd name="connsiteX8" fmla="*/ 312335 w 513675"/>
                    <a:gd name="connsiteY8" fmla="*/ 145106 h 472131"/>
                    <a:gd name="connsiteX9" fmla="*/ 353610 w 513675"/>
                    <a:gd name="connsiteY9" fmla="*/ 151456 h 472131"/>
                    <a:gd name="connsiteX10" fmla="*/ 445685 w 513675"/>
                    <a:gd name="connsiteY10" fmla="*/ 164156 h 472131"/>
                    <a:gd name="connsiteX11" fmla="*/ 486960 w 513675"/>
                    <a:gd name="connsiteY11" fmla="*/ 189556 h 472131"/>
                    <a:gd name="connsiteX12" fmla="*/ 509185 w 513675"/>
                    <a:gd name="connsiteY12" fmla="*/ 234006 h 472131"/>
                    <a:gd name="connsiteX13" fmla="*/ 512360 w 513675"/>
                    <a:gd name="connsiteY13" fmla="*/ 472131 h 472131"/>
                    <a:gd name="connsiteX14" fmla="*/ 4360 w 513675"/>
                    <a:gd name="connsiteY14" fmla="*/ 449906 h 472131"/>
                    <a:gd name="connsiteX0" fmla="*/ 4360 w 513675"/>
                    <a:gd name="connsiteY0" fmla="*/ 446969 h 469194"/>
                    <a:gd name="connsiteX1" fmla="*/ 7535 w 513675"/>
                    <a:gd name="connsiteY1" fmla="*/ 212019 h 469194"/>
                    <a:gd name="connsiteX2" fmla="*/ 23410 w 513675"/>
                    <a:gd name="connsiteY2" fmla="*/ 173919 h 469194"/>
                    <a:gd name="connsiteX3" fmla="*/ 71035 w 513675"/>
                    <a:gd name="connsiteY3" fmla="*/ 158044 h 469194"/>
                    <a:gd name="connsiteX4" fmla="*/ 172635 w 513675"/>
                    <a:gd name="connsiteY4" fmla="*/ 151694 h 469194"/>
                    <a:gd name="connsiteX5" fmla="*/ 188510 w 513675"/>
                    <a:gd name="connsiteY5" fmla="*/ 94544 h 469194"/>
                    <a:gd name="connsiteX6" fmla="*/ 201210 w 513675"/>
                    <a:gd name="connsiteY6" fmla="*/ 15169 h 469194"/>
                    <a:gd name="connsiteX7" fmla="*/ 312335 w 513675"/>
                    <a:gd name="connsiteY7" fmla="*/ 11994 h 469194"/>
                    <a:gd name="connsiteX8" fmla="*/ 312335 w 513675"/>
                    <a:gd name="connsiteY8" fmla="*/ 142169 h 469194"/>
                    <a:gd name="connsiteX9" fmla="*/ 353610 w 513675"/>
                    <a:gd name="connsiteY9" fmla="*/ 148519 h 469194"/>
                    <a:gd name="connsiteX10" fmla="*/ 445685 w 513675"/>
                    <a:gd name="connsiteY10" fmla="*/ 161219 h 469194"/>
                    <a:gd name="connsiteX11" fmla="*/ 486960 w 513675"/>
                    <a:gd name="connsiteY11" fmla="*/ 186619 h 469194"/>
                    <a:gd name="connsiteX12" fmla="*/ 509185 w 513675"/>
                    <a:gd name="connsiteY12" fmla="*/ 231069 h 469194"/>
                    <a:gd name="connsiteX13" fmla="*/ 512360 w 513675"/>
                    <a:gd name="connsiteY13" fmla="*/ 469194 h 469194"/>
                    <a:gd name="connsiteX14" fmla="*/ 4360 w 513675"/>
                    <a:gd name="connsiteY14" fmla="*/ 446969 h 469194"/>
                    <a:gd name="connsiteX0" fmla="*/ 4360 w 513675"/>
                    <a:gd name="connsiteY0" fmla="*/ 443409 h 465634"/>
                    <a:gd name="connsiteX1" fmla="*/ 7535 w 513675"/>
                    <a:gd name="connsiteY1" fmla="*/ 208459 h 465634"/>
                    <a:gd name="connsiteX2" fmla="*/ 23410 w 513675"/>
                    <a:gd name="connsiteY2" fmla="*/ 170359 h 465634"/>
                    <a:gd name="connsiteX3" fmla="*/ 71035 w 513675"/>
                    <a:gd name="connsiteY3" fmla="*/ 154484 h 465634"/>
                    <a:gd name="connsiteX4" fmla="*/ 172635 w 513675"/>
                    <a:gd name="connsiteY4" fmla="*/ 148134 h 465634"/>
                    <a:gd name="connsiteX5" fmla="*/ 188510 w 513675"/>
                    <a:gd name="connsiteY5" fmla="*/ 90984 h 465634"/>
                    <a:gd name="connsiteX6" fmla="*/ 201210 w 513675"/>
                    <a:gd name="connsiteY6" fmla="*/ 11609 h 465634"/>
                    <a:gd name="connsiteX7" fmla="*/ 312335 w 513675"/>
                    <a:gd name="connsiteY7" fmla="*/ 8434 h 465634"/>
                    <a:gd name="connsiteX8" fmla="*/ 312335 w 513675"/>
                    <a:gd name="connsiteY8" fmla="*/ 87809 h 465634"/>
                    <a:gd name="connsiteX9" fmla="*/ 353610 w 513675"/>
                    <a:gd name="connsiteY9" fmla="*/ 144959 h 465634"/>
                    <a:gd name="connsiteX10" fmla="*/ 445685 w 513675"/>
                    <a:gd name="connsiteY10" fmla="*/ 157659 h 465634"/>
                    <a:gd name="connsiteX11" fmla="*/ 486960 w 513675"/>
                    <a:gd name="connsiteY11" fmla="*/ 183059 h 465634"/>
                    <a:gd name="connsiteX12" fmla="*/ 509185 w 513675"/>
                    <a:gd name="connsiteY12" fmla="*/ 227509 h 465634"/>
                    <a:gd name="connsiteX13" fmla="*/ 512360 w 513675"/>
                    <a:gd name="connsiteY13" fmla="*/ 465634 h 465634"/>
                    <a:gd name="connsiteX14" fmla="*/ 4360 w 513675"/>
                    <a:gd name="connsiteY14" fmla="*/ 443409 h 465634"/>
                    <a:gd name="connsiteX0" fmla="*/ 4360 w 513675"/>
                    <a:gd name="connsiteY0" fmla="*/ 443409 h 465634"/>
                    <a:gd name="connsiteX1" fmla="*/ 7535 w 513675"/>
                    <a:gd name="connsiteY1" fmla="*/ 208459 h 465634"/>
                    <a:gd name="connsiteX2" fmla="*/ 23410 w 513675"/>
                    <a:gd name="connsiteY2" fmla="*/ 170359 h 465634"/>
                    <a:gd name="connsiteX3" fmla="*/ 71035 w 513675"/>
                    <a:gd name="connsiteY3" fmla="*/ 154484 h 465634"/>
                    <a:gd name="connsiteX4" fmla="*/ 172635 w 513675"/>
                    <a:gd name="connsiteY4" fmla="*/ 148134 h 465634"/>
                    <a:gd name="connsiteX5" fmla="*/ 188510 w 513675"/>
                    <a:gd name="connsiteY5" fmla="*/ 90984 h 465634"/>
                    <a:gd name="connsiteX6" fmla="*/ 201210 w 513675"/>
                    <a:gd name="connsiteY6" fmla="*/ 11609 h 465634"/>
                    <a:gd name="connsiteX7" fmla="*/ 312335 w 513675"/>
                    <a:gd name="connsiteY7" fmla="*/ 8434 h 465634"/>
                    <a:gd name="connsiteX8" fmla="*/ 312335 w 513675"/>
                    <a:gd name="connsiteY8" fmla="*/ 87809 h 465634"/>
                    <a:gd name="connsiteX9" fmla="*/ 334560 w 513675"/>
                    <a:gd name="connsiteY9" fmla="*/ 135434 h 465634"/>
                    <a:gd name="connsiteX10" fmla="*/ 445685 w 513675"/>
                    <a:gd name="connsiteY10" fmla="*/ 157659 h 465634"/>
                    <a:gd name="connsiteX11" fmla="*/ 486960 w 513675"/>
                    <a:gd name="connsiteY11" fmla="*/ 183059 h 465634"/>
                    <a:gd name="connsiteX12" fmla="*/ 509185 w 513675"/>
                    <a:gd name="connsiteY12" fmla="*/ 227509 h 465634"/>
                    <a:gd name="connsiteX13" fmla="*/ 512360 w 513675"/>
                    <a:gd name="connsiteY13" fmla="*/ 465634 h 465634"/>
                    <a:gd name="connsiteX14" fmla="*/ 4360 w 513675"/>
                    <a:gd name="connsiteY14" fmla="*/ 443409 h 465634"/>
                    <a:gd name="connsiteX0" fmla="*/ 4360 w 510500"/>
                    <a:gd name="connsiteY0" fmla="*/ 443409 h 449759"/>
                    <a:gd name="connsiteX1" fmla="*/ 7535 w 510500"/>
                    <a:gd name="connsiteY1" fmla="*/ 208459 h 449759"/>
                    <a:gd name="connsiteX2" fmla="*/ 23410 w 510500"/>
                    <a:gd name="connsiteY2" fmla="*/ 170359 h 449759"/>
                    <a:gd name="connsiteX3" fmla="*/ 71035 w 510500"/>
                    <a:gd name="connsiteY3" fmla="*/ 154484 h 449759"/>
                    <a:gd name="connsiteX4" fmla="*/ 172635 w 510500"/>
                    <a:gd name="connsiteY4" fmla="*/ 148134 h 449759"/>
                    <a:gd name="connsiteX5" fmla="*/ 188510 w 510500"/>
                    <a:gd name="connsiteY5" fmla="*/ 90984 h 449759"/>
                    <a:gd name="connsiteX6" fmla="*/ 201210 w 510500"/>
                    <a:gd name="connsiteY6" fmla="*/ 11609 h 449759"/>
                    <a:gd name="connsiteX7" fmla="*/ 312335 w 510500"/>
                    <a:gd name="connsiteY7" fmla="*/ 8434 h 449759"/>
                    <a:gd name="connsiteX8" fmla="*/ 312335 w 510500"/>
                    <a:gd name="connsiteY8" fmla="*/ 87809 h 449759"/>
                    <a:gd name="connsiteX9" fmla="*/ 334560 w 510500"/>
                    <a:gd name="connsiteY9" fmla="*/ 135434 h 449759"/>
                    <a:gd name="connsiteX10" fmla="*/ 445685 w 510500"/>
                    <a:gd name="connsiteY10" fmla="*/ 157659 h 449759"/>
                    <a:gd name="connsiteX11" fmla="*/ 486960 w 510500"/>
                    <a:gd name="connsiteY11" fmla="*/ 183059 h 449759"/>
                    <a:gd name="connsiteX12" fmla="*/ 509185 w 510500"/>
                    <a:gd name="connsiteY12" fmla="*/ 227509 h 449759"/>
                    <a:gd name="connsiteX13" fmla="*/ 506010 w 510500"/>
                    <a:gd name="connsiteY13" fmla="*/ 449759 h 449759"/>
                    <a:gd name="connsiteX14" fmla="*/ 4360 w 510500"/>
                    <a:gd name="connsiteY14" fmla="*/ 443409 h 449759"/>
                    <a:gd name="connsiteX0" fmla="*/ 4360 w 510500"/>
                    <a:gd name="connsiteY0" fmla="*/ 443409 h 454926"/>
                    <a:gd name="connsiteX1" fmla="*/ 7535 w 510500"/>
                    <a:gd name="connsiteY1" fmla="*/ 208459 h 454926"/>
                    <a:gd name="connsiteX2" fmla="*/ 23410 w 510500"/>
                    <a:gd name="connsiteY2" fmla="*/ 170359 h 454926"/>
                    <a:gd name="connsiteX3" fmla="*/ 71035 w 510500"/>
                    <a:gd name="connsiteY3" fmla="*/ 154484 h 454926"/>
                    <a:gd name="connsiteX4" fmla="*/ 172635 w 510500"/>
                    <a:gd name="connsiteY4" fmla="*/ 148134 h 454926"/>
                    <a:gd name="connsiteX5" fmla="*/ 188510 w 510500"/>
                    <a:gd name="connsiteY5" fmla="*/ 90984 h 454926"/>
                    <a:gd name="connsiteX6" fmla="*/ 201210 w 510500"/>
                    <a:gd name="connsiteY6" fmla="*/ 11609 h 454926"/>
                    <a:gd name="connsiteX7" fmla="*/ 312335 w 510500"/>
                    <a:gd name="connsiteY7" fmla="*/ 8434 h 454926"/>
                    <a:gd name="connsiteX8" fmla="*/ 312335 w 510500"/>
                    <a:gd name="connsiteY8" fmla="*/ 87809 h 454926"/>
                    <a:gd name="connsiteX9" fmla="*/ 334560 w 510500"/>
                    <a:gd name="connsiteY9" fmla="*/ 135434 h 454926"/>
                    <a:gd name="connsiteX10" fmla="*/ 445685 w 510500"/>
                    <a:gd name="connsiteY10" fmla="*/ 157659 h 454926"/>
                    <a:gd name="connsiteX11" fmla="*/ 486960 w 510500"/>
                    <a:gd name="connsiteY11" fmla="*/ 183059 h 454926"/>
                    <a:gd name="connsiteX12" fmla="*/ 509185 w 510500"/>
                    <a:gd name="connsiteY12" fmla="*/ 227509 h 454926"/>
                    <a:gd name="connsiteX13" fmla="*/ 506010 w 510500"/>
                    <a:gd name="connsiteY13" fmla="*/ 449759 h 454926"/>
                    <a:gd name="connsiteX14" fmla="*/ 4360 w 510500"/>
                    <a:gd name="connsiteY14" fmla="*/ 443409 h 454926"/>
                    <a:gd name="connsiteX0" fmla="*/ 6473 w 512613"/>
                    <a:gd name="connsiteY0" fmla="*/ 443409 h 454926"/>
                    <a:gd name="connsiteX1" fmla="*/ 9648 w 512613"/>
                    <a:gd name="connsiteY1" fmla="*/ 208459 h 454926"/>
                    <a:gd name="connsiteX2" fmla="*/ 73148 w 512613"/>
                    <a:gd name="connsiteY2" fmla="*/ 154484 h 454926"/>
                    <a:gd name="connsiteX3" fmla="*/ 174748 w 512613"/>
                    <a:gd name="connsiteY3" fmla="*/ 148134 h 454926"/>
                    <a:gd name="connsiteX4" fmla="*/ 190623 w 512613"/>
                    <a:gd name="connsiteY4" fmla="*/ 90984 h 454926"/>
                    <a:gd name="connsiteX5" fmla="*/ 203323 w 512613"/>
                    <a:gd name="connsiteY5" fmla="*/ 11609 h 454926"/>
                    <a:gd name="connsiteX6" fmla="*/ 314448 w 512613"/>
                    <a:gd name="connsiteY6" fmla="*/ 8434 h 454926"/>
                    <a:gd name="connsiteX7" fmla="*/ 314448 w 512613"/>
                    <a:gd name="connsiteY7" fmla="*/ 87809 h 454926"/>
                    <a:gd name="connsiteX8" fmla="*/ 336673 w 512613"/>
                    <a:gd name="connsiteY8" fmla="*/ 135434 h 454926"/>
                    <a:gd name="connsiteX9" fmla="*/ 447798 w 512613"/>
                    <a:gd name="connsiteY9" fmla="*/ 157659 h 454926"/>
                    <a:gd name="connsiteX10" fmla="*/ 489073 w 512613"/>
                    <a:gd name="connsiteY10" fmla="*/ 183059 h 454926"/>
                    <a:gd name="connsiteX11" fmla="*/ 511298 w 512613"/>
                    <a:gd name="connsiteY11" fmla="*/ 227509 h 454926"/>
                    <a:gd name="connsiteX12" fmla="*/ 508123 w 512613"/>
                    <a:gd name="connsiteY12" fmla="*/ 449759 h 454926"/>
                    <a:gd name="connsiteX13" fmla="*/ 6473 w 512613"/>
                    <a:gd name="connsiteY13" fmla="*/ 443409 h 454926"/>
                    <a:gd name="connsiteX0" fmla="*/ 4049 w 510189"/>
                    <a:gd name="connsiteY0" fmla="*/ 443409 h 454926"/>
                    <a:gd name="connsiteX1" fmla="*/ 7224 w 510189"/>
                    <a:gd name="connsiteY1" fmla="*/ 208459 h 454926"/>
                    <a:gd name="connsiteX2" fmla="*/ 70724 w 510189"/>
                    <a:gd name="connsiteY2" fmla="*/ 154484 h 454926"/>
                    <a:gd name="connsiteX3" fmla="*/ 172324 w 510189"/>
                    <a:gd name="connsiteY3" fmla="*/ 148134 h 454926"/>
                    <a:gd name="connsiteX4" fmla="*/ 188199 w 510189"/>
                    <a:gd name="connsiteY4" fmla="*/ 90984 h 454926"/>
                    <a:gd name="connsiteX5" fmla="*/ 200899 w 510189"/>
                    <a:gd name="connsiteY5" fmla="*/ 11609 h 454926"/>
                    <a:gd name="connsiteX6" fmla="*/ 312024 w 510189"/>
                    <a:gd name="connsiteY6" fmla="*/ 8434 h 454926"/>
                    <a:gd name="connsiteX7" fmla="*/ 312024 w 510189"/>
                    <a:gd name="connsiteY7" fmla="*/ 87809 h 454926"/>
                    <a:gd name="connsiteX8" fmla="*/ 334249 w 510189"/>
                    <a:gd name="connsiteY8" fmla="*/ 135434 h 454926"/>
                    <a:gd name="connsiteX9" fmla="*/ 445374 w 510189"/>
                    <a:gd name="connsiteY9" fmla="*/ 157659 h 454926"/>
                    <a:gd name="connsiteX10" fmla="*/ 486649 w 510189"/>
                    <a:gd name="connsiteY10" fmla="*/ 183059 h 454926"/>
                    <a:gd name="connsiteX11" fmla="*/ 508874 w 510189"/>
                    <a:gd name="connsiteY11" fmla="*/ 227509 h 454926"/>
                    <a:gd name="connsiteX12" fmla="*/ 505699 w 510189"/>
                    <a:gd name="connsiteY12" fmla="*/ 449759 h 454926"/>
                    <a:gd name="connsiteX13" fmla="*/ 4049 w 510189"/>
                    <a:gd name="connsiteY13" fmla="*/ 443409 h 454926"/>
                    <a:gd name="connsiteX0" fmla="*/ 4049 w 510189"/>
                    <a:gd name="connsiteY0" fmla="*/ 443409 h 454926"/>
                    <a:gd name="connsiteX1" fmla="*/ 7224 w 510189"/>
                    <a:gd name="connsiteY1" fmla="*/ 208459 h 454926"/>
                    <a:gd name="connsiteX2" fmla="*/ 70724 w 510189"/>
                    <a:gd name="connsiteY2" fmla="*/ 154484 h 454926"/>
                    <a:gd name="connsiteX3" fmla="*/ 172324 w 510189"/>
                    <a:gd name="connsiteY3" fmla="*/ 148134 h 454926"/>
                    <a:gd name="connsiteX4" fmla="*/ 188199 w 510189"/>
                    <a:gd name="connsiteY4" fmla="*/ 90984 h 454926"/>
                    <a:gd name="connsiteX5" fmla="*/ 200899 w 510189"/>
                    <a:gd name="connsiteY5" fmla="*/ 11609 h 454926"/>
                    <a:gd name="connsiteX6" fmla="*/ 312024 w 510189"/>
                    <a:gd name="connsiteY6" fmla="*/ 8434 h 454926"/>
                    <a:gd name="connsiteX7" fmla="*/ 312024 w 510189"/>
                    <a:gd name="connsiteY7" fmla="*/ 87809 h 454926"/>
                    <a:gd name="connsiteX8" fmla="*/ 334249 w 510189"/>
                    <a:gd name="connsiteY8" fmla="*/ 135434 h 454926"/>
                    <a:gd name="connsiteX9" fmla="*/ 445374 w 510189"/>
                    <a:gd name="connsiteY9" fmla="*/ 157659 h 454926"/>
                    <a:gd name="connsiteX10" fmla="*/ 508874 w 510189"/>
                    <a:gd name="connsiteY10" fmla="*/ 227509 h 454926"/>
                    <a:gd name="connsiteX11" fmla="*/ 505699 w 510189"/>
                    <a:gd name="connsiteY11" fmla="*/ 449759 h 454926"/>
                    <a:gd name="connsiteX12" fmla="*/ 4049 w 510189"/>
                    <a:gd name="connsiteY12" fmla="*/ 443409 h 454926"/>
                    <a:gd name="connsiteX0" fmla="*/ 4049 w 510189"/>
                    <a:gd name="connsiteY0" fmla="*/ 443409 h 454926"/>
                    <a:gd name="connsiteX1" fmla="*/ 7224 w 510189"/>
                    <a:gd name="connsiteY1" fmla="*/ 208459 h 454926"/>
                    <a:gd name="connsiteX2" fmla="*/ 70724 w 510189"/>
                    <a:gd name="connsiteY2" fmla="*/ 154484 h 454926"/>
                    <a:gd name="connsiteX3" fmla="*/ 172324 w 510189"/>
                    <a:gd name="connsiteY3" fmla="*/ 148134 h 454926"/>
                    <a:gd name="connsiteX4" fmla="*/ 188199 w 510189"/>
                    <a:gd name="connsiteY4" fmla="*/ 90984 h 454926"/>
                    <a:gd name="connsiteX5" fmla="*/ 200899 w 510189"/>
                    <a:gd name="connsiteY5" fmla="*/ 11609 h 454926"/>
                    <a:gd name="connsiteX6" fmla="*/ 312024 w 510189"/>
                    <a:gd name="connsiteY6" fmla="*/ 8434 h 454926"/>
                    <a:gd name="connsiteX7" fmla="*/ 312024 w 510189"/>
                    <a:gd name="connsiteY7" fmla="*/ 87809 h 454926"/>
                    <a:gd name="connsiteX8" fmla="*/ 334249 w 510189"/>
                    <a:gd name="connsiteY8" fmla="*/ 135434 h 454926"/>
                    <a:gd name="connsiteX9" fmla="*/ 445374 w 510189"/>
                    <a:gd name="connsiteY9" fmla="*/ 157659 h 454926"/>
                    <a:gd name="connsiteX10" fmla="*/ 508874 w 510189"/>
                    <a:gd name="connsiteY10" fmla="*/ 227509 h 454926"/>
                    <a:gd name="connsiteX11" fmla="*/ 505699 w 510189"/>
                    <a:gd name="connsiteY11" fmla="*/ 449759 h 454926"/>
                    <a:gd name="connsiteX12" fmla="*/ 4049 w 510189"/>
                    <a:gd name="connsiteY12" fmla="*/ 443409 h 454926"/>
                    <a:gd name="connsiteX0" fmla="*/ 5987 w 512127"/>
                    <a:gd name="connsiteY0" fmla="*/ 443409 h 454926"/>
                    <a:gd name="connsiteX1" fmla="*/ 2812 w 512127"/>
                    <a:gd name="connsiteY1" fmla="*/ 217984 h 454926"/>
                    <a:gd name="connsiteX2" fmla="*/ 72662 w 512127"/>
                    <a:gd name="connsiteY2" fmla="*/ 154484 h 454926"/>
                    <a:gd name="connsiteX3" fmla="*/ 174262 w 512127"/>
                    <a:gd name="connsiteY3" fmla="*/ 148134 h 454926"/>
                    <a:gd name="connsiteX4" fmla="*/ 190137 w 512127"/>
                    <a:gd name="connsiteY4" fmla="*/ 90984 h 454926"/>
                    <a:gd name="connsiteX5" fmla="*/ 202837 w 512127"/>
                    <a:gd name="connsiteY5" fmla="*/ 11609 h 454926"/>
                    <a:gd name="connsiteX6" fmla="*/ 313962 w 512127"/>
                    <a:gd name="connsiteY6" fmla="*/ 8434 h 454926"/>
                    <a:gd name="connsiteX7" fmla="*/ 313962 w 512127"/>
                    <a:gd name="connsiteY7" fmla="*/ 87809 h 454926"/>
                    <a:gd name="connsiteX8" fmla="*/ 336187 w 512127"/>
                    <a:gd name="connsiteY8" fmla="*/ 135434 h 454926"/>
                    <a:gd name="connsiteX9" fmla="*/ 447312 w 512127"/>
                    <a:gd name="connsiteY9" fmla="*/ 157659 h 454926"/>
                    <a:gd name="connsiteX10" fmla="*/ 510812 w 512127"/>
                    <a:gd name="connsiteY10" fmla="*/ 227509 h 454926"/>
                    <a:gd name="connsiteX11" fmla="*/ 507637 w 512127"/>
                    <a:gd name="connsiteY11" fmla="*/ 449759 h 454926"/>
                    <a:gd name="connsiteX12" fmla="*/ 5987 w 512127"/>
                    <a:gd name="connsiteY12" fmla="*/ 443409 h 454926"/>
                    <a:gd name="connsiteX0" fmla="*/ 9762 w 515902"/>
                    <a:gd name="connsiteY0" fmla="*/ 443409 h 454926"/>
                    <a:gd name="connsiteX1" fmla="*/ 6587 w 515902"/>
                    <a:gd name="connsiteY1" fmla="*/ 217984 h 454926"/>
                    <a:gd name="connsiteX2" fmla="*/ 76437 w 515902"/>
                    <a:gd name="connsiteY2" fmla="*/ 154484 h 454926"/>
                    <a:gd name="connsiteX3" fmla="*/ 178037 w 515902"/>
                    <a:gd name="connsiteY3" fmla="*/ 148134 h 454926"/>
                    <a:gd name="connsiteX4" fmla="*/ 193912 w 515902"/>
                    <a:gd name="connsiteY4" fmla="*/ 90984 h 454926"/>
                    <a:gd name="connsiteX5" fmla="*/ 206612 w 515902"/>
                    <a:gd name="connsiteY5" fmla="*/ 11609 h 454926"/>
                    <a:gd name="connsiteX6" fmla="*/ 317737 w 515902"/>
                    <a:gd name="connsiteY6" fmla="*/ 8434 h 454926"/>
                    <a:gd name="connsiteX7" fmla="*/ 317737 w 515902"/>
                    <a:gd name="connsiteY7" fmla="*/ 87809 h 454926"/>
                    <a:gd name="connsiteX8" fmla="*/ 339962 w 515902"/>
                    <a:gd name="connsiteY8" fmla="*/ 135434 h 454926"/>
                    <a:gd name="connsiteX9" fmla="*/ 451087 w 515902"/>
                    <a:gd name="connsiteY9" fmla="*/ 157659 h 454926"/>
                    <a:gd name="connsiteX10" fmla="*/ 514587 w 515902"/>
                    <a:gd name="connsiteY10" fmla="*/ 227509 h 454926"/>
                    <a:gd name="connsiteX11" fmla="*/ 511412 w 515902"/>
                    <a:gd name="connsiteY11" fmla="*/ 449759 h 454926"/>
                    <a:gd name="connsiteX12" fmla="*/ 9762 w 515902"/>
                    <a:gd name="connsiteY12" fmla="*/ 443409 h 454926"/>
                    <a:gd name="connsiteX0" fmla="*/ 9762 w 515902"/>
                    <a:gd name="connsiteY0" fmla="*/ 443409 h 454926"/>
                    <a:gd name="connsiteX1" fmla="*/ 6587 w 515902"/>
                    <a:gd name="connsiteY1" fmla="*/ 217984 h 454926"/>
                    <a:gd name="connsiteX2" fmla="*/ 76437 w 515902"/>
                    <a:gd name="connsiteY2" fmla="*/ 154484 h 454926"/>
                    <a:gd name="connsiteX3" fmla="*/ 178037 w 515902"/>
                    <a:gd name="connsiteY3" fmla="*/ 148134 h 454926"/>
                    <a:gd name="connsiteX4" fmla="*/ 193912 w 515902"/>
                    <a:gd name="connsiteY4" fmla="*/ 90984 h 454926"/>
                    <a:gd name="connsiteX5" fmla="*/ 206612 w 515902"/>
                    <a:gd name="connsiteY5" fmla="*/ 11609 h 454926"/>
                    <a:gd name="connsiteX6" fmla="*/ 317737 w 515902"/>
                    <a:gd name="connsiteY6" fmla="*/ 8434 h 454926"/>
                    <a:gd name="connsiteX7" fmla="*/ 317737 w 515902"/>
                    <a:gd name="connsiteY7" fmla="*/ 87809 h 454926"/>
                    <a:gd name="connsiteX8" fmla="*/ 339962 w 515902"/>
                    <a:gd name="connsiteY8" fmla="*/ 135434 h 454926"/>
                    <a:gd name="connsiteX9" fmla="*/ 451087 w 515902"/>
                    <a:gd name="connsiteY9" fmla="*/ 157659 h 454926"/>
                    <a:gd name="connsiteX10" fmla="*/ 514587 w 515902"/>
                    <a:gd name="connsiteY10" fmla="*/ 227509 h 454926"/>
                    <a:gd name="connsiteX11" fmla="*/ 511412 w 515902"/>
                    <a:gd name="connsiteY11" fmla="*/ 449759 h 454926"/>
                    <a:gd name="connsiteX12" fmla="*/ 9762 w 515902"/>
                    <a:gd name="connsiteY12" fmla="*/ 443409 h 454926"/>
                    <a:gd name="connsiteX0" fmla="*/ 9762 w 515902"/>
                    <a:gd name="connsiteY0" fmla="*/ 443409 h 454926"/>
                    <a:gd name="connsiteX1" fmla="*/ 6587 w 515902"/>
                    <a:gd name="connsiteY1" fmla="*/ 217984 h 454926"/>
                    <a:gd name="connsiteX2" fmla="*/ 76437 w 515902"/>
                    <a:gd name="connsiteY2" fmla="*/ 154484 h 454926"/>
                    <a:gd name="connsiteX3" fmla="*/ 193912 w 515902"/>
                    <a:gd name="connsiteY3" fmla="*/ 90984 h 454926"/>
                    <a:gd name="connsiteX4" fmla="*/ 206612 w 515902"/>
                    <a:gd name="connsiteY4" fmla="*/ 11609 h 454926"/>
                    <a:gd name="connsiteX5" fmla="*/ 317737 w 515902"/>
                    <a:gd name="connsiteY5" fmla="*/ 8434 h 454926"/>
                    <a:gd name="connsiteX6" fmla="*/ 317737 w 515902"/>
                    <a:gd name="connsiteY6" fmla="*/ 87809 h 454926"/>
                    <a:gd name="connsiteX7" fmla="*/ 339962 w 515902"/>
                    <a:gd name="connsiteY7" fmla="*/ 135434 h 454926"/>
                    <a:gd name="connsiteX8" fmla="*/ 451087 w 515902"/>
                    <a:gd name="connsiteY8" fmla="*/ 157659 h 454926"/>
                    <a:gd name="connsiteX9" fmla="*/ 514587 w 515902"/>
                    <a:gd name="connsiteY9" fmla="*/ 227509 h 454926"/>
                    <a:gd name="connsiteX10" fmla="*/ 511412 w 515902"/>
                    <a:gd name="connsiteY10" fmla="*/ 449759 h 454926"/>
                    <a:gd name="connsiteX11" fmla="*/ 9762 w 515902"/>
                    <a:gd name="connsiteY11" fmla="*/ 443409 h 454926"/>
                    <a:gd name="connsiteX0" fmla="*/ 9762 w 515902"/>
                    <a:gd name="connsiteY0" fmla="*/ 446099 h 457616"/>
                    <a:gd name="connsiteX1" fmla="*/ 6587 w 515902"/>
                    <a:gd name="connsiteY1" fmla="*/ 220674 h 457616"/>
                    <a:gd name="connsiteX2" fmla="*/ 76437 w 515902"/>
                    <a:gd name="connsiteY2" fmla="*/ 157174 h 457616"/>
                    <a:gd name="connsiteX3" fmla="*/ 190737 w 515902"/>
                    <a:gd name="connsiteY3" fmla="*/ 138124 h 457616"/>
                    <a:gd name="connsiteX4" fmla="*/ 206612 w 515902"/>
                    <a:gd name="connsiteY4" fmla="*/ 14299 h 457616"/>
                    <a:gd name="connsiteX5" fmla="*/ 317737 w 515902"/>
                    <a:gd name="connsiteY5" fmla="*/ 11124 h 457616"/>
                    <a:gd name="connsiteX6" fmla="*/ 317737 w 515902"/>
                    <a:gd name="connsiteY6" fmla="*/ 90499 h 457616"/>
                    <a:gd name="connsiteX7" fmla="*/ 339962 w 515902"/>
                    <a:gd name="connsiteY7" fmla="*/ 138124 h 457616"/>
                    <a:gd name="connsiteX8" fmla="*/ 451087 w 515902"/>
                    <a:gd name="connsiteY8" fmla="*/ 160349 h 457616"/>
                    <a:gd name="connsiteX9" fmla="*/ 514587 w 515902"/>
                    <a:gd name="connsiteY9" fmla="*/ 230199 h 457616"/>
                    <a:gd name="connsiteX10" fmla="*/ 511412 w 515902"/>
                    <a:gd name="connsiteY10" fmla="*/ 452449 h 457616"/>
                    <a:gd name="connsiteX11" fmla="*/ 9762 w 515902"/>
                    <a:gd name="connsiteY11" fmla="*/ 446099 h 457616"/>
                    <a:gd name="connsiteX0" fmla="*/ 9762 w 515902"/>
                    <a:gd name="connsiteY0" fmla="*/ 446099 h 457616"/>
                    <a:gd name="connsiteX1" fmla="*/ 6587 w 515902"/>
                    <a:gd name="connsiteY1" fmla="*/ 220674 h 457616"/>
                    <a:gd name="connsiteX2" fmla="*/ 76437 w 515902"/>
                    <a:gd name="connsiteY2" fmla="*/ 157174 h 457616"/>
                    <a:gd name="connsiteX3" fmla="*/ 190737 w 515902"/>
                    <a:gd name="connsiteY3" fmla="*/ 138124 h 457616"/>
                    <a:gd name="connsiteX4" fmla="*/ 206612 w 515902"/>
                    <a:gd name="connsiteY4" fmla="*/ 14299 h 457616"/>
                    <a:gd name="connsiteX5" fmla="*/ 317737 w 515902"/>
                    <a:gd name="connsiteY5" fmla="*/ 11124 h 457616"/>
                    <a:gd name="connsiteX6" fmla="*/ 317737 w 515902"/>
                    <a:gd name="connsiteY6" fmla="*/ 90499 h 457616"/>
                    <a:gd name="connsiteX7" fmla="*/ 451087 w 515902"/>
                    <a:gd name="connsiteY7" fmla="*/ 160349 h 457616"/>
                    <a:gd name="connsiteX8" fmla="*/ 514587 w 515902"/>
                    <a:gd name="connsiteY8" fmla="*/ 230199 h 457616"/>
                    <a:gd name="connsiteX9" fmla="*/ 511412 w 515902"/>
                    <a:gd name="connsiteY9" fmla="*/ 452449 h 457616"/>
                    <a:gd name="connsiteX10" fmla="*/ 9762 w 515902"/>
                    <a:gd name="connsiteY10" fmla="*/ 446099 h 457616"/>
                    <a:gd name="connsiteX0" fmla="*/ 9762 w 515902"/>
                    <a:gd name="connsiteY0" fmla="*/ 447482 h 458999"/>
                    <a:gd name="connsiteX1" fmla="*/ 6587 w 515902"/>
                    <a:gd name="connsiteY1" fmla="*/ 222057 h 458999"/>
                    <a:gd name="connsiteX2" fmla="*/ 76437 w 515902"/>
                    <a:gd name="connsiteY2" fmla="*/ 158557 h 458999"/>
                    <a:gd name="connsiteX3" fmla="*/ 190737 w 515902"/>
                    <a:gd name="connsiteY3" fmla="*/ 139507 h 458999"/>
                    <a:gd name="connsiteX4" fmla="*/ 206612 w 515902"/>
                    <a:gd name="connsiteY4" fmla="*/ 15682 h 458999"/>
                    <a:gd name="connsiteX5" fmla="*/ 317737 w 515902"/>
                    <a:gd name="connsiteY5" fmla="*/ 12507 h 458999"/>
                    <a:gd name="connsiteX6" fmla="*/ 330437 w 515902"/>
                    <a:gd name="connsiteY6" fmla="*/ 114107 h 458999"/>
                    <a:gd name="connsiteX7" fmla="*/ 451087 w 515902"/>
                    <a:gd name="connsiteY7" fmla="*/ 161732 h 458999"/>
                    <a:gd name="connsiteX8" fmla="*/ 514587 w 515902"/>
                    <a:gd name="connsiteY8" fmla="*/ 231582 h 458999"/>
                    <a:gd name="connsiteX9" fmla="*/ 511412 w 515902"/>
                    <a:gd name="connsiteY9" fmla="*/ 453832 h 458999"/>
                    <a:gd name="connsiteX10" fmla="*/ 9762 w 515902"/>
                    <a:gd name="connsiteY10" fmla="*/ 447482 h 458999"/>
                    <a:gd name="connsiteX0" fmla="*/ 9762 w 515902"/>
                    <a:gd name="connsiteY0" fmla="*/ 446348 h 457865"/>
                    <a:gd name="connsiteX1" fmla="*/ 6587 w 515902"/>
                    <a:gd name="connsiteY1" fmla="*/ 220923 h 457865"/>
                    <a:gd name="connsiteX2" fmla="*/ 76437 w 515902"/>
                    <a:gd name="connsiteY2" fmla="*/ 157423 h 457865"/>
                    <a:gd name="connsiteX3" fmla="*/ 200262 w 515902"/>
                    <a:gd name="connsiteY3" fmla="*/ 119323 h 457865"/>
                    <a:gd name="connsiteX4" fmla="*/ 206612 w 515902"/>
                    <a:gd name="connsiteY4" fmla="*/ 14548 h 457865"/>
                    <a:gd name="connsiteX5" fmla="*/ 317737 w 515902"/>
                    <a:gd name="connsiteY5" fmla="*/ 11373 h 457865"/>
                    <a:gd name="connsiteX6" fmla="*/ 330437 w 515902"/>
                    <a:gd name="connsiteY6" fmla="*/ 112973 h 457865"/>
                    <a:gd name="connsiteX7" fmla="*/ 451087 w 515902"/>
                    <a:gd name="connsiteY7" fmla="*/ 160598 h 457865"/>
                    <a:gd name="connsiteX8" fmla="*/ 514587 w 515902"/>
                    <a:gd name="connsiteY8" fmla="*/ 230448 h 457865"/>
                    <a:gd name="connsiteX9" fmla="*/ 511412 w 515902"/>
                    <a:gd name="connsiteY9" fmla="*/ 452698 h 457865"/>
                    <a:gd name="connsiteX10" fmla="*/ 9762 w 515902"/>
                    <a:gd name="connsiteY10" fmla="*/ 446348 h 457865"/>
                    <a:gd name="connsiteX0" fmla="*/ 8840 w 514980"/>
                    <a:gd name="connsiteY0" fmla="*/ 446348 h 457865"/>
                    <a:gd name="connsiteX1" fmla="*/ 5665 w 514980"/>
                    <a:gd name="connsiteY1" fmla="*/ 220923 h 457865"/>
                    <a:gd name="connsiteX2" fmla="*/ 62412 w 514980"/>
                    <a:gd name="connsiteY2" fmla="*/ 133367 h 457865"/>
                    <a:gd name="connsiteX3" fmla="*/ 199340 w 514980"/>
                    <a:gd name="connsiteY3" fmla="*/ 119323 h 457865"/>
                    <a:gd name="connsiteX4" fmla="*/ 205690 w 514980"/>
                    <a:gd name="connsiteY4" fmla="*/ 14548 h 457865"/>
                    <a:gd name="connsiteX5" fmla="*/ 316815 w 514980"/>
                    <a:gd name="connsiteY5" fmla="*/ 11373 h 457865"/>
                    <a:gd name="connsiteX6" fmla="*/ 329515 w 514980"/>
                    <a:gd name="connsiteY6" fmla="*/ 112973 h 457865"/>
                    <a:gd name="connsiteX7" fmla="*/ 450165 w 514980"/>
                    <a:gd name="connsiteY7" fmla="*/ 160598 h 457865"/>
                    <a:gd name="connsiteX8" fmla="*/ 513665 w 514980"/>
                    <a:gd name="connsiteY8" fmla="*/ 230448 h 457865"/>
                    <a:gd name="connsiteX9" fmla="*/ 510490 w 514980"/>
                    <a:gd name="connsiteY9" fmla="*/ 452698 h 457865"/>
                    <a:gd name="connsiteX10" fmla="*/ 8840 w 514980"/>
                    <a:gd name="connsiteY10" fmla="*/ 446348 h 457865"/>
                    <a:gd name="connsiteX0" fmla="*/ 8840 w 514980"/>
                    <a:gd name="connsiteY0" fmla="*/ 445015 h 456532"/>
                    <a:gd name="connsiteX1" fmla="*/ 5665 w 514980"/>
                    <a:gd name="connsiteY1" fmla="*/ 219590 h 456532"/>
                    <a:gd name="connsiteX2" fmla="*/ 62412 w 514980"/>
                    <a:gd name="connsiteY2" fmla="*/ 132034 h 456532"/>
                    <a:gd name="connsiteX3" fmla="*/ 186237 w 514980"/>
                    <a:gd name="connsiteY3" fmla="*/ 93934 h 456532"/>
                    <a:gd name="connsiteX4" fmla="*/ 205690 w 514980"/>
                    <a:gd name="connsiteY4" fmla="*/ 13215 h 456532"/>
                    <a:gd name="connsiteX5" fmla="*/ 316815 w 514980"/>
                    <a:gd name="connsiteY5" fmla="*/ 10040 h 456532"/>
                    <a:gd name="connsiteX6" fmla="*/ 329515 w 514980"/>
                    <a:gd name="connsiteY6" fmla="*/ 111640 h 456532"/>
                    <a:gd name="connsiteX7" fmla="*/ 450165 w 514980"/>
                    <a:gd name="connsiteY7" fmla="*/ 159265 h 456532"/>
                    <a:gd name="connsiteX8" fmla="*/ 513665 w 514980"/>
                    <a:gd name="connsiteY8" fmla="*/ 229115 h 456532"/>
                    <a:gd name="connsiteX9" fmla="*/ 510490 w 514980"/>
                    <a:gd name="connsiteY9" fmla="*/ 451365 h 456532"/>
                    <a:gd name="connsiteX10" fmla="*/ 8840 w 514980"/>
                    <a:gd name="connsiteY10" fmla="*/ 445015 h 456532"/>
                    <a:gd name="connsiteX0" fmla="*/ 8840 w 514980"/>
                    <a:gd name="connsiteY0" fmla="*/ 445015 h 456532"/>
                    <a:gd name="connsiteX1" fmla="*/ 5665 w 514980"/>
                    <a:gd name="connsiteY1" fmla="*/ 219590 h 456532"/>
                    <a:gd name="connsiteX2" fmla="*/ 62412 w 514980"/>
                    <a:gd name="connsiteY2" fmla="*/ 132034 h 456532"/>
                    <a:gd name="connsiteX3" fmla="*/ 186237 w 514980"/>
                    <a:gd name="connsiteY3" fmla="*/ 93934 h 456532"/>
                    <a:gd name="connsiteX4" fmla="*/ 205690 w 514980"/>
                    <a:gd name="connsiteY4" fmla="*/ 13215 h 456532"/>
                    <a:gd name="connsiteX5" fmla="*/ 316815 w 514980"/>
                    <a:gd name="connsiteY5" fmla="*/ 10040 h 456532"/>
                    <a:gd name="connsiteX6" fmla="*/ 329515 w 514980"/>
                    <a:gd name="connsiteY6" fmla="*/ 111640 h 456532"/>
                    <a:gd name="connsiteX7" fmla="*/ 461084 w 514980"/>
                    <a:gd name="connsiteY7" fmla="*/ 146143 h 456532"/>
                    <a:gd name="connsiteX8" fmla="*/ 513665 w 514980"/>
                    <a:gd name="connsiteY8" fmla="*/ 229115 h 456532"/>
                    <a:gd name="connsiteX9" fmla="*/ 510490 w 514980"/>
                    <a:gd name="connsiteY9" fmla="*/ 451365 h 456532"/>
                    <a:gd name="connsiteX10" fmla="*/ 8840 w 514980"/>
                    <a:gd name="connsiteY10" fmla="*/ 445015 h 456532"/>
                    <a:gd name="connsiteX0" fmla="*/ 8840 w 514980"/>
                    <a:gd name="connsiteY0" fmla="*/ 444105 h 455622"/>
                    <a:gd name="connsiteX1" fmla="*/ 5665 w 514980"/>
                    <a:gd name="connsiteY1" fmla="*/ 218680 h 455622"/>
                    <a:gd name="connsiteX2" fmla="*/ 62412 w 514980"/>
                    <a:gd name="connsiteY2" fmla="*/ 131124 h 455622"/>
                    <a:gd name="connsiteX3" fmla="*/ 186237 w 514980"/>
                    <a:gd name="connsiteY3" fmla="*/ 93024 h 455622"/>
                    <a:gd name="connsiteX4" fmla="*/ 205690 w 514980"/>
                    <a:gd name="connsiteY4" fmla="*/ 12305 h 455622"/>
                    <a:gd name="connsiteX5" fmla="*/ 316815 w 514980"/>
                    <a:gd name="connsiteY5" fmla="*/ 9130 h 455622"/>
                    <a:gd name="connsiteX6" fmla="*/ 351353 w 514980"/>
                    <a:gd name="connsiteY6" fmla="*/ 97608 h 455622"/>
                    <a:gd name="connsiteX7" fmla="*/ 461084 w 514980"/>
                    <a:gd name="connsiteY7" fmla="*/ 145233 h 455622"/>
                    <a:gd name="connsiteX8" fmla="*/ 513665 w 514980"/>
                    <a:gd name="connsiteY8" fmla="*/ 228205 h 455622"/>
                    <a:gd name="connsiteX9" fmla="*/ 510490 w 514980"/>
                    <a:gd name="connsiteY9" fmla="*/ 450455 h 455622"/>
                    <a:gd name="connsiteX10" fmla="*/ 8840 w 514980"/>
                    <a:gd name="connsiteY10" fmla="*/ 444105 h 455622"/>
                    <a:gd name="connsiteX0" fmla="*/ 8840 w 514980"/>
                    <a:gd name="connsiteY0" fmla="*/ 442755 h 454272"/>
                    <a:gd name="connsiteX1" fmla="*/ 5665 w 514980"/>
                    <a:gd name="connsiteY1" fmla="*/ 217330 h 454272"/>
                    <a:gd name="connsiteX2" fmla="*/ 62412 w 514980"/>
                    <a:gd name="connsiteY2" fmla="*/ 129774 h 454272"/>
                    <a:gd name="connsiteX3" fmla="*/ 186237 w 514980"/>
                    <a:gd name="connsiteY3" fmla="*/ 91674 h 454272"/>
                    <a:gd name="connsiteX4" fmla="*/ 205690 w 514980"/>
                    <a:gd name="connsiteY4" fmla="*/ 10955 h 454272"/>
                    <a:gd name="connsiteX5" fmla="*/ 325550 w 514980"/>
                    <a:gd name="connsiteY5" fmla="*/ 9967 h 454272"/>
                    <a:gd name="connsiteX6" fmla="*/ 351353 w 514980"/>
                    <a:gd name="connsiteY6" fmla="*/ 96258 h 454272"/>
                    <a:gd name="connsiteX7" fmla="*/ 461084 w 514980"/>
                    <a:gd name="connsiteY7" fmla="*/ 143883 h 454272"/>
                    <a:gd name="connsiteX8" fmla="*/ 513665 w 514980"/>
                    <a:gd name="connsiteY8" fmla="*/ 226855 h 454272"/>
                    <a:gd name="connsiteX9" fmla="*/ 510490 w 514980"/>
                    <a:gd name="connsiteY9" fmla="*/ 449105 h 454272"/>
                    <a:gd name="connsiteX10" fmla="*/ 8840 w 514980"/>
                    <a:gd name="connsiteY10" fmla="*/ 442755 h 454272"/>
                    <a:gd name="connsiteX0" fmla="*/ 8840 w 514980"/>
                    <a:gd name="connsiteY0" fmla="*/ 442755 h 454272"/>
                    <a:gd name="connsiteX1" fmla="*/ 5665 w 514980"/>
                    <a:gd name="connsiteY1" fmla="*/ 217330 h 454272"/>
                    <a:gd name="connsiteX2" fmla="*/ 62412 w 514980"/>
                    <a:gd name="connsiteY2" fmla="*/ 129774 h 454272"/>
                    <a:gd name="connsiteX3" fmla="*/ 186237 w 514980"/>
                    <a:gd name="connsiteY3" fmla="*/ 91674 h 454272"/>
                    <a:gd name="connsiteX4" fmla="*/ 205690 w 514980"/>
                    <a:gd name="connsiteY4" fmla="*/ 10955 h 454272"/>
                    <a:gd name="connsiteX5" fmla="*/ 325550 w 514980"/>
                    <a:gd name="connsiteY5" fmla="*/ 9967 h 454272"/>
                    <a:gd name="connsiteX6" fmla="*/ 351353 w 514980"/>
                    <a:gd name="connsiteY6" fmla="*/ 96258 h 454272"/>
                    <a:gd name="connsiteX7" fmla="*/ 461084 w 514980"/>
                    <a:gd name="connsiteY7" fmla="*/ 143883 h 454272"/>
                    <a:gd name="connsiteX8" fmla="*/ 513665 w 514980"/>
                    <a:gd name="connsiteY8" fmla="*/ 226855 h 454272"/>
                    <a:gd name="connsiteX9" fmla="*/ 510490 w 514980"/>
                    <a:gd name="connsiteY9" fmla="*/ 449105 h 454272"/>
                    <a:gd name="connsiteX10" fmla="*/ 8840 w 514980"/>
                    <a:gd name="connsiteY10" fmla="*/ 442755 h 454272"/>
                    <a:gd name="connsiteX0" fmla="*/ 8840 w 514980"/>
                    <a:gd name="connsiteY0" fmla="*/ 442755 h 454272"/>
                    <a:gd name="connsiteX1" fmla="*/ 5665 w 514980"/>
                    <a:gd name="connsiteY1" fmla="*/ 217330 h 454272"/>
                    <a:gd name="connsiteX2" fmla="*/ 62412 w 514980"/>
                    <a:gd name="connsiteY2" fmla="*/ 129774 h 454272"/>
                    <a:gd name="connsiteX3" fmla="*/ 186237 w 514980"/>
                    <a:gd name="connsiteY3" fmla="*/ 91674 h 454272"/>
                    <a:gd name="connsiteX4" fmla="*/ 205690 w 514980"/>
                    <a:gd name="connsiteY4" fmla="*/ 10955 h 454272"/>
                    <a:gd name="connsiteX5" fmla="*/ 325550 w 514980"/>
                    <a:gd name="connsiteY5" fmla="*/ 9967 h 454272"/>
                    <a:gd name="connsiteX6" fmla="*/ 351353 w 514980"/>
                    <a:gd name="connsiteY6" fmla="*/ 96258 h 454272"/>
                    <a:gd name="connsiteX7" fmla="*/ 461084 w 514980"/>
                    <a:gd name="connsiteY7" fmla="*/ 143883 h 454272"/>
                    <a:gd name="connsiteX8" fmla="*/ 513665 w 514980"/>
                    <a:gd name="connsiteY8" fmla="*/ 226855 h 454272"/>
                    <a:gd name="connsiteX9" fmla="*/ 510490 w 514980"/>
                    <a:gd name="connsiteY9" fmla="*/ 449105 h 454272"/>
                    <a:gd name="connsiteX10" fmla="*/ 8840 w 514980"/>
                    <a:gd name="connsiteY10" fmla="*/ 442755 h 454272"/>
                    <a:gd name="connsiteX0" fmla="*/ 8840 w 514980"/>
                    <a:gd name="connsiteY0" fmla="*/ 442755 h 454272"/>
                    <a:gd name="connsiteX1" fmla="*/ 5665 w 514980"/>
                    <a:gd name="connsiteY1" fmla="*/ 217330 h 454272"/>
                    <a:gd name="connsiteX2" fmla="*/ 62412 w 514980"/>
                    <a:gd name="connsiteY2" fmla="*/ 129774 h 454272"/>
                    <a:gd name="connsiteX3" fmla="*/ 186237 w 514980"/>
                    <a:gd name="connsiteY3" fmla="*/ 91674 h 454272"/>
                    <a:gd name="connsiteX4" fmla="*/ 205690 w 514980"/>
                    <a:gd name="connsiteY4" fmla="*/ 10955 h 454272"/>
                    <a:gd name="connsiteX5" fmla="*/ 325550 w 514980"/>
                    <a:gd name="connsiteY5" fmla="*/ 9967 h 454272"/>
                    <a:gd name="connsiteX6" fmla="*/ 351353 w 514980"/>
                    <a:gd name="connsiteY6" fmla="*/ 96258 h 454272"/>
                    <a:gd name="connsiteX7" fmla="*/ 461084 w 514980"/>
                    <a:gd name="connsiteY7" fmla="*/ 143883 h 454272"/>
                    <a:gd name="connsiteX8" fmla="*/ 513665 w 514980"/>
                    <a:gd name="connsiteY8" fmla="*/ 226855 h 454272"/>
                    <a:gd name="connsiteX9" fmla="*/ 510490 w 514980"/>
                    <a:gd name="connsiteY9" fmla="*/ 449105 h 454272"/>
                    <a:gd name="connsiteX10" fmla="*/ 8840 w 514980"/>
                    <a:gd name="connsiteY10" fmla="*/ 442755 h 454272"/>
                    <a:gd name="connsiteX0" fmla="*/ 8840 w 514980"/>
                    <a:gd name="connsiteY0" fmla="*/ 436996 h 448513"/>
                    <a:gd name="connsiteX1" fmla="*/ 5665 w 514980"/>
                    <a:gd name="connsiteY1" fmla="*/ 211571 h 448513"/>
                    <a:gd name="connsiteX2" fmla="*/ 62412 w 514980"/>
                    <a:gd name="connsiteY2" fmla="*/ 124015 h 448513"/>
                    <a:gd name="connsiteX3" fmla="*/ 186237 w 514980"/>
                    <a:gd name="connsiteY3" fmla="*/ 85915 h 448513"/>
                    <a:gd name="connsiteX4" fmla="*/ 205690 w 514980"/>
                    <a:gd name="connsiteY4" fmla="*/ 5196 h 448513"/>
                    <a:gd name="connsiteX5" fmla="*/ 325550 w 514980"/>
                    <a:gd name="connsiteY5" fmla="*/ 4208 h 448513"/>
                    <a:gd name="connsiteX6" fmla="*/ 351353 w 514980"/>
                    <a:gd name="connsiteY6" fmla="*/ 90499 h 448513"/>
                    <a:gd name="connsiteX7" fmla="*/ 461084 w 514980"/>
                    <a:gd name="connsiteY7" fmla="*/ 138124 h 448513"/>
                    <a:gd name="connsiteX8" fmla="*/ 513665 w 514980"/>
                    <a:gd name="connsiteY8" fmla="*/ 221096 h 448513"/>
                    <a:gd name="connsiteX9" fmla="*/ 510490 w 514980"/>
                    <a:gd name="connsiteY9" fmla="*/ 443346 h 448513"/>
                    <a:gd name="connsiteX10" fmla="*/ 8840 w 514980"/>
                    <a:gd name="connsiteY10" fmla="*/ 436996 h 448513"/>
                    <a:gd name="connsiteX0" fmla="*/ 8840 w 514980"/>
                    <a:gd name="connsiteY0" fmla="*/ 436996 h 448513"/>
                    <a:gd name="connsiteX1" fmla="*/ 5665 w 514980"/>
                    <a:gd name="connsiteY1" fmla="*/ 211571 h 448513"/>
                    <a:gd name="connsiteX2" fmla="*/ 62412 w 514980"/>
                    <a:gd name="connsiteY2" fmla="*/ 124015 h 448513"/>
                    <a:gd name="connsiteX3" fmla="*/ 186237 w 514980"/>
                    <a:gd name="connsiteY3" fmla="*/ 85915 h 448513"/>
                    <a:gd name="connsiteX4" fmla="*/ 205690 w 514980"/>
                    <a:gd name="connsiteY4" fmla="*/ 5196 h 448513"/>
                    <a:gd name="connsiteX5" fmla="*/ 325550 w 514980"/>
                    <a:gd name="connsiteY5" fmla="*/ 4208 h 448513"/>
                    <a:gd name="connsiteX6" fmla="*/ 351353 w 514980"/>
                    <a:gd name="connsiteY6" fmla="*/ 90499 h 448513"/>
                    <a:gd name="connsiteX7" fmla="*/ 461084 w 514980"/>
                    <a:gd name="connsiteY7" fmla="*/ 138124 h 448513"/>
                    <a:gd name="connsiteX8" fmla="*/ 513665 w 514980"/>
                    <a:gd name="connsiteY8" fmla="*/ 221096 h 448513"/>
                    <a:gd name="connsiteX9" fmla="*/ 510490 w 514980"/>
                    <a:gd name="connsiteY9" fmla="*/ 443346 h 448513"/>
                    <a:gd name="connsiteX10" fmla="*/ 8840 w 514980"/>
                    <a:gd name="connsiteY10" fmla="*/ 436996 h 448513"/>
                    <a:gd name="connsiteX0" fmla="*/ 8840 w 514980"/>
                    <a:gd name="connsiteY0" fmla="*/ 436996 h 448513"/>
                    <a:gd name="connsiteX1" fmla="*/ 5665 w 514980"/>
                    <a:gd name="connsiteY1" fmla="*/ 211571 h 448513"/>
                    <a:gd name="connsiteX2" fmla="*/ 62412 w 514980"/>
                    <a:gd name="connsiteY2" fmla="*/ 124015 h 448513"/>
                    <a:gd name="connsiteX3" fmla="*/ 186237 w 514980"/>
                    <a:gd name="connsiteY3" fmla="*/ 85915 h 448513"/>
                    <a:gd name="connsiteX4" fmla="*/ 205690 w 514980"/>
                    <a:gd name="connsiteY4" fmla="*/ 5196 h 448513"/>
                    <a:gd name="connsiteX5" fmla="*/ 325550 w 514980"/>
                    <a:gd name="connsiteY5" fmla="*/ 4208 h 448513"/>
                    <a:gd name="connsiteX6" fmla="*/ 351353 w 514980"/>
                    <a:gd name="connsiteY6" fmla="*/ 90499 h 448513"/>
                    <a:gd name="connsiteX7" fmla="*/ 461084 w 514980"/>
                    <a:gd name="connsiteY7" fmla="*/ 138124 h 448513"/>
                    <a:gd name="connsiteX8" fmla="*/ 513665 w 514980"/>
                    <a:gd name="connsiteY8" fmla="*/ 221096 h 448513"/>
                    <a:gd name="connsiteX9" fmla="*/ 510490 w 514980"/>
                    <a:gd name="connsiteY9" fmla="*/ 443346 h 448513"/>
                    <a:gd name="connsiteX10" fmla="*/ 8840 w 514980"/>
                    <a:gd name="connsiteY10" fmla="*/ 436996 h 448513"/>
                    <a:gd name="connsiteX0" fmla="*/ 8840 w 514980"/>
                    <a:gd name="connsiteY0" fmla="*/ 436996 h 448513"/>
                    <a:gd name="connsiteX1" fmla="*/ 5665 w 514980"/>
                    <a:gd name="connsiteY1" fmla="*/ 211571 h 448513"/>
                    <a:gd name="connsiteX2" fmla="*/ 62412 w 514980"/>
                    <a:gd name="connsiteY2" fmla="*/ 124015 h 448513"/>
                    <a:gd name="connsiteX3" fmla="*/ 168766 w 514980"/>
                    <a:gd name="connsiteY3" fmla="*/ 88102 h 448513"/>
                    <a:gd name="connsiteX4" fmla="*/ 205690 w 514980"/>
                    <a:gd name="connsiteY4" fmla="*/ 5196 h 448513"/>
                    <a:gd name="connsiteX5" fmla="*/ 325550 w 514980"/>
                    <a:gd name="connsiteY5" fmla="*/ 4208 h 448513"/>
                    <a:gd name="connsiteX6" fmla="*/ 351353 w 514980"/>
                    <a:gd name="connsiteY6" fmla="*/ 90499 h 448513"/>
                    <a:gd name="connsiteX7" fmla="*/ 461084 w 514980"/>
                    <a:gd name="connsiteY7" fmla="*/ 138124 h 448513"/>
                    <a:gd name="connsiteX8" fmla="*/ 513665 w 514980"/>
                    <a:gd name="connsiteY8" fmla="*/ 221096 h 448513"/>
                    <a:gd name="connsiteX9" fmla="*/ 510490 w 514980"/>
                    <a:gd name="connsiteY9" fmla="*/ 443346 h 448513"/>
                    <a:gd name="connsiteX10" fmla="*/ 8840 w 514980"/>
                    <a:gd name="connsiteY10" fmla="*/ 436996 h 448513"/>
                    <a:gd name="connsiteX0" fmla="*/ 8840 w 514980"/>
                    <a:gd name="connsiteY0" fmla="*/ 440628 h 452145"/>
                    <a:gd name="connsiteX1" fmla="*/ 5665 w 514980"/>
                    <a:gd name="connsiteY1" fmla="*/ 215203 h 452145"/>
                    <a:gd name="connsiteX2" fmla="*/ 62412 w 514980"/>
                    <a:gd name="connsiteY2" fmla="*/ 127647 h 452145"/>
                    <a:gd name="connsiteX3" fmla="*/ 168766 w 514980"/>
                    <a:gd name="connsiteY3" fmla="*/ 91734 h 452145"/>
                    <a:gd name="connsiteX4" fmla="*/ 179484 w 514980"/>
                    <a:gd name="connsiteY4" fmla="*/ 4454 h 452145"/>
                    <a:gd name="connsiteX5" fmla="*/ 325550 w 514980"/>
                    <a:gd name="connsiteY5" fmla="*/ 7840 h 452145"/>
                    <a:gd name="connsiteX6" fmla="*/ 351353 w 514980"/>
                    <a:gd name="connsiteY6" fmla="*/ 94131 h 452145"/>
                    <a:gd name="connsiteX7" fmla="*/ 461084 w 514980"/>
                    <a:gd name="connsiteY7" fmla="*/ 141756 h 452145"/>
                    <a:gd name="connsiteX8" fmla="*/ 513665 w 514980"/>
                    <a:gd name="connsiteY8" fmla="*/ 224728 h 452145"/>
                    <a:gd name="connsiteX9" fmla="*/ 510490 w 514980"/>
                    <a:gd name="connsiteY9" fmla="*/ 446978 h 452145"/>
                    <a:gd name="connsiteX10" fmla="*/ 8840 w 514980"/>
                    <a:gd name="connsiteY10" fmla="*/ 440628 h 452145"/>
                    <a:gd name="connsiteX0" fmla="*/ 8840 w 514980"/>
                    <a:gd name="connsiteY0" fmla="*/ 442422 h 453939"/>
                    <a:gd name="connsiteX1" fmla="*/ 5665 w 514980"/>
                    <a:gd name="connsiteY1" fmla="*/ 216997 h 453939"/>
                    <a:gd name="connsiteX2" fmla="*/ 62412 w 514980"/>
                    <a:gd name="connsiteY2" fmla="*/ 129441 h 453939"/>
                    <a:gd name="connsiteX3" fmla="*/ 168766 w 514980"/>
                    <a:gd name="connsiteY3" fmla="*/ 93528 h 453939"/>
                    <a:gd name="connsiteX4" fmla="*/ 179484 w 514980"/>
                    <a:gd name="connsiteY4" fmla="*/ 6248 h 453939"/>
                    <a:gd name="connsiteX5" fmla="*/ 351756 w 514980"/>
                    <a:gd name="connsiteY5" fmla="*/ 886 h 453939"/>
                    <a:gd name="connsiteX6" fmla="*/ 351353 w 514980"/>
                    <a:gd name="connsiteY6" fmla="*/ 95925 h 453939"/>
                    <a:gd name="connsiteX7" fmla="*/ 461084 w 514980"/>
                    <a:gd name="connsiteY7" fmla="*/ 143550 h 453939"/>
                    <a:gd name="connsiteX8" fmla="*/ 513665 w 514980"/>
                    <a:gd name="connsiteY8" fmla="*/ 226522 h 453939"/>
                    <a:gd name="connsiteX9" fmla="*/ 510490 w 514980"/>
                    <a:gd name="connsiteY9" fmla="*/ 448772 h 453939"/>
                    <a:gd name="connsiteX10" fmla="*/ 8840 w 514980"/>
                    <a:gd name="connsiteY10" fmla="*/ 442422 h 453939"/>
                    <a:gd name="connsiteX0" fmla="*/ 8840 w 514980"/>
                    <a:gd name="connsiteY0" fmla="*/ 442422 h 453939"/>
                    <a:gd name="connsiteX1" fmla="*/ 5665 w 514980"/>
                    <a:gd name="connsiteY1" fmla="*/ 216997 h 453939"/>
                    <a:gd name="connsiteX2" fmla="*/ 62412 w 514980"/>
                    <a:gd name="connsiteY2" fmla="*/ 129441 h 453939"/>
                    <a:gd name="connsiteX3" fmla="*/ 168766 w 514980"/>
                    <a:gd name="connsiteY3" fmla="*/ 93528 h 453939"/>
                    <a:gd name="connsiteX4" fmla="*/ 179484 w 514980"/>
                    <a:gd name="connsiteY4" fmla="*/ 6248 h 453939"/>
                    <a:gd name="connsiteX5" fmla="*/ 351756 w 514980"/>
                    <a:gd name="connsiteY5" fmla="*/ 886 h 453939"/>
                    <a:gd name="connsiteX6" fmla="*/ 366640 w 514980"/>
                    <a:gd name="connsiteY6" fmla="*/ 100299 h 453939"/>
                    <a:gd name="connsiteX7" fmla="*/ 461084 w 514980"/>
                    <a:gd name="connsiteY7" fmla="*/ 143550 h 453939"/>
                    <a:gd name="connsiteX8" fmla="*/ 513665 w 514980"/>
                    <a:gd name="connsiteY8" fmla="*/ 226522 h 453939"/>
                    <a:gd name="connsiteX9" fmla="*/ 510490 w 514980"/>
                    <a:gd name="connsiteY9" fmla="*/ 448772 h 453939"/>
                    <a:gd name="connsiteX10" fmla="*/ 8840 w 514980"/>
                    <a:gd name="connsiteY10" fmla="*/ 442422 h 453939"/>
                    <a:gd name="connsiteX0" fmla="*/ 8840 w 514980"/>
                    <a:gd name="connsiteY0" fmla="*/ 442422 h 450476"/>
                    <a:gd name="connsiteX1" fmla="*/ 5665 w 514980"/>
                    <a:gd name="connsiteY1" fmla="*/ 216997 h 450476"/>
                    <a:gd name="connsiteX2" fmla="*/ 62412 w 514980"/>
                    <a:gd name="connsiteY2" fmla="*/ 129441 h 450476"/>
                    <a:gd name="connsiteX3" fmla="*/ 168766 w 514980"/>
                    <a:gd name="connsiteY3" fmla="*/ 93528 h 450476"/>
                    <a:gd name="connsiteX4" fmla="*/ 179484 w 514980"/>
                    <a:gd name="connsiteY4" fmla="*/ 6248 h 450476"/>
                    <a:gd name="connsiteX5" fmla="*/ 351756 w 514980"/>
                    <a:gd name="connsiteY5" fmla="*/ 886 h 450476"/>
                    <a:gd name="connsiteX6" fmla="*/ 366640 w 514980"/>
                    <a:gd name="connsiteY6" fmla="*/ 100299 h 450476"/>
                    <a:gd name="connsiteX7" fmla="*/ 461084 w 514980"/>
                    <a:gd name="connsiteY7" fmla="*/ 143550 h 450476"/>
                    <a:gd name="connsiteX8" fmla="*/ 513665 w 514980"/>
                    <a:gd name="connsiteY8" fmla="*/ 226522 h 450476"/>
                    <a:gd name="connsiteX9" fmla="*/ 510490 w 514980"/>
                    <a:gd name="connsiteY9" fmla="*/ 448772 h 450476"/>
                    <a:gd name="connsiteX10" fmla="*/ 8840 w 514980"/>
                    <a:gd name="connsiteY10" fmla="*/ 442422 h 450476"/>
                    <a:gd name="connsiteX0" fmla="*/ 8840 w 514980"/>
                    <a:gd name="connsiteY0" fmla="*/ 442422 h 448772"/>
                    <a:gd name="connsiteX1" fmla="*/ 5665 w 514980"/>
                    <a:gd name="connsiteY1" fmla="*/ 216997 h 448772"/>
                    <a:gd name="connsiteX2" fmla="*/ 62412 w 514980"/>
                    <a:gd name="connsiteY2" fmla="*/ 129441 h 448772"/>
                    <a:gd name="connsiteX3" fmla="*/ 168766 w 514980"/>
                    <a:gd name="connsiteY3" fmla="*/ 93528 h 448772"/>
                    <a:gd name="connsiteX4" fmla="*/ 179484 w 514980"/>
                    <a:gd name="connsiteY4" fmla="*/ 6248 h 448772"/>
                    <a:gd name="connsiteX5" fmla="*/ 351756 w 514980"/>
                    <a:gd name="connsiteY5" fmla="*/ 886 h 448772"/>
                    <a:gd name="connsiteX6" fmla="*/ 366640 w 514980"/>
                    <a:gd name="connsiteY6" fmla="*/ 100299 h 448772"/>
                    <a:gd name="connsiteX7" fmla="*/ 461084 w 514980"/>
                    <a:gd name="connsiteY7" fmla="*/ 143550 h 448772"/>
                    <a:gd name="connsiteX8" fmla="*/ 513665 w 514980"/>
                    <a:gd name="connsiteY8" fmla="*/ 226522 h 448772"/>
                    <a:gd name="connsiteX9" fmla="*/ 510490 w 514980"/>
                    <a:gd name="connsiteY9" fmla="*/ 448772 h 448772"/>
                    <a:gd name="connsiteX10" fmla="*/ 8840 w 514980"/>
                    <a:gd name="connsiteY10" fmla="*/ 442422 h 448772"/>
                    <a:gd name="connsiteX0" fmla="*/ 8840 w 514980"/>
                    <a:gd name="connsiteY0" fmla="*/ 442422 h 448772"/>
                    <a:gd name="connsiteX1" fmla="*/ 5665 w 514980"/>
                    <a:gd name="connsiteY1" fmla="*/ 216997 h 448772"/>
                    <a:gd name="connsiteX2" fmla="*/ 62412 w 514980"/>
                    <a:gd name="connsiteY2" fmla="*/ 129441 h 448772"/>
                    <a:gd name="connsiteX3" fmla="*/ 168766 w 514980"/>
                    <a:gd name="connsiteY3" fmla="*/ 93528 h 448772"/>
                    <a:gd name="connsiteX4" fmla="*/ 179484 w 514980"/>
                    <a:gd name="connsiteY4" fmla="*/ 6248 h 448772"/>
                    <a:gd name="connsiteX5" fmla="*/ 351756 w 514980"/>
                    <a:gd name="connsiteY5" fmla="*/ 886 h 448772"/>
                    <a:gd name="connsiteX6" fmla="*/ 357905 w 514980"/>
                    <a:gd name="connsiteY6" fmla="*/ 98112 h 448772"/>
                    <a:gd name="connsiteX7" fmla="*/ 461084 w 514980"/>
                    <a:gd name="connsiteY7" fmla="*/ 143550 h 448772"/>
                    <a:gd name="connsiteX8" fmla="*/ 513665 w 514980"/>
                    <a:gd name="connsiteY8" fmla="*/ 226522 h 448772"/>
                    <a:gd name="connsiteX9" fmla="*/ 510490 w 514980"/>
                    <a:gd name="connsiteY9" fmla="*/ 448772 h 448772"/>
                    <a:gd name="connsiteX10" fmla="*/ 8840 w 514980"/>
                    <a:gd name="connsiteY10" fmla="*/ 442422 h 448772"/>
                    <a:gd name="connsiteX0" fmla="*/ 8840 w 514980"/>
                    <a:gd name="connsiteY0" fmla="*/ 442422 h 448772"/>
                    <a:gd name="connsiteX1" fmla="*/ 5665 w 514980"/>
                    <a:gd name="connsiteY1" fmla="*/ 216997 h 448772"/>
                    <a:gd name="connsiteX2" fmla="*/ 62412 w 514980"/>
                    <a:gd name="connsiteY2" fmla="*/ 129441 h 448772"/>
                    <a:gd name="connsiteX3" fmla="*/ 168766 w 514980"/>
                    <a:gd name="connsiteY3" fmla="*/ 93528 h 448772"/>
                    <a:gd name="connsiteX4" fmla="*/ 179484 w 514980"/>
                    <a:gd name="connsiteY4" fmla="*/ 6248 h 448772"/>
                    <a:gd name="connsiteX5" fmla="*/ 351756 w 514980"/>
                    <a:gd name="connsiteY5" fmla="*/ 886 h 448772"/>
                    <a:gd name="connsiteX6" fmla="*/ 357905 w 514980"/>
                    <a:gd name="connsiteY6" fmla="*/ 98112 h 448772"/>
                    <a:gd name="connsiteX7" fmla="*/ 454533 w 514980"/>
                    <a:gd name="connsiteY7" fmla="*/ 136989 h 448772"/>
                    <a:gd name="connsiteX8" fmla="*/ 513665 w 514980"/>
                    <a:gd name="connsiteY8" fmla="*/ 226522 h 448772"/>
                    <a:gd name="connsiteX9" fmla="*/ 510490 w 514980"/>
                    <a:gd name="connsiteY9" fmla="*/ 448772 h 448772"/>
                    <a:gd name="connsiteX10" fmla="*/ 8840 w 514980"/>
                    <a:gd name="connsiteY10" fmla="*/ 442422 h 448772"/>
                    <a:gd name="connsiteX0" fmla="*/ 8840 w 514980"/>
                    <a:gd name="connsiteY0" fmla="*/ 442422 h 448772"/>
                    <a:gd name="connsiteX1" fmla="*/ 5665 w 514980"/>
                    <a:gd name="connsiteY1" fmla="*/ 216997 h 448772"/>
                    <a:gd name="connsiteX2" fmla="*/ 62412 w 514980"/>
                    <a:gd name="connsiteY2" fmla="*/ 129441 h 448772"/>
                    <a:gd name="connsiteX3" fmla="*/ 168766 w 514980"/>
                    <a:gd name="connsiteY3" fmla="*/ 93528 h 448772"/>
                    <a:gd name="connsiteX4" fmla="*/ 179484 w 514980"/>
                    <a:gd name="connsiteY4" fmla="*/ 6248 h 448772"/>
                    <a:gd name="connsiteX5" fmla="*/ 351756 w 514980"/>
                    <a:gd name="connsiteY5" fmla="*/ 886 h 448772"/>
                    <a:gd name="connsiteX6" fmla="*/ 357905 w 514980"/>
                    <a:gd name="connsiteY6" fmla="*/ 98112 h 448772"/>
                    <a:gd name="connsiteX7" fmla="*/ 454533 w 514980"/>
                    <a:gd name="connsiteY7" fmla="*/ 136989 h 448772"/>
                    <a:gd name="connsiteX8" fmla="*/ 513665 w 514980"/>
                    <a:gd name="connsiteY8" fmla="*/ 226522 h 448772"/>
                    <a:gd name="connsiteX9" fmla="*/ 510490 w 514980"/>
                    <a:gd name="connsiteY9" fmla="*/ 448772 h 448772"/>
                    <a:gd name="connsiteX10" fmla="*/ 8840 w 514980"/>
                    <a:gd name="connsiteY10" fmla="*/ 442422 h 448772"/>
                    <a:gd name="connsiteX0" fmla="*/ 8840 w 514980"/>
                    <a:gd name="connsiteY0" fmla="*/ 442422 h 448772"/>
                    <a:gd name="connsiteX1" fmla="*/ 5665 w 514980"/>
                    <a:gd name="connsiteY1" fmla="*/ 216997 h 448772"/>
                    <a:gd name="connsiteX2" fmla="*/ 62412 w 514980"/>
                    <a:gd name="connsiteY2" fmla="*/ 129441 h 448772"/>
                    <a:gd name="connsiteX3" fmla="*/ 168766 w 514980"/>
                    <a:gd name="connsiteY3" fmla="*/ 93528 h 448772"/>
                    <a:gd name="connsiteX4" fmla="*/ 179484 w 514980"/>
                    <a:gd name="connsiteY4" fmla="*/ 6248 h 448772"/>
                    <a:gd name="connsiteX5" fmla="*/ 351756 w 514980"/>
                    <a:gd name="connsiteY5" fmla="*/ 886 h 448772"/>
                    <a:gd name="connsiteX6" fmla="*/ 357905 w 514980"/>
                    <a:gd name="connsiteY6" fmla="*/ 98112 h 448772"/>
                    <a:gd name="connsiteX7" fmla="*/ 454533 w 514980"/>
                    <a:gd name="connsiteY7" fmla="*/ 136989 h 448772"/>
                    <a:gd name="connsiteX8" fmla="*/ 513665 w 514980"/>
                    <a:gd name="connsiteY8" fmla="*/ 226522 h 448772"/>
                    <a:gd name="connsiteX9" fmla="*/ 510490 w 514980"/>
                    <a:gd name="connsiteY9" fmla="*/ 448772 h 448772"/>
                    <a:gd name="connsiteX10" fmla="*/ 8840 w 514980"/>
                    <a:gd name="connsiteY10" fmla="*/ 442422 h 448772"/>
                    <a:gd name="connsiteX0" fmla="*/ 8840 w 514980"/>
                    <a:gd name="connsiteY0" fmla="*/ 442422 h 448772"/>
                    <a:gd name="connsiteX1" fmla="*/ 5665 w 514980"/>
                    <a:gd name="connsiteY1" fmla="*/ 216997 h 448772"/>
                    <a:gd name="connsiteX2" fmla="*/ 62412 w 514980"/>
                    <a:gd name="connsiteY2" fmla="*/ 129441 h 448772"/>
                    <a:gd name="connsiteX3" fmla="*/ 168766 w 514980"/>
                    <a:gd name="connsiteY3" fmla="*/ 93528 h 448772"/>
                    <a:gd name="connsiteX4" fmla="*/ 179484 w 514980"/>
                    <a:gd name="connsiteY4" fmla="*/ 6248 h 448772"/>
                    <a:gd name="connsiteX5" fmla="*/ 351756 w 514980"/>
                    <a:gd name="connsiteY5" fmla="*/ 886 h 448772"/>
                    <a:gd name="connsiteX6" fmla="*/ 353538 w 514980"/>
                    <a:gd name="connsiteY6" fmla="*/ 98112 h 448772"/>
                    <a:gd name="connsiteX7" fmla="*/ 454533 w 514980"/>
                    <a:gd name="connsiteY7" fmla="*/ 136989 h 448772"/>
                    <a:gd name="connsiteX8" fmla="*/ 513665 w 514980"/>
                    <a:gd name="connsiteY8" fmla="*/ 226522 h 448772"/>
                    <a:gd name="connsiteX9" fmla="*/ 510490 w 514980"/>
                    <a:gd name="connsiteY9" fmla="*/ 448772 h 448772"/>
                    <a:gd name="connsiteX10" fmla="*/ 8840 w 514980"/>
                    <a:gd name="connsiteY10" fmla="*/ 442422 h 448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14980" h="448772">
                      <a:moveTo>
                        <a:pt x="8840" y="442422"/>
                      </a:moveTo>
                      <a:cubicBezTo>
                        <a:pt x="-1214" y="377864"/>
                        <a:pt x="-3264" y="269160"/>
                        <a:pt x="5665" y="216997"/>
                      </a:cubicBezTo>
                      <a:cubicBezTo>
                        <a:pt x="14594" y="164834"/>
                        <a:pt x="35229" y="150019"/>
                        <a:pt x="62412" y="129441"/>
                      </a:cubicBezTo>
                      <a:cubicBezTo>
                        <a:pt x="89595" y="108863"/>
                        <a:pt x="149254" y="114060"/>
                        <a:pt x="168766" y="93528"/>
                      </a:cubicBezTo>
                      <a:cubicBezTo>
                        <a:pt x="188278" y="72996"/>
                        <a:pt x="189023" y="43922"/>
                        <a:pt x="179484" y="6248"/>
                      </a:cubicBezTo>
                      <a:cubicBezTo>
                        <a:pt x="202703" y="-7370"/>
                        <a:pt x="323111" y="6352"/>
                        <a:pt x="351756" y="886"/>
                      </a:cubicBezTo>
                      <a:cubicBezTo>
                        <a:pt x="354195" y="39159"/>
                        <a:pt x="342961" y="75428"/>
                        <a:pt x="353538" y="98112"/>
                      </a:cubicBezTo>
                      <a:cubicBezTo>
                        <a:pt x="364115" y="120796"/>
                        <a:pt x="427845" y="115587"/>
                        <a:pt x="454533" y="136989"/>
                      </a:cubicBezTo>
                      <a:cubicBezTo>
                        <a:pt x="481221" y="158391"/>
                        <a:pt x="503611" y="177839"/>
                        <a:pt x="513665" y="226522"/>
                      </a:cubicBezTo>
                      <a:cubicBezTo>
                        <a:pt x="516840" y="276264"/>
                        <a:pt x="513665" y="323360"/>
                        <a:pt x="510490" y="448772"/>
                      </a:cubicBezTo>
                      <a:lnTo>
                        <a:pt x="8840" y="442422"/>
                      </a:lnTo>
                      <a:close/>
                    </a:path>
                  </a:pathLst>
                </a:custGeom>
                <a:grpFill/>
                <a:ln w="571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42" name="Oval 41">
                  <a:extLst>
                    <a:ext uri="{FF2B5EF4-FFF2-40B4-BE49-F238E27FC236}">
                      <a16:creationId xmlns:a16="http://schemas.microsoft.com/office/drawing/2014/main" id="{B767836A-0851-234B-AD07-62174F3AF5F6}"/>
                    </a:ext>
                  </a:extLst>
                </p:cNvPr>
                <p:cNvSpPr/>
                <p:nvPr/>
              </p:nvSpPr>
              <p:spPr>
                <a:xfrm>
                  <a:off x="1971467" y="3508300"/>
                  <a:ext cx="282088" cy="336550"/>
                </a:xfrm>
                <a:prstGeom prst="ellipse">
                  <a:avLst/>
                </a:prstGeom>
                <a:grpFill/>
                <a:ln w="571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grpSp>
          <p:grpSp>
            <p:nvGrpSpPr>
              <p:cNvPr id="39" name="Group 38">
                <a:extLst>
                  <a:ext uri="{FF2B5EF4-FFF2-40B4-BE49-F238E27FC236}">
                    <a16:creationId xmlns:a16="http://schemas.microsoft.com/office/drawing/2014/main" id="{E8B83BA6-FA66-C246-9966-90D3A282AC33}"/>
                  </a:ext>
                </a:extLst>
              </p:cNvPr>
              <p:cNvGrpSpPr/>
              <p:nvPr/>
            </p:nvGrpSpPr>
            <p:grpSpPr>
              <a:xfrm>
                <a:off x="1553120" y="3388644"/>
                <a:ext cx="633802" cy="938165"/>
                <a:chOff x="1806977" y="3500843"/>
                <a:chExt cx="539989" cy="738018"/>
              </a:xfrm>
            </p:grpSpPr>
            <p:sp>
              <p:nvSpPr>
                <p:cNvPr id="37" name="Freeform 36">
                  <a:extLst>
                    <a:ext uri="{FF2B5EF4-FFF2-40B4-BE49-F238E27FC236}">
                      <a16:creationId xmlns:a16="http://schemas.microsoft.com/office/drawing/2014/main" id="{F4304CED-EA5A-3E44-88D3-CBEEF31A12AD}"/>
                    </a:ext>
                  </a:extLst>
                </p:cNvPr>
                <p:cNvSpPr/>
                <p:nvPr/>
              </p:nvSpPr>
              <p:spPr>
                <a:xfrm>
                  <a:off x="1806977" y="3782373"/>
                  <a:ext cx="539989" cy="456488"/>
                </a:xfrm>
                <a:custGeom>
                  <a:avLst/>
                  <a:gdLst>
                    <a:gd name="connsiteX0" fmla="*/ 36807 w 576731"/>
                    <a:gd name="connsiteY0" fmla="*/ 449906 h 505924"/>
                    <a:gd name="connsiteX1" fmla="*/ 39982 w 576731"/>
                    <a:gd name="connsiteY1" fmla="*/ 214956 h 505924"/>
                    <a:gd name="connsiteX2" fmla="*/ 55857 w 576731"/>
                    <a:gd name="connsiteY2" fmla="*/ 176856 h 505924"/>
                    <a:gd name="connsiteX3" fmla="*/ 103482 w 576731"/>
                    <a:gd name="connsiteY3" fmla="*/ 160981 h 505924"/>
                    <a:gd name="connsiteX4" fmla="*/ 205082 w 576731"/>
                    <a:gd name="connsiteY4" fmla="*/ 154631 h 505924"/>
                    <a:gd name="connsiteX5" fmla="*/ 230482 w 576731"/>
                    <a:gd name="connsiteY5" fmla="*/ 151456 h 505924"/>
                    <a:gd name="connsiteX6" fmla="*/ 233657 w 576731"/>
                    <a:gd name="connsiteY6" fmla="*/ 18106 h 505924"/>
                    <a:gd name="connsiteX7" fmla="*/ 344782 w 576731"/>
                    <a:gd name="connsiteY7" fmla="*/ 14931 h 505924"/>
                    <a:gd name="connsiteX8" fmla="*/ 344782 w 576731"/>
                    <a:gd name="connsiteY8" fmla="*/ 145106 h 505924"/>
                    <a:gd name="connsiteX9" fmla="*/ 386057 w 576731"/>
                    <a:gd name="connsiteY9" fmla="*/ 151456 h 505924"/>
                    <a:gd name="connsiteX10" fmla="*/ 478132 w 576731"/>
                    <a:gd name="connsiteY10" fmla="*/ 164156 h 505924"/>
                    <a:gd name="connsiteX11" fmla="*/ 519407 w 576731"/>
                    <a:gd name="connsiteY11" fmla="*/ 189556 h 505924"/>
                    <a:gd name="connsiteX12" fmla="*/ 541632 w 576731"/>
                    <a:gd name="connsiteY12" fmla="*/ 234006 h 505924"/>
                    <a:gd name="connsiteX13" fmla="*/ 538457 w 576731"/>
                    <a:gd name="connsiteY13" fmla="*/ 488006 h 505924"/>
                    <a:gd name="connsiteX14" fmla="*/ 36807 w 576731"/>
                    <a:gd name="connsiteY14" fmla="*/ 449906 h 505924"/>
                    <a:gd name="connsiteX0" fmla="*/ 5769 w 545693"/>
                    <a:gd name="connsiteY0" fmla="*/ 449906 h 505924"/>
                    <a:gd name="connsiteX1" fmla="*/ 8944 w 545693"/>
                    <a:gd name="connsiteY1" fmla="*/ 214956 h 505924"/>
                    <a:gd name="connsiteX2" fmla="*/ 24819 w 545693"/>
                    <a:gd name="connsiteY2" fmla="*/ 176856 h 505924"/>
                    <a:gd name="connsiteX3" fmla="*/ 72444 w 545693"/>
                    <a:gd name="connsiteY3" fmla="*/ 160981 h 505924"/>
                    <a:gd name="connsiteX4" fmla="*/ 174044 w 545693"/>
                    <a:gd name="connsiteY4" fmla="*/ 154631 h 505924"/>
                    <a:gd name="connsiteX5" fmla="*/ 199444 w 545693"/>
                    <a:gd name="connsiteY5" fmla="*/ 151456 h 505924"/>
                    <a:gd name="connsiteX6" fmla="*/ 202619 w 545693"/>
                    <a:gd name="connsiteY6" fmla="*/ 18106 h 505924"/>
                    <a:gd name="connsiteX7" fmla="*/ 313744 w 545693"/>
                    <a:gd name="connsiteY7" fmla="*/ 14931 h 505924"/>
                    <a:gd name="connsiteX8" fmla="*/ 313744 w 545693"/>
                    <a:gd name="connsiteY8" fmla="*/ 145106 h 505924"/>
                    <a:gd name="connsiteX9" fmla="*/ 355019 w 545693"/>
                    <a:gd name="connsiteY9" fmla="*/ 151456 h 505924"/>
                    <a:gd name="connsiteX10" fmla="*/ 447094 w 545693"/>
                    <a:gd name="connsiteY10" fmla="*/ 164156 h 505924"/>
                    <a:gd name="connsiteX11" fmla="*/ 488369 w 545693"/>
                    <a:gd name="connsiteY11" fmla="*/ 189556 h 505924"/>
                    <a:gd name="connsiteX12" fmla="*/ 510594 w 545693"/>
                    <a:gd name="connsiteY12" fmla="*/ 234006 h 505924"/>
                    <a:gd name="connsiteX13" fmla="*/ 507419 w 545693"/>
                    <a:gd name="connsiteY13" fmla="*/ 488006 h 505924"/>
                    <a:gd name="connsiteX14" fmla="*/ 5769 w 545693"/>
                    <a:gd name="connsiteY14" fmla="*/ 449906 h 505924"/>
                    <a:gd name="connsiteX0" fmla="*/ 21286 w 561210"/>
                    <a:gd name="connsiteY0" fmla="*/ 449906 h 508025"/>
                    <a:gd name="connsiteX1" fmla="*/ 24461 w 561210"/>
                    <a:gd name="connsiteY1" fmla="*/ 214956 h 508025"/>
                    <a:gd name="connsiteX2" fmla="*/ 40336 w 561210"/>
                    <a:gd name="connsiteY2" fmla="*/ 176856 h 508025"/>
                    <a:gd name="connsiteX3" fmla="*/ 87961 w 561210"/>
                    <a:gd name="connsiteY3" fmla="*/ 160981 h 508025"/>
                    <a:gd name="connsiteX4" fmla="*/ 189561 w 561210"/>
                    <a:gd name="connsiteY4" fmla="*/ 154631 h 508025"/>
                    <a:gd name="connsiteX5" fmla="*/ 214961 w 561210"/>
                    <a:gd name="connsiteY5" fmla="*/ 151456 h 508025"/>
                    <a:gd name="connsiteX6" fmla="*/ 218136 w 561210"/>
                    <a:gd name="connsiteY6" fmla="*/ 18106 h 508025"/>
                    <a:gd name="connsiteX7" fmla="*/ 329261 w 561210"/>
                    <a:gd name="connsiteY7" fmla="*/ 14931 h 508025"/>
                    <a:gd name="connsiteX8" fmla="*/ 329261 w 561210"/>
                    <a:gd name="connsiteY8" fmla="*/ 145106 h 508025"/>
                    <a:gd name="connsiteX9" fmla="*/ 370536 w 561210"/>
                    <a:gd name="connsiteY9" fmla="*/ 151456 h 508025"/>
                    <a:gd name="connsiteX10" fmla="*/ 462611 w 561210"/>
                    <a:gd name="connsiteY10" fmla="*/ 164156 h 508025"/>
                    <a:gd name="connsiteX11" fmla="*/ 503886 w 561210"/>
                    <a:gd name="connsiteY11" fmla="*/ 189556 h 508025"/>
                    <a:gd name="connsiteX12" fmla="*/ 526111 w 561210"/>
                    <a:gd name="connsiteY12" fmla="*/ 234006 h 508025"/>
                    <a:gd name="connsiteX13" fmla="*/ 522936 w 561210"/>
                    <a:gd name="connsiteY13" fmla="*/ 488006 h 508025"/>
                    <a:gd name="connsiteX14" fmla="*/ 21286 w 561210"/>
                    <a:gd name="connsiteY14" fmla="*/ 449906 h 508025"/>
                    <a:gd name="connsiteX0" fmla="*/ 21286 w 561210"/>
                    <a:gd name="connsiteY0" fmla="*/ 449906 h 508025"/>
                    <a:gd name="connsiteX1" fmla="*/ 24461 w 561210"/>
                    <a:gd name="connsiteY1" fmla="*/ 214956 h 508025"/>
                    <a:gd name="connsiteX2" fmla="*/ 40336 w 561210"/>
                    <a:gd name="connsiteY2" fmla="*/ 176856 h 508025"/>
                    <a:gd name="connsiteX3" fmla="*/ 87961 w 561210"/>
                    <a:gd name="connsiteY3" fmla="*/ 160981 h 508025"/>
                    <a:gd name="connsiteX4" fmla="*/ 189561 w 561210"/>
                    <a:gd name="connsiteY4" fmla="*/ 154631 h 508025"/>
                    <a:gd name="connsiteX5" fmla="*/ 214961 w 561210"/>
                    <a:gd name="connsiteY5" fmla="*/ 151456 h 508025"/>
                    <a:gd name="connsiteX6" fmla="*/ 218136 w 561210"/>
                    <a:gd name="connsiteY6" fmla="*/ 18106 h 508025"/>
                    <a:gd name="connsiteX7" fmla="*/ 329261 w 561210"/>
                    <a:gd name="connsiteY7" fmla="*/ 14931 h 508025"/>
                    <a:gd name="connsiteX8" fmla="*/ 329261 w 561210"/>
                    <a:gd name="connsiteY8" fmla="*/ 145106 h 508025"/>
                    <a:gd name="connsiteX9" fmla="*/ 370536 w 561210"/>
                    <a:gd name="connsiteY9" fmla="*/ 151456 h 508025"/>
                    <a:gd name="connsiteX10" fmla="*/ 462611 w 561210"/>
                    <a:gd name="connsiteY10" fmla="*/ 164156 h 508025"/>
                    <a:gd name="connsiteX11" fmla="*/ 503886 w 561210"/>
                    <a:gd name="connsiteY11" fmla="*/ 189556 h 508025"/>
                    <a:gd name="connsiteX12" fmla="*/ 526111 w 561210"/>
                    <a:gd name="connsiteY12" fmla="*/ 234006 h 508025"/>
                    <a:gd name="connsiteX13" fmla="*/ 522936 w 561210"/>
                    <a:gd name="connsiteY13" fmla="*/ 488006 h 508025"/>
                    <a:gd name="connsiteX14" fmla="*/ 21286 w 561210"/>
                    <a:gd name="connsiteY14" fmla="*/ 449906 h 508025"/>
                    <a:gd name="connsiteX0" fmla="*/ 4360 w 544284"/>
                    <a:gd name="connsiteY0" fmla="*/ 449906 h 508025"/>
                    <a:gd name="connsiteX1" fmla="*/ 7535 w 544284"/>
                    <a:gd name="connsiteY1" fmla="*/ 214956 h 508025"/>
                    <a:gd name="connsiteX2" fmla="*/ 23410 w 544284"/>
                    <a:gd name="connsiteY2" fmla="*/ 176856 h 508025"/>
                    <a:gd name="connsiteX3" fmla="*/ 71035 w 544284"/>
                    <a:gd name="connsiteY3" fmla="*/ 160981 h 508025"/>
                    <a:gd name="connsiteX4" fmla="*/ 172635 w 544284"/>
                    <a:gd name="connsiteY4" fmla="*/ 154631 h 508025"/>
                    <a:gd name="connsiteX5" fmla="*/ 198035 w 544284"/>
                    <a:gd name="connsiteY5" fmla="*/ 151456 h 508025"/>
                    <a:gd name="connsiteX6" fmla="*/ 201210 w 544284"/>
                    <a:gd name="connsiteY6" fmla="*/ 18106 h 508025"/>
                    <a:gd name="connsiteX7" fmla="*/ 312335 w 544284"/>
                    <a:gd name="connsiteY7" fmla="*/ 14931 h 508025"/>
                    <a:gd name="connsiteX8" fmla="*/ 312335 w 544284"/>
                    <a:gd name="connsiteY8" fmla="*/ 145106 h 508025"/>
                    <a:gd name="connsiteX9" fmla="*/ 353610 w 544284"/>
                    <a:gd name="connsiteY9" fmla="*/ 151456 h 508025"/>
                    <a:gd name="connsiteX10" fmla="*/ 445685 w 544284"/>
                    <a:gd name="connsiteY10" fmla="*/ 164156 h 508025"/>
                    <a:gd name="connsiteX11" fmla="*/ 486960 w 544284"/>
                    <a:gd name="connsiteY11" fmla="*/ 189556 h 508025"/>
                    <a:gd name="connsiteX12" fmla="*/ 509185 w 544284"/>
                    <a:gd name="connsiteY12" fmla="*/ 234006 h 508025"/>
                    <a:gd name="connsiteX13" fmla="*/ 506010 w 544284"/>
                    <a:gd name="connsiteY13" fmla="*/ 488006 h 508025"/>
                    <a:gd name="connsiteX14" fmla="*/ 4360 w 544284"/>
                    <a:gd name="connsiteY14" fmla="*/ 449906 h 508025"/>
                    <a:gd name="connsiteX0" fmla="*/ 4360 w 544284"/>
                    <a:gd name="connsiteY0" fmla="*/ 449906 h 500804"/>
                    <a:gd name="connsiteX1" fmla="*/ 7535 w 544284"/>
                    <a:gd name="connsiteY1" fmla="*/ 214956 h 500804"/>
                    <a:gd name="connsiteX2" fmla="*/ 23410 w 544284"/>
                    <a:gd name="connsiteY2" fmla="*/ 176856 h 500804"/>
                    <a:gd name="connsiteX3" fmla="*/ 71035 w 544284"/>
                    <a:gd name="connsiteY3" fmla="*/ 160981 h 500804"/>
                    <a:gd name="connsiteX4" fmla="*/ 172635 w 544284"/>
                    <a:gd name="connsiteY4" fmla="*/ 154631 h 500804"/>
                    <a:gd name="connsiteX5" fmla="*/ 198035 w 544284"/>
                    <a:gd name="connsiteY5" fmla="*/ 151456 h 500804"/>
                    <a:gd name="connsiteX6" fmla="*/ 201210 w 544284"/>
                    <a:gd name="connsiteY6" fmla="*/ 18106 h 500804"/>
                    <a:gd name="connsiteX7" fmla="*/ 312335 w 544284"/>
                    <a:gd name="connsiteY7" fmla="*/ 14931 h 500804"/>
                    <a:gd name="connsiteX8" fmla="*/ 312335 w 544284"/>
                    <a:gd name="connsiteY8" fmla="*/ 145106 h 500804"/>
                    <a:gd name="connsiteX9" fmla="*/ 353610 w 544284"/>
                    <a:gd name="connsiteY9" fmla="*/ 151456 h 500804"/>
                    <a:gd name="connsiteX10" fmla="*/ 445685 w 544284"/>
                    <a:gd name="connsiteY10" fmla="*/ 164156 h 500804"/>
                    <a:gd name="connsiteX11" fmla="*/ 486960 w 544284"/>
                    <a:gd name="connsiteY11" fmla="*/ 189556 h 500804"/>
                    <a:gd name="connsiteX12" fmla="*/ 509185 w 544284"/>
                    <a:gd name="connsiteY12" fmla="*/ 234006 h 500804"/>
                    <a:gd name="connsiteX13" fmla="*/ 506010 w 544284"/>
                    <a:gd name="connsiteY13" fmla="*/ 488006 h 500804"/>
                    <a:gd name="connsiteX14" fmla="*/ 4360 w 544284"/>
                    <a:gd name="connsiteY14" fmla="*/ 449906 h 500804"/>
                    <a:gd name="connsiteX0" fmla="*/ 4360 w 544284"/>
                    <a:gd name="connsiteY0" fmla="*/ 449906 h 500804"/>
                    <a:gd name="connsiteX1" fmla="*/ 7535 w 544284"/>
                    <a:gd name="connsiteY1" fmla="*/ 214956 h 500804"/>
                    <a:gd name="connsiteX2" fmla="*/ 23410 w 544284"/>
                    <a:gd name="connsiteY2" fmla="*/ 176856 h 500804"/>
                    <a:gd name="connsiteX3" fmla="*/ 71035 w 544284"/>
                    <a:gd name="connsiteY3" fmla="*/ 160981 h 500804"/>
                    <a:gd name="connsiteX4" fmla="*/ 172635 w 544284"/>
                    <a:gd name="connsiteY4" fmla="*/ 154631 h 500804"/>
                    <a:gd name="connsiteX5" fmla="*/ 198035 w 544284"/>
                    <a:gd name="connsiteY5" fmla="*/ 151456 h 500804"/>
                    <a:gd name="connsiteX6" fmla="*/ 201210 w 544284"/>
                    <a:gd name="connsiteY6" fmla="*/ 18106 h 500804"/>
                    <a:gd name="connsiteX7" fmla="*/ 312335 w 544284"/>
                    <a:gd name="connsiteY7" fmla="*/ 14931 h 500804"/>
                    <a:gd name="connsiteX8" fmla="*/ 312335 w 544284"/>
                    <a:gd name="connsiteY8" fmla="*/ 145106 h 500804"/>
                    <a:gd name="connsiteX9" fmla="*/ 353610 w 544284"/>
                    <a:gd name="connsiteY9" fmla="*/ 151456 h 500804"/>
                    <a:gd name="connsiteX10" fmla="*/ 445685 w 544284"/>
                    <a:gd name="connsiteY10" fmla="*/ 164156 h 500804"/>
                    <a:gd name="connsiteX11" fmla="*/ 486960 w 544284"/>
                    <a:gd name="connsiteY11" fmla="*/ 189556 h 500804"/>
                    <a:gd name="connsiteX12" fmla="*/ 509185 w 544284"/>
                    <a:gd name="connsiteY12" fmla="*/ 234006 h 500804"/>
                    <a:gd name="connsiteX13" fmla="*/ 506010 w 544284"/>
                    <a:gd name="connsiteY13" fmla="*/ 488006 h 500804"/>
                    <a:gd name="connsiteX14" fmla="*/ 4360 w 544284"/>
                    <a:gd name="connsiteY14" fmla="*/ 449906 h 500804"/>
                    <a:gd name="connsiteX0" fmla="*/ 4360 w 519024"/>
                    <a:gd name="connsiteY0" fmla="*/ 449906 h 500804"/>
                    <a:gd name="connsiteX1" fmla="*/ 7535 w 519024"/>
                    <a:gd name="connsiteY1" fmla="*/ 214956 h 500804"/>
                    <a:gd name="connsiteX2" fmla="*/ 23410 w 519024"/>
                    <a:gd name="connsiteY2" fmla="*/ 176856 h 500804"/>
                    <a:gd name="connsiteX3" fmla="*/ 71035 w 519024"/>
                    <a:gd name="connsiteY3" fmla="*/ 160981 h 500804"/>
                    <a:gd name="connsiteX4" fmla="*/ 172635 w 519024"/>
                    <a:gd name="connsiteY4" fmla="*/ 154631 h 500804"/>
                    <a:gd name="connsiteX5" fmla="*/ 198035 w 519024"/>
                    <a:gd name="connsiteY5" fmla="*/ 151456 h 500804"/>
                    <a:gd name="connsiteX6" fmla="*/ 201210 w 519024"/>
                    <a:gd name="connsiteY6" fmla="*/ 18106 h 500804"/>
                    <a:gd name="connsiteX7" fmla="*/ 312335 w 519024"/>
                    <a:gd name="connsiteY7" fmla="*/ 14931 h 500804"/>
                    <a:gd name="connsiteX8" fmla="*/ 312335 w 519024"/>
                    <a:gd name="connsiteY8" fmla="*/ 145106 h 500804"/>
                    <a:gd name="connsiteX9" fmla="*/ 353610 w 519024"/>
                    <a:gd name="connsiteY9" fmla="*/ 151456 h 500804"/>
                    <a:gd name="connsiteX10" fmla="*/ 445685 w 519024"/>
                    <a:gd name="connsiteY10" fmla="*/ 164156 h 500804"/>
                    <a:gd name="connsiteX11" fmla="*/ 486960 w 519024"/>
                    <a:gd name="connsiteY11" fmla="*/ 189556 h 500804"/>
                    <a:gd name="connsiteX12" fmla="*/ 509185 w 519024"/>
                    <a:gd name="connsiteY12" fmla="*/ 234006 h 500804"/>
                    <a:gd name="connsiteX13" fmla="*/ 506010 w 519024"/>
                    <a:gd name="connsiteY13" fmla="*/ 488006 h 500804"/>
                    <a:gd name="connsiteX14" fmla="*/ 4360 w 519024"/>
                    <a:gd name="connsiteY14" fmla="*/ 449906 h 500804"/>
                    <a:gd name="connsiteX0" fmla="*/ 4360 w 519024"/>
                    <a:gd name="connsiteY0" fmla="*/ 449906 h 488006"/>
                    <a:gd name="connsiteX1" fmla="*/ 7535 w 519024"/>
                    <a:gd name="connsiteY1" fmla="*/ 214956 h 488006"/>
                    <a:gd name="connsiteX2" fmla="*/ 23410 w 519024"/>
                    <a:gd name="connsiteY2" fmla="*/ 176856 h 488006"/>
                    <a:gd name="connsiteX3" fmla="*/ 71035 w 519024"/>
                    <a:gd name="connsiteY3" fmla="*/ 160981 h 488006"/>
                    <a:gd name="connsiteX4" fmla="*/ 172635 w 519024"/>
                    <a:gd name="connsiteY4" fmla="*/ 154631 h 488006"/>
                    <a:gd name="connsiteX5" fmla="*/ 198035 w 519024"/>
                    <a:gd name="connsiteY5" fmla="*/ 151456 h 488006"/>
                    <a:gd name="connsiteX6" fmla="*/ 201210 w 519024"/>
                    <a:gd name="connsiteY6" fmla="*/ 18106 h 488006"/>
                    <a:gd name="connsiteX7" fmla="*/ 312335 w 519024"/>
                    <a:gd name="connsiteY7" fmla="*/ 14931 h 488006"/>
                    <a:gd name="connsiteX8" fmla="*/ 312335 w 519024"/>
                    <a:gd name="connsiteY8" fmla="*/ 145106 h 488006"/>
                    <a:gd name="connsiteX9" fmla="*/ 353610 w 519024"/>
                    <a:gd name="connsiteY9" fmla="*/ 151456 h 488006"/>
                    <a:gd name="connsiteX10" fmla="*/ 445685 w 519024"/>
                    <a:gd name="connsiteY10" fmla="*/ 164156 h 488006"/>
                    <a:gd name="connsiteX11" fmla="*/ 486960 w 519024"/>
                    <a:gd name="connsiteY11" fmla="*/ 189556 h 488006"/>
                    <a:gd name="connsiteX12" fmla="*/ 509185 w 519024"/>
                    <a:gd name="connsiteY12" fmla="*/ 234006 h 488006"/>
                    <a:gd name="connsiteX13" fmla="*/ 506010 w 519024"/>
                    <a:gd name="connsiteY13" fmla="*/ 488006 h 488006"/>
                    <a:gd name="connsiteX14" fmla="*/ 4360 w 519024"/>
                    <a:gd name="connsiteY14" fmla="*/ 449906 h 488006"/>
                    <a:gd name="connsiteX0" fmla="*/ 4360 w 523534"/>
                    <a:gd name="connsiteY0" fmla="*/ 449906 h 472131"/>
                    <a:gd name="connsiteX1" fmla="*/ 7535 w 523534"/>
                    <a:gd name="connsiteY1" fmla="*/ 214956 h 472131"/>
                    <a:gd name="connsiteX2" fmla="*/ 23410 w 523534"/>
                    <a:gd name="connsiteY2" fmla="*/ 176856 h 472131"/>
                    <a:gd name="connsiteX3" fmla="*/ 71035 w 523534"/>
                    <a:gd name="connsiteY3" fmla="*/ 160981 h 472131"/>
                    <a:gd name="connsiteX4" fmla="*/ 172635 w 523534"/>
                    <a:gd name="connsiteY4" fmla="*/ 154631 h 472131"/>
                    <a:gd name="connsiteX5" fmla="*/ 198035 w 523534"/>
                    <a:gd name="connsiteY5" fmla="*/ 151456 h 472131"/>
                    <a:gd name="connsiteX6" fmla="*/ 201210 w 523534"/>
                    <a:gd name="connsiteY6" fmla="*/ 18106 h 472131"/>
                    <a:gd name="connsiteX7" fmla="*/ 312335 w 523534"/>
                    <a:gd name="connsiteY7" fmla="*/ 14931 h 472131"/>
                    <a:gd name="connsiteX8" fmla="*/ 312335 w 523534"/>
                    <a:gd name="connsiteY8" fmla="*/ 145106 h 472131"/>
                    <a:gd name="connsiteX9" fmla="*/ 353610 w 523534"/>
                    <a:gd name="connsiteY9" fmla="*/ 151456 h 472131"/>
                    <a:gd name="connsiteX10" fmla="*/ 445685 w 523534"/>
                    <a:gd name="connsiteY10" fmla="*/ 164156 h 472131"/>
                    <a:gd name="connsiteX11" fmla="*/ 486960 w 523534"/>
                    <a:gd name="connsiteY11" fmla="*/ 189556 h 472131"/>
                    <a:gd name="connsiteX12" fmla="*/ 509185 w 523534"/>
                    <a:gd name="connsiteY12" fmla="*/ 234006 h 472131"/>
                    <a:gd name="connsiteX13" fmla="*/ 512360 w 523534"/>
                    <a:gd name="connsiteY13" fmla="*/ 472131 h 472131"/>
                    <a:gd name="connsiteX14" fmla="*/ 4360 w 523534"/>
                    <a:gd name="connsiteY14" fmla="*/ 449906 h 472131"/>
                    <a:gd name="connsiteX0" fmla="*/ 4360 w 513675"/>
                    <a:gd name="connsiteY0" fmla="*/ 449906 h 472131"/>
                    <a:gd name="connsiteX1" fmla="*/ 7535 w 513675"/>
                    <a:gd name="connsiteY1" fmla="*/ 214956 h 472131"/>
                    <a:gd name="connsiteX2" fmla="*/ 23410 w 513675"/>
                    <a:gd name="connsiteY2" fmla="*/ 176856 h 472131"/>
                    <a:gd name="connsiteX3" fmla="*/ 71035 w 513675"/>
                    <a:gd name="connsiteY3" fmla="*/ 160981 h 472131"/>
                    <a:gd name="connsiteX4" fmla="*/ 172635 w 513675"/>
                    <a:gd name="connsiteY4" fmla="*/ 154631 h 472131"/>
                    <a:gd name="connsiteX5" fmla="*/ 198035 w 513675"/>
                    <a:gd name="connsiteY5" fmla="*/ 151456 h 472131"/>
                    <a:gd name="connsiteX6" fmla="*/ 201210 w 513675"/>
                    <a:gd name="connsiteY6" fmla="*/ 18106 h 472131"/>
                    <a:gd name="connsiteX7" fmla="*/ 312335 w 513675"/>
                    <a:gd name="connsiteY7" fmla="*/ 14931 h 472131"/>
                    <a:gd name="connsiteX8" fmla="*/ 312335 w 513675"/>
                    <a:gd name="connsiteY8" fmla="*/ 145106 h 472131"/>
                    <a:gd name="connsiteX9" fmla="*/ 353610 w 513675"/>
                    <a:gd name="connsiteY9" fmla="*/ 151456 h 472131"/>
                    <a:gd name="connsiteX10" fmla="*/ 445685 w 513675"/>
                    <a:gd name="connsiteY10" fmla="*/ 164156 h 472131"/>
                    <a:gd name="connsiteX11" fmla="*/ 486960 w 513675"/>
                    <a:gd name="connsiteY11" fmla="*/ 189556 h 472131"/>
                    <a:gd name="connsiteX12" fmla="*/ 509185 w 513675"/>
                    <a:gd name="connsiteY12" fmla="*/ 234006 h 472131"/>
                    <a:gd name="connsiteX13" fmla="*/ 512360 w 513675"/>
                    <a:gd name="connsiteY13" fmla="*/ 472131 h 472131"/>
                    <a:gd name="connsiteX14" fmla="*/ 4360 w 513675"/>
                    <a:gd name="connsiteY14" fmla="*/ 449906 h 472131"/>
                    <a:gd name="connsiteX0" fmla="*/ 4360 w 513675"/>
                    <a:gd name="connsiteY0" fmla="*/ 446969 h 469194"/>
                    <a:gd name="connsiteX1" fmla="*/ 7535 w 513675"/>
                    <a:gd name="connsiteY1" fmla="*/ 212019 h 469194"/>
                    <a:gd name="connsiteX2" fmla="*/ 23410 w 513675"/>
                    <a:gd name="connsiteY2" fmla="*/ 173919 h 469194"/>
                    <a:gd name="connsiteX3" fmla="*/ 71035 w 513675"/>
                    <a:gd name="connsiteY3" fmla="*/ 158044 h 469194"/>
                    <a:gd name="connsiteX4" fmla="*/ 172635 w 513675"/>
                    <a:gd name="connsiteY4" fmla="*/ 151694 h 469194"/>
                    <a:gd name="connsiteX5" fmla="*/ 188510 w 513675"/>
                    <a:gd name="connsiteY5" fmla="*/ 94544 h 469194"/>
                    <a:gd name="connsiteX6" fmla="*/ 201210 w 513675"/>
                    <a:gd name="connsiteY6" fmla="*/ 15169 h 469194"/>
                    <a:gd name="connsiteX7" fmla="*/ 312335 w 513675"/>
                    <a:gd name="connsiteY7" fmla="*/ 11994 h 469194"/>
                    <a:gd name="connsiteX8" fmla="*/ 312335 w 513675"/>
                    <a:gd name="connsiteY8" fmla="*/ 142169 h 469194"/>
                    <a:gd name="connsiteX9" fmla="*/ 353610 w 513675"/>
                    <a:gd name="connsiteY9" fmla="*/ 148519 h 469194"/>
                    <a:gd name="connsiteX10" fmla="*/ 445685 w 513675"/>
                    <a:gd name="connsiteY10" fmla="*/ 161219 h 469194"/>
                    <a:gd name="connsiteX11" fmla="*/ 486960 w 513675"/>
                    <a:gd name="connsiteY11" fmla="*/ 186619 h 469194"/>
                    <a:gd name="connsiteX12" fmla="*/ 509185 w 513675"/>
                    <a:gd name="connsiteY12" fmla="*/ 231069 h 469194"/>
                    <a:gd name="connsiteX13" fmla="*/ 512360 w 513675"/>
                    <a:gd name="connsiteY13" fmla="*/ 469194 h 469194"/>
                    <a:gd name="connsiteX14" fmla="*/ 4360 w 513675"/>
                    <a:gd name="connsiteY14" fmla="*/ 446969 h 469194"/>
                    <a:gd name="connsiteX0" fmla="*/ 4360 w 513675"/>
                    <a:gd name="connsiteY0" fmla="*/ 443409 h 465634"/>
                    <a:gd name="connsiteX1" fmla="*/ 7535 w 513675"/>
                    <a:gd name="connsiteY1" fmla="*/ 208459 h 465634"/>
                    <a:gd name="connsiteX2" fmla="*/ 23410 w 513675"/>
                    <a:gd name="connsiteY2" fmla="*/ 170359 h 465634"/>
                    <a:gd name="connsiteX3" fmla="*/ 71035 w 513675"/>
                    <a:gd name="connsiteY3" fmla="*/ 154484 h 465634"/>
                    <a:gd name="connsiteX4" fmla="*/ 172635 w 513675"/>
                    <a:gd name="connsiteY4" fmla="*/ 148134 h 465634"/>
                    <a:gd name="connsiteX5" fmla="*/ 188510 w 513675"/>
                    <a:gd name="connsiteY5" fmla="*/ 90984 h 465634"/>
                    <a:gd name="connsiteX6" fmla="*/ 201210 w 513675"/>
                    <a:gd name="connsiteY6" fmla="*/ 11609 h 465634"/>
                    <a:gd name="connsiteX7" fmla="*/ 312335 w 513675"/>
                    <a:gd name="connsiteY7" fmla="*/ 8434 h 465634"/>
                    <a:gd name="connsiteX8" fmla="*/ 312335 w 513675"/>
                    <a:gd name="connsiteY8" fmla="*/ 87809 h 465634"/>
                    <a:gd name="connsiteX9" fmla="*/ 353610 w 513675"/>
                    <a:gd name="connsiteY9" fmla="*/ 144959 h 465634"/>
                    <a:gd name="connsiteX10" fmla="*/ 445685 w 513675"/>
                    <a:gd name="connsiteY10" fmla="*/ 157659 h 465634"/>
                    <a:gd name="connsiteX11" fmla="*/ 486960 w 513675"/>
                    <a:gd name="connsiteY11" fmla="*/ 183059 h 465634"/>
                    <a:gd name="connsiteX12" fmla="*/ 509185 w 513675"/>
                    <a:gd name="connsiteY12" fmla="*/ 227509 h 465634"/>
                    <a:gd name="connsiteX13" fmla="*/ 512360 w 513675"/>
                    <a:gd name="connsiteY13" fmla="*/ 465634 h 465634"/>
                    <a:gd name="connsiteX14" fmla="*/ 4360 w 513675"/>
                    <a:gd name="connsiteY14" fmla="*/ 443409 h 465634"/>
                    <a:gd name="connsiteX0" fmla="*/ 4360 w 513675"/>
                    <a:gd name="connsiteY0" fmla="*/ 443409 h 465634"/>
                    <a:gd name="connsiteX1" fmla="*/ 7535 w 513675"/>
                    <a:gd name="connsiteY1" fmla="*/ 208459 h 465634"/>
                    <a:gd name="connsiteX2" fmla="*/ 23410 w 513675"/>
                    <a:gd name="connsiteY2" fmla="*/ 170359 h 465634"/>
                    <a:gd name="connsiteX3" fmla="*/ 71035 w 513675"/>
                    <a:gd name="connsiteY3" fmla="*/ 154484 h 465634"/>
                    <a:gd name="connsiteX4" fmla="*/ 172635 w 513675"/>
                    <a:gd name="connsiteY4" fmla="*/ 148134 h 465634"/>
                    <a:gd name="connsiteX5" fmla="*/ 188510 w 513675"/>
                    <a:gd name="connsiteY5" fmla="*/ 90984 h 465634"/>
                    <a:gd name="connsiteX6" fmla="*/ 201210 w 513675"/>
                    <a:gd name="connsiteY6" fmla="*/ 11609 h 465634"/>
                    <a:gd name="connsiteX7" fmla="*/ 312335 w 513675"/>
                    <a:gd name="connsiteY7" fmla="*/ 8434 h 465634"/>
                    <a:gd name="connsiteX8" fmla="*/ 312335 w 513675"/>
                    <a:gd name="connsiteY8" fmla="*/ 87809 h 465634"/>
                    <a:gd name="connsiteX9" fmla="*/ 334560 w 513675"/>
                    <a:gd name="connsiteY9" fmla="*/ 135434 h 465634"/>
                    <a:gd name="connsiteX10" fmla="*/ 445685 w 513675"/>
                    <a:gd name="connsiteY10" fmla="*/ 157659 h 465634"/>
                    <a:gd name="connsiteX11" fmla="*/ 486960 w 513675"/>
                    <a:gd name="connsiteY11" fmla="*/ 183059 h 465634"/>
                    <a:gd name="connsiteX12" fmla="*/ 509185 w 513675"/>
                    <a:gd name="connsiteY12" fmla="*/ 227509 h 465634"/>
                    <a:gd name="connsiteX13" fmla="*/ 512360 w 513675"/>
                    <a:gd name="connsiteY13" fmla="*/ 465634 h 465634"/>
                    <a:gd name="connsiteX14" fmla="*/ 4360 w 513675"/>
                    <a:gd name="connsiteY14" fmla="*/ 443409 h 465634"/>
                    <a:gd name="connsiteX0" fmla="*/ 4360 w 510500"/>
                    <a:gd name="connsiteY0" fmla="*/ 443409 h 449759"/>
                    <a:gd name="connsiteX1" fmla="*/ 7535 w 510500"/>
                    <a:gd name="connsiteY1" fmla="*/ 208459 h 449759"/>
                    <a:gd name="connsiteX2" fmla="*/ 23410 w 510500"/>
                    <a:gd name="connsiteY2" fmla="*/ 170359 h 449759"/>
                    <a:gd name="connsiteX3" fmla="*/ 71035 w 510500"/>
                    <a:gd name="connsiteY3" fmla="*/ 154484 h 449759"/>
                    <a:gd name="connsiteX4" fmla="*/ 172635 w 510500"/>
                    <a:gd name="connsiteY4" fmla="*/ 148134 h 449759"/>
                    <a:gd name="connsiteX5" fmla="*/ 188510 w 510500"/>
                    <a:gd name="connsiteY5" fmla="*/ 90984 h 449759"/>
                    <a:gd name="connsiteX6" fmla="*/ 201210 w 510500"/>
                    <a:gd name="connsiteY6" fmla="*/ 11609 h 449759"/>
                    <a:gd name="connsiteX7" fmla="*/ 312335 w 510500"/>
                    <a:gd name="connsiteY7" fmla="*/ 8434 h 449759"/>
                    <a:gd name="connsiteX8" fmla="*/ 312335 w 510500"/>
                    <a:gd name="connsiteY8" fmla="*/ 87809 h 449759"/>
                    <a:gd name="connsiteX9" fmla="*/ 334560 w 510500"/>
                    <a:gd name="connsiteY9" fmla="*/ 135434 h 449759"/>
                    <a:gd name="connsiteX10" fmla="*/ 445685 w 510500"/>
                    <a:gd name="connsiteY10" fmla="*/ 157659 h 449759"/>
                    <a:gd name="connsiteX11" fmla="*/ 486960 w 510500"/>
                    <a:gd name="connsiteY11" fmla="*/ 183059 h 449759"/>
                    <a:gd name="connsiteX12" fmla="*/ 509185 w 510500"/>
                    <a:gd name="connsiteY12" fmla="*/ 227509 h 449759"/>
                    <a:gd name="connsiteX13" fmla="*/ 506010 w 510500"/>
                    <a:gd name="connsiteY13" fmla="*/ 449759 h 449759"/>
                    <a:gd name="connsiteX14" fmla="*/ 4360 w 510500"/>
                    <a:gd name="connsiteY14" fmla="*/ 443409 h 449759"/>
                    <a:gd name="connsiteX0" fmla="*/ 4360 w 510500"/>
                    <a:gd name="connsiteY0" fmla="*/ 443409 h 454926"/>
                    <a:gd name="connsiteX1" fmla="*/ 7535 w 510500"/>
                    <a:gd name="connsiteY1" fmla="*/ 208459 h 454926"/>
                    <a:gd name="connsiteX2" fmla="*/ 23410 w 510500"/>
                    <a:gd name="connsiteY2" fmla="*/ 170359 h 454926"/>
                    <a:gd name="connsiteX3" fmla="*/ 71035 w 510500"/>
                    <a:gd name="connsiteY3" fmla="*/ 154484 h 454926"/>
                    <a:gd name="connsiteX4" fmla="*/ 172635 w 510500"/>
                    <a:gd name="connsiteY4" fmla="*/ 148134 h 454926"/>
                    <a:gd name="connsiteX5" fmla="*/ 188510 w 510500"/>
                    <a:gd name="connsiteY5" fmla="*/ 90984 h 454926"/>
                    <a:gd name="connsiteX6" fmla="*/ 201210 w 510500"/>
                    <a:gd name="connsiteY6" fmla="*/ 11609 h 454926"/>
                    <a:gd name="connsiteX7" fmla="*/ 312335 w 510500"/>
                    <a:gd name="connsiteY7" fmla="*/ 8434 h 454926"/>
                    <a:gd name="connsiteX8" fmla="*/ 312335 w 510500"/>
                    <a:gd name="connsiteY8" fmla="*/ 87809 h 454926"/>
                    <a:gd name="connsiteX9" fmla="*/ 334560 w 510500"/>
                    <a:gd name="connsiteY9" fmla="*/ 135434 h 454926"/>
                    <a:gd name="connsiteX10" fmla="*/ 445685 w 510500"/>
                    <a:gd name="connsiteY10" fmla="*/ 157659 h 454926"/>
                    <a:gd name="connsiteX11" fmla="*/ 486960 w 510500"/>
                    <a:gd name="connsiteY11" fmla="*/ 183059 h 454926"/>
                    <a:gd name="connsiteX12" fmla="*/ 509185 w 510500"/>
                    <a:gd name="connsiteY12" fmla="*/ 227509 h 454926"/>
                    <a:gd name="connsiteX13" fmla="*/ 506010 w 510500"/>
                    <a:gd name="connsiteY13" fmla="*/ 449759 h 454926"/>
                    <a:gd name="connsiteX14" fmla="*/ 4360 w 510500"/>
                    <a:gd name="connsiteY14" fmla="*/ 443409 h 454926"/>
                    <a:gd name="connsiteX0" fmla="*/ 6473 w 512613"/>
                    <a:gd name="connsiteY0" fmla="*/ 443409 h 454926"/>
                    <a:gd name="connsiteX1" fmla="*/ 9648 w 512613"/>
                    <a:gd name="connsiteY1" fmla="*/ 208459 h 454926"/>
                    <a:gd name="connsiteX2" fmla="*/ 73148 w 512613"/>
                    <a:gd name="connsiteY2" fmla="*/ 154484 h 454926"/>
                    <a:gd name="connsiteX3" fmla="*/ 174748 w 512613"/>
                    <a:gd name="connsiteY3" fmla="*/ 148134 h 454926"/>
                    <a:gd name="connsiteX4" fmla="*/ 190623 w 512613"/>
                    <a:gd name="connsiteY4" fmla="*/ 90984 h 454926"/>
                    <a:gd name="connsiteX5" fmla="*/ 203323 w 512613"/>
                    <a:gd name="connsiteY5" fmla="*/ 11609 h 454926"/>
                    <a:gd name="connsiteX6" fmla="*/ 314448 w 512613"/>
                    <a:gd name="connsiteY6" fmla="*/ 8434 h 454926"/>
                    <a:gd name="connsiteX7" fmla="*/ 314448 w 512613"/>
                    <a:gd name="connsiteY7" fmla="*/ 87809 h 454926"/>
                    <a:gd name="connsiteX8" fmla="*/ 336673 w 512613"/>
                    <a:gd name="connsiteY8" fmla="*/ 135434 h 454926"/>
                    <a:gd name="connsiteX9" fmla="*/ 447798 w 512613"/>
                    <a:gd name="connsiteY9" fmla="*/ 157659 h 454926"/>
                    <a:gd name="connsiteX10" fmla="*/ 489073 w 512613"/>
                    <a:gd name="connsiteY10" fmla="*/ 183059 h 454926"/>
                    <a:gd name="connsiteX11" fmla="*/ 511298 w 512613"/>
                    <a:gd name="connsiteY11" fmla="*/ 227509 h 454926"/>
                    <a:gd name="connsiteX12" fmla="*/ 508123 w 512613"/>
                    <a:gd name="connsiteY12" fmla="*/ 449759 h 454926"/>
                    <a:gd name="connsiteX13" fmla="*/ 6473 w 512613"/>
                    <a:gd name="connsiteY13" fmla="*/ 443409 h 454926"/>
                    <a:gd name="connsiteX0" fmla="*/ 4049 w 510189"/>
                    <a:gd name="connsiteY0" fmla="*/ 443409 h 454926"/>
                    <a:gd name="connsiteX1" fmla="*/ 7224 w 510189"/>
                    <a:gd name="connsiteY1" fmla="*/ 208459 h 454926"/>
                    <a:gd name="connsiteX2" fmla="*/ 70724 w 510189"/>
                    <a:gd name="connsiteY2" fmla="*/ 154484 h 454926"/>
                    <a:gd name="connsiteX3" fmla="*/ 172324 w 510189"/>
                    <a:gd name="connsiteY3" fmla="*/ 148134 h 454926"/>
                    <a:gd name="connsiteX4" fmla="*/ 188199 w 510189"/>
                    <a:gd name="connsiteY4" fmla="*/ 90984 h 454926"/>
                    <a:gd name="connsiteX5" fmla="*/ 200899 w 510189"/>
                    <a:gd name="connsiteY5" fmla="*/ 11609 h 454926"/>
                    <a:gd name="connsiteX6" fmla="*/ 312024 w 510189"/>
                    <a:gd name="connsiteY6" fmla="*/ 8434 h 454926"/>
                    <a:gd name="connsiteX7" fmla="*/ 312024 w 510189"/>
                    <a:gd name="connsiteY7" fmla="*/ 87809 h 454926"/>
                    <a:gd name="connsiteX8" fmla="*/ 334249 w 510189"/>
                    <a:gd name="connsiteY8" fmla="*/ 135434 h 454926"/>
                    <a:gd name="connsiteX9" fmla="*/ 445374 w 510189"/>
                    <a:gd name="connsiteY9" fmla="*/ 157659 h 454926"/>
                    <a:gd name="connsiteX10" fmla="*/ 486649 w 510189"/>
                    <a:gd name="connsiteY10" fmla="*/ 183059 h 454926"/>
                    <a:gd name="connsiteX11" fmla="*/ 508874 w 510189"/>
                    <a:gd name="connsiteY11" fmla="*/ 227509 h 454926"/>
                    <a:gd name="connsiteX12" fmla="*/ 505699 w 510189"/>
                    <a:gd name="connsiteY12" fmla="*/ 449759 h 454926"/>
                    <a:gd name="connsiteX13" fmla="*/ 4049 w 510189"/>
                    <a:gd name="connsiteY13" fmla="*/ 443409 h 454926"/>
                    <a:gd name="connsiteX0" fmla="*/ 4049 w 510189"/>
                    <a:gd name="connsiteY0" fmla="*/ 443409 h 454926"/>
                    <a:gd name="connsiteX1" fmla="*/ 7224 w 510189"/>
                    <a:gd name="connsiteY1" fmla="*/ 208459 h 454926"/>
                    <a:gd name="connsiteX2" fmla="*/ 70724 w 510189"/>
                    <a:gd name="connsiteY2" fmla="*/ 154484 h 454926"/>
                    <a:gd name="connsiteX3" fmla="*/ 172324 w 510189"/>
                    <a:gd name="connsiteY3" fmla="*/ 148134 h 454926"/>
                    <a:gd name="connsiteX4" fmla="*/ 188199 w 510189"/>
                    <a:gd name="connsiteY4" fmla="*/ 90984 h 454926"/>
                    <a:gd name="connsiteX5" fmla="*/ 200899 w 510189"/>
                    <a:gd name="connsiteY5" fmla="*/ 11609 h 454926"/>
                    <a:gd name="connsiteX6" fmla="*/ 312024 w 510189"/>
                    <a:gd name="connsiteY6" fmla="*/ 8434 h 454926"/>
                    <a:gd name="connsiteX7" fmla="*/ 312024 w 510189"/>
                    <a:gd name="connsiteY7" fmla="*/ 87809 h 454926"/>
                    <a:gd name="connsiteX8" fmla="*/ 334249 w 510189"/>
                    <a:gd name="connsiteY8" fmla="*/ 135434 h 454926"/>
                    <a:gd name="connsiteX9" fmla="*/ 445374 w 510189"/>
                    <a:gd name="connsiteY9" fmla="*/ 157659 h 454926"/>
                    <a:gd name="connsiteX10" fmla="*/ 508874 w 510189"/>
                    <a:gd name="connsiteY10" fmla="*/ 227509 h 454926"/>
                    <a:gd name="connsiteX11" fmla="*/ 505699 w 510189"/>
                    <a:gd name="connsiteY11" fmla="*/ 449759 h 454926"/>
                    <a:gd name="connsiteX12" fmla="*/ 4049 w 510189"/>
                    <a:gd name="connsiteY12" fmla="*/ 443409 h 454926"/>
                    <a:gd name="connsiteX0" fmla="*/ 4049 w 510189"/>
                    <a:gd name="connsiteY0" fmla="*/ 443409 h 454926"/>
                    <a:gd name="connsiteX1" fmla="*/ 7224 w 510189"/>
                    <a:gd name="connsiteY1" fmla="*/ 208459 h 454926"/>
                    <a:gd name="connsiteX2" fmla="*/ 70724 w 510189"/>
                    <a:gd name="connsiteY2" fmla="*/ 154484 h 454926"/>
                    <a:gd name="connsiteX3" fmla="*/ 172324 w 510189"/>
                    <a:gd name="connsiteY3" fmla="*/ 148134 h 454926"/>
                    <a:gd name="connsiteX4" fmla="*/ 188199 w 510189"/>
                    <a:gd name="connsiteY4" fmla="*/ 90984 h 454926"/>
                    <a:gd name="connsiteX5" fmla="*/ 200899 w 510189"/>
                    <a:gd name="connsiteY5" fmla="*/ 11609 h 454926"/>
                    <a:gd name="connsiteX6" fmla="*/ 312024 w 510189"/>
                    <a:gd name="connsiteY6" fmla="*/ 8434 h 454926"/>
                    <a:gd name="connsiteX7" fmla="*/ 312024 w 510189"/>
                    <a:gd name="connsiteY7" fmla="*/ 87809 h 454926"/>
                    <a:gd name="connsiteX8" fmla="*/ 334249 w 510189"/>
                    <a:gd name="connsiteY8" fmla="*/ 135434 h 454926"/>
                    <a:gd name="connsiteX9" fmla="*/ 445374 w 510189"/>
                    <a:gd name="connsiteY9" fmla="*/ 157659 h 454926"/>
                    <a:gd name="connsiteX10" fmla="*/ 508874 w 510189"/>
                    <a:gd name="connsiteY10" fmla="*/ 227509 h 454926"/>
                    <a:gd name="connsiteX11" fmla="*/ 505699 w 510189"/>
                    <a:gd name="connsiteY11" fmla="*/ 449759 h 454926"/>
                    <a:gd name="connsiteX12" fmla="*/ 4049 w 510189"/>
                    <a:gd name="connsiteY12" fmla="*/ 443409 h 454926"/>
                    <a:gd name="connsiteX0" fmla="*/ 5987 w 512127"/>
                    <a:gd name="connsiteY0" fmla="*/ 443409 h 454926"/>
                    <a:gd name="connsiteX1" fmla="*/ 2812 w 512127"/>
                    <a:gd name="connsiteY1" fmla="*/ 217984 h 454926"/>
                    <a:gd name="connsiteX2" fmla="*/ 72662 w 512127"/>
                    <a:gd name="connsiteY2" fmla="*/ 154484 h 454926"/>
                    <a:gd name="connsiteX3" fmla="*/ 174262 w 512127"/>
                    <a:gd name="connsiteY3" fmla="*/ 148134 h 454926"/>
                    <a:gd name="connsiteX4" fmla="*/ 190137 w 512127"/>
                    <a:gd name="connsiteY4" fmla="*/ 90984 h 454926"/>
                    <a:gd name="connsiteX5" fmla="*/ 202837 w 512127"/>
                    <a:gd name="connsiteY5" fmla="*/ 11609 h 454926"/>
                    <a:gd name="connsiteX6" fmla="*/ 313962 w 512127"/>
                    <a:gd name="connsiteY6" fmla="*/ 8434 h 454926"/>
                    <a:gd name="connsiteX7" fmla="*/ 313962 w 512127"/>
                    <a:gd name="connsiteY7" fmla="*/ 87809 h 454926"/>
                    <a:gd name="connsiteX8" fmla="*/ 336187 w 512127"/>
                    <a:gd name="connsiteY8" fmla="*/ 135434 h 454926"/>
                    <a:gd name="connsiteX9" fmla="*/ 447312 w 512127"/>
                    <a:gd name="connsiteY9" fmla="*/ 157659 h 454926"/>
                    <a:gd name="connsiteX10" fmla="*/ 510812 w 512127"/>
                    <a:gd name="connsiteY10" fmla="*/ 227509 h 454926"/>
                    <a:gd name="connsiteX11" fmla="*/ 507637 w 512127"/>
                    <a:gd name="connsiteY11" fmla="*/ 449759 h 454926"/>
                    <a:gd name="connsiteX12" fmla="*/ 5987 w 512127"/>
                    <a:gd name="connsiteY12" fmla="*/ 443409 h 454926"/>
                    <a:gd name="connsiteX0" fmla="*/ 9762 w 515902"/>
                    <a:gd name="connsiteY0" fmla="*/ 443409 h 454926"/>
                    <a:gd name="connsiteX1" fmla="*/ 6587 w 515902"/>
                    <a:gd name="connsiteY1" fmla="*/ 217984 h 454926"/>
                    <a:gd name="connsiteX2" fmla="*/ 76437 w 515902"/>
                    <a:gd name="connsiteY2" fmla="*/ 154484 h 454926"/>
                    <a:gd name="connsiteX3" fmla="*/ 178037 w 515902"/>
                    <a:gd name="connsiteY3" fmla="*/ 148134 h 454926"/>
                    <a:gd name="connsiteX4" fmla="*/ 193912 w 515902"/>
                    <a:gd name="connsiteY4" fmla="*/ 90984 h 454926"/>
                    <a:gd name="connsiteX5" fmla="*/ 206612 w 515902"/>
                    <a:gd name="connsiteY5" fmla="*/ 11609 h 454926"/>
                    <a:gd name="connsiteX6" fmla="*/ 317737 w 515902"/>
                    <a:gd name="connsiteY6" fmla="*/ 8434 h 454926"/>
                    <a:gd name="connsiteX7" fmla="*/ 317737 w 515902"/>
                    <a:gd name="connsiteY7" fmla="*/ 87809 h 454926"/>
                    <a:gd name="connsiteX8" fmla="*/ 339962 w 515902"/>
                    <a:gd name="connsiteY8" fmla="*/ 135434 h 454926"/>
                    <a:gd name="connsiteX9" fmla="*/ 451087 w 515902"/>
                    <a:gd name="connsiteY9" fmla="*/ 157659 h 454926"/>
                    <a:gd name="connsiteX10" fmla="*/ 514587 w 515902"/>
                    <a:gd name="connsiteY10" fmla="*/ 227509 h 454926"/>
                    <a:gd name="connsiteX11" fmla="*/ 511412 w 515902"/>
                    <a:gd name="connsiteY11" fmla="*/ 449759 h 454926"/>
                    <a:gd name="connsiteX12" fmla="*/ 9762 w 515902"/>
                    <a:gd name="connsiteY12" fmla="*/ 443409 h 454926"/>
                    <a:gd name="connsiteX0" fmla="*/ 9762 w 515902"/>
                    <a:gd name="connsiteY0" fmla="*/ 443409 h 454926"/>
                    <a:gd name="connsiteX1" fmla="*/ 6587 w 515902"/>
                    <a:gd name="connsiteY1" fmla="*/ 217984 h 454926"/>
                    <a:gd name="connsiteX2" fmla="*/ 76437 w 515902"/>
                    <a:gd name="connsiteY2" fmla="*/ 154484 h 454926"/>
                    <a:gd name="connsiteX3" fmla="*/ 178037 w 515902"/>
                    <a:gd name="connsiteY3" fmla="*/ 148134 h 454926"/>
                    <a:gd name="connsiteX4" fmla="*/ 193912 w 515902"/>
                    <a:gd name="connsiteY4" fmla="*/ 90984 h 454926"/>
                    <a:gd name="connsiteX5" fmla="*/ 206612 w 515902"/>
                    <a:gd name="connsiteY5" fmla="*/ 11609 h 454926"/>
                    <a:gd name="connsiteX6" fmla="*/ 317737 w 515902"/>
                    <a:gd name="connsiteY6" fmla="*/ 8434 h 454926"/>
                    <a:gd name="connsiteX7" fmla="*/ 317737 w 515902"/>
                    <a:gd name="connsiteY7" fmla="*/ 87809 h 454926"/>
                    <a:gd name="connsiteX8" fmla="*/ 339962 w 515902"/>
                    <a:gd name="connsiteY8" fmla="*/ 135434 h 454926"/>
                    <a:gd name="connsiteX9" fmla="*/ 451087 w 515902"/>
                    <a:gd name="connsiteY9" fmla="*/ 157659 h 454926"/>
                    <a:gd name="connsiteX10" fmla="*/ 514587 w 515902"/>
                    <a:gd name="connsiteY10" fmla="*/ 227509 h 454926"/>
                    <a:gd name="connsiteX11" fmla="*/ 511412 w 515902"/>
                    <a:gd name="connsiteY11" fmla="*/ 449759 h 454926"/>
                    <a:gd name="connsiteX12" fmla="*/ 9762 w 515902"/>
                    <a:gd name="connsiteY12" fmla="*/ 443409 h 454926"/>
                    <a:gd name="connsiteX0" fmla="*/ 9762 w 515902"/>
                    <a:gd name="connsiteY0" fmla="*/ 443409 h 454926"/>
                    <a:gd name="connsiteX1" fmla="*/ 6587 w 515902"/>
                    <a:gd name="connsiteY1" fmla="*/ 217984 h 454926"/>
                    <a:gd name="connsiteX2" fmla="*/ 76437 w 515902"/>
                    <a:gd name="connsiteY2" fmla="*/ 154484 h 454926"/>
                    <a:gd name="connsiteX3" fmla="*/ 193912 w 515902"/>
                    <a:gd name="connsiteY3" fmla="*/ 90984 h 454926"/>
                    <a:gd name="connsiteX4" fmla="*/ 206612 w 515902"/>
                    <a:gd name="connsiteY4" fmla="*/ 11609 h 454926"/>
                    <a:gd name="connsiteX5" fmla="*/ 317737 w 515902"/>
                    <a:gd name="connsiteY5" fmla="*/ 8434 h 454926"/>
                    <a:gd name="connsiteX6" fmla="*/ 317737 w 515902"/>
                    <a:gd name="connsiteY6" fmla="*/ 87809 h 454926"/>
                    <a:gd name="connsiteX7" fmla="*/ 339962 w 515902"/>
                    <a:gd name="connsiteY7" fmla="*/ 135434 h 454926"/>
                    <a:gd name="connsiteX8" fmla="*/ 451087 w 515902"/>
                    <a:gd name="connsiteY8" fmla="*/ 157659 h 454926"/>
                    <a:gd name="connsiteX9" fmla="*/ 514587 w 515902"/>
                    <a:gd name="connsiteY9" fmla="*/ 227509 h 454926"/>
                    <a:gd name="connsiteX10" fmla="*/ 511412 w 515902"/>
                    <a:gd name="connsiteY10" fmla="*/ 449759 h 454926"/>
                    <a:gd name="connsiteX11" fmla="*/ 9762 w 515902"/>
                    <a:gd name="connsiteY11" fmla="*/ 443409 h 454926"/>
                    <a:gd name="connsiteX0" fmla="*/ 9762 w 515902"/>
                    <a:gd name="connsiteY0" fmla="*/ 446099 h 457616"/>
                    <a:gd name="connsiteX1" fmla="*/ 6587 w 515902"/>
                    <a:gd name="connsiteY1" fmla="*/ 220674 h 457616"/>
                    <a:gd name="connsiteX2" fmla="*/ 76437 w 515902"/>
                    <a:gd name="connsiteY2" fmla="*/ 157174 h 457616"/>
                    <a:gd name="connsiteX3" fmla="*/ 190737 w 515902"/>
                    <a:gd name="connsiteY3" fmla="*/ 138124 h 457616"/>
                    <a:gd name="connsiteX4" fmla="*/ 206612 w 515902"/>
                    <a:gd name="connsiteY4" fmla="*/ 14299 h 457616"/>
                    <a:gd name="connsiteX5" fmla="*/ 317737 w 515902"/>
                    <a:gd name="connsiteY5" fmla="*/ 11124 h 457616"/>
                    <a:gd name="connsiteX6" fmla="*/ 317737 w 515902"/>
                    <a:gd name="connsiteY6" fmla="*/ 90499 h 457616"/>
                    <a:gd name="connsiteX7" fmla="*/ 339962 w 515902"/>
                    <a:gd name="connsiteY7" fmla="*/ 138124 h 457616"/>
                    <a:gd name="connsiteX8" fmla="*/ 451087 w 515902"/>
                    <a:gd name="connsiteY8" fmla="*/ 160349 h 457616"/>
                    <a:gd name="connsiteX9" fmla="*/ 514587 w 515902"/>
                    <a:gd name="connsiteY9" fmla="*/ 230199 h 457616"/>
                    <a:gd name="connsiteX10" fmla="*/ 511412 w 515902"/>
                    <a:gd name="connsiteY10" fmla="*/ 452449 h 457616"/>
                    <a:gd name="connsiteX11" fmla="*/ 9762 w 515902"/>
                    <a:gd name="connsiteY11" fmla="*/ 446099 h 457616"/>
                    <a:gd name="connsiteX0" fmla="*/ 9762 w 515902"/>
                    <a:gd name="connsiteY0" fmla="*/ 446099 h 457616"/>
                    <a:gd name="connsiteX1" fmla="*/ 6587 w 515902"/>
                    <a:gd name="connsiteY1" fmla="*/ 220674 h 457616"/>
                    <a:gd name="connsiteX2" fmla="*/ 76437 w 515902"/>
                    <a:gd name="connsiteY2" fmla="*/ 157174 h 457616"/>
                    <a:gd name="connsiteX3" fmla="*/ 190737 w 515902"/>
                    <a:gd name="connsiteY3" fmla="*/ 138124 h 457616"/>
                    <a:gd name="connsiteX4" fmla="*/ 206612 w 515902"/>
                    <a:gd name="connsiteY4" fmla="*/ 14299 h 457616"/>
                    <a:gd name="connsiteX5" fmla="*/ 317737 w 515902"/>
                    <a:gd name="connsiteY5" fmla="*/ 11124 h 457616"/>
                    <a:gd name="connsiteX6" fmla="*/ 317737 w 515902"/>
                    <a:gd name="connsiteY6" fmla="*/ 90499 h 457616"/>
                    <a:gd name="connsiteX7" fmla="*/ 451087 w 515902"/>
                    <a:gd name="connsiteY7" fmla="*/ 160349 h 457616"/>
                    <a:gd name="connsiteX8" fmla="*/ 514587 w 515902"/>
                    <a:gd name="connsiteY8" fmla="*/ 230199 h 457616"/>
                    <a:gd name="connsiteX9" fmla="*/ 511412 w 515902"/>
                    <a:gd name="connsiteY9" fmla="*/ 452449 h 457616"/>
                    <a:gd name="connsiteX10" fmla="*/ 9762 w 515902"/>
                    <a:gd name="connsiteY10" fmla="*/ 446099 h 457616"/>
                    <a:gd name="connsiteX0" fmla="*/ 9762 w 515902"/>
                    <a:gd name="connsiteY0" fmla="*/ 447482 h 458999"/>
                    <a:gd name="connsiteX1" fmla="*/ 6587 w 515902"/>
                    <a:gd name="connsiteY1" fmla="*/ 222057 h 458999"/>
                    <a:gd name="connsiteX2" fmla="*/ 76437 w 515902"/>
                    <a:gd name="connsiteY2" fmla="*/ 158557 h 458999"/>
                    <a:gd name="connsiteX3" fmla="*/ 190737 w 515902"/>
                    <a:gd name="connsiteY3" fmla="*/ 139507 h 458999"/>
                    <a:gd name="connsiteX4" fmla="*/ 206612 w 515902"/>
                    <a:gd name="connsiteY4" fmla="*/ 15682 h 458999"/>
                    <a:gd name="connsiteX5" fmla="*/ 317737 w 515902"/>
                    <a:gd name="connsiteY5" fmla="*/ 12507 h 458999"/>
                    <a:gd name="connsiteX6" fmla="*/ 330437 w 515902"/>
                    <a:gd name="connsiteY6" fmla="*/ 114107 h 458999"/>
                    <a:gd name="connsiteX7" fmla="*/ 451087 w 515902"/>
                    <a:gd name="connsiteY7" fmla="*/ 161732 h 458999"/>
                    <a:gd name="connsiteX8" fmla="*/ 514587 w 515902"/>
                    <a:gd name="connsiteY8" fmla="*/ 231582 h 458999"/>
                    <a:gd name="connsiteX9" fmla="*/ 511412 w 515902"/>
                    <a:gd name="connsiteY9" fmla="*/ 453832 h 458999"/>
                    <a:gd name="connsiteX10" fmla="*/ 9762 w 515902"/>
                    <a:gd name="connsiteY10" fmla="*/ 447482 h 458999"/>
                    <a:gd name="connsiteX0" fmla="*/ 9762 w 515902"/>
                    <a:gd name="connsiteY0" fmla="*/ 446348 h 457865"/>
                    <a:gd name="connsiteX1" fmla="*/ 6587 w 515902"/>
                    <a:gd name="connsiteY1" fmla="*/ 220923 h 457865"/>
                    <a:gd name="connsiteX2" fmla="*/ 76437 w 515902"/>
                    <a:gd name="connsiteY2" fmla="*/ 157423 h 457865"/>
                    <a:gd name="connsiteX3" fmla="*/ 200262 w 515902"/>
                    <a:gd name="connsiteY3" fmla="*/ 119323 h 457865"/>
                    <a:gd name="connsiteX4" fmla="*/ 206612 w 515902"/>
                    <a:gd name="connsiteY4" fmla="*/ 14548 h 457865"/>
                    <a:gd name="connsiteX5" fmla="*/ 317737 w 515902"/>
                    <a:gd name="connsiteY5" fmla="*/ 11373 h 457865"/>
                    <a:gd name="connsiteX6" fmla="*/ 330437 w 515902"/>
                    <a:gd name="connsiteY6" fmla="*/ 112973 h 457865"/>
                    <a:gd name="connsiteX7" fmla="*/ 451087 w 515902"/>
                    <a:gd name="connsiteY7" fmla="*/ 160598 h 457865"/>
                    <a:gd name="connsiteX8" fmla="*/ 514587 w 515902"/>
                    <a:gd name="connsiteY8" fmla="*/ 230448 h 457865"/>
                    <a:gd name="connsiteX9" fmla="*/ 511412 w 515902"/>
                    <a:gd name="connsiteY9" fmla="*/ 452698 h 457865"/>
                    <a:gd name="connsiteX10" fmla="*/ 9762 w 515902"/>
                    <a:gd name="connsiteY10" fmla="*/ 446348 h 457865"/>
                    <a:gd name="connsiteX0" fmla="*/ 9762 w 515902"/>
                    <a:gd name="connsiteY0" fmla="*/ 446681 h 458198"/>
                    <a:gd name="connsiteX1" fmla="*/ 6587 w 515902"/>
                    <a:gd name="connsiteY1" fmla="*/ 221256 h 458198"/>
                    <a:gd name="connsiteX2" fmla="*/ 76437 w 515902"/>
                    <a:gd name="connsiteY2" fmla="*/ 157756 h 458198"/>
                    <a:gd name="connsiteX3" fmla="*/ 200262 w 515902"/>
                    <a:gd name="connsiteY3" fmla="*/ 119656 h 458198"/>
                    <a:gd name="connsiteX4" fmla="*/ 206612 w 515902"/>
                    <a:gd name="connsiteY4" fmla="*/ 14881 h 458198"/>
                    <a:gd name="connsiteX5" fmla="*/ 317737 w 515902"/>
                    <a:gd name="connsiteY5" fmla="*/ 11706 h 458198"/>
                    <a:gd name="connsiteX6" fmla="*/ 311502 w 515902"/>
                    <a:gd name="connsiteY6" fmla="*/ 118302 h 458198"/>
                    <a:gd name="connsiteX7" fmla="*/ 451087 w 515902"/>
                    <a:gd name="connsiteY7" fmla="*/ 160931 h 458198"/>
                    <a:gd name="connsiteX8" fmla="*/ 514587 w 515902"/>
                    <a:gd name="connsiteY8" fmla="*/ 230781 h 458198"/>
                    <a:gd name="connsiteX9" fmla="*/ 511412 w 515902"/>
                    <a:gd name="connsiteY9" fmla="*/ 453031 h 458198"/>
                    <a:gd name="connsiteX10" fmla="*/ 9762 w 515902"/>
                    <a:gd name="connsiteY10" fmla="*/ 446681 h 458198"/>
                    <a:gd name="connsiteX0" fmla="*/ 9762 w 515902"/>
                    <a:gd name="connsiteY0" fmla="*/ 446681 h 458198"/>
                    <a:gd name="connsiteX1" fmla="*/ 6587 w 515902"/>
                    <a:gd name="connsiteY1" fmla="*/ 221256 h 458198"/>
                    <a:gd name="connsiteX2" fmla="*/ 76437 w 515902"/>
                    <a:gd name="connsiteY2" fmla="*/ 157756 h 458198"/>
                    <a:gd name="connsiteX3" fmla="*/ 200262 w 515902"/>
                    <a:gd name="connsiteY3" fmla="*/ 119656 h 458198"/>
                    <a:gd name="connsiteX4" fmla="*/ 206612 w 515902"/>
                    <a:gd name="connsiteY4" fmla="*/ 14881 h 458198"/>
                    <a:gd name="connsiteX5" fmla="*/ 301506 w 515902"/>
                    <a:gd name="connsiteY5" fmla="*/ 11706 h 458198"/>
                    <a:gd name="connsiteX6" fmla="*/ 311502 w 515902"/>
                    <a:gd name="connsiteY6" fmla="*/ 118302 h 458198"/>
                    <a:gd name="connsiteX7" fmla="*/ 451087 w 515902"/>
                    <a:gd name="connsiteY7" fmla="*/ 160931 h 458198"/>
                    <a:gd name="connsiteX8" fmla="*/ 514587 w 515902"/>
                    <a:gd name="connsiteY8" fmla="*/ 230781 h 458198"/>
                    <a:gd name="connsiteX9" fmla="*/ 511412 w 515902"/>
                    <a:gd name="connsiteY9" fmla="*/ 453031 h 458198"/>
                    <a:gd name="connsiteX10" fmla="*/ 9762 w 515902"/>
                    <a:gd name="connsiteY10" fmla="*/ 446681 h 458198"/>
                    <a:gd name="connsiteX0" fmla="*/ 9762 w 515902"/>
                    <a:gd name="connsiteY0" fmla="*/ 446681 h 458198"/>
                    <a:gd name="connsiteX1" fmla="*/ 6587 w 515902"/>
                    <a:gd name="connsiteY1" fmla="*/ 221256 h 458198"/>
                    <a:gd name="connsiteX2" fmla="*/ 76437 w 515902"/>
                    <a:gd name="connsiteY2" fmla="*/ 157756 h 458198"/>
                    <a:gd name="connsiteX3" fmla="*/ 200262 w 515902"/>
                    <a:gd name="connsiteY3" fmla="*/ 119656 h 458198"/>
                    <a:gd name="connsiteX4" fmla="*/ 206612 w 515902"/>
                    <a:gd name="connsiteY4" fmla="*/ 14881 h 458198"/>
                    <a:gd name="connsiteX5" fmla="*/ 301506 w 515902"/>
                    <a:gd name="connsiteY5" fmla="*/ 11706 h 458198"/>
                    <a:gd name="connsiteX6" fmla="*/ 311502 w 515902"/>
                    <a:gd name="connsiteY6" fmla="*/ 118302 h 458198"/>
                    <a:gd name="connsiteX7" fmla="*/ 442972 w 515902"/>
                    <a:gd name="connsiteY7" fmla="*/ 180912 h 458198"/>
                    <a:gd name="connsiteX8" fmla="*/ 514587 w 515902"/>
                    <a:gd name="connsiteY8" fmla="*/ 230781 h 458198"/>
                    <a:gd name="connsiteX9" fmla="*/ 511412 w 515902"/>
                    <a:gd name="connsiteY9" fmla="*/ 453031 h 458198"/>
                    <a:gd name="connsiteX10" fmla="*/ 9762 w 515902"/>
                    <a:gd name="connsiteY10" fmla="*/ 446681 h 458198"/>
                    <a:gd name="connsiteX0" fmla="*/ 9762 w 511905"/>
                    <a:gd name="connsiteY0" fmla="*/ 446681 h 458198"/>
                    <a:gd name="connsiteX1" fmla="*/ 6587 w 511905"/>
                    <a:gd name="connsiteY1" fmla="*/ 221256 h 458198"/>
                    <a:gd name="connsiteX2" fmla="*/ 76437 w 511905"/>
                    <a:gd name="connsiteY2" fmla="*/ 157756 h 458198"/>
                    <a:gd name="connsiteX3" fmla="*/ 200262 w 511905"/>
                    <a:gd name="connsiteY3" fmla="*/ 119656 h 458198"/>
                    <a:gd name="connsiteX4" fmla="*/ 206612 w 511905"/>
                    <a:gd name="connsiteY4" fmla="*/ 14881 h 458198"/>
                    <a:gd name="connsiteX5" fmla="*/ 301506 w 511905"/>
                    <a:gd name="connsiteY5" fmla="*/ 11706 h 458198"/>
                    <a:gd name="connsiteX6" fmla="*/ 311502 w 511905"/>
                    <a:gd name="connsiteY6" fmla="*/ 118302 h 458198"/>
                    <a:gd name="connsiteX7" fmla="*/ 442972 w 511905"/>
                    <a:gd name="connsiteY7" fmla="*/ 180912 h 458198"/>
                    <a:gd name="connsiteX8" fmla="*/ 498357 w 511905"/>
                    <a:gd name="connsiteY8" fmla="*/ 250762 h 458198"/>
                    <a:gd name="connsiteX9" fmla="*/ 511412 w 511905"/>
                    <a:gd name="connsiteY9" fmla="*/ 453031 h 458198"/>
                    <a:gd name="connsiteX10" fmla="*/ 9762 w 511905"/>
                    <a:gd name="connsiteY10" fmla="*/ 446681 h 458198"/>
                    <a:gd name="connsiteX0" fmla="*/ 9762 w 511905"/>
                    <a:gd name="connsiteY0" fmla="*/ 446681 h 458198"/>
                    <a:gd name="connsiteX1" fmla="*/ 6587 w 511905"/>
                    <a:gd name="connsiteY1" fmla="*/ 221256 h 458198"/>
                    <a:gd name="connsiteX2" fmla="*/ 76437 w 511905"/>
                    <a:gd name="connsiteY2" fmla="*/ 157756 h 458198"/>
                    <a:gd name="connsiteX3" fmla="*/ 200262 w 511905"/>
                    <a:gd name="connsiteY3" fmla="*/ 119656 h 458198"/>
                    <a:gd name="connsiteX4" fmla="*/ 206612 w 511905"/>
                    <a:gd name="connsiteY4" fmla="*/ 14881 h 458198"/>
                    <a:gd name="connsiteX5" fmla="*/ 301506 w 511905"/>
                    <a:gd name="connsiteY5" fmla="*/ 11706 h 458198"/>
                    <a:gd name="connsiteX6" fmla="*/ 311502 w 511905"/>
                    <a:gd name="connsiteY6" fmla="*/ 118302 h 458198"/>
                    <a:gd name="connsiteX7" fmla="*/ 437562 w 511905"/>
                    <a:gd name="connsiteY7" fmla="*/ 198396 h 458198"/>
                    <a:gd name="connsiteX8" fmla="*/ 498357 w 511905"/>
                    <a:gd name="connsiteY8" fmla="*/ 250762 h 458198"/>
                    <a:gd name="connsiteX9" fmla="*/ 511412 w 511905"/>
                    <a:gd name="connsiteY9" fmla="*/ 453031 h 458198"/>
                    <a:gd name="connsiteX10" fmla="*/ 9762 w 511905"/>
                    <a:gd name="connsiteY10" fmla="*/ 446681 h 458198"/>
                    <a:gd name="connsiteX0" fmla="*/ 9762 w 511905"/>
                    <a:gd name="connsiteY0" fmla="*/ 446681 h 458198"/>
                    <a:gd name="connsiteX1" fmla="*/ 6587 w 511905"/>
                    <a:gd name="connsiteY1" fmla="*/ 221256 h 458198"/>
                    <a:gd name="connsiteX2" fmla="*/ 76437 w 511905"/>
                    <a:gd name="connsiteY2" fmla="*/ 157756 h 458198"/>
                    <a:gd name="connsiteX3" fmla="*/ 200262 w 511905"/>
                    <a:gd name="connsiteY3" fmla="*/ 119656 h 458198"/>
                    <a:gd name="connsiteX4" fmla="*/ 206612 w 511905"/>
                    <a:gd name="connsiteY4" fmla="*/ 14881 h 458198"/>
                    <a:gd name="connsiteX5" fmla="*/ 301506 w 511905"/>
                    <a:gd name="connsiteY5" fmla="*/ 11706 h 458198"/>
                    <a:gd name="connsiteX6" fmla="*/ 311502 w 511905"/>
                    <a:gd name="connsiteY6" fmla="*/ 118302 h 458198"/>
                    <a:gd name="connsiteX7" fmla="*/ 451087 w 511905"/>
                    <a:gd name="connsiteY7" fmla="*/ 188406 h 458198"/>
                    <a:gd name="connsiteX8" fmla="*/ 498357 w 511905"/>
                    <a:gd name="connsiteY8" fmla="*/ 250762 h 458198"/>
                    <a:gd name="connsiteX9" fmla="*/ 511412 w 511905"/>
                    <a:gd name="connsiteY9" fmla="*/ 453031 h 458198"/>
                    <a:gd name="connsiteX10" fmla="*/ 9762 w 511905"/>
                    <a:gd name="connsiteY10" fmla="*/ 446681 h 458198"/>
                    <a:gd name="connsiteX0" fmla="*/ 9762 w 511905"/>
                    <a:gd name="connsiteY0" fmla="*/ 447695 h 459212"/>
                    <a:gd name="connsiteX1" fmla="*/ 6587 w 511905"/>
                    <a:gd name="connsiteY1" fmla="*/ 222270 h 459212"/>
                    <a:gd name="connsiteX2" fmla="*/ 76437 w 511905"/>
                    <a:gd name="connsiteY2" fmla="*/ 158770 h 459212"/>
                    <a:gd name="connsiteX3" fmla="*/ 200262 w 511905"/>
                    <a:gd name="connsiteY3" fmla="*/ 120670 h 459212"/>
                    <a:gd name="connsiteX4" fmla="*/ 206612 w 511905"/>
                    <a:gd name="connsiteY4" fmla="*/ 15895 h 459212"/>
                    <a:gd name="connsiteX5" fmla="*/ 301506 w 511905"/>
                    <a:gd name="connsiteY5" fmla="*/ 12720 h 459212"/>
                    <a:gd name="connsiteX6" fmla="*/ 311502 w 511905"/>
                    <a:gd name="connsiteY6" fmla="*/ 134302 h 459212"/>
                    <a:gd name="connsiteX7" fmla="*/ 451087 w 511905"/>
                    <a:gd name="connsiteY7" fmla="*/ 189420 h 459212"/>
                    <a:gd name="connsiteX8" fmla="*/ 498357 w 511905"/>
                    <a:gd name="connsiteY8" fmla="*/ 251776 h 459212"/>
                    <a:gd name="connsiteX9" fmla="*/ 511412 w 511905"/>
                    <a:gd name="connsiteY9" fmla="*/ 454045 h 459212"/>
                    <a:gd name="connsiteX10" fmla="*/ 9762 w 511905"/>
                    <a:gd name="connsiteY10" fmla="*/ 447695 h 459212"/>
                    <a:gd name="connsiteX0" fmla="*/ 4227 w 522600"/>
                    <a:gd name="connsiteY0" fmla="*/ 455188 h 463021"/>
                    <a:gd name="connsiteX1" fmla="*/ 17282 w 522600"/>
                    <a:gd name="connsiteY1" fmla="*/ 222270 h 463021"/>
                    <a:gd name="connsiteX2" fmla="*/ 87132 w 522600"/>
                    <a:gd name="connsiteY2" fmla="*/ 158770 h 463021"/>
                    <a:gd name="connsiteX3" fmla="*/ 210957 w 522600"/>
                    <a:gd name="connsiteY3" fmla="*/ 120670 h 463021"/>
                    <a:gd name="connsiteX4" fmla="*/ 217307 w 522600"/>
                    <a:gd name="connsiteY4" fmla="*/ 15895 h 463021"/>
                    <a:gd name="connsiteX5" fmla="*/ 312201 w 522600"/>
                    <a:gd name="connsiteY5" fmla="*/ 12720 h 463021"/>
                    <a:gd name="connsiteX6" fmla="*/ 322197 w 522600"/>
                    <a:gd name="connsiteY6" fmla="*/ 134302 h 463021"/>
                    <a:gd name="connsiteX7" fmla="*/ 461782 w 522600"/>
                    <a:gd name="connsiteY7" fmla="*/ 189420 h 463021"/>
                    <a:gd name="connsiteX8" fmla="*/ 509052 w 522600"/>
                    <a:gd name="connsiteY8" fmla="*/ 251776 h 463021"/>
                    <a:gd name="connsiteX9" fmla="*/ 522107 w 522600"/>
                    <a:gd name="connsiteY9" fmla="*/ 454045 h 463021"/>
                    <a:gd name="connsiteX10" fmla="*/ 4227 w 522600"/>
                    <a:gd name="connsiteY10" fmla="*/ 455188 h 463021"/>
                    <a:gd name="connsiteX0" fmla="*/ 4227 w 522600"/>
                    <a:gd name="connsiteY0" fmla="*/ 455188 h 457596"/>
                    <a:gd name="connsiteX1" fmla="*/ 17282 w 522600"/>
                    <a:gd name="connsiteY1" fmla="*/ 222270 h 457596"/>
                    <a:gd name="connsiteX2" fmla="*/ 87132 w 522600"/>
                    <a:gd name="connsiteY2" fmla="*/ 158770 h 457596"/>
                    <a:gd name="connsiteX3" fmla="*/ 210957 w 522600"/>
                    <a:gd name="connsiteY3" fmla="*/ 120670 h 457596"/>
                    <a:gd name="connsiteX4" fmla="*/ 217307 w 522600"/>
                    <a:gd name="connsiteY4" fmla="*/ 15895 h 457596"/>
                    <a:gd name="connsiteX5" fmla="*/ 312201 w 522600"/>
                    <a:gd name="connsiteY5" fmla="*/ 12720 h 457596"/>
                    <a:gd name="connsiteX6" fmla="*/ 322197 w 522600"/>
                    <a:gd name="connsiteY6" fmla="*/ 134302 h 457596"/>
                    <a:gd name="connsiteX7" fmla="*/ 461782 w 522600"/>
                    <a:gd name="connsiteY7" fmla="*/ 189420 h 457596"/>
                    <a:gd name="connsiteX8" fmla="*/ 509052 w 522600"/>
                    <a:gd name="connsiteY8" fmla="*/ 251776 h 457596"/>
                    <a:gd name="connsiteX9" fmla="*/ 522107 w 522600"/>
                    <a:gd name="connsiteY9" fmla="*/ 454045 h 457596"/>
                    <a:gd name="connsiteX10" fmla="*/ 4227 w 522600"/>
                    <a:gd name="connsiteY10" fmla="*/ 455188 h 457596"/>
                    <a:gd name="connsiteX0" fmla="*/ 12757 w 531130"/>
                    <a:gd name="connsiteY0" fmla="*/ 455188 h 457596"/>
                    <a:gd name="connsiteX1" fmla="*/ 6876 w 531130"/>
                    <a:gd name="connsiteY1" fmla="*/ 237256 h 457596"/>
                    <a:gd name="connsiteX2" fmla="*/ 95662 w 531130"/>
                    <a:gd name="connsiteY2" fmla="*/ 158770 h 457596"/>
                    <a:gd name="connsiteX3" fmla="*/ 219487 w 531130"/>
                    <a:gd name="connsiteY3" fmla="*/ 120670 h 457596"/>
                    <a:gd name="connsiteX4" fmla="*/ 225837 w 531130"/>
                    <a:gd name="connsiteY4" fmla="*/ 15895 h 457596"/>
                    <a:gd name="connsiteX5" fmla="*/ 320731 w 531130"/>
                    <a:gd name="connsiteY5" fmla="*/ 12720 h 457596"/>
                    <a:gd name="connsiteX6" fmla="*/ 330727 w 531130"/>
                    <a:gd name="connsiteY6" fmla="*/ 134302 h 457596"/>
                    <a:gd name="connsiteX7" fmla="*/ 470312 w 531130"/>
                    <a:gd name="connsiteY7" fmla="*/ 189420 h 457596"/>
                    <a:gd name="connsiteX8" fmla="*/ 517582 w 531130"/>
                    <a:gd name="connsiteY8" fmla="*/ 251776 h 457596"/>
                    <a:gd name="connsiteX9" fmla="*/ 530637 w 531130"/>
                    <a:gd name="connsiteY9" fmla="*/ 454045 h 457596"/>
                    <a:gd name="connsiteX10" fmla="*/ 12757 w 531130"/>
                    <a:gd name="connsiteY10" fmla="*/ 455188 h 457596"/>
                    <a:gd name="connsiteX0" fmla="*/ 7226 w 536419"/>
                    <a:gd name="connsiteY0" fmla="*/ 447695 h 456315"/>
                    <a:gd name="connsiteX1" fmla="*/ 12165 w 536419"/>
                    <a:gd name="connsiteY1" fmla="*/ 237256 h 456315"/>
                    <a:gd name="connsiteX2" fmla="*/ 100951 w 536419"/>
                    <a:gd name="connsiteY2" fmla="*/ 158770 h 456315"/>
                    <a:gd name="connsiteX3" fmla="*/ 224776 w 536419"/>
                    <a:gd name="connsiteY3" fmla="*/ 120670 h 456315"/>
                    <a:gd name="connsiteX4" fmla="*/ 231126 w 536419"/>
                    <a:gd name="connsiteY4" fmla="*/ 15895 h 456315"/>
                    <a:gd name="connsiteX5" fmla="*/ 326020 w 536419"/>
                    <a:gd name="connsiteY5" fmla="*/ 12720 h 456315"/>
                    <a:gd name="connsiteX6" fmla="*/ 336016 w 536419"/>
                    <a:gd name="connsiteY6" fmla="*/ 134302 h 456315"/>
                    <a:gd name="connsiteX7" fmla="*/ 475601 w 536419"/>
                    <a:gd name="connsiteY7" fmla="*/ 189420 h 456315"/>
                    <a:gd name="connsiteX8" fmla="*/ 522871 w 536419"/>
                    <a:gd name="connsiteY8" fmla="*/ 251776 h 456315"/>
                    <a:gd name="connsiteX9" fmla="*/ 535926 w 536419"/>
                    <a:gd name="connsiteY9" fmla="*/ 454045 h 456315"/>
                    <a:gd name="connsiteX10" fmla="*/ 7226 w 536419"/>
                    <a:gd name="connsiteY10" fmla="*/ 447695 h 456315"/>
                    <a:gd name="connsiteX0" fmla="*/ 7226 w 528834"/>
                    <a:gd name="connsiteY0" fmla="*/ 447695 h 456315"/>
                    <a:gd name="connsiteX1" fmla="*/ 12165 w 528834"/>
                    <a:gd name="connsiteY1" fmla="*/ 237256 h 456315"/>
                    <a:gd name="connsiteX2" fmla="*/ 100951 w 528834"/>
                    <a:gd name="connsiteY2" fmla="*/ 158770 h 456315"/>
                    <a:gd name="connsiteX3" fmla="*/ 224776 w 528834"/>
                    <a:gd name="connsiteY3" fmla="*/ 120670 h 456315"/>
                    <a:gd name="connsiteX4" fmla="*/ 231126 w 528834"/>
                    <a:gd name="connsiteY4" fmla="*/ 15895 h 456315"/>
                    <a:gd name="connsiteX5" fmla="*/ 326020 w 528834"/>
                    <a:gd name="connsiteY5" fmla="*/ 12720 h 456315"/>
                    <a:gd name="connsiteX6" fmla="*/ 336016 w 528834"/>
                    <a:gd name="connsiteY6" fmla="*/ 134302 h 456315"/>
                    <a:gd name="connsiteX7" fmla="*/ 475601 w 528834"/>
                    <a:gd name="connsiteY7" fmla="*/ 189420 h 456315"/>
                    <a:gd name="connsiteX8" fmla="*/ 522871 w 528834"/>
                    <a:gd name="connsiteY8" fmla="*/ 251776 h 456315"/>
                    <a:gd name="connsiteX9" fmla="*/ 527811 w 528834"/>
                    <a:gd name="connsiteY9" fmla="*/ 454045 h 456315"/>
                    <a:gd name="connsiteX10" fmla="*/ 7226 w 528834"/>
                    <a:gd name="connsiteY10" fmla="*/ 447695 h 456315"/>
                    <a:gd name="connsiteX0" fmla="*/ 7226 w 528834"/>
                    <a:gd name="connsiteY0" fmla="*/ 447695 h 456315"/>
                    <a:gd name="connsiteX1" fmla="*/ 12165 w 528834"/>
                    <a:gd name="connsiteY1" fmla="*/ 237256 h 456315"/>
                    <a:gd name="connsiteX2" fmla="*/ 100951 w 528834"/>
                    <a:gd name="connsiteY2" fmla="*/ 158770 h 456315"/>
                    <a:gd name="connsiteX3" fmla="*/ 224776 w 528834"/>
                    <a:gd name="connsiteY3" fmla="*/ 120670 h 456315"/>
                    <a:gd name="connsiteX4" fmla="*/ 231126 w 528834"/>
                    <a:gd name="connsiteY4" fmla="*/ 15895 h 456315"/>
                    <a:gd name="connsiteX5" fmla="*/ 326020 w 528834"/>
                    <a:gd name="connsiteY5" fmla="*/ 12720 h 456315"/>
                    <a:gd name="connsiteX6" fmla="*/ 336016 w 528834"/>
                    <a:gd name="connsiteY6" fmla="*/ 134302 h 456315"/>
                    <a:gd name="connsiteX7" fmla="*/ 462076 w 528834"/>
                    <a:gd name="connsiteY7" fmla="*/ 184425 h 456315"/>
                    <a:gd name="connsiteX8" fmla="*/ 522871 w 528834"/>
                    <a:gd name="connsiteY8" fmla="*/ 251776 h 456315"/>
                    <a:gd name="connsiteX9" fmla="*/ 527811 w 528834"/>
                    <a:gd name="connsiteY9" fmla="*/ 454045 h 456315"/>
                    <a:gd name="connsiteX10" fmla="*/ 7226 w 528834"/>
                    <a:gd name="connsiteY10" fmla="*/ 447695 h 456315"/>
                    <a:gd name="connsiteX0" fmla="*/ 8515 w 530123"/>
                    <a:gd name="connsiteY0" fmla="*/ 447695 h 456315"/>
                    <a:gd name="connsiteX1" fmla="*/ 10749 w 530123"/>
                    <a:gd name="connsiteY1" fmla="*/ 244749 h 456315"/>
                    <a:gd name="connsiteX2" fmla="*/ 102240 w 530123"/>
                    <a:gd name="connsiteY2" fmla="*/ 158770 h 456315"/>
                    <a:gd name="connsiteX3" fmla="*/ 226065 w 530123"/>
                    <a:gd name="connsiteY3" fmla="*/ 120670 h 456315"/>
                    <a:gd name="connsiteX4" fmla="*/ 232415 w 530123"/>
                    <a:gd name="connsiteY4" fmla="*/ 15895 h 456315"/>
                    <a:gd name="connsiteX5" fmla="*/ 327309 w 530123"/>
                    <a:gd name="connsiteY5" fmla="*/ 12720 h 456315"/>
                    <a:gd name="connsiteX6" fmla="*/ 337305 w 530123"/>
                    <a:gd name="connsiteY6" fmla="*/ 134302 h 456315"/>
                    <a:gd name="connsiteX7" fmla="*/ 463365 w 530123"/>
                    <a:gd name="connsiteY7" fmla="*/ 184425 h 456315"/>
                    <a:gd name="connsiteX8" fmla="*/ 524160 w 530123"/>
                    <a:gd name="connsiteY8" fmla="*/ 251776 h 456315"/>
                    <a:gd name="connsiteX9" fmla="*/ 529100 w 530123"/>
                    <a:gd name="connsiteY9" fmla="*/ 454045 h 456315"/>
                    <a:gd name="connsiteX10" fmla="*/ 8515 w 530123"/>
                    <a:gd name="connsiteY10" fmla="*/ 447695 h 456315"/>
                    <a:gd name="connsiteX0" fmla="*/ 7671 w 529279"/>
                    <a:gd name="connsiteY0" fmla="*/ 447695 h 456315"/>
                    <a:gd name="connsiteX1" fmla="*/ 9905 w 529279"/>
                    <a:gd name="connsiteY1" fmla="*/ 244749 h 456315"/>
                    <a:gd name="connsiteX2" fmla="*/ 87870 w 529279"/>
                    <a:gd name="connsiteY2" fmla="*/ 166263 h 456315"/>
                    <a:gd name="connsiteX3" fmla="*/ 225221 w 529279"/>
                    <a:gd name="connsiteY3" fmla="*/ 120670 h 456315"/>
                    <a:gd name="connsiteX4" fmla="*/ 231571 w 529279"/>
                    <a:gd name="connsiteY4" fmla="*/ 15895 h 456315"/>
                    <a:gd name="connsiteX5" fmla="*/ 326465 w 529279"/>
                    <a:gd name="connsiteY5" fmla="*/ 12720 h 456315"/>
                    <a:gd name="connsiteX6" fmla="*/ 336461 w 529279"/>
                    <a:gd name="connsiteY6" fmla="*/ 134302 h 456315"/>
                    <a:gd name="connsiteX7" fmla="*/ 462521 w 529279"/>
                    <a:gd name="connsiteY7" fmla="*/ 184425 h 456315"/>
                    <a:gd name="connsiteX8" fmla="*/ 523316 w 529279"/>
                    <a:gd name="connsiteY8" fmla="*/ 251776 h 456315"/>
                    <a:gd name="connsiteX9" fmla="*/ 528256 w 529279"/>
                    <a:gd name="connsiteY9" fmla="*/ 454045 h 456315"/>
                    <a:gd name="connsiteX10" fmla="*/ 7671 w 529279"/>
                    <a:gd name="connsiteY10" fmla="*/ 447695 h 456315"/>
                    <a:gd name="connsiteX0" fmla="*/ 7671 w 529279"/>
                    <a:gd name="connsiteY0" fmla="*/ 447558 h 456178"/>
                    <a:gd name="connsiteX1" fmla="*/ 9905 w 529279"/>
                    <a:gd name="connsiteY1" fmla="*/ 244612 h 456178"/>
                    <a:gd name="connsiteX2" fmla="*/ 87870 w 529279"/>
                    <a:gd name="connsiteY2" fmla="*/ 166126 h 456178"/>
                    <a:gd name="connsiteX3" fmla="*/ 206285 w 529279"/>
                    <a:gd name="connsiteY3" fmla="*/ 118035 h 456178"/>
                    <a:gd name="connsiteX4" fmla="*/ 231571 w 529279"/>
                    <a:gd name="connsiteY4" fmla="*/ 15758 h 456178"/>
                    <a:gd name="connsiteX5" fmla="*/ 326465 w 529279"/>
                    <a:gd name="connsiteY5" fmla="*/ 12583 h 456178"/>
                    <a:gd name="connsiteX6" fmla="*/ 336461 w 529279"/>
                    <a:gd name="connsiteY6" fmla="*/ 134165 h 456178"/>
                    <a:gd name="connsiteX7" fmla="*/ 462521 w 529279"/>
                    <a:gd name="connsiteY7" fmla="*/ 184288 h 456178"/>
                    <a:gd name="connsiteX8" fmla="*/ 523316 w 529279"/>
                    <a:gd name="connsiteY8" fmla="*/ 251639 h 456178"/>
                    <a:gd name="connsiteX9" fmla="*/ 528256 w 529279"/>
                    <a:gd name="connsiteY9" fmla="*/ 453908 h 456178"/>
                    <a:gd name="connsiteX10" fmla="*/ 7671 w 529279"/>
                    <a:gd name="connsiteY10" fmla="*/ 447558 h 456178"/>
                    <a:gd name="connsiteX0" fmla="*/ 14544 w 536152"/>
                    <a:gd name="connsiteY0" fmla="*/ 447558 h 456178"/>
                    <a:gd name="connsiteX1" fmla="*/ 5958 w 536152"/>
                    <a:gd name="connsiteY1" fmla="*/ 247109 h 456178"/>
                    <a:gd name="connsiteX2" fmla="*/ 94743 w 536152"/>
                    <a:gd name="connsiteY2" fmla="*/ 166126 h 456178"/>
                    <a:gd name="connsiteX3" fmla="*/ 213158 w 536152"/>
                    <a:gd name="connsiteY3" fmla="*/ 118035 h 456178"/>
                    <a:gd name="connsiteX4" fmla="*/ 238444 w 536152"/>
                    <a:gd name="connsiteY4" fmla="*/ 15758 h 456178"/>
                    <a:gd name="connsiteX5" fmla="*/ 333338 w 536152"/>
                    <a:gd name="connsiteY5" fmla="*/ 12583 h 456178"/>
                    <a:gd name="connsiteX6" fmla="*/ 343334 w 536152"/>
                    <a:gd name="connsiteY6" fmla="*/ 134165 h 456178"/>
                    <a:gd name="connsiteX7" fmla="*/ 469394 w 536152"/>
                    <a:gd name="connsiteY7" fmla="*/ 184288 h 456178"/>
                    <a:gd name="connsiteX8" fmla="*/ 530189 w 536152"/>
                    <a:gd name="connsiteY8" fmla="*/ 251639 h 456178"/>
                    <a:gd name="connsiteX9" fmla="*/ 535129 w 536152"/>
                    <a:gd name="connsiteY9" fmla="*/ 453908 h 456178"/>
                    <a:gd name="connsiteX10" fmla="*/ 14544 w 536152"/>
                    <a:gd name="connsiteY10" fmla="*/ 447558 h 456178"/>
                    <a:gd name="connsiteX0" fmla="*/ 7226 w 542359"/>
                    <a:gd name="connsiteY0" fmla="*/ 450055 h 456488"/>
                    <a:gd name="connsiteX1" fmla="*/ 12165 w 542359"/>
                    <a:gd name="connsiteY1" fmla="*/ 247109 h 456488"/>
                    <a:gd name="connsiteX2" fmla="*/ 100950 w 542359"/>
                    <a:gd name="connsiteY2" fmla="*/ 166126 h 456488"/>
                    <a:gd name="connsiteX3" fmla="*/ 219365 w 542359"/>
                    <a:gd name="connsiteY3" fmla="*/ 118035 h 456488"/>
                    <a:gd name="connsiteX4" fmla="*/ 244651 w 542359"/>
                    <a:gd name="connsiteY4" fmla="*/ 15758 h 456488"/>
                    <a:gd name="connsiteX5" fmla="*/ 339545 w 542359"/>
                    <a:gd name="connsiteY5" fmla="*/ 12583 h 456488"/>
                    <a:gd name="connsiteX6" fmla="*/ 349541 w 542359"/>
                    <a:gd name="connsiteY6" fmla="*/ 134165 h 456488"/>
                    <a:gd name="connsiteX7" fmla="*/ 475601 w 542359"/>
                    <a:gd name="connsiteY7" fmla="*/ 184288 h 456488"/>
                    <a:gd name="connsiteX8" fmla="*/ 536396 w 542359"/>
                    <a:gd name="connsiteY8" fmla="*/ 251639 h 456488"/>
                    <a:gd name="connsiteX9" fmla="*/ 541336 w 542359"/>
                    <a:gd name="connsiteY9" fmla="*/ 453908 h 456488"/>
                    <a:gd name="connsiteX10" fmla="*/ 7226 w 542359"/>
                    <a:gd name="connsiteY10" fmla="*/ 450055 h 456488"/>
                    <a:gd name="connsiteX0" fmla="*/ 7226 w 542359"/>
                    <a:gd name="connsiteY0" fmla="*/ 450055 h 456488"/>
                    <a:gd name="connsiteX1" fmla="*/ 12165 w 542359"/>
                    <a:gd name="connsiteY1" fmla="*/ 247109 h 456488"/>
                    <a:gd name="connsiteX2" fmla="*/ 100950 w 542359"/>
                    <a:gd name="connsiteY2" fmla="*/ 166126 h 456488"/>
                    <a:gd name="connsiteX3" fmla="*/ 219365 w 542359"/>
                    <a:gd name="connsiteY3" fmla="*/ 118035 h 456488"/>
                    <a:gd name="connsiteX4" fmla="*/ 244651 w 542359"/>
                    <a:gd name="connsiteY4" fmla="*/ 15758 h 456488"/>
                    <a:gd name="connsiteX5" fmla="*/ 331430 w 542359"/>
                    <a:gd name="connsiteY5" fmla="*/ 12583 h 456488"/>
                    <a:gd name="connsiteX6" fmla="*/ 349541 w 542359"/>
                    <a:gd name="connsiteY6" fmla="*/ 134165 h 456488"/>
                    <a:gd name="connsiteX7" fmla="*/ 475601 w 542359"/>
                    <a:gd name="connsiteY7" fmla="*/ 184288 h 456488"/>
                    <a:gd name="connsiteX8" fmla="*/ 536396 w 542359"/>
                    <a:gd name="connsiteY8" fmla="*/ 251639 h 456488"/>
                    <a:gd name="connsiteX9" fmla="*/ 541336 w 542359"/>
                    <a:gd name="connsiteY9" fmla="*/ 453908 h 456488"/>
                    <a:gd name="connsiteX10" fmla="*/ 7226 w 542359"/>
                    <a:gd name="connsiteY10" fmla="*/ 450055 h 456488"/>
                    <a:gd name="connsiteX0" fmla="*/ 7226 w 542359"/>
                    <a:gd name="connsiteY0" fmla="*/ 450055 h 456488"/>
                    <a:gd name="connsiteX1" fmla="*/ 12165 w 542359"/>
                    <a:gd name="connsiteY1" fmla="*/ 247109 h 456488"/>
                    <a:gd name="connsiteX2" fmla="*/ 100950 w 542359"/>
                    <a:gd name="connsiteY2" fmla="*/ 166126 h 456488"/>
                    <a:gd name="connsiteX3" fmla="*/ 219365 w 542359"/>
                    <a:gd name="connsiteY3" fmla="*/ 118035 h 456488"/>
                    <a:gd name="connsiteX4" fmla="*/ 244651 w 542359"/>
                    <a:gd name="connsiteY4" fmla="*/ 15758 h 456488"/>
                    <a:gd name="connsiteX5" fmla="*/ 331430 w 542359"/>
                    <a:gd name="connsiteY5" fmla="*/ 12583 h 456488"/>
                    <a:gd name="connsiteX6" fmla="*/ 349541 w 542359"/>
                    <a:gd name="connsiteY6" fmla="*/ 134165 h 456488"/>
                    <a:gd name="connsiteX7" fmla="*/ 483716 w 542359"/>
                    <a:gd name="connsiteY7" fmla="*/ 179293 h 456488"/>
                    <a:gd name="connsiteX8" fmla="*/ 536396 w 542359"/>
                    <a:gd name="connsiteY8" fmla="*/ 251639 h 456488"/>
                    <a:gd name="connsiteX9" fmla="*/ 541336 w 542359"/>
                    <a:gd name="connsiteY9" fmla="*/ 453908 h 456488"/>
                    <a:gd name="connsiteX10" fmla="*/ 7226 w 542359"/>
                    <a:gd name="connsiteY10" fmla="*/ 450055 h 456488"/>
                    <a:gd name="connsiteX0" fmla="*/ 6630 w 541763"/>
                    <a:gd name="connsiteY0" fmla="*/ 450055 h 456488"/>
                    <a:gd name="connsiteX1" fmla="*/ 11569 w 541763"/>
                    <a:gd name="connsiteY1" fmla="*/ 247109 h 456488"/>
                    <a:gd name="connsiteX2" fmla="*/ 89534 w 541763"/>
                    <a:gd name="connsiteY2" fmla="*/ 166126 h 456488"/>
                    <a:gd name="connsiteX3" fmla="*/ 218769 w 541763"/>
                    <a:gd name="connsiteY3" fmla="*/ 118035 h 456488"/>
                    <a:gd name="connsiteX4" fmla="*/ 244055 w 541763"/>
                    <a:gd name="connsiteY4" fmla="*/ 15758 h 456488"/>
                    <a:gd name="connsiteX5" fmla="*/ 330834 w 541763"/>
                    <a:gd name="connsiteY5" fmla="*/ 12583 h 456488"/>
                    <a:gd name="connsiteX6" fmla="*/ 348945 w 541763"/>
                    <a:gd name="connsiteY6" fmla="*/ 134165 h 456488"/>
                    <a:gd name="connsiteX7" fmla="*/ 483120 w 541763"/>
                    <a:gd name="connsiteY7" fmla="*/ 179293 h 456488"/>
                    <a:gd name="connsiteX8" fmla="*/ 535800 w 541763"/>
                    <a:gd name="connsiteY8" fmla="*/ 251639 h 456488"/>
                    <a:gd name="connsiteX9" fmla="*/ 540740 w 541763"/>
                    <a:gd name="connsiteY9" fmla="*/ 453908 h 456488"/>
                    <a:gd name="connsiteX10" fmla="*/ 6630 w 541763"/>
                    <a:gd name="connsiteY10" fmla="*/ 450055 h 456488"/>
                    <a:gd name="connsiteX0" fmla="*/ 4856 w 539989"/>
                    <a:gd name="connsiteY0" fmla="*/ 450055 h 456488"/>
                    <a:gd name="connsiteX1" fmla="*/ 15205 w 539989"/>
                    <a:gd name="connsiteY1" fmla="*/ 227128 h 456488"/>
                    <a:gd name="connsiteX2" fmla="*/ 87760 w 539989"/>
                    <a:gd name="connsiteY2" fmla="*/ 166126 h 456488"/>
                    <a:gd name="connsiteX3" fmla="*/ 216995 w 539989"/>
                    <a:gd name="connsiteY3" fmla="*/ 118035 h 456488"/>
                    <a:gd name="connsiteX4" fmla="*/ 242281 w 539989"/>
                    <a:gd name="connsiteY4" fmla="*/ 15758 h 456488"/>
                    <a:gd name="connsiteX5" fmla="*/ 329060 w 539989"/>
                    <a:gd name="connsiteY5" fmla="*/ 12583 h 456488"/>
                    <a:gd name="connsiteX6" fmla="*/ 347171 w 539989"/>
                    <a:gd name="connsiteY6" fmla="*/ 134165 h 456488"/>
                    <a:gd name="connsiteX7" fmla="*/ 481346 w 539989"/>
                    <a:gd name="connsiteY7" fmla="*/ 179293 h 456488"/>
                    <a:gd name="connsiteX8" fmla="*/ 534026 w 539989"/>
                    <a:gd name="connsiteY8" fmla="*/ 251639 h 456488"/>
                    <a:gd name="connsiteX9" fmla="*/ 538966 w 539989"/>
                    <a:gd name="connsiteY9" fmla="*/ 453908 h 456488"/>
                    <a:gd name="connsiteX10" fmla="*/ 4856 w 539989"/>
                    <a:gd name="connsiteY10" fmla="*/ 450055 h 4564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39989" h="456488">
                      <a:moveTo>
                        <a:pt x="4856" y="450055"/>
                      </a:moveTo>
                      <a:cubicBezTo>
                        <a:pt x="-5198" y="385497"/>
                        <a:pt x="1388" y="274449"/>
                        <a:pt x="15205" y="227128"/>
                      </a:cubicBezTo>
                      <a:cubicBezTo>
                        <a:pt x="29022" y="179807"/>
                        <a:pt x="54128" y="184308"/>
                        <a:pt x="87760" y="166126"/>
                      </a:cubicBezTo>
                      <a:cubicBezTo>
                        <a:pt x="121392" y="147944"/>
                        <a:pt x="191242" y="143096"/>
                        <a:pt x="216995" y="118035"/>
                      </a:cubicBezTo>
                      <a:cubicBezTo>
                        <a:pt x="242748" y="92974"/>
                        <a:pt x="223604" y="33333"/>
                        <a:pt x="242281" y="15758"/>
                      </a:cubicBezTo>
                      <a:cubicBezTo>
                        <a:pt x="260958" y="-1817"/>
                        <a:pt x="311578" y="-7151"/>
                        <a:pt x="329060" y="12583"/>
                      </a:cubicBezTo>
                      <a:cubicBezTo>
                        <a:pt x="346542" y="32317"/>
                        <a:pt x="321790" y="106380"/>
                        <a:pt x="347171" y="134165"/>
                      </a:cubicBezTo>
                      <a:cubicBezTo>
                        <a:pt x="372552" y="161950"/>
                        <a:pt x="450204" y="159714"/>
                        <a:pt x="481346" y="179293"/>
                      </a:cubicBezTo>
                      <a:cubicBezTo>
                        <a:pt x="512489" y="198872"/>
                        <a:pt x="523972" y="202956"/>
                        <a:pt x="534026" y="251639"/>
                      </a:cubicBezTo>
                      <a:cubicBezTo>
                        <a:pt x="537201" y="301381"/>
                        <a:pt x="542141" y="328496"/>
                        <a:pt x="538966" y="453908"/>
                      </a:cubicBezTo>
                      <a:cubicBezTo>
                        <a:pt x="307191" y="461845"/>
                        <a:pt x="250800" y="448827"/>
                        <a:pt x="4856" y="450055"/>
                      </a:cubicBezTo>
                      <a:close/>
                    </a:path>
                  </a:pathLst>
                </a:custGeom>
                <a:solidFill>
                  <a:schemeClr val="bg1"/>
                </a:solidFill>
                <a:ln w="57150">
                  <a:solidFill>
                    <a:schemeClr val="tx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36" name="Oval 35">
                  <a:extLst>
                    <a:ext uri="{FF2B5EF4-FFF2-40B4-BE49-F238E27FC236}">
                      <a16:creationId xmlns:a16="http://schemas.microsoft.com/office/drawing/2014/main" id="{F50645E9-7267-4647-A0F6-877381093788}"/>
                    </a:ext>
                  </a:extLst>
                </p:cNvPr>
                <p:cNvSpPr/>
                <p:nvPr/>
              </p:nvSpPr>
              <p:spPr>
                <a:xfrm>
                  <a:off x="1964431" y="3500843"/>
                  <a:ext cx="259337" cy="299858"/>
                </a:xfrm>
                <a:prstGeom prst="ellipse">
                  <a:avLst/>
                </a:prstGeom>
                <a:solidFill>
                  <a:schemeClr val="bg1"/>
                </a:solidFill>
                <a:ln w="57150">
                  <a:solidFill>
                    <a:schemeClr val="tx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grpSp>
        </p:grpSp>
        <p:grpSp>
          <p:nvGrpSpPr>
            <p:cNvPr id="51" name="Group 50">
              <a:extLst>
                <a:ext uri="{FF2B5EF4-FFF2-40B4-BE49-F238E27FC236}">
                  <a16:creationId xmlns:a16="http://schemas.microsoft.com/office/drawing/2014/main" id="{FF4D242D-8212-AF46-9E0C-B30A8880AEC4}"/>
                </a:ext>
              </a:extLst>
            </p:cNvPr>
            <p:cNvGrpSpPr/>
            <p:nvPr/>
          </p:nvGrpSpPr>
          <p:grpSpPr>
            <a:xfrm>
              <a:off x="2495712" y="4589934"/>
              <a:ext cx="1256698" cy="510604"/>
              <a:chOff x="2495712" y="4589934"/>
              <a:chExt cx="1256698" cy="510604"/>
            </a:xfrm>
            <a:solidFill>
              <a:schemeClr val="tx1">
                <a:lumMod val="50000"/>
              </a:schemeClr>
            </a:solidFill>
          </p:grpSpPr>
          <p:sp>
            <p:nvSpPr>
              <p:cNvPr id="46" name="Rounded Rectangle 45">
                <a:extLst>
                  <a:ext uri="{FF2B5EF4-FFF2-40B4-BE49-F238E27FC236}">
                    <a16:creationId xmlns:a16="http://schemas.microsoft.com/office/drawing/2014/main" id="{946F7071-F3A7-AE41-9136-64A554DE38A6}"/>
                  </a:ext>
                </a:extLst>
              </p:cNvPr>
              <p:cNvSpPr/>
              <p:nvPr/>
            </p:nvSpPr>
            <p:spPr>
              <a:xfrm>
                <a:off x="2495712" y="4589934"/>
                <a:ext cx="1256697" cy="251941"/>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47" name="Rectangle 46">
                <a:extLst>
                  <a:ext uri="{FF2B5EF4-FFF2-40B4-BE49-F238E27FC236}">
                    <a16:creationId xmlns:a16="http://schemas.microsoft.com/office/drawing/2014/main" id="{20532C01-FF29-E348-AEB6-C6EDDB64F9B0}"/>
                  </a:ext>
                </a:extLst>
              </p:cNvPr>
              <p:cNvSpPr/>
              <p:nvPr/>
            </p:nvSpPr>
            <p:spPr>
              <a:xfrm>
                <a:off x="2498725" y="4797790"/>
                <a:ext cx="1253685" cy="13315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49" name="Rectangle 48">
                <a:extLst>
                  <a:ext uri="{FF2B5EF4-FFF2-40B4-BE49-F238E27FC236}">
                    <a16:creationId xmlns:a16="http://schemas.microsoft.com/office/drawing/2014/main" id="{F024B4F1-A32A-B044-A568-341C7C30A730}"/>
                  </a:ext>
                </a:extLst>
              </p:cNvPr>
              <p:cNvSpPr/>
              <p:nvPr/>
            </p:nvSpPr>
            <p:spPr>
              <a:xfrm>
                <a:off x="2546350" y="4923041"/>
                <a:ext cx="109152" cy="17749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50" name="Rectangle 49">
                <a:extLst>
                  <a:ext uri="{FF2B5EF4-FFF2-40B4-BE49-F238E27FC236}">
                    <a16:creationId xmlns:a16="http://schemas.microsoft.com/office/drawing/2014/main" id="{20F607EE-83FA-D146-968B-6569F514EE9E}"/>
                  </a:ext>
                </a:extLst>
              </p:cNvPr>
              <p:cNvSpPr/>
              <p:nvPr/>
            </p:nvSpPr>
            <p:spPr>
              <a:xfrm>
                <a:off x="3610945" y="4923041"/>
                <a:ext cx="109152" cy="17749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grpSp>
        <p:sp>
          <p:nvSpPr>
            <p:cNvPr id="48" name="Trapezoid 47">
              <a:extLst>
                <a:ext uri="{FF2B5EF4-FFF2-40B4-BE49-F238E27FC236}">
                  <a16:creationId xmlns:a16="http://schemas.microsoft.com/office/drawing/2014/main" id="{B0E20367-6679-2348-9C29-2BA936CC7D4C}"/>
                </a:ext>
              </a:extLst>
            </p:cNvPr>
            <p:cNvSpPr/>
            <p:nvPr/>
          </p:nvSpPr>
          <p:spPr>
            <a:xfrm>
              <a:off x="2655502" y="4181475"/>
              <a:ext cx="958850" cy="363303"/>
            </a:xfrm>
            <a:prstGeom prst="trapezoid">
              <a:avLst/>
            </a:prstGeom>
            <a:solidFill>
              <a:schemeClr val="tx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grpSp>
      <p:grpSp>
        <p:nvGrpSpPr>
          <p:cNvPr id="53" name="Group 52">
            <a:extLst>
              <a:ext uri="{FF2B5EF4-FFF2-40B4-BE49-F238E27FC236}">
                <a16:creationId xmlns:a16="http://schemas.microsoft.com/office/drawing/2014/main" id="{F6DDA63E-7DA9-3D48-9CCE-671BC25C7B55}"/>
              </a:ext>
            </a:extLst>
          </p:cNvPr>
          <p:cNvGrpSpPr/>
          <p:nvPr/>
        </p:nvGrpSpPr>
        <p:grpSpPr>
          <a:xfrm>
            <a:off x="8191117" y="3230929"/>
            <a:ext cx="1025213" cy="1261037"/>
            <a:chOff x="2441771" y="3385414"/>
            <a:chExt cx="1325481" cy="1781019"/>
          </a:xfrm>
        </p:grpSpPr>
        <p:pic>
          <p:nvPicPr>
            <p:cNvPr id="54" name="Picture 53">
              <a:extLst>
                <a:ext uri="{FF2B5EF4-FFF2-40B4-BE49-F238E27FC236}">
                  <a16:creationId xmlns:a16="http://schemas.microsoft.com/office/drawing/2014/main" id="{E0FEF3A8-D24C-0D40-9E7F-2A4A4C814450}"/>
                </a:ext>
              </a:extLst>
            </p:cNvPr>
            <p:cNvPicPr>
              <a:picLocks noChangeAspect="1"/>
            </p:cNvPicPr>
            <p:nvPr/>
          </p:nvPicPr>
          <p:blipFill rotWithShape="1">
            <a:blip r:embed="rId2"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a:xfrm>
              <a:off x="2441771" y="3385414"/>
              <a:ext cx="1325481" cy="1781019"/>
            </a:xfrm>
            <a:prstGeom prst="rect">
              <a:avLst/>
            </a:prstGeom>
          </p:spPr>
        </p:pic>
        <p:sp>
          <p:nvSpPr>
            <p:cNvPr id="55" name="Rounded Rectangle 54">
              <a:extLst>
                <a:ext uri="{FF2B5EF4-FFF2-40B4-BE49-F238E27FC236}">
                  <a16:creationId xmlns:a16="http://schemas.microsoft.com/office/drawing/2014/main" id="{7980EDA8-A602-2D48-B5B4-78702B6F6A28}"/>
                </a:ext>
              </a:extLst>
            </p:cNvPr>
            <p:cNvSpPr/>
            <p:nvPr/>
          </p:nvSpPr>
          <p:spPr>
            <a:xfrm>
              <a:off x="2655502" y="3670300"/>
              <a:ext cx="958850" cy="436656"/>
            </a:xfrm>
            <a:prstGeom prst="roundRect">
              <a:avLst/>
            </a:prstGeom>
            <a:solidFill>
              <a:schemeClr val="tx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grpSp>
          <p:nvGrpSpPr>
            <p:cNvPr id="56" name="Group 55">
              <a:extLst>
                <a:ext uri="{FF2B5EF4-FFF2-40B4-BE49-F238E27FC236}">
                  <a16:creationId xmlns:a16="http://schemas.microsoft.com/office/drawing/2014/main" id="{C1607DF6-5FFB-9346-9063-E891855D650A}"/>
                </a:ext>
              </a:extLst>
            </p:cNvPr>
            <p:cNvGrpSpPr/>
            <p:nvPr/>
          </p:nvGrpSpPr>
          <p:grpSpPr>
            <a:xfrm>
              <a:off x="2776471" y="3456093"/>
              <a:ext cx="748710" cy="1056883"/>
              <a:chOff x="1496718" y="3334932"/>
              <a:chExt cx="748710" cy="1056883"/>
            </a:xfrm>
          </p:grpSpPr>
          <p:grpSp>
            <p:nvGrpSpPr>
              <p:cNvPr id="63" name="Group 62">
                <a:extLst>
                  <a:ext uri="{FF2B5EF4-FFF2-40B4-BE49-F238E27FC236}">
                    <a16:creationId xmlns:a16="http://schemas.microsoft.com/office/drawing/2014/main" id="{16F212F2-0B03-DC45-8C8B-B258F3AD3C5F}"/>
                  </a:ext>
                </a:extLst>
              </p:cNvPr>
              <p:cNvGrpSpPr/>
              <p:nvPr/>
            </p:nvGrpSpPr>
            <p:grpSpPr>
              <a:xfrm>
                <a:off x="1496718" y="3334932"/>
                <a:ext cx="748710" cy="1056883"/>
                <a:chOff x="1843570" y="3508300"/>
                <a:chExt cx="514980" cy="727982"/>
              </a:xfrm>
              <a:solidFill>
                <a:schemeClr val="bg1"/>
              </a:solidFill>
            </p:grpSpPr>
            <p:sp>
              <p:nvSpPr>
                <p:cNvPr id="67" name="Freeform 66">
                  <a:extLst>
                    <a:ext uri="{FF2B5EF4-FFF2-40B4-BE49-F238E27FC236}">
                      <a16:creationId xmlns:a16="http://schemas.microsoft.com/office/drawing/2014/main" id="{203D3397-0EC0-C54A-BB97-A989505C84DD}"/>
                    </a:ext>
                  </a:extLst>
                </p:cNvPr>
                <p:cNvSpPr/>
                <p:nvPr/>
              </p:nvSpPr>
              <p:spPr>
                <a:xfrm>
                  <a:off x="1843570" y="3787509"/>
                  <a:ext cx="514980" cy="448773"/>
                </a:xfrm>
                <a:custGeom>
                  <a:avLst/>
                  <a:gdLst>
                    <a:gd name="connsiteX0" fmla="*/ 36807 w 576731"/>
                    <a:gd name="connsiteY0" fmla="*/ 449906 h 505924"/>
                    <a:gd name="connsiteX1" fmla="*/ 39982 w 576731"/>
                    <a:gd name="connsiteY1" fmla="*/ 214956 h 505924"/>
                    <a:gd name="connsiteX2" fmla="*/ 55857 w 576731"/>
                    <a:gd name="connsiteY2" fmla="*/ 176856 h 505924"/>
                    <a:gd name="connsiteX3" fmla="*/ 103482 w 576731"/>
                    <a:gd name="connsiteY3" fmla="*/ 160981 h 505924"/>
                    <a:gd name="connsiteX4" fmla="*/ 205082 w 576731"/>
                    <a:gd name="connsiteY4" fmla="*/ 154631 h 505924"/>
                    <a:gd name="connsiteX5" fmla="*/ 230482 w 576731"/>
                    <a:gd name="connsiteY5" fmla="*/ 151456 h 505924"/>
                    <a:gd name="connsiteX6" fmla="*/ 233657 w 576731"/>
                    <a:gd name="connsiteY6" fmla="*/ 18106 h 505924"/>
                    <a:gd name="connsiteX7" fmla="*/ 344782 w 576731"/>
                    <a:gd name="connsiteY7" fmla="*/ 14931 h 505924"/>
                    <a:gd name="connsiteX8" fmla="*/ 344782 w 576731"/>
                    <a:gd name="connsiteY8" fmla="*/ 145106 h 505924"/>
                    <a:gd name="connsiteX9" fmla="*/ 386057 w 576731"/>
                    <a:gd name="connsiteY9" fmla="*/ 151456 h 505924"/>
                    <a:gd name="connsiteX10" fmla="*/ 478132 w 576731"/>
                    <a:gd name="connsiteY10" fmla="*/ 164156 h 505924"/>
                    <a:gd name="connsiteX11" fmla="*/ 519407 w 576731"/>
                    <a:gd name="connsiteY11" fmla="*/ 189556 h 505924"/>
                    <a:gd name="connsiteX12" fmla="*/ 541632 w 576731"/>
                    <a:gd name="connsiteY12" fmla="*/ 234006 h 505924"/>
                    <a:gd name="connsiteX13" fmla="*/ 538457 w 576731"/>
                    <a:gd name="connsiteY13" fmla="*/ 488006 h 505924"/>
                    <a:gd name="connsiteX14" fmla="*/ 36807 w 576731"/>
                    <a:gd name="connsiteY14" fmla="*/ 449906 h 505924"/>
                    <a:gd name="connsiteX0" fmla="*/ 5769 w 545693"/>
                    <a:gd name="connsiteY0" fmla="*/ 449906 h 505924"/>
                    <a:gd name="connsiteX1" fmla="*/ 8944 w 545693"/>
                    <a:gd name="connsiteY1" fmla="*/ 214956 h 505924"/>
                    <a:gd name="connsiteX2" fmla="*/ 24819 w 545693"/>
                    <a:gd name="connsiteY2" fmla="*/ 176856 h 505924"/>
                    <a:gd name="connsiteX3" fmla="*/ 72444 w 545693"/>
                    <a:gd name="connsiteY3" fmla="*/ 160981 h 505924"/>
                    <a:gd name="connsiteX4" fmla="*/ 174044 w 545693"/>
                    <a:gd name="connsiteY4" fmla="*/ 154631 h 505924"/>
                    <a:gd name="connsiteX5" fmla="*/ 199444 w 545693"/>
                    <a:gd name="connsiteY5" fmla="*/ 151456 h 505924"/>
                    <a:gd name="connsiteX6" fmla="*/ 202619 w 545693"/>
                    <a:gd name="connsiteY6" fmla="*/ 18106 h 505924"/>
                    <a:gd name="connsiteX7" fmla="*/ 313744 w 545693"/>
                    <a:gd name="connsiteY7" fmla="*/ 14931 h 505924"/>
                    <a:gd name="connsiteX8" fmla="*/ 313744 w 545693"/>
                    <a:gd name="connsiteY8" fmla="*/ 145106 h 505924"/>
                    <a:gd name="connsiteX9" fmla="*/ 355019 w 545693"/>
                    <a:gd name="connsiteY9" fmla="*/ 151456 h 505924"/>
                    <a:gd name="connsiteX10" fmla="*/ 447094 w 545693"/>
                    <a:gd name="connsiteY10" fmla="*/ 164156 h 505924"/>
                    <a:gd name="connsiteX11" fmla="*/ 488369 w 545693"/>
                    <a:gd name="connsiteY11" fmla="*/ 189556 h 505924"/>
                    <a:gd name="connsiteX12" fmla="*/ 510594 w 545693"/>
                    <a:gd name="connsiteY12" fmla="*/ 234006 h 505924"/>
                    <a:gd name="connsiteX13" fmla="*/ 507419 w 545693"/>
                    <a:gd name="connsiteY13" fmla="*/ 488006 h 505924"/>
                    <a:gd name="connsiteX14" fmla="*/ 5769 w 545693"/>
                    <a:gd name="connsiteY14" fmla="*/ 449906 h 505924"/>
                    <a:gd name="connsiteX0" fmla="*/ 21286 w 561210"/>
                    <a:gd name="connsiteY0" fmla="*/ 449906 h 508025"/>
                    <a:gd name="connsiteX1" fmla="*/ 24461 w 561210"/>
                    <a:gd name="connsiteY1" fmla="*/ 214956 h 508025"/>
                    <a:gd name="connsiteX2" fmla="*/ 40336 w 561210"/>
                    <a:gd name="connsiteY2" fmla="*/ 176856 h 508025"/>
                    <a:gd name="connsiteX3" fmla="*/ 87961 w 561210"/>
                    <a:gd name="connsiteY3" fmla="*/ 160981 h 508025"/>
                    <a:gd name="connsiteX4" fmla="*/ 189561 w 561210"/>
                    <a:gd name="connsiteY4" fmla="*/ 154631 h 508025"/>
                    <a:gd name="connsiteX5" fmla="*/ 214961 w 561210"/>
                    <a:gd name="connsiteY5" fmla="*/ 151456 h 508025"/>
                    <a:gd name="connsiteX6" fmla="*/ 218136 w 561210"/>
                    <a:gd name="connsiteY6" fmla="*/ 18106 h 508025"/>
                    <a:gd name="connsiteX7" fmla="*/ 329261 w 561210"/>
                    <a:gd name="connsiteY7" fmla="*/ 14931 h 508025"/>
                    <a:gd name="connsiteX8" fmla="*/ 329261 w 561210"/>
                    <a:gd name="connsiteY8" fmla="*/ 145106 h 508025"/>
                    <a:gd name="connsiteX9" fmla="*/ 370536 w 561210"/>
                    <a:gd name="connsiteY9" fmla="*/ 151456 h 508025"/>
                    <a:gd name="connsiteX10" fmla="*/ 462611 w 561210"/>
                    <a:gd name="connsiteY10" fmla="*/ 164156 h 508025"/>
                    <a:gd name="connsiteX11" fmla="*/ 503886 w 561210"/>
                    <a:gd name="connsiteY11" fmla="*/ 189556 h 508025"/>
                    <a:gd name="connsiteX12" fmla="*/ 526111 w 561210"/>
                    <a:gd name="connsiteY12" fmla="*/ 234006 h 508025"/>
                    <a:gd name="connsiteX13" fmla="*/ 522936 w 561210"/>
                    <a:gd name="connsiteY13" fmla="*/ 488006 h 508025"/>
                    <a:gd name="connsiteX14" fmla="*/ 21286 w 561210"/>
                    <a:gd name="connsiteY14" fmla="*/ 449906 h 508025"/>
                    <a:gd name="connsiteX0" fmla="*/ 21286 w 561210"/>
                    <a:gd name="connsiteY0" fmla="*/ 449906 h 508025"/>
                    <a:gd name="connsiteX1" fmla="*/ 24461 w 561210"/>
                    <a:gd name="connsiteY1" fmla="*/ 214956 h 508025"/>
                    <a:gd name="connsiteX2" fmla="*/ 40336 w 561210"/>
                    <a:gd name="connsiteY2" fmla="*/ 176856 h 508025"/>
                    <a:gd name="connsiteX3" fmla="*/ 87961 w 561210"/>
                    <a:gd name="connsiteY3" fmla="*/ 160981 h 508025"/>
                    <a:gd name="connsiteX4" fmla="*/ 189561 w 561210"/>
                    <a:gd name="connsiteY4" fmla="*/ 154631 h 508025"/>
                    <a:gd name="connsiteX5" fmla="*/ 214961 w 561210"/>
                    <a:gd name="connsiteY5" fmla="*/ 151456 h 508025"/>
                    <a:gd name="connsiteX6" fmla="*/ 218136 w 561210"/>
                    <a:gd name="connsiteY6" fmla="*/ 18106 h 508025"/>
                    <a:gd name="connsiteX7" fmla="*/ 329261 w 561210"/>
                    <a:gd name="connsiteY7" fmla="*/ 14931 h 508025"/>
                    <a:gd name="connsiteX8" fmla="*/ 329261 w 561210"/>
                    <a:gd name="connsiteY8" fmla="*/ 145106 h 508025"/>
                    <a:gd name="connsiteX9" fmla="*/ 370536 w 561210"/>
                    <a:gd name="connsiteY9" fmla="*/ 151456 h 508025"/>
                    <a:gd name="connsiteX10" fmla="*/ 462611 w 561210"/>
                    <a:gd name="connsiteY10" fmla="*/ 164156 h 508025"/>
                    <a:gd name="connsiteX11" fmla="*/ 503886 w 561210"/>
                    <a:gd name="connsiteY11" fmla="*/ 189556 h 508025"/>
                    <a:gd name="connsiteX12" fmla="*/ 526111 w 561210"/>
                    <a:gd name="connsiteY12" fmla="*/ 234006 h 508025"/>
                    <a:gd name="connsiteX13" fmla="*/ 522936 w 561210"/>
                    <a:gd name="connsiteY13" fmla="*/ 488006 h 508025"/>
                    <a:gd name="connsiteX14" fmla="*/ 21286 w 561210"/>
                    <a:gd name="connsiteY14" fmla="*/ 449906 h 508025"/>
                    <a:gd name="connsiteX0" fmla="*/ 4360 w 544284"/>
                    <a:gd name="connsiteY0" fmla="*/ 449906 h 508025"/>
                    <a:gd name="connsiteX1" fmla="*/ 7535 w 544284"/>
                    <a:gd name="connsiteY1" fmla="*/ 214956 h 508025"/>
                    <a:gd name="connsiteX2" fmla="*/ 23410 w 544284"/>
                    <a:gd name="connsiteY2" fmla="*/ 176856 h 508025"/>
                    <a:gd name="connsiteX3" fmla="*/ 71035 w 544284"/>
                    <a:gd name="connsiteY3" fmla="*/ 160981 h 508025"/>
                    <a:gd name="connsiteX4" fmla="*/ 172635 w 544284"/>
                    <a:gd name="connsiteY4" fmla="*/ 154631 h 508025"/>
                    <a:gd name="connsiteX5" fmla="*/ 198035 w 544284"/>
                    <a:gd name="connsiteY5" fmla="*/ 151456 h 508025"/>
                    <a:gd name="connsiteX6" fmla="*/ 201210 w 544284"/>
                    <a:gd name="connsiteY6" fmla="*/ 18106 h 508025"/>
                    <a:gd name="connsiteX7" fmla="*/ 312335 w 544284"/>
                    <a:gd name="connsiteY7" fmla="*/ 14931 h 508025"/>
                    <a:gd name="connsiteX8" fmla="*/ 312335 w 544284"/>
                    <a:gd name="connsiteY8" fmla="*/ 145106 h 508025"/>
                    <a:gd name="connsiteX9" fmla="*/ 353610 w 544284"/>
                    <a:gd name="connsiteY9" fmla="*/ 151456 h 508025"/>
                    <a:gd name="connsiteX10" fmla="*/ 445685 w 544284"/>
                    <a:gd name="connsiteY10" fmla="*/ 164156 h 508025"/>
                    <a:gd name="connsiteX11" fmla="*/ 486960 w 544284"/>
                    <a:gd name="connsiteY11" fmla="*/ 189556 h 508025"/>
                    <a:gd name="connsiteX12" fmla="*/ 509185 w 544284"/>
                    <a:gd name="connsiteY12" fmla="*/ 234006 h 508025"/>
                    <a:gd name="connsiteX13" fmla="*/ 506010 w 544284"/>
                    <a:gd name="connsiteY13" fmla="*/ 488006 h 508025"/>
                    <a:gd name="connsiteX14" fmla="*/ 4360 w 544284"/>
                    <a:gd name="connsiteY14" fmla="*/ 449906 h 508025"/>
                    <a:gd name="connsiteX0" fmla="*/ 4360 w 544284"/>
                    <a:gd name="connsiteY0" fmla="*/ 449906 h 500804"/>
                    <a:gd name="connsiteX1" fmla="*/ 7535 w 544284"/>
                    <a:gd name="connsiteY1" fmla="*/ 214956 h 500804"/>
                    <a:gd name="connsiteX2" fmla="*/ 23410 w 544284"/>
                    <a:gd name="connsiteY2" fmla="*/ 176856 h 500804"/>
                    <a:gd name="connsiteX3" fmla="*/ 71035 w 544284"/>
                    <a:gd name="connsiteY3" fmla="*/ 160981 h 500804"/>
                    <a:gd name="connsiteX4" fmla="*/ 172635 w 544284"/>
                    <a:gd name="connsiteY4" fmla="*/ 154631 h 500804"/>
                    <a:gd name="connsiteX5" fmla="*/ 198035 w 544284"/>
                    <a:gd name="connsiteY5" fmla="*/ 151456 h 500804"/>
                    <a:gd name="connsiteX6" fmla="*/ 201210 w 544284"/>
                    <a:gd name="connsiteY6" fmla="*/ 18106 h 500804"/>
                    <a:gd name="connsiteX7" fmla="*/ 312335 w 544284"/>
                    <a:gd name="connsiteY7" fmla="*/ 14931 h 500804"/>
                    <a:gd name="connsiteX8" fmla="*/ 312335 w 544284"/>
                    <a:gd name="connsiteY8" fmla="*/ 145106 h 500804"/>
                    <a:gd name="connsiteX9" fmla="*/ 353610 w 544284"/>
                    <a:gd name="connsiteY9" fmla="*/ 151456 h 500804"/>
                    <a:gd name="connsiteX10" fmla="*/ 445685 w 544284"/>
                    <a:gd name="connsiteY10" fmla="*/ 164156 h 500804"/>
                    <a:gd name="connsiteX11" fmla="*/ 486960 w 544284"/>
                    <a:gd name="connsiteY11" fmla="*/ 189556 h 500804"/>
                    <a:gd name="connsiteX12" fmla="*/ 509185 w 544284"/>
                    <a:gd name="connsiteY12" fmla="*/ 234006 h 500804"/>
                    <a:gd name="connsiteX13" fmla="*/ 506010 w 544284"/>
                    <a:gd name="connsiteY13" fmla="*/ 488006 h 500804"/>
                    <a:gd name="connsiteX14" fmla="*/ 4360 w 544284"/>
                    <a:gd name="connsiteY14" fmla="*/ 449906 h 500804"/>
                    <a:gd name="connsiteX0" fmla="*/ 4360 w 544284"/>
                    <a:gd name="connsiteY0" fmla="*/ 449906 h 500804"/>
                    <a:gd name="connsiteX1" fmla="*/ 7535 w 544284"/>
                    <a:gd name="connsiteY1" fmla="*/ 214956 h 500804"/>
                    <a:gd name="connsiteX2" fmla="*/ 23410 w 544284"/>
                    <a:gd name="connsiteY2" fmla="*/ 176856 h 500804"/>
                    <a:gd name="connsiteX3" fmla="*/ 71035 w 544284"/>
                    <a:gd name="connsiteY3" fmla="*/ 160981 h 500804"/>
                    <a:gd name="connsiteX4" fmla="*/ 172635 w 544284"/>
                    <a:gd name="connsiteY4" fmla="*/ 154631 h 500804"/>
                    <a:gd name="connsiteX5" fmla="*/ 198035 w 544284"/>
                    <a:gd name="connsiteY5" fmla="*/ 151456 h 500804"/>
                    <a:gd name="connsiteX6" fmla="*/ 201210 w 544284"/>
                    <a:gd name="connsiteY6" fmla="*/ 18106 h 500804"/>
                    <a:gd name="connsiteX7" fmla="*/ 312335 w 544284"/>
                    <a:gd name="connsiteY7" fmla="*/ 14931 h 500804"/>
                    <a:gd name="connsiteX8" fmla="*/ 312335 w 544284"/>
                    <a:gd name="connsiteY8" fmla="*/ 145106 h 500804"/>
                    <a:gd name="connsiteX9" fmla="*/ 353610 w 544284"/>
                    <a:gd name="connsiteY9" fmla="*/ 151456 h 500804"/>
                    <a:gd name="connsiteX10" fmla="*/ 445685 w 544284"/>
                    <a:gd name="connsiteY10" fmla="*/ 164156 h 500804"/>
                    <a:gd name="connsiteX11" fmla="*/ 486960 w 544284"/>
                    <a:gd name="connsiteY11" fmla="*/ 189556 h 500804"/>
                    <a:gd name="connsiteX12" fmla="*/ 509185 w 544284"/>
                    <a:gd name="connsiteY12" fmla="*/ 234006 h 500804"/>
                    <a:gd name="connsiteX13" fmla="*/ 506010 w 544284"/>
                    <a:gd name="connsiteY13" fmla="*/ 488006 h 500804"/>
                    <a:gd name="connsiteX14" fmla="*/ 4360 w 544284"/>
                    <a:gd name="connsiteY14" fmla="*/ 449906 h 500804"/>
                    <a:gd name="connsiteX0" fmla="*/ 4360 w 519024"/>
                    <a:gd name="connsiteY0" fmla="*/ 449906 h 500804"/>
                    <a:gd name="connsiteX1" fmla="*/ 7535 w 519024"/>
                    <a:gd name="connsiteY1" fmla="*/ 214956 h 500804"/>
                    <a:gd name="connsiteX2" fmla="*/ 23410 w 519024"/>
                    <a:gd name="connsiteY2" fmla="*/ 176856 h 500804"/>
                    <a:gd name="connsiteX3" fmla="*/ 71035 w 519024"/>
                    <a:gd name="connsiteY3" fmla="*/ 160981 h 500804"/>
                    <a:gd name="connsiteX4" fmla="*/ 172635 w 519024"/>
                    <a:gd name="connsiteY4" fmla="*/ 154631 h 500804"/>
                    <a:gd name="connsiteX5" fmla="*/ 198035 w 519024"/>
                    <a:gd name="connsiteY5" fmla="*/ 151456 h 500804"/>
                    <a:gd name="connsiteX6" fmla="*/ 201210 w 519024"/>
                    <a:gd name="connsiteY6" fmla="*/ 18106 h 500804"/>
                    <a:gd name="connsiteX7" fmla="*/ 312335 w 519024"/>
                    <a:gd name="connsiteY7" fmla="*/ 14931 h 500804"/>
                    <a:gd name="connsiteX8" fmla="*/ 312335 w 519024"/>
                    <a:gd name="connsiteY8" fmla="*/ 145106 h 500804"/>
                    <a:gd name="connsiteX9" fmla="*/ 353610 w 519024"/>
                    <a:gd name="connsiteY9" fmla="*/ 151456 h 500804"/>
                    <a:gd name="connsiteX10" fmla="*/ 445685 w 519024"/>
                    <a:gd name="connsiteY10" fmla="*/ 164156 h 500804"/>
                    <a:gd name="connsiteX11" fmla="*/ 486960 w 519024"/>
                    <a:gd name="connsiteY11" fmla="*/ 189556 h 500804"/>
                    <a:gd name="connsiteX12" fmla="*/ 509185 w 519024"/>
                    <a:gd name="connsiteY12" fmla="*/ 234006 h 500804"/>
                    <a:gd name="connsiteX13" fmla="*/ 506010 w 519024"/>
                    <a:gd name="connsiteY13" fmla="*/ 488006 h 500804"/>
                    <a:gd name="connsiteX14" fmla="*/ 4360 w 519024"/>
                    <a:gd name="connsiteY14" fmla="*/ 449906 h 500804"/>
                    <a:gd name="connsiteX0" fmla="*/ 4360 w 519024"/>
                    <a:gd name="connsiteY0" fmla="*/ 449906 h 488006"/>
                    <a:gd name="connsiteX1" fmla="*/ 7535 w 519024"/>
                    <a:gd name="connsiteY1" fmla="*/ 214956 h 488006"/>
                    <a:gd name="connsiteX2" fmla="*/ 23410 w 519024"/>
                    <a:gd name="connsiteY2" fmla="*/ 176856 h 488006"/>
                    <a:gd name="connsiteX3" fmla="*/ 71035 w 519024"/>
                    <a:gd name="connsiteY3" fmla="*/ 160981 h 488006"/>
                    <a:gd name="connsiteX4" fmla="*/ 172635 w 519024"/>
                    <a:gd name="connsiteY4" fmla="*/ 154631 h 488006"/>
                    <a:gd name="connsiteX5" fmla="*/ 198035 w 519024"/>
                    <a:gd name="connsiteY5" fmla="*/ 151456 h 488006"/>
                    <a:gd name="connsiteX6" fmla="*/ 201210 w 519024"/>
                    <a:gd name="connsiteY6" fmla="*/ 18106 h 488006"/>
                    <a:gd name="connsiteX7" fmla="*/ 312335 w 519024"/>
                    <a:gd name="connsiteY7" fmla="*/ 14931 h 488006"/>
                    <a:gd name="connsiteX8" fmla="*/ 312335 w 519024"/>
                    <a:gd name="connsiteY8" fmla="*/ 145106 h 488006"/>
                    <a:gd name="connsiteX9" fmla="*/ 353610 w 519024"/>
                    <a:gd name="connsiteY9" fmla="*/ 151456 h 488006"/>
                    <a:gd name="connsiteX10" fmla="*/ 445685 w 519024"/>
                    <a:gd name="connsiteY10" fmla="*/ 164156 h 488006"/>
                    <a:gd name="connsiteX11" fmla="*/ 486960 w 519024"/>
                    <a:gd name="connsiteY11" fmla="*/ 189556 h 488006"/>
                    <a:gd name="connsiteX12" fmla="*/ 509185 w 519024"/>
                    <a:gd name="connsiteY12" fmla="*/ 234006 h 488006"/>
                    <a:gd name="connsiteX13" fmla="*/ 506010 w 519024"/>
                    <a:gd name="connsiteY13" fmla="*/ 488006 h 488006"/>
                    <a:gd name="connsiteX14" fmla="*/ 4360 w 519024"/>
                    <a:gd name="connsiteY14" fmla="*/ 449906 h 488006"/>
                    <a:gd name="connsiteX0" fmla="*/ 4360 w 523534"/>
                    <a:gd name="connsiteY0" fmla="*/ 449906 h 472131"/>
                    <a:gd name="connsiteX1" fmla="*/ 7535 w 523534"/>
                    <a:gd name="connsiteY1" fmla="*/ 214956 h 472131"/>
                    <a:gd name="connsiteX2" fmla="*/ 23410 w 523534"/>
                    <a:gd name="connsiteY2" fmla="*/ 176856 h 472131"/>
                    <a:gd name="connsiteX3" fmla="*/ 71035 w 523534"/>
                    <a:gd name="connsiteY3" fmla="*/ 160981 h 472131"/>
                    <a:gd name="connsiteX4" fmla="*/ 172635 w 523534"/>
                    <a:gd name="connsiteY4" fmla="*/ 154631 h 472131"/>
                    <a:gd name="connsiteX5" fmla="*/ 198035 w 523534"/>
                    <a:gd name="connsiteY5" fmla="*/ 151456 h 472131"/>
                    <a:gd name="connsiteX6" fmla="*/ 201210 w 523534"/>
                    <a:gd name="connsiteY6" fmla="*/ 18106 h 472131"/>
                    <a:gd name="connsiteX7" fmla="*/ 312335 w 523534"/>
                    <a:gd name="connsiteY7" fmla="*/ 14931 h 472131"/>
                    <a:gd name="connsiteX8" fmla="*/ 312335 w 523534"/>
                    <a:gd name="connsiteY8" fmla="*/ 145106 h 472131"/>
                    <a:gd name="connsiteX9" fmla="*/ 353610 w 523534"/>
                    <a:gd name="connsiteY9" fmla="*/ 151456 h 472131"/>
                    <a:gd name="connsiteX10" fmla="*/ 445685 w 523534"/>
                    <a:gd name="connsiteY10" fmla="*/ 164156 h 472131"/>
                    <a:gd name="connsiteX11" fmla="*/ 486960 w 523534"/>
                    <a:gd name="connsiteY11" fmla="*/ 189556 h 472131"/>
                    <a:gd name="connsiteX12" fmla="*/ 509185 w 523534"/>
                    <a:gd name="connsiteY12" fmla="*/ 234006 h 472131"/>
                    <a:gd name="connsiteX13" fmla="*/ 512360 w 523534"/>
                    <a:gd name="connsiteY13" fmla="*/ 472131 h 472131"/>
                    <a:gd name="connsiteX14" fmla="*/ 4360 w 523534"/>
                    <a:gd name="connsiteY14" fmla="*/ 449906 h 472131"/>
                    <a:gd name="connsiteX0" fmla="*/ 4360 w 513675"/>
                    <a:gd name="connsiteY0" fmla="*/ 449906 h 472131"/>
                    <a:gd name="connsiteX1" fmla="*/ 7535 w 513675"/>
                    <a:gd name="connsiteY1" fmla="*/ 214956 h 472131"/>
                    <a:gd name="connsiteX2" fmla="*/ 23410 w 513675"/>
                    <a:gd name="connsiteY2" fmla="*/ 176856 h 472131"/>
                    <a:gd name="connsiteX3" fmla="*/ 71035 w 513675"/>
                    <a:gd name="connsiteY3" fmla="*/ 160981 h 472131"/>
                    <a:gd name="connsiteX4" fmla="*/ 172635 w 513675"/>
                    <a:gd name="connsiteY4" fmla="*/ 154631 h 472131"/>
                    <a:gd name="connsiteX5" fmla="*/ 198035 w 513675"/>
                    <a:gd name="connsiteY5" fmla="*/ 151456 h 472131"/>
                    <a:gd name="connsiteX6" fmla="*/ 201210 w 513675"/>
                    <a:gd name="connsiteY6" fmla="*/ 18106 h 472131"/>
                    <a:gd name="connsiteX7" fmla="*/ 312335 w 513675"/>
                    <a:gd name="connsiteY7" fmla="*/ 14931 h 472131"/>
                    <a:gd name="connsiteX8" fmla="*/ 312335 w 513675"/>
                    <a:gd name="connsiteY8" fmla="*/ 145106 h 472131"/>
                    <a:gd name="connsiteX9" fmla="*/ 353610 w 513675"/>
                    <a:gd name="connsiteY9" fmla="*/ 151456 h 472131"/>
                    <a:gd name="connsiteX10" fmla="*/ 445685 w 513675"/>
                    <a:gd name="connsiteY10" fmla="*/ 164156 h 472131"/>
                    <a:gd name="connsiteX11" fmla="*/ 486960 w 513675"/>
                    <a:gd name="connsiteY11" fmla="*/ 189556 h 472131"/>
                    <a:gd name="connsiteX12" fmla="*/ 509185 w 513675"/>
                    <a:gd name="connsiteY12" fmla="*/ 234006 h 472131"/>
                    <a:gd name="connsiteX13" fmla="*/ 512360 w 513675"/>
                    <a:gd name="connsiteY13" fmla="*/ 472131 h 472131"/>
                    <a:gd name="connsiteX14" fmla="*/ 4360 w 513675"/>
                    <a:gd name="connsiteY14" fmla="*/ 449906 h 472131"/>
                    <a:gd name="connsiteX0" fmla="*/ 4360 w 513675"/>
                    <a:gd name="connsiteY0" fmla="*/ 446969 h 469194"/>
                    <a:gd name="connsiteX1" fmla="*/ 7535 w 513675"/>
                    <a:gd name="connsiteY1" fmla="*/ 212019 h 469194"/>
                    <a:gd name="connsiteX2" fmla="*/ 23410 w 513675"/>
                    <a:gd name="connsiteY2" fmla="*/ 173919 h 469194"/>
                    <a:gd name="connsiteX3" fmla="*/ 71035 w 513675"/>
                    <a:gd name="connsiteY3" fmla="*/ 158044 h 469194"/>
                    <a:gd name="connsiteX4" fmla="*/ 172635 w 513675"/>
                    <a:gd name="connsiteY4" fmla="*/ 151694 h 469194"/>
                    <a:gd name="connsiteX5" fmla="*/ 188510 w 513675"/>
                    <a:gd name="connsiteY5" fmla="*/ 94544 h 469194"/>
                    <a:gd name="connsiteX6" fmla="*/ 201210 w 513675"/>
                    <a:gd name="connsiteY6" fmla="*/ 15169 h 469194"/>
                    <a:gd name="connsiteX7" fmla="*/ 312335 w 513675"/>
                    <a:gd name="connsiteY7" fmla="*/ 11994 h 469194"/>
                    <a:gd name="connsiteX8" fmla="*/ 312335 w 513675"/>
                    <a:gd name="connsiteY8" fmla="*/ 142169 h 469194"/>
                    <a:gd name="connsiteX9" fmla="*/ 353610 w 513675"/>
                    <a:gd name="connsiteY9" fmla="*/ 148519 h 469194"/>
                    <a:gd name="connsiteX10" fmla="*/ 445685 w 513675"/>
                    <a:gd name="connsiteY10" fmla="*/ 161219 h 469194"/>
                    <a:gd name="connsiteX11" fmla="*/ 486960 w 513675"/>
                    <a:gd name="connsiteY11" fmla="*/ 186619 h 469194"/>
                    <a:gd name="connsiteX12" fmla="*/ 509185 w 513675"/>
                    <a:gd name="connsiteY12" fmla="*/ 231069 h 469194"/>
                    <a:gd name="connsiteX13" fmla="*/ 512360 w 513675"/>
                    <a:gd name="connsiteY13" fmla="*/ 469194 h 469194"/>
                    <a:gd name="connsiteX14" fmla="*/ 4360 w 513675"/>
                    <a:gd name="connsiteY14" fmla="*/ 446969 h 469194"/>
                    <a:gd name="connsiteX0" fmla="*/ 4360 w 513675"/>
                    <a:gd name="connsiteY0" fmla="*/ 443409 h 465634"/>
                    <a:gd name="connsiteX1" fmla="*/ 7535 w 513675"/>
                    <a:gd name="connsiteY1" fmla="*/ 208459 h 465634"/>
                    <a:gd name="connsiteX2" fmla="*/ 23410 w 513675"/>
                    <a:gd name="connsiteY2" fmla="*/ 170359 h 465634"/>
                    <a:gd name="connsiteX3" fmla="*/ 71035 w 513675"/>
                    <a:gd name="connsiteY3" fmla="*/ 154484 h 465634"/>
                    <a:gd name="connsiteX4" fmla="*/ 172635 w 513675"/>
                    <a:gd name="connsiteY4" fmla="*/ 148134 h 465634"/>
                    <a:gd name="connsiteX5" fmla="*/ 188510 w 513675"/>
                    <a:gd name="connsiteY5" fmla="*/ 90984 h 465634"/>
                    <a:gd name="connsiteX6" fmla="*/ 201210 w 513675"/>
                    <a:gd name="connsiteY6" fmla="*/ 11609 h 465634"/>
                    <a:gd name="connsiteX7" fmla="*/ 312335 w 513675"/>
                    <a:gd name="connsiteY7" fmla="*/ 8434 h 465634"/>
                    <a:gd name="connsiteX8" fmla="*/ 312335 w 513675"/>
                    <a:gd name="connsiteY8" fmla="*/ 87809 h 465634"/>
                    <a:gd name="connsiteX9" fmla="*/ 353610 w 513675"/>
                    <a:gd name="connsiteY9" fmla="*/ 144959 h 465634"/>
                    <a:gd name="connsiteX10" fmla="*/ 445685 w 513675"/>
                    <a:gd name="connsiteY10" fmla="*/ 157659 h 465634"/>
                    <a:gd name="connsiteX11" fmla="*/ 486960 w 513675"/>
                    <a:gd name="connsiteY11" fmla="*/ 183059 h 465634"/>
                    <a:gd name="connsiteX12" fmla="*/ 509185 w 513675"/>
                    <a:gd name="connsiteY12" fmla="*/ 227509 h 465634"/>
                    <a:gd name="connsiteX13" fmla="*/ 512360 w 513675"/>
                    <a:gd name="connsiteY13" fmla="*/ 465634 h 465634"/>
                    <a:gd name="connsiteX14" fmla="*/ 4360 w 513675"/>
                    <a:gd name="connsiteY14" fmla="*/ 443409 h 465634"/>
                    <a:gd name="connsiteX0" fmla="*/ 4360 w 513675"/>
                    <a:gd name="connsiteY0" fmla="*/ 443409 h 465634"/>
                    <a:gd name="connsiteX1" fmla="*/ 7535 w 513675"/>
                    <a:gd name="connsiteY1" fmla="*/ 208459 h 465634"/>
                    <a:gd name="connsiteX2" fmla="*/ 23410 w 513675"/>
                    <a:gd name="connsiteY2" fmla="*/ 170359 h 465634"/>
                    <a:gd name="connsiteX3" fmla="*/ 71035 w 513675"/>
                    <a:gd name="connsiteY3" fmla="*/ 154484 h 465634"/>
                    <a:gd name="connsiteX4" fmla="*/ 172635 w 513675"/>
                    <a:gd name="connsiteY4" fmla="*/ 148134 h 465634"/>
                    <a:gd name="connsiteX5" fmla="*/ 188510 w 513675"/>
                    <a:gd name="connsiteY5" fmla="*/ 90984 h 465634"/>
                    <a:gd name="connsiteX6" fmla="*/ 201210 w 513675"/>
                    <a:gd name="connsiteY6" fmla="*/ 11609 h 465634"/>
                    <a:gd name="connsiteX7" fmla="*/ 312335 w 513675"/>
                    <a:gd name="connsiteY7" fmla="*/ 8434 h 465634"/>
                    <a:gd name="connsiteX8" fmla="*/ 312335 w 513675"/>
                    <a:gd name="connsiteY8" fmla="*/ 87809 h 465634"/>
                    <a:gd name="connsiteX9" fmla="*/ 334560 w 513675"/>
                    <a:gd name="connsiteY9" fmla="*/ 135434 h 465634"/>
                    <a:gd name="connsiteX10" fmla="*/ 445685 w 513675"/>
                    <a:gd name="connsiteY10" fmla="*/ 157659 h 465634"/>
                    <a:gd name="connsiteX11" fmla="*/ 486960 w 513675"/>
                    <a:gd name="connsiteY11" fmla="*/ 183059 h 465634"/>
                    <a:gd name="connsiteX12" fmla="*/ 509185 w 513675"/>
                    <a:gd name="connsiteY12" fmla="*/ 227509 h 465634"/>
                    <a:gd name="connsiteX13" fmla="*/ 512360 w 513675"/>
                    <a:gd name="connsiteY13" fmla="*/ 465634 h 465634"/>
                    <a:gd name="connsiteX14" fmla="*/ 4360 w 513675"/>
                    <a:gd name="connsiteY14" fmla="*/ 443409 h 465634"/>
                    <a:gd name="connsiteX0" fmla="*/ 4360 w 510500"/>
                    <a:gd name="connsiteY0" fmla="*/ 443409 h 449759"/>
                    <a:gd name="connsiteX1" fmla="*/ 7535 w 510500"/>
                    <a:gd name="connsiteY1" fmla="*/ 208459 h 449759"/>
                    <a:gd name="connsiteX2" fmla="*/ 23410 w 510500"/>
                    <a:gd name="connsiteY2" fmla="*/ 170359 h 449759"/>
                    <a:gd name="connsiteX3" fmla="*/ 71035 w 510500"/>
                    <a:gd name="connsiteY3" fmla="*/ 154484 h 449759"/>
                    <a:gd name="connsiteX4" fmla="*/ 172635 w 510500"/>
                    <a:gd name="connsiteY4" fmla="*/ 148134 h 449759"/>
                    <a:gd name="connsiteX5" fmla="*/ 188510 w 510500"/>
                    <a:gd name="connsiteY5" fmla="*/ 90984 h 449759"/>
                    <a:gd name="connsiteX6" fmla="*/ 201210 w 510500"/>
                    <a:gd name="connsiteY6" fmla="*/ 11609 h 449759"/>
                    <a:gd name="connsiteX7" fmla="*/ 312335 w 510500"/>
                    <a:gd name="connsiteY7" fmla="*/ 8434 h 449759"/>
                    <a:gd name="connsiteX8" fmla="*/ 312335 w 510500"/>
                    <a:gd name="connsiteY8" fmla="*/ 87809 h 449759"/>
                    <a:gd name="connsiteX9" fmla="*/ 334560 w 510500"/>
                    <a:gd name="connsiteY9" fmla="*/ 135434 h 449759"/>
                    <a:gd name="connsiteX10" fmla="*/ 445685 w 510500"/>
                    <a:gd name="connsiteY10" fmla="*/ 157659 h 449759"/>
                    <a:gd name="connsiteX11" fmla="*/ 486960 w 510500"/>
                    <a:gd name="connsiteY11" fmla="*/ 183059 h 449759"/>
                    <a:gd name="connsiteX12" fmla="*/ 509185 w 510500"/>
                    <a:gd name="connsiteY12" fmla="*/ 227509 h 449759"/>
                    <a:gd name="connsiteX13" fmla="*/ 506010 w 510500"/>
                    <a:gd name="connsiteY13" fmla="*/ 449759 h 449759"/>
                    <a:gd name="connsiteX14" fmla="*/ 4360 w 510500"/>
                    <a:gd name="connsiteY14" fmla="*/ 443409 h 449759"/>
                    <a:gd name="connsiteX0" fmla="*/ 4360 w 510500"/>
                    <a:gd name="connsiteY0" fmla="*/ 443409 h 454926"/>
                    <a:gd name="connsiteX1" fmla="*/ 7535 w 510500"/>
                    <a:gd name="connsiteY1" fmla="*/ 208459 h 454926"/>
                    <a:gd name="connsiteX2" fmla="*/ 23410 w 510500"/>
                    <a:gd name="connsiteY2" fmla="*/ 170359 h 454926"/>
                    <a:gd name="connsiteX3" fmla="*/ 71035 w 510500"/>
                    <a:gd name="connsiteY3" fmla="*/ 154484 h 454926"/>
                    <a:gd name="connsiteX4" fmla="*/ 172635 w 510500"/>
                    <a:gd name="connsiteY4" fmla="*/ 148134 h 454926"/>
                    <a:gd name="connsiteX5" fmla="*/ 188510 w 510500"/>
                    <a:gd name="connsiteY5" fmla="*/ 90984 h 454926"/>
                    <a:gd name="connsiteX6" fmla="*/ 201210 w 510500"/>
                    <a:gd name="connsiteY6" fmla="*/ 11609 h 454926"/>
                    <a:gd name="connsiteX7" fmla="*/ 312335 w 510500"/>
                    <a:gd name="connsiteY7" fmla="*/ 8434 h 454926"/>
                    <a:gd name="connsiteX8" fmla="*/ 312335 w 510500"/>
                    <a:gd name="connsiteY8" fmla="*/ 87809 h 454926"/>
                    <a:gd name="connsiteX9" fmla="*/ 334560 w 510500"/>
                    <a:gd name="connsiteY9" fmla="*/ 135434 h 454926"/>
                    <a:gd name="connsiteX10" fmla="*/ 445685 w 510500"/>
                    <a:gd name="connsiteY10" fmla="*/ 157659 h 454926"/>
                    <a:gd name="connsiteX11" fmla="*/ 486960 w 510500"/>
                    <a:gd name="connsiteY11" fmla="*/ 183059 h 454926"/>
                    <a:gd name="connsiteX12" fmla="*/ 509185 w 510500"/>
                    <a:gd name="connsiteY12" fmla="*/ 227509 h 454926"/>
                    <a:gd name="connsiteX13" fmla="*/ 506010 w 510500"/>
                    <a:gd name="connsiteY13" fmla="*/ 449759 h 454926"/>
                    <a:gd name="connsiteX14" fmla="*/ 4360 w 510500"/>
                    <a:gd name="connsiteY14" fmla="*/ 443409 h 454926"/>
                    <a:gd name="connsiteX0" fmla="*/ 6473 w 512613"/>
                    <a:gd name="connsiteY0" fmla="*/ 443409 h 454926"/>
                    <a:gd name="connsiteX1" fmla="*/ 9648 w 512613"/>
                    <a:gd name="connsiteY1" fmla="*/ 208459 h 454926"/>
                    <a:gd name="connsiteX2" fmla="*/ 73148 w 512613"/>
                    <a:gd name="connsiteY2" fmla="*/ 154484 h 454926"/>
                    <a:gd name="connsiteX3" fmla="*/ 174748 w 512613"/>
                    <a:gd name="connsiteY3" fmla="*/ 148134 h 454926"/>
                    <a:gd name="connsiteX4" fmla="*/ 190623 w 512613"/>
                    <a:gd name="connsiteY4" fmla="*/ 90984 h 454926"/>
                    <a:gd name="connsiteX5" fmla="*/ 203323 w 512613"/>
                    <a:gd name="connsiteY5" fmla="*/ 11609 h 454926"/>
                    <a:gd name="connsiteX6" fmla="*/ 314448 w 512613"/>
                    <a:gd name="connsiteY6" fmla="*/ 8434 h 454926"/>
                    <a:gd name="connsiteX7" fmla="*/ 314448 w 512613"/>
                    <a:gd name="connsiteY7" fmla="*/ 87809 h 454926"/>
                    <a:gd name="connsiteX8" fmla="*/ 336673 w 512613"/>
                    <a:gd name="connsiteY8" fmla="*/ 135434 h 454926"/>
                    <a:gd name="connsiteX9" fmla="*/ 447798 w 512613"/>
                    <a:gd name="connsiteY9" fmla="*/ 157659 h 454926"/>
                    <a:gd name="connsiteX10" fmla="*/ 489073 w 512613"/>
                    <a:gd name="connsiteY10" fmla="*/ 183059 h 454926"/>
                    <a:gd name="connsiteX11" fmla="*/ 511298 w 512613"/>
                    <a:gd name="connsiteY11" fmla="*/ 227509 h 454926"/>
                    <a:gd name="connsiteX12" fmla="*/ 508123 w 512613"/>
                    <a:gd name="connsiteY12" fmla="*/ 449759 h 454926"/>
                    <a:gd name="connsiteX13" fmla="*/ 6473 w 512613"/>
                    <a:gd name="connsiteY13" fmla="*/ 443409 h 454926"/>
                    <a:gd name="connsiteX0" fmla="*/ 4049 w 510189"/>
                    <a:gd name="connsiteY0" fmla="*/ 443409 h 454926"/>
                    <a:gd name="connsiteX1" fmla="*/ 7224 w 510189"/>
                    <a:gd name="connsiteY1" fmla="*/ 208459 h 454926"/>
                    <a:gd name="connsiteX2" fmla="*/ 70724 w 510189"/>
                    <a:gd name="connsiteY2" fmla="*/ 154484 h 454926"/>
                    <a:gd name="connsiteX3" fmla="*/ 172324 w 510189"/>
                    <a:gd name="connsiteY3" fmla="*/ 148134 h 454926"/>
                    <a:gd name="connsiteX4" fmla="*/ 188199 w 510189"/>
                    <a:gd name="connsiteY4" fmla="*/ 90984 h 454926"/>
                    <a:gd name="connsiteX5" fmla="*/ 200899 w 510189"/>
                    <a:gd name="connsiteY5" fmla="*/ 11609 h 454926"/>
                    <a:gd name="connsiteX6" fmla="*/ 312024 w 510189"/>
                    <a:gd name="connsiteY6" fmla="*/ 8434 h 454926"/>
                    <a:gd name="connsiteX7" fmla="*/ 312024 w 510189"/>
                    <a:gd name="connsiteY7" fmla="*/ 87809 h 454926"/>
                    <a:gd name="connsiteX8" fmla="*/ 334249 w 510189"/>
                    <a:gd name="connsiteY8" fmla="*/ 135434 h 454926"/>
                    <a:gd name="connsiteX9" fmla="*/ 445374 w 510189"/>
                    <a:gd name="connsiteY9" fmla="*/ 157659 h 454926"/>
                    <a:gd name="connsiteX10" fmla="*/ 486649 w 510189"/>
                    <a:gd name="connsiteY10" fmla="*/ 183059 h 454926"/>
                    <a:gd name="connsiteX11" fmla="*/ 508874 w 510189"/>
                    <a:gd name="connsiteY11" fmla="*/ 227509 h 454926"/>
                    <a:gd name="connsiteX12" fmla="*/ 505699 w 510189"/>
                    <a:gd name="connsiteY12" fmla="*/ 449759 h 454926"/>
                    <a:gd name="connsiteX13" fmla="*/ 4049 w 510189"/>
                    <a:gd name="connsiteY13" fmla="*/ 443409 h 454926"/>
                    <a:gd name="connsiteX0" fmla="*/ 4049 w 510189"/>
                    <a:gd name="connsiteY0" fmla="*/ 443409 h 454926"/>
                    <a:gd name="connsiteX1" fmla="*/ 7224 w 510189"/>
                    <a:gd name="connsiteY1" fmla="*/ 208459 h 454926"/>
                    <a:gd name="connsiteX2" fmla="*/ 70724 w 510189"/>
                    <a:gd name="connsiteY2" fmla="*/ 154484 h 454926"/>
                    <a:gd name="connsiteX3" fmla="*/ 172324 w 510189"/>
                    <a:gd name="connsiteY3" fmla="*/ 148134 h 454926"/>
                    <a:gd name="connsiteX4" fmla="*/ 188199 w 510189"/>
                    <a:gd name="connsiteY4" fmla="*/ 90984 h 454926"/>
                    <a:gd name="connsiteX5" fmla="*/ 200899 w 510189"/>
                    <a:gd name="connsiteY5" fmla="*/ 11609 h 454926"/>
                    <a:gd name="connsiteX6" fmla="*/ 312024 w 510189"/>
                    <a:gd name="connsiteY6" fmla="*/ 8434 h 454926"/>
                    <a:gd name="connsiteX7" fmla="*/ 312024 w 510189"/>
                    <a:gd name="connsiteY7" fmla="*/ 87809 h 454926"/>
                    <a:gd name="connsiteX8" fmla="*/ 334249 w 510189"/>
                    <a:gd name="connsiteY8" fmla="*/ 135434 h 454926"/>
                    <a:gd name="connsiteX9" fmla="*/ 445374 w 510189"/>
                    <a:gd name="connsiteY9" fmla="*/ 157659 h 454926"/>
                    <a:gd name="connsiteX10" fmla="*/ 508874 w 510189"/>
                    <a:gd name="connsiteY10" fmla="*/ 227509 h 454926"/>
                    <a:gd name="connsiteX11" fmla="*/ 505699 w 510189"/>
                    <a:gd name="connsiteY11" fmla="*/ 449759 h 454926"/>
                    <a:gd name="connsiteX12" fmla="*/ 4049 w 510189"/>
                    <a:gd name="connsiteY12" fmla="*/ 443409 h 454926"/>
                    <a:gd name="connsiteX0" fmla="*/ 4049 w 510189"/>
                    <a:gd name="connsiteY0" fmla="*/ 443409 h 454926"/>
                    <a:gd name="connsiteX1" fmla="*/ 7224 w 510189"/>
                    <a:gd name="connsiteY1" fmla="*/ 208459 h 454926"/>
                    <a:gd name="connsiteX2" fmla="*/ 70724 w 510189"/>
                    <a:gd name="connsiteY2" fmla="*/ 154484 h 454926"/>
                    <a:gd name="connsiteX3" fmla="*/ 172324 w 510189"/>
                    <a:gd name="connsiteY3" fmla="*/ 148134 h 454926"/>
                    <a:gd name="connsiteX4" fmla="*/ 188199 w 510189"/>
                    <a:gd name="connsiteY4" fmla="*/ 90984 h 454926"/>
                    <a:gd name="connsiteX5" fmla="*/ 200899 w 510189"/>
                    <a:gd name="connsiteY5" fmla="*/ 11609 h 454926"/>
                    <a:gd name="connsiteX6" fmla="*/ 312024 w 510189"/>
                    <a:gd name="connsiteY6" fmla="*/ 8434 h 454926"/>
                    <a:gd name="connsiteX7" fmla="*/ 312024 w 510189"/>
                    <a:gd name="connsiteY7" fmla="*/ 87809 h 454926"/>
                    <a:gd name="connsiteX8" fmla="*/ 334249 w 510189"/>
                    <a:gd name="connsiteY8" fmla="*/ 135434 h 454926"/>
                    <a:gd name="connsiteX9" fmla="*/ 445374 w 510189"/>
                    <a:gd name="connsiteY9" fmla="*/ 157659 h 454926"/>
                    <a:gd name="connsiteX10" fmla="*/ 508874 w 510189"/>
                    <a:gd name="connsiteY10" fmla="*/ 227509 h 454926"/>
                    <a:gd name="connsiteX11" fmla="*/ 505699 w 510189"/>
                    <a:gd name="connsiteY11" fmla="*/ 449759 h 454926"/>
                    <a:gd name="connsiteX12" fmla="*/ 4049 w 510189"/>
                    <a:gd name="connsiteY12" fmla="*/ 443409 h 454926"/>
                    <a:gd name="connsiteX0" fmla="*/ 5987 w 512127"/>
                    <a:gd name="connsiteY0" fmla="*/ 443409 h 454926"/>
                    <a:gd name="connsiteX1" fmla="*/ 2812 w 512127"/>
                    <a:gd name="connsiteY1" fmla="*/ 217984 h 454926"/>
                    <a:gd name="connsiteX2" fmla="*/ 72662 w 512127"/>
                    <a:gd name="connsiteY2" fmla="*/ 154484 h 454926"/>
                    <a:gd name="connsiteX3" fmla="*/ 174262 w 512127"/>
                    <a:gd name="connsiteY3" fmla="*/ 148134 h 454926"/>
                    <a:gd name="connsiteX4" fmla="*/ 190137 w 512127"/>
                    <a:gd name="connsiteY4" fmla="*/ 90984 h 454926"/>
                    <a:gd name="connsiteX5" fmla="*/ 202837 w 512127"/>
                    <a:gd name="connsiteY5" fmla="*/ 11609 h 454926"/>
                    <a:gd name="connsiteX6" fmla="*/ 313962 w 512127"/>
                    <a:gd name="connsiteY6" fmla="*/ 8434 h 454926"/>
                    <a:gd name="connsiteX7" fmla="*/ 313962 w 512127"/>
                    <a:gd name="connsiteY7" fmla="*/ 87809 h 454926"/>
                    <a:gd name="connsiteX8" fmla="*/ 336187 w 512127"/>
                    <a:gd name="connsiteY8" fmla="*/ 135434 h 454926"/>
                    <a:gd name="connsiteX9" fmla="*/ 447312 w 512127"/>
                    <a:gd name="connsiteY9" fmla="*/ 157659 h 454926"/>
                    <a:gd name="connsiteX10" fmla="*/ 510812 w 512127"/>
                    <a:gd name="connsiteY10" fmla="*/ 227509 h 454926"/>
                    <a:gd name="connsiteX11" fmla="*/ 507637 w 512127"/>
                    <a:gd name="connsiteY11" fmla="*/ 449759 h 454926"/>
                    <a:gd name="connsiteX12" fmla="*/ 5987 w 512127"/>
                    <a:gd name="connsiteY12" fmla="*/ 443409 h 454926"/>
                    <a:gd name="connsiteX0" fmla="*/ 9762 w 515902"/>
                    <a:gd name="connsiteY0" fmla="*/ 443409 h 454926"/>
                    <a:gd name="connsiteX1" fmla="*/ 6587 w 515902"/>
                    <a:gd name="connsiteY1" fmla="*/ 217984 h 454926"/>
                    <a:gd name="connsiteX2" fmla="*/ 76437 w 515902"/>
                    <a:gd name="connsiteY2" fmla="*/ 154484 h 454926"/>
                    <a:gd name="connsiteX3" fmla="*/ 178037 w 515902"/>
                    <a:gd name="connsiteY3" fmla="*/ 148134 h 454926"/>
                    <a:gd name="connsiteX4" fmla="*/ 193912 w 515902"/>
                    <a:gd name="connsiteY4" fmla="*/ 90984 h 454926"/>
                    <a:gd name="connsiteX5" fmla="*/ 206612 w 515902"/>
                    <a:gd name="connsiteY5" fmla="*/ 11609 h 454926"/>
                    <a:gd name="connsiteX6" fmla="*/ 317737 w 515902"/>
                    <a:gd name="connsiteY6" fmla="*/ 8434 h 454926"/>
                    <a:gd name="connsiteX7" fmla="*/ 317737 w 515902"/>
                    <a:gd name="connsiteY7" fmla="*/ 87809 h 454926"/>
                    <a:gd name="connsiteX8" fmla="*/ 339962 w 515902"/>
                    <a:gd name="connsiteY8" fmla="*/ 135434 h 454926"/>
                    <a:gd name="connsiteX9" fmla="*/ 451087 w 515902"/>
                    <a:gd name="connsiteY9" fmla="*/ 157659 h 454926"/>
                    <a:gd name="connsiteX10" fmla="*/ 514587 w 515902"/>
                    <a:gd name="connsiteY10" fmla="*/ 227509 h 454926"/>
                    <a:gd name="connsiteX11" fmla="*/ 511412 w 515902"/>
                    <a:gd name="connsiteY11" fmla="*/ 449759 h 454926"/>
                    <a:gd name="connsiteX12" fmla="*/ 9762 w 515902"/>
                    <a:gd name="connsiteY12" fmla="*/ 443409 h 454926"/>
                    <a:gd name="connsiteX0" fmla="*/ 9762 w 515902"/>
                    <a:gd name="connsiteY0" fmla="*/ 443409 h 454926"/>
                    <a:gd name="connsiteX1" fmla="*/ 6587 w 515902"/>
                    <a:gd name="connsiteY1" fmla="*/ 217984 h 454926"/>
                    <a:gd name="connsiteX2" fmla="*/ 76437 w 515902"/>
                    <a:gd name="connsiteY2" fmla="*/ 154484 h 454926"/>
                    <a:gd name="connsiteX3" fmla="*/ 178037 w 515902"/>
                    <a:gd name="connsiteY3" fmla="*/ 148134 h 454926"/>
                    <a:gd name="connsiteX4" fmla="*/ 193912 w 515902"/>
                    <a:gd name="connsiteY4" fmla="*/ 90984 h 454926"/>
                    <a:gd name="connsiteX5" fmla="*/ 206612 w 515902"/>
                    <a:gd name="connsiteY5" fmla="*/ 11609 h 454926"/>
                    <a:gd name="connsiteX6" fmla="*/ 317737 w 515902"/>
                    <a:gd name="connsiteY6" fmla="*/ 8434 h 454926"/>
                    <a:gd name="connsiteX7" fmla="*/ 317737 w 515902"/>
                    <a:gd name="connsiteY7" fmla="*/ 87809 h 454926"/>
                    <a:gd name="connsiteX8" fmla="*/ 339962 w 515902"/>
                    <a:gd name="connsiteY8" fmla="*/ 135434 h 454926"/>
                    <a:gd name="connsiteX9" fmla="*/ 451087 w 515902"/>
                    <a:gd name="connsiteY9" fmla="*/ 157659 h 454926"/>
                    <a:gd name="connsiteX10" fmla="*/ 514587 w 515902"/>
                    <a:gd name="connsiteY10" fmla="*/ 227509 h 454926"/>
                    <a:gd name="connsiteX11" fmla="*/ 511412 w 515902"/>
                    <a:gd name="connsiteY11" fmla="*/ 449759 h 454926"/>
                    <a:gd name="connsiteX12" fmla="*/ 9762 w 515902"/>
                    <a:gd name="connsiteY12" fmla="*/ 443409 h 454926"/>
                    <a:gd name="connsiteX0" fmla="*/ 9762 w 515902"/>
                    <a:gd name="connsiteY0" fmla="*/ 443409 h 454926"/>
                    <a:gd name="connsiteX1" fmla="*/ 6587 w 515902"/>
                    <a:gd name="connsiteY1" fmla="*/ 217984 h 454926"/>
                    <a:gd name="connsiteX2" fmla="*/ 76437 w 515902"/>
                    <a:gd name="connsiteY2" fmla="*/ 154484 h 454926"/>
                    <a:gd name="connsiteX3" fmla="*/ 193912 w 515902"/>
                    <a:gd name="connsiteY3" fmla="*/ 90984 h 454926"/>
                    <a:gd name="connsiteX4" fmla="*/ 206612 w 515902"/>
                    <a:gd name="connsiteY4" fmla="*/ 11609 h 454926"/>
                    <a:gd name="connsiteX5" fmla="*/ 317737 w 515902"/>
                    <a:gd name="connsiteY5" fmla="*/ 8434 h 454926"/>
                    <a:gd name="connsiteX6" fmla="*/ 317737 w 515902"/>
                    <a:gd name="connsiteY6" fmla="*/ 87809 h 454926"/>
                    <a:gd name="connsiteX7" fmla="*/ 339962 w 515902"/>
                    <a:gd name="connsiteY7" fmla="*/ 135434 h 454926"/>
                    <a:gd name="connsiteX8" fmla="*/ 451087 w 515902"/>
                    <a:gd name="connsiteY8" fmla="*/ 157659 h 454926"/>
                    <a:gd name="connsiteX9" fmla="*/ 514587 w 515902"/>
                    <a:gd name="connsiteY9" fmla="*/ 227509 h 454926"/>
                    <a:gd name="connsiteX10" fmla="*/ 511412 w 515902"/>
                    <a:gd name="connsiteY10" fmla="*/ 449759 h 454926"/>
                    <a:gd name="connsiteX11" fmla="*/ 9762 w 515902"/>
                    <a:gd name="connsiteY11" fmla="*/ 443409 h 454926"/>
                    <a:gd name="connsiteX0" fmla="*/ 9762 w 515902"/>
                    <a:gd name="connsiteY0" fmla="*/ 446099 h 457616"/>
                    <a:gd name="connsiteX1" fmla="*/ 6587 w 515902"/>
                    <a:gd name="connsiteY1" fmla="*/ 220674 h 457616"/>
                    <a:gd name="connsiteX2" fmla="*/ 76437 w 515902"/>
                    <a:gd name="connsiteY2" fmla="*/ 157174 h 457616"/>
                    <a:gd name="connsiteX3" fmla="*/ 190737 w 515902"/>
                    <a:gd name="connsiteY3" fmla="*/ 138124 h 457616"/>
                    <a:gd name="connsiteX4" fmla="*/ 206612 w 515902"/>
                    <a:gd name="connsiteY4" fmla="*/ 14299 h 457616"/>
                    <a:gd name="connsiteX5" fmla="*/ 317737 w 515902"/>
                    <a:gd name="connsiteY5" fmla="*/ 11124 h 457616"/>
                    <a:gd name="connsiteX6" fmla="*/ 317737 w 515902"/>
                    <a:gd name="connsiteY6" fmla="*/ 90499 h 457616"/>
                    <a:gd name="connsiteX7" fmla="*/ 339962 w 515902"/>
                    <a:gd name="connsiteY7" fmla="*/ 138124 h 457616"/>
                    <a:gd name="connsiteX8" fmla="*/ 451087 w 515902"/>
                    <a:gd name="connsiteY8" fmla="*/ 160349 h 457616"/>
                    <a:gd name="connsiteX9" fmla="*/ 514587 w 515902"/>
                    <a:gd name="connsiteY9" fmla="*/ 230199 h 457616"/>
                    <a:gd name="connsiteX10" fmla="*/ 511412 w 515902"/>
                    <a:gd name="connsiteY10" fmla="*/ 452449 h 457616"/>
                    <a:gd name="connsiteX11" fmla="*/ 9762 w 515902"/>
                    <a:gd name="connsiteY11" fmla="*/ 446099 h 457616"/>
                    <a:gd name="connsiteX0" fmla="*/ 9762 w 515902"/>
                    <a:gd name="connsiteY0" fmla="*/ 446099 h 457616"/>
                    <a:gd name="connsiteX1" fmla="*/ 6587 w 515902"/>
                    <a:gd name="connsiteY1" fmla="*/ 220674 h 457616"/>
                    <a:gd name="connsiteX2" fmla="*/ 76437 w 515902"/>
                    <a:gd name="connsiteY2" fmla="*/ 157174 h 457616"/>
                    <a:gd name="connsiteX3" fmla="*/ 190737 w 515902"/>
                    <a:gd name="connsiteY3" fmla="*/ 138124 h 457616"/>
                    <a:gd name="connsiteX4" fmla="*/ 206612 w 515902"/>
                    <a:gd name="connsiteY4" fmla="*/ 14299 h 457616"/>
                    <a:gd name="connsiteX5" fmla="*/ 317737 w 515902"/>
                    <a:gd name="connsiteY5" fmla="*/ 11124 h 457616"/>
                    <a:gd name="connsiteX6" fmla="*/ 317737 w 515902"/>
                    <a:gd name="connsiteY6" fmla="*/ 90499 h 457616"/>
                    <a:gd name="connsiteX7" fmla="*/ 451087 w 515902"/>
                    <a:gd name="connsiteY7" fmla="*/ 160349 h 457616"/>
                    <a:gd name="connsiteX8" fmla="*/ 514587 w 515902"/>
                    <a:gd name="connsiteY8" fmla="*/ 230199 h 457616"/>
                    <a:gd name="connsiteX9" fmla="*/ 511412 w 515902"/>
                    <a:gd name="connsiteY9" fmla="*/ 452449 h 457616"/>
                    <a:gd name="connsiteX10" fmla="*/ 9762 w 515902"/>
                    <a:gd name="connsiteY10" fmla="*/ 446099 h 457616"/>
                    <a:gd name="connsiteX0" fmla="*/ 9762 w 515902"/>
                    <a:gd name="connsiteY0" fmla="*/ 447482 h 458999"/>
                    <a:gd name="connsiteX1" fmla="*/ 6587 w 515902"/>
                    <a:gd name="connsiteY1" fmla="*/ 222057 h 458999"/>
                    <a:gd name="connsiteX2" fmla="*/ 76437 w 515902"/>
                    <a:gd name="connsiteY2" fmla="*/ 158557 h 458999"/>
                    <a:gd name="connsiteX3" fmla="*/ 190737 w 515902"/>
                    <a:gd name="connsiteY3" fmla="*/ 139507 h 458999"/>
                    <a:gd name="connsiteX4" fmla="*/ 206612 w 515902"/>
                    <a:gd name="connsiteY4" fmla="*/ 15682 h 458999"/>
                    <a:gd name="connsiteX5" fmla="*/ 317737 w 515902"/>
                    <a:gd name="connsiteY5" fmla="*/ 12507 h 458999"/>
                    <a:gd name="connsiteX6" fmla="*/ 330437 w 515902"/>
                    <a:gd name="connsiteY6" fmla="*/ 114107 h 458999"/>
                    <a:gd name="connsiteX7" fmla="*/ 451087 w 515902"/>
                    <a:gd name="connsiteY7" fmla="*/ 161732 h 458999"/>
                    <a:gd name="connsiteX8" fmla="*/ 514587 w 515902"/>
                    <a:gd name="connsiteY8" fmla="*/ 231582 h 458999"/>
                    <a:gd name="connsiteX9" fmla="*/ 511412 w 515902"/>
                    <a:gd name="connsiteY9" fmla="*/ 453832 h 458999"/>
                    <a:gd name="connsiteX10" fmla="*/ 9762 w 515902"/>
                    <a:gd name="connsiteY10" fmla="*/ 447482 h 458999"/>
                    <a:gd name="connsiteX0" fmla="*/ 9762 w 515902"/>
                    <a:gd name="connsiteY0" fmla="*/ 446348 h 457865"/>
                    <a:gd name="connsiteX1" fmla="*/ 6587 w 515902"/>
                    <a:gd name="connsiteY1" fmla="*/ 220923 h 457865"/>
                    <a:gd name="connsiteX2" fmla="*/ 76437 w 515902"/>
                    <a:gd name="connsiteY2" fmla="*/ 157423 h 457865"/>
                    <a:gd name="connsiteX3" fmla="*/ 200262 w 515902"/>
                    <a:gd name="connsiteY3" fmla="*/ 119323 h 457865"/>
                    <a:gd name="connsiteX4" fmla="*/ 206612 w 515902"/>
                    <a:gd name="connsiteY4" fmla="*/ 14548 h 457865"/>
                    <a:gd name="connsiteX5" fmla="*/ 317737 w 515902"/>
                    <a:gd name="connsiteY5" fmla="*/ 11373 h 457865"/>
                    <a:gd name="connsiteX6" fmla="*/ 330437 w 515902"/>
                    <a:gd name="connsiteY6" fmla="*/ 112973 h 457865"/>
                    <a:gd name="connsiteX7" fmla="*/ 451087 w 515902"/>
                    <a:gd name="connsiteY7" fmla="*/ 160598 h 457865"/>
                    <a:gd name="connsiteX8" fmla="*/ 514587 w 515902"/>
                    <a:gd name="connsiteY8" fmla="*/ 230448 h 457865"/>
                    <a:gd name="connsiteX9" fmla="*/ 511412 w 515902"/>
                    <a:gd name="connsiteY9" fmla="*/ 452698 h 457865"/>
                    <a:gd name="connsiteX10" fmla="*/ 9762 w 515902"/>
                    <a:gd name="connsiteY10" fmla="*/ 446348 h 457865"/>
                    <a:gd name="connsiteX0" fmla="*/ 8840 w 514980"/>
                    <a:gd name="connsiteY0" fmla="*/ 446348 h 457865"/>
                    <a:gd name="connsiteX1" fmla="*/ 5665 w 514980"/>
                    <a:gd name="connsiteY1" fmla="*/ 220923 h 457865"/>
                    <a:gd name="connsiteX2" fmla="*/ 62412 w 514980"/>
                    <a:gd name="connsiteY2" fmla="*/ 133367 h 457865"/>
                    <a:gd name="connsiteX3" fmla="*/ 199340 w 514980"/>
                    <a:gd name="connsiteY3" fmla="*/ 119323 h 457865"/>
                    <a:gd name="connsiteX4" fmla="*/ 205690 w 514980"/>
                    <a:gd name="connsiteY4" fmla="*/ 14548 h 457865"/>
                    <a:gd name="connsiteX5" fmla="*/ 316815 w 514980"/>
                    <a:gd name="connsiteY5" fmla="*/ 11373 h 457865"/>
                    <a:gd name="connsiteX6" fmla="*/ 329515 w 514980"/>
                    <a:gd name="connsiteY6" fmla="*/ 112973 h 457865"/>
                    <a:gd name="connsiteX7" fmla="*/ 450165 w 514980"/>
                    <a:gd name="connsiteY7" fmla="*/ 160598 h 457865"/>
                    <a:gd name="connsiteX8" fmla="*/ 513665 w 514980"/>
                    <a:gd name="connsiteY8" fmla="*/ 230448 h 457865"/>
                    <a:gd name="connsiteX9" fmla="*/ 510490 w 514980"/>
                    <a:gd name="connsiteY9" fmla="*/ 452698 h 457865"/>
                    <a:gd name="connsiteX10" fmla="*/ 8840 w 514980"/>
                    <a:gd name="connsiteY10" fmla="*/ 446348 h 457865"/>
                    <a:gd name="connsiteX0" fmla="*/ 8840 w 514980"/>
                    <a:gd name="connsiteY0" fmla="*/ 445015 h 456532"/>
                    <a:gd name="connsiteX1" fmla="*/ 5665 w 514980"/>
                    <a:gd name="connsiteY1" fmla="*/ 219590 h 456532"/>
                    <a:gd name="connsiteX2" fmla="*/ 62412 w 514980"/>
                    <a:gd name="connsiteY2" fmla="*/ 132034 h 456532"/>
                    <a:gd name="connsiteX3" fmla="*/ 186237 w 514980"/>
                    <a:gd name="connsiteY3" fmla="*/ 93934 h 456532"/>
                    <a:gd name="connsiteX4" fmla="*/ 205690 w 514980"/>
                    <a:gd name="connsiteY4" fmla="*/ 13215 h 456532"/>
                    <a:gd name="connsiteX5" fmla="*/ 316815 w 514980"/>
                    <a:gd name="connsiteY5" fmla="*/ 10040 h 456532"/>
                    <a:gd name="connsiteX6" fmla="*/ 329515 w 514980"/>
                    <a:gd name="connsiteY6" fmla="*/ 111640 h 456532"/>
                    <a:gd name="connsiteX7" fmla="*/ 450165 w 514980"/>
                    <a:gd name="connsiteY7" fmla="*/ 159265 h 456532"/>
                    <a:gd name="connsiteX8" fmla="*/ 513665 w 514980"/>
                    <a:gd name="connsiteY8" fmla="*/ 229115 h 456532"/>
                    <a:gd name="connsiteX9" fmla="*/ 510490 w 514980"/>
                    <a:gd name="connsiteY9" fmla="*/ 451365 h 456532"/>
                    <a:gd name="connsiteX10" fmla="*/ 8840 w 514980"/>
                    <a:gd name="connsiteY10" fmla="*/ 445015 h 456532"/>
                    <a:gd name="connsiteX0" fmla="*/ 8840 w 514980"/>
                    <a:gd name="connsiteY0" fmla="*/ 445015 h 456532"/>
                    <a:gd name="connsiteX1" fmla="*/ 5665 w 514980"/>
                    <a:gd name="connsiteY1" fmla="*/ 219590 h 456532"/>
                    <a:gd name="connsiteX2" fmla="*/ 62412 w 514980"/>
                    <a:gd name="connsiteY2" fmla="*/ 132034 h 456532"/>
                    <a:gd name="connsiteX3" fmla="*/ 186237 w 514980"/>
                    <a:gd name="connsiteY3" fmla="*/ 93934 h 456532"/>
                    <a:gd name="connsiteX4" fmla="*/ 205690 w 514980"/>
                    <a:gd name="connsiteY4" fmla="*/ 13215 h 456532"/>
                    <a:gd name="connsiteX5" fmla="*/ 316815 w 514980"/>
                    <a:gd name="connsiteY5" fmla="*/ 10040 h 456532"/>
                    <a:gd name="connsiteX6" fmla="*/ 329515 w 514980"/>
                    <a:gd name="connsiteY6" fmla="*/ 111640 h 456532"/>
                    <a:gd name="connsiteX7" fmla="*/ 461084 w 514980"/>
                    <a:gd name="connsiteY7" fmla="*/ 146143 h 456532"/>
                    <a:gd name="connsiteX8" fmla="*/ 513665 w 514980"/>
                    <a:gd name="connsiteY8" fmla="*/ 229115 h 456532"/>
                    <a:gd name="connsiteX9" fmla="*/ 510490 w 514980"/>
                    <a:gd name="connsiteY9" fmla="*/ 451365 h 456532"/>
                    <a:gd name="connsiteX10" fmla="*/ 8840 w 514980"/>
                    <a:gd name="connsiteY10" fmla="*/ 445015 h 456532"/>
                    <a:gd name="connsiteX0" fmla="*/ 8840 w 514980"/>
                    <a:gd name="connsiteY0" fmla="*/ 444105 h 455622"/>
                    <a:gd name="connsiteX1" fmla="*/ 5665 w 514980"/>
                    <a:gd name="connsiteY1" fmla="*/ 218680 h 455622"/>
                    <a:gd name="connsiteX2" fmla="*/ 62412 w 514980"/>
                    <a:gd name="connsiteY2" fmla="*/ 131124 h 455622"/>
                    <a:gd name="connsiteX3" fmla="*/ 186237 w 514980"/>
                    <a:gd name="connsiteY3" fmla="*/ 93024 h 455622"/>
                    <a:gd name="connsiteX4" fmla="*/ 205690 w 514980"/>
                    <a:gd name="connsiteY4" fmla="*/ 12305 h 455622"/>
                    <a:gd name="connsiteX5" fmla="*/ 316815 w 514980"/>
                    <a:gd name="connsiteY5" fmla="*/ 9130 h 455622"/>
                    <a:gd name="connsiteX6" fmla="*/ 351353 w 514980"/>
                    <a:gd name="connsiteY6" fmla="*/ 97608 h 455622"/>
                    <a:gd name="connsiteX7" fmla="*/ 461084 w 514980"/>
                    <a:gd name="connsiteY7" fmla="*/ 145233 h 455622"/>
                    <a:gd name="connsiteX8" fmla="*/ 513665 w 514980"/>
                    <a:gd name="connsiteY8" fmla="*/ 228205 h 455622"/>
                    <a:gd name="connsiteX9" fmla="*/ 510490 w 514980"/>
                    <a:gd name="connsiteY9" fmla="*/ 450455 h 455622"/>
                    <a:gd name="connsiteX10" fmla="*/ 8840 w 514980"/>
                    <a:gd name="connsiteY10" fmla="*/ 444105 h 455622"/>
                    <a:gd name="connsiteX0" fmla="*/ 8840 w 514980"/>
                    <a:gd name="connsiteY0" fmla="*/ 442755 h 454272"/>
                    <a:gd name="connsiteX1" fmla="*/ 5665 w 514980"/>
                    <a:gd name="connsiteY1" fmla="*/ 217330 h 454272"/>
                    <a:gd name="connsiteX2" fmla="*/ 62412 w 514980"/>
                    <a:gd name="connsiteY2" fmla="*/ 129774 h 454272"/>
                    <a:gd name="connsiteX3" fmla="*/ 186237 w 514980"/>
                    <a:gd name="connsiteY3" fmla="*/ 91674 h 454272"/>
                    <a:gd name="connsiteX4" fmla="*/ 205690 w 514980"/>
                    <a:gd name="connsiteY4" fmla="*/ 10955 h 454272"/>
                    <a:gd name="connsiteX5" fmla="*/ 325550 w 514980"/>
                    <a:gd name="connsiteY5" fmla="*/ 9967 h 454272"/>
                    <a:gd name="connsiteX6" fmla="*/ 351353 w 514980"/>
                    <a:gd name="connsiteY6" fmla="*/ 96258 h 454272"/>
                    <a:gd name="connsiteX7" fmla="*/ 461084 w 514980"/>
                    <a:gd name="connsiteY7" fmla="*/ 143883 h 454272"/>
                    <a:gd name="connsiteX8" fmla="*/ 513665 w 514980"/>
                    <a:gd name="connsiteY8" fmla="*/ 226855 h 454272"/>
                    <a:gd name="connsiteX9" fmla="*/ 510490 w 514980"/>
                    <a:gd name="connsiteY9" fmla="*/ 449105 h 454272"/>
                    <a:gd name="connsiteX10" fmla="*/ 8840 w 514980"/>
                    <a:gd name="connsiteY10" fmla="*/ 442755 h 454272"/>
                    <a:gd name="connsiteX0" fmla="*/ 8840 w 514980"/>
                    <a:gd name="connsiteY0" fmla="*/ 442755 h 454272"/>
                    <a:gd name="connsiteX1" fmla="*/ 5665 w 514980"/>
                    <a:gd name="connsiteY1" fmla="*/ 217330 h 454272"/>
                    <a:gd name="connsiteX2" fmla="*/ 62412 w 514980"/>
                    <a:gd name="connsiteY2" fmla="*/ 129774 h 454272"/>
                    <a:gd name="connsiteX3" fmla="*/ 186237 w 514980"/>
                    <a:gd name="connsiteY3" fmla="*/ 91674 h 454272"/>
                    <a:gd name="connsiteX4" fmla="*/ 205690 w 514980"/>
                    <a:gd name="connsiteY4" fmla="*/ 10955 h 454272"/>
                    <a:gd name="connsiteX5" fmla="*/ 325550 w 514980"/>
                    <a:gd name="connsiteY5" fmla="*/ 9967 h 454272"/>
                    <a:gd name="connsiteX6" fmla="*/ 351353 w 514980"/>
                    <a:gd name="connsiteY6" fmla="*/ 96258 h 454272"/>
                    <a:gd name="connsiteX7" fmla="*/ 461084 w 514980"/>
                    <a:gd name="connsiteY7" fmla="*/ 143883 h 454272"/>
                    <a:gd name="connsiteX8" fmla="*/ 513665 w 514980"/>
                    <a:gd name="connsiteY8" fmla="*/ 226855 h 454272"/>
                    <a:gd name="connsiteX9" fmla="*/ 510490 w 514980"/>
                    <a:gd name="connsiteY9" fmla="*/ 449105 h 454272"/>
                    <a:gd name="connsiteX10" fmla="*/ 8840 w 514980"/>
                    <a:gd name="connsiteY10" fmla="*/ 442755 h 454272"/>
                    <a:gd name="connsiteX0" fmla="*/ 8840 w 514980"/>
                    <a:gd name="connsiteY0" fmla="*/ 442755 h 454272"/>
                    <a:gd name="connsiteX1" fmla="*/ 5665 w 514980"/>
                    <a:gd name="connsiteY1" fmla="*/ 217330 h 454272"/>
                    <a:gd name="connsiteX2" fmla="*/ 62412 w 514980"/>
                    <a:gd name="connsiteY2" fmla="*/ 129774 h 454272"/>
                    <a:gd name="connsiteX3" fmla="*/ 186237 w 514980"/>
                    <a:gd name="connsiteY3" fmla="*/ 91674 h 454272"/>
                    <a:gd name="connsiteX4" fmla="*/ 205690 w 514980"/>
                    <a:gd name="connsiteY4" fmla="*/ 10955 h 454272"/>
                    <a:gd name="connsiteX5" fmla="*/ 325550 w 514980"/>
                    <a:gd name="connsiteY5" fmla="*/ 9967 h 454272"/>
                    <a:gd name="connsiteX6" fmla="*/ 351353 w 514980"/>
                    <a:gd name="connsiteY6" fmla="*/ 96258 h 454272"/>
                    <a:gd name="connsiteX7" fmla="*/ 461084 w 514980"/>
                    <a:gd name="connsiteY7" fmla="*/ 143883 h 454272"/>
                    <a:gd name="connsiteX8" fmla="*/ 513665 w 514980"/>
                    <a:gd name="connsiteY8" fmla="*/ 226855 h 454272"/>
                    <a:gd name="connsiteX9" fmla="*/ 510490 w 514980"/>
                    <a:gd name="connsiteY9" fmla="*/ 449105 h 454272"/>
                    <a:gd name="connsiteX10" fmla="*/ 8840 w 514980"/>
                    <a:gd name="connsiteY10" fmla="*/ 442755 h 454272"/>
                    <a:gd name="connsiteX0" fmla="*/ 8840 w 514980"/>
                    <a:gd name="connsiteY0" fmla="*/ 442755 h 454272"/>
                    <a:gd name="connsiteX1" fmla="*/ 5665 w 514980"/>
                    <a:gd name="connsiteY1" fmla="*/ 217330 h 454272"/>
                    <a:gd name="connsiteX2" fmla="*/ 62412 w 514980"/>
                    <a:gd name="connsiteY2" fmla="*/ 129774 h 454272"/>
                    <a:gd name="connsiteX3" fmla="*/ 186237 w 514980"/>
                    <a:gd name="connsiteY3" fmla="*/ 91674 h 454272"/>
                    <a:gd name="connsiteX4" fmla="*/ 205690 w 514980"/>
                    <a:gd name="connsiteY4" fmla="*/ 10955 h 454272"/>
                    <a:gd name="connsiteX5" fmla="*/ 325550 w 514980"/>
                    <a:gd name="connsiteY5" fmla="*/ 9967 h 454272"/>
                    <a:gd name="connsiteX6" fmla="*/ 351353 w 514980"/>
                    <a:gd name="connsiteY6" fmla="*/ 96258 h 454272"/>
                    <a:gd name="connsiteX7" fmla="*/ 461084 w 514980"/>
                    <a:gd name="connsiteY7" fmla="*/ 143883 h 454272"/>
                    <a:gd name="connsiteX8" fmla="*/ 513665 w 514980"/>
                    <a:gd name="connsiteY8" fmla="*/ 226855 h 454272"/>
                    <a:gd name="connsiteX9" fmla="*/ 510490 w 514980"/>
                    <a:gd name="connsiteY9" fmla="*/ 449105 h 454272"/>
                    <a:gd name="connsiteX10" fmla="*/ 8840 w 514980"/>
                    <a:gd name="connsiteY10" fmla="*/ 442755 h 454272"/>
                    <a:gd name="connsiteX0" fmla="*/ 8840 w 514980"/>
                    <a:gd name="connsiteY0" fmla="*/ 436996 h 448513"/>
                    <a:gd name="connsiteX1" fmla="*/ 5665 w 514980"/>
                    <a:gd name="connsiteY1" fmla="*/ 211571 h 448513"/>
                    <a:gd name="connsiteX2" fmla="*/ 62412 w 514980"/>
                    <a:gd name="connsiteY2" fmla="*/ 124015 h 448513"/>
                    <a:gd name="connsiteX3" fmla="*/ 186237 w 514980"/>
                    <a:gd name="connsiteY3" fmla="*/ 85915 h 448513"/>
                    <a:gd name="connsiteX4" fmla="*/ 205690 w 514980"/>
                    <a:gd name="connsiteY4" fmla="*/ 5196 h 448513"/>
                    <a:gd name="connsiteX5" fmla="*/ 325550 w 514980"/>
                    <a:gd name="connsiteY5" fmla="*/ 4208 h 448513"/>
                    <a:gd name="connsiteX6" fmla="*/ 351353 w 514980"/>
                    <a:gd name="connsiteY6" fmla="*/ 90499 h 448513"/>
                    <a:gd name="connsiteX7" fmla="*/ 461084 w 514980"/>
                    <a:gd name="connsiteY7" fmla="*/ 138124 h 448513"/>
                    <a:gd name="connsiteX8" fmla="*/ 513665 w 514980"/>
                    <a:gd name="connsiteY8" fmla="*/ 221096 h 448513"/>
                    <a:gd name="connsiteX9" fmla="*/ 510490 w 514980"/>
                    <a:gd name="connsiteY9" fmla="*/ 443346 h 448513"/>
                    <a:gd name="connsiteX10" fmla="*/ 8840 w 514980"/>
                    <a:gd name="connsiteY10" fmla="*/ 436996 h 448513"/>
                    <a:gd name="connsiteX0" fmla="*/ 8840 w 514980"/>
                    <a:gd name="connsiteY0" fmla="*/ 436996 h 448513"/>
                    <a:gd name="connsiteX1" fmla="*/ 5665 w 514980"/>
                    <a:gd name="connsiteY1" fmla="*/ 211571 h 448513"/>
                    <a:gd name="connsiteX2" fmla="*/ 62412 w 514980"/>
                    <a:gd name="connsiteY2" fmla="*/ 124015 h 448513"/>
                    <a:gd name="connsiteX3" fmla="*/ 186237 w 514980"/>
                    <a:gd name="connsiteY3" fmla="*/ 85915 h 448513"/>
                    <a:gd name="connsiteX4" fmla="*/ 205690 w 514980"/>
                    <a:gd name="connsiteY4" fmla="*/ 5196 h 448513"/>
                    <a:gd name="connsiteX5" fmla="*/ 325550 w 514980"/>
                    <a:gd name="connsiteY5" fmla="*/ 4208 h 448513"/>
                    <a:gd name="connsiteX6" fmla="*/ 351353 w 514980"/>
                    <a:gd name="connsiteY6" fmla="*/ 90499 h 448513"/>
                    <a:gd name="connsiteX7" fmla="*/ 461084 w 514980"/>
                    <a:gd name="connsiteY7" fmla="*/ 138124 h 448513"/>
                    <a:gd name="connsiteX8" fmla="*/ 513665 w 514980"/>
                    <a:gd name="connsiteY8" fmla="*/ 221096 h 448513"/>
                    <a:gd name="connsiteX9" fmla="*/ 510490 w 514980"/>
                    <a:gd name="connsiteY9" fmla="*/ 443346 h 448513"/>
                    <a:gd name="connsiteX10" fmla="*/ 8840 w 514980"/>
                    <a:gd name="connsiteY10" fmla="*/ 436996 h 448513"/>
                    <a:gd name="connsiteX0" fmla="*/ 8840 w 514980"/>
                    <a:gd name="connsiteY0" fmla="*/ 436996 h 448513"/>
                    <a:gd name="connsiteX1" fmla="*/ 5665 w 514980"/>
                    <a:gd name="connsiteY1" fmla="*/ 211571 h 448513"/>
                    <a:gd name="connsiteX2" fmla="*/ 62412 w 514980"/>
                    <a:gd name="connsiteY2" fmla="*/ 124015 h 448513"/>
                    <a:gd name="connsiteX3" fmla="*/ 186237 w 514980"/>
                    <a:gd name="connsiteY3" fmla="*/ 85915 h 448513"/>
                    <a:gd name="connsiteX4" fmla="*/ 205690 w 514980"/>
                    <a:gd name="connsiteY4" fmla="*/ 5196 h 448513"/>
                    <a:gd name="connsiteX5" fmla="*/ 325550 w 514980"/>
                    <a:gd name="connsiteY5" fmla="*/ 4208 h 448513"/>
                    <a:gd name="connsiteX6" fmla="*/ 351353 w 514980"/>
                    <a:gd name="connsiteY6" fmla="*/ 90499 h 448513"/>
                    <a:gd name="connsiteX7" fmla="*/ 461084 w 514980"/>
                    <a:gd name="connsiteY7" fmla="*/ 138124 h 448513"/>
                    <a:gd name="connsiteX8" fmla="*/ 513665 w 514980"/>
                    <a:gd name="connsiteY8" fmla="*/ 221096 h 448513"/>
                    <a:gd name="connsiteX9" fmla="*/ 510490 w 514980"/>
                    <a:gd name="connsiteY9" fmla="*/ 443346 h 448513"/>
                    <a:gd name="connsiteX10" fmla="*/ 8840 w 514980"/>
                    <a:gd name="connsiteY10" fmla="*/ 436996 h 448513"/>
                    <a:gd name="connsiteX0" fmla="*/ 8840 w 514980"/>
                    <a:gd name="connsiteY0" fmla="*/ 436996 h 448513"/>
                    <a:gd name="connsiteX1" fmla="*/ 5665 w 514980"/>
                    <a:gd name="connsiteY1" fmla="*/ 211571 h 448513"/>
                    <a:gd name="connsiteX2" fmla="*/ 62412 w 514980"/>
                    <a:gd name="connsiteY2" fmla="*/ 124015 h 448513"/>
                    <a:gd name="connsiteX3" fmla="*/ 168766 w 514980"/>
                    <a:gd name="connsiteY3" fmla="*/ 88102 h 448513"/>
                    <a:gd name="connsiteX4" fmla="*/ 205690 w 514980"/>
                    <a:gd name="connsiteY4" fmla="*/ 5196 h 448513"/>
                    <a:gd name="connsiteX5" fmla="*/ 325550 w 514980"/>
                    <a:gd name="connsiteY5" fmla="*/ 4208 h 448513"/>
                    <a:gd name="connsiteX6" fmla="*/ 351353 w 514980"/>
                    <a:gd name="connsiteY6" fmla="*/ 90499 h 448513"/>
                    <a:gd name="connsiteX7" fmla="*/ 461084 w 514980"/>
                    <a:gd name="connsiteY7" fmla="*/ 138124 h 448513"/>
                    <a:gd name="connsiteX8" fmla="*/ 513665 w 514980"/>
                    <a:gd name="connsiteY8" fmla="*/ 221096 h 448513"/>
                    <a:gd name="connsiteX9" fmla="*/ 510490 w 514980"/>
                    <a:gd name="connsiteY9" fmla="*/ 443346 h 448513"/>
                    <a:gd name="connsiteX10" fmla="*/ 8840 w 514980"/>
                    <a:gd name="connsiteY10" fmla="*/ 436996 h 448513"/>
                    <a:gd name="connsiteX0" fmla="*/ 8840 w 514980"/>
                    <a:gd name="connsiteY0" fmla="*/ 440628 h 452145"/>
                    <a:gd name="connsiteX1" fmla="*/ 5665 w 514980"/>
                    <a:gd name="connsiteY1" fmla="*/ 215203 h 452145"/>
                    <a:gd name="connsiteX2" fmla="*/ 62412 w 514980"/>
                    <a:gd name="connsiteY2" fmla="*/ 127647 h 452145"/>
                    <a:gd name="connsiteX3" fmla="*/ 168766 w 514980"/>
                    <a:gd name="connsiteY3" fmla="*/ 91734 h 452145"/>
                    <a:gd name="connsiteX4" fmla="*/ 179484 w 514980"/>
                    <a:gd name="connsiteY4" fmla="*/ 4454 h 452145"/>
                    <a:gd name="connsiteX5" fmla="*/ 325550 w 514980"/>
                    <a:gd name="connsiteY5" fmla="*/ 7840 h 452145"/>
                    <a:gd name="connsiteX6" fmla="*/ 351353 w 514980"/>
                    <a:gd name="connsiteY6" fmla="*/ 94131 h 452145"/>
                    <a:gd name="connsiteX7" fmla="*/ 461084 w 514980"/>
                    <a:gd name="connsiteY7" fmla="*/ 141756 h 452145"/>
                    <a:gd name="connsiteX8" fmla="*/ 513665 w 514980"/>
                    <a:gd name="connsiteY8" fmla="*/ 224728 h 452145"/>
                    <a:gd name="connsiteX9" fmla="*/ 510490 w 514980"/>
                    <a:gd name="connsiteY9" fmla="*/ 446978 h 452145"/>
                    <a:gd name="connsiteX10" fmla="*/ 8840 w 514980"/>
                    <a:gd name="connsiteY10" fmla="*/ 440628 h 452145"/>
                    <a:gd name="connsiteX0" fmla="*/ 8840 w 514980"/>
                    <a:gd name="connsiteY0" fmla="*/ 442422 h 453939"/>
                    <a:gd name="connsiteX1" fmla="*/ 5665 w 514980"/>
                    <a:gd name="connsiteY1" fmla="*/ 216997 h 453939"/>
                    <a:gd name="connsiteX2" fmla="*/ 62412 w 514980"/>
                    <a:gd name="connsiteY2" fmla="*/ 129441 h 453939"/>
                    <a:gd name="connsiteX3" fmla="*/ 168766 w 514980"/>
                    <a:gd name="connsiteY3" fmla="*/ 93528 h 453939"/>
                    <a:gd name="connsiteX4" fmla="*/ 179484 w 514980"/>
                    <a:gd name="connsiteY4" fmla="*/ 6248 h 453939"/>
                    <a:gd name="connsiteX5" fmla="*/ 351756 w 514980"/>
                    <a:gd name="connsiteY5" fmla="*/ 886 h 453939"/>
                    <a:gd name="connsiteX6" fmla="*/ 351353 w 514980"/>
                    <a:gd name="connsiteY6" fmla="*/ 95925 h 453939"/>
                    <a:gd name="connsiteX7" fmla="*/ 461084 w 514980"/>
                    <a:gd name="connsiteY7" fmla="*/ 143550 h 453939"/>
                    <a:gd name="connsiteX8" fmla="*/ 513665 w 514980"/>
                    <a:gd name="connsiteY8" fmla="*/ 226522 h 453939"/>
                    <a:gd name="connsiteX9" fmla="*/ 510490 w 514980"/>
                    <a:gd name="connsiteY9" fmla="*/ 448772 h 453939"/>
                    <a:gd name="connsiteX10" fmla="*/ 8840 w 514980"/>
                    <a:gd name="connsiteY10" fmla="*/ 442422 h 453939"/>
                    <a:gd name="connsiteX0" fmla="*/ 8840 w 514980"/>
                    <a:gd name="connsiteY0" fmla="*/ 442422 h 453939"/>
                    <a:gd name="connsiteX1" fmla="*/ 5665 w 514980"/>
                    <a:gd name="connsiteY1" fmla="*/ 216997 h 453939"/>
                    <a:gd name="connsiteX2" fmla="*/ 62412 w 514980"/>
                    <a:gd name="connsiteY2" fmla="*/ 129441 h 453939"/>
                    <a:gd name="connsiteX3" fmla="*/ 168766 w 514980"/>
                    <a:gd name="connsiteY3" fmla="*/ 93528 h 453939"/>
                    <a:gd name="connsiteX4" fmla="*/ 179484 w 514980"/>
                    <a:gd name="connsiteY4" fmla="*/ 6248 h 453939"/>
                    <a:gd name="connsiteX5" fmla="*/ 351756 w 514980"/>
                    <a:gd name="connsiteY5" fmla="*/ 886 h 453939"/>
                    <a:gd name="connsiteX6" fmla="*/ 366640 w 514980"/>
                    <a:gd name="connsiteY6" fmla="*/ 100299 h 453939"/>
                    <a:gd name="connsiteX7" fmla="*/ 461084 w 514980"/>
                    <a:gd name="connsiteY7" fmla="*/ 143550 h 453939"/>
                    <a:gd name="connsiteX8" fmla="*/ 513665 w 514980"/>
                    <a:gd name="connsiteY8" fmla="*/ 226522 h 453939"/>
                    <a:gd name="connsiteX9" fmla="*/ 510490 w 514980"/>
                    <a:gd name="connsiteY9" fmla="*/ 448772 h 453939"/>
                    <a:gd name="connsiteX10" fmla="*/ 8840 w 514980"/>
                    <a:gd name="connsiteY10" fmla="*/ 442422 h 453939"/>
                    <a:gd name="connsiteX0" fmla="*/ 8840 w 514980"/>
                    <a:gd name="connsiteY0" fmla="*/ 442422 h 450476"/>
                    <a:gd name="connsiteX1" fmla="*/ 5665 w 514980"/>
                    <a:gd name="connsiteY1" fmla="*/ 216997 h 450476"/>
                    <a:gd name="connsiteX2" fmla="*/ 62412 w 514980"/>
                    <a:gd name="connsiteY2" fmla="*/ 129441 h 450476"/>
                    <a:gd name="connsiteX3" fmla="*/ 168766 w 514980"/>
                    <a:gd name="connsiteY3" fmla="*/ 93528 h 450476"/>
                    <a:gd name="connsiteX4" fmla="*/ 179484 w 514980"/>
                    <a:gd name="connsiteY4" fmla="*/ 6248 h 450476"/>
                    <a:gd name="connsiteX5" fmla="*/ 351756 w 514980"/>
                    <a:gd name="connsiteY5" fmla="*/ 886 h 450476"/>
                    <a:gd name="connsiteX6" fmla="*/ 366640 w 514980"/>
                    <a:gd name="connsiteY6" fmla="*/ 100299 h 450476"/>
                    <a:gd name="connsiteX7" fmla="*/ 461084 w 514980"/>
                    <a:gd name="connsiteY7" fmla="*/ 143550 h 450476"/>
                    <a:gd name="connsiteX8" fmla="*/ 513665 w 514980"/>
                    <a:gd name="connsiteY8" fmla="*/ 226522 h 450476"/>
                    <a:gd name="connsiteX9" fmla="*/ 510490 w 514980"/>
                    <a:gd name="connsiteY9" fmla="*/ 448772 h 450476"/>
                    <a:gd name="connsiteX10" fmla="*/ 8840 w 514980"/>
                    <a:gd name="connsiteY10" fmla="*/ 442422 h 450476"/>
                    <a:gd name="connsiteX0" fmla="*/ 8840 w 514980"/>
                    <a:gd name="connsiteY0" fmla="*/ 442422 h 448772"/>
                    <a:gd name="connsiteX1" fmla="*/ 5665 w 514980"/>
                    <a:gd name="connsiteY1" fmla="*/ 216997 h 448772"/>
                    <a:gd name="connsiteX2" fmla="*/ 62412 w 514980"/>
                    <a:gd name="connsiteY2" fmla="*/ 129441 h 448772"/>
                    <a:gd name="connsiteX3" fmla="*/ 168766 w 514980"/>
                    <a:gd name="connsiteY3" fmla="*/ 93528 h 448772"/>
                    <a:gd name="connsiteX4" fmla="*/ 179484 w 514980"/>
                    <a:gd name="connsiteY4" fmla="*/ 6248 h 448772"/>
                    <a:gd name="connsiteX5" fmla="*/ 351756 w 514980"/>
                    <a:gd name="connsiteY5" fmla="*/ 886 h 448772"/>
                    <a:gd name="connsiteX6" fmla="*/ 366640 w 514980"/>
                    <a:gd name="connsiteY6" fmla="*/ 100299 h 448772"/>
                    <a:gd name="connsiteX7" fmla="*/ 461084 w 514980"/>
                    <a:gd name="connsiteY7" fmla="*/ 143550 h 448772"/>
                    <a:gd name="connsiteX8" fmla="*/ 513665 w 514980"/>
                    <a:gd name="connsiteY8" fmla="*/ 226522 h 448772"/>
                    <a:gd name="connsiteX9" fmla="*/ 510490 w 514980"/>
                    <a:gd name="connsiteY9" fmla="*/ 448772 h 448772"/>
                    <a:gd name="connsiteX10" fmla="*/ 8840 w 514980"/>
                    <a:gd name="connsiteY10" fmla="*/ 442422 h 448772"/>
                    <a:gd name="connsiteX0" fmla="*/ 8840 w 514980"/>
                    <a:gd name="connsiteY0" fmla="*/ 442422 h 448772"/>
                    <a:gd name="connsiteX1" fmla="*/ 5665 w 514980"/>
                    <a:gd name="connsiteY1" fmla="*/ 216997 h 448772"/>
                    <a:gd name="connsiteX2" fmla="*/ 62412 w 514980"/>
                    <a:gd name="connsiteY2" fmla="*/ 129441 h 448772"/>
                    <a:gd name="connsiteX3" fmla="*/ 168766 w 514980"/>
                    <a:gd name="connsiteY3" fmla="*/ 93528 h 448772"/>
                    <a:gd name="connsiteX4" fmla="*/ 179484 w 514980"/>
                    <a:gd name="connsiteY4" fmla="*/ 6248 h 448772"/>
                    <a:gd name="connsiteX5" fmla="*/ 351756 w 514980"/>
                    <a:gd name="connsiteY5" fmla="*/ 886 h 448772"/>
                    <a:gd name="connsiteX6" fmla="*/ 357905 w 514980"/>
                    <a:gd name="connsiteY6" fmla="*/ 98112 h 448772"/>
                    <a:gd name="connsiteX7" fmla="*/ 461084 w 514980"/>
                    <a:gd name="connsiteY7" fmla="*/ 143550 h 448772"/>
                    <a:gd name="connsiteX8" fmla="*/ 513665 w 514980"/>
                    <a:gd name="connsiteY8" fmla="*/ 226522 h 448772"/>
                    <a:gd name="connsiteX9" fmla="*/ 510490 w 514980"/>
                    <a:gd name="connsiteY9" fmla="*/ 448772 h 448772"/>
                    <a:gd name="connsiteX10" fmla="*/ 8840 w 514980"/>
                    <a:gd name="connsiteY10" fmla="*/ 442422 h 448772"/>
                    <a:gd name="connsiteX0" fmla="*/ 8840 w 514980"/>
                    <a:gd name="connsiteY0" fmla="*/ 442422 h 448772"/>
                    <a:gd name="connsiteX1" fmla="*/ 5665 w 514980"/>
                    <a:gd name="connsiteY1" fmla="*/ 216997 h 448772"/>
                    <a:gd name="connsiteX2" fmla="*/ 62412 w 514980"/>
                    <a:gd name="connsiteY2" fmla="*/ 129441 h 448772"/>
                    <a:gd name="connsiteX3" fmla="*/ 168766 w 514980"/>
                    <a:gd name="connsiteY3" fmla="*/ 93528 h 448772"/>
                    <a:gd name="connsiteX4" fmla="*/ 179484 w 514980"/>
                    <a:gd name="connsiteY4" fmla="*/ 6248 h 448772"/>
                    <a:gd name="connsiteX5" fmla="*/ 351756 w 514980"/>
                    <a:gd name="connsiteY5" fmla="*/ 886 h 448772"/>
                    <a:gd name="connsiteX6" fmla="*/ 357905 w 514980"/>
                    <a:gd name="connsiteY6" fmla="*/ 98112 h 448772"/>
                    <a:gd name="connsiteX7" fmla="*/ 454533 w 514980"/>
                    <a:gd name="connsiteY7" fmla="*/ 136989 h 448772"/>
                    <a:gd name="connsiteX8" fmla="*/ 513665 w 514980"/>
                    <a:gd name="connsiteY8" fmla="*/ 226522 h 448772"/>
                    <a:gd name="connsiteX9" fmla="*/ 510490 w 514980"/>
                    <a:gd name="connsiteY9" fmla="*/ 448772 h 448772"/>
                    <a:gd name="connsiteX10" fmla="*/ 8840 w 514980"/>
                    <a:gd name="connsiteY10" fmla="*/ 442422 h 448772"/>
                    <a:gd name="connsiteX0" fmla="*/ 8840 w 514980"/>
                    <a:gd name="connsiteY0" fmla="*/ 442422 h 448772"/>
                    <a:gd name="connsiteX1" fmla="*/ 5665 w 514980"/>
                    <a:gd name="connsiteY1" fmla="*/ 216997 h 448772"/>
                    <a:gd name="connsiteX2" fmla="*/ 62412 w 514980"/>
                    <a:gd name="connsiteY2" fmla="*/ 129441 h 448772"/>
                    <a:gd name="connsiteX3" fmla="*/ 168766 w 514980"/>
                    <a:gd name="connsiteY3" fmla="*/ 93528 h 448772"/>
                    <a:gd name="connsiteX4" fmla="*/ 179484 w 514980"/>
                    <a:gd name="connsiteY4" fmla="*/ 6248 h 448772"/>
                    <a:gd name="connsiteX5" fmla="*/ 351756 w 514980"/>
                    <a:gd name="connsiteY5" fmla="*/ 886 h 448772"/>
                    <a:gd name="connsiteX6" fmla="*/ 357905 w 514980"/>
                    <a:gd name="connsiteY6" fmla="*/ 98112 h 448772"/>
                    <a:gd name="connsiteX7" fmla="*/ 454533 w 514980"/>
                    <a:gd name="connsiteY7" fmla="*/ 136989 h 448772"/>
                    <a:gd name="connsiteX8" fmla="*/ 513665 w 514980"/>
                    <a:gd name="connsiteY8" fmla="*/ 226522 h 448772"/>
                    <a:gd name="connsiteX9" fmla="*/ 510490 w 514980"/>
                    <a:gd name="connsiteY9" fmla="*/ 448772 h 448772"/>
                    <a:gd name="connsiteX10" fmla="*/ 8840 w 514980"/>
                    <a:gd name="connsiteY10" fmla="*/ 442422 h 448772"/>
                    <a:gd name="connsiteX0" fmla="*/ 8840 w 514980"/>
                    <a:gd name="connsiteY0" fmla="*/ 442422 h 448772"/>
                    <a:gd name="connsiteX1" fmla="*/ 5665 w 514980"/>
                    <a:gd name="connsiteY1" fmla="*/ 216997 h 448772"/>
                    <a:gd name="connsiteX2" fmla="*/ 62412 w 514980"/>
                    <a:gd name="connsiteY2" fmla="*/ 129441 h 448772"/>
                    <a:gd name="connsiteX3" fmla="*/ 168766 w 514980"/>
                    <a:gd name="connsiteY3" fmla="*/ 93528 h 448772"/>
                    <a:gd name="connsiteX4" fmla="*/ 179484 w 514980"/>
                    <a:gd name="connsiteY4" fmla="*/ 6248 h 448772"/>
                    <a:gd name="connsiteX5" fmla="*/ 351756 w 514980"/>
                    <a:gd name="connsiteY5" fmla="*/ 886 h 448772"/>
                    <a:gd name="connsiteX6" fmla="*/ 357905 w 514980"/>
                    <a:gd name="connsiteY6" fmla="*/ 98112 h 448772"/>
                    <a:gd name="connsiteX7" fmla="*/ 454533 w 514980"/>
                    <a:gd name="connsiteY7" fmla="*/ 136989 h 448772"/>
                    <a:gd name="connsiteX8" fmla="*/ 513665 w 514980"/>
                    <a:gd name="connsiteY8" fmla="*/ 226522 h 448772"/>
                    <a:gd name="connsiteX9" fmla="*/ 510490 w 514980"/>
                    <a:gd name="connsiteY9" fmla="*/ 448772 h 448772"/>
                    <a:gd name="connsiteX10" fmla="*/ 8840 w 514980"/>
                    <a:gd name="connsiteY10" fmla="*/ 442422 h 448772"/>
                    <a:gd name="connsiteX0" fmla="*/ 8840 w 514980"/>
                    <a:gd name="connsiteY0" fmla="*/ 442422 h 448772"/>
                    <a:gd name="connsiteX1" fmla="*/ 5665 w 514980"/>
                    <a:gd name="connsiteY1" fmla="*/ 216997 h 448772"/>
                    <a:gd name="connsiteX2" fmla="*/ 62412 w 514980"/>
                    <a:gd name="connsiteY2" fmla="*/ 129441 h 448772"/>
                    <a:gd name="connsiteX3" fmla="*/ 168766 w 514980"/>
                    <a:gd name="connsiteY3" fmla="*/ 93528 h 448772"/>
                    <a:gd name="connsiteX4" fmla="*/ 179484 w 514980"/>
                    <a:gd name="connsiteY4" fmla="*/ 6248 h 448772"/>
                    <a:gd name="connsiteX5" fmla="*/ 351756 w 514980"/>
                    <a:gd name="connsiteY5" fmla="*/ 886 h 448772"/>
                    <a:gd name="connsiteX6" fmla="*/ 353538 w 514980"/>
                    <a:gd name="connsiteY6" fmla="*/ 98112 h 448772"/>
                    <a:gd name="connsiteX7" fmla="*/ 454533 w 514980"/>
                    <a:gd name="connsiteY7" fmla="*/ 136989 h 448772"/>
                    <a:gd name="connsiteX8" fmla="*/ 513665 w 514980"/>
                    <a:gd name="connsiteY8" fmla="*/ 226522 h 448772"/>
                    <a:gd name="connsiteX9" fmla="*/ 510490 w 514980"/>
                    <a:gd name="connsiteY9" fmla="*/ 448772 h 448772"/>
                    <a:gd name="connsiteX10" fmla="*/ 8840 w 514980"/>
                    <a:gd name="connsiteY10" fmla="*/ 442422 h 448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14980" h="448772">
                      <a:moveTo>
                        <a:pt x="8840" y="442422"/>
                      </a:moveTo>
                      <a:cubicBezTo>
                        <a:pt x="-1214" y="377864"/>
                        <a:pt x="-3264" y="269160"/>
                        <a:pt x="5665" y="216997"/>
                      </a:cubicBezTo>
                      <a:cubicBezTo>
                        <a:pt x="14594" y="164834"/>
                        <a:pt x="35229" y="150019"/>
                        <a:pt x="62412" y="129441"/>
                      </a:cubicBezTo>
                      <a:cubicBezTo>
                        <a:pt x="89595" y="108863"/>
                        <a:pt x="149254" y="114060"/>
                        <a:pt x="168766" y="93528"/>
                      </a:cubicBezTo>
                      <a:cubicBezTo>
                        <a:pt x="188278" y="72996"/>
                        <a:pt x="189023" y="43922"/>
                        <a:pt x="179484" y="6248"/>
                      </a:cubicBezTo>
                      <a:cubicBezTo>
                        <a:pt x="202703" y="-7370"/>
                        <a:pt x="323111" y="6352"/>
                        <a:pt x="351756" y="886"/>
                      </a:cubicBezTo>
                      <a:cubicBezTo>
                        <a:pt x="354195" y="39159"/>
                        <a:pt x="342961" y="75428"/>
                        <a:pt x="353538" y="98112"/>
                      </a:cubicBezTo>
                      <a:cubicBezTo>
                        <a:pt x="364115" y="120796"/>
                        <a:pt x="427845" y="115587"/>
                        <a:pt x="454533" y="136989"/>
                      </a:cubicBezTo>
                      <a:cubicBezTo>
                        <a:pt x="481221" y="158391"/>
                        <a:pt x="503611" y="177839"/>
                        <a:pt x="513665" y="226522"/>
                      </a:cubicBezTo>
                      <a:cubicBezTo>
                        <a:pt x="516840" y="276264"/>
                        <a:pt x="513665" y="323360"/>
                        <a:pt x="510490" y="448772"/>
                      </a:cubicBezTo>
                      <a:lnTo>
                        <a:pt x="8840" y="442422"/>
                      </a:lnTo>
                      <a:close/>
                    </a:path>
                  </a:pathLst>
                </a:custGeom>
                <a:grpFill/>
                <a:ln w="571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68" name="Oval 67">
                  <a:extLst>
                    <a:ext uri="{FF2B5EF4-FFF2-40B4-BE49-F238E27FC236}">
                      <a16:creationId xmlns:a16="http://schemas.microsoft.com/office/drawing/2014/main" id="{89E9AF08-D7C3-DC44-AB6A-4556B4EE9346}"/>
                    </a:ext>
                  </a:extLst>
                </p:cNvPr>
                <p:cNvSpPr/>
                <p:nvPr/>
              </p:nvSpPr>
              <p:spPr>
                <a:xfrm>
                  <a:off x="1971467" y="3508300"/>
                  <a:ext cx="282088" cy="336550"/>
                </a:xfrm>
                <a:prstGeom prst="ellipse">
                  <a:avLst/>
                </a:prstGeom>
                <a:grpFill/>
                <a:ln w="571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grpSp>
          <p:grpSp>
            <p:nvGrpSpPr>
              <p:cNvPr id="64" name="Group 63">
                <a:extLst>
                  <a:ext uri="{FF2B5EF4-FFF2-40B4-BE49-F238E27FC236}">
                    <a16:creationId xmlns:a16="http://schemas.microsoft.com/office/drawing/2014/main" id="{58F18BA7-74B9-334E-871F-0511E2ED162B}"/>
                  </a:ext>
                </a:extLst>
              </p:cNvPr>
              <p:cNvGrpSpPr/>
              <p:nvPr/>
            </p:nvGrpSpPr>
            <p:grpSpPr>
              <a:xfrm>
                <a:off x="1553120" y="3388644"/>
                <a:ext cx="633802" cy="938165"/>
                <a:chOff x="1806977" y="3500843"/>
                <a:chExt cx="539989" cy="738018"/>
              </a:xfrm>
            </p:grpSpPr>
            <p:sp>
              <p:nvSpPr>
                <p:cNvPr id="65" name="Freeform 64">
                  <a:extLst>
                    <a:ext uri="{FF2B5EF4-FFF2-40B4-BE49-F238E27FC236}">
                      <a16:creationId xmlns:a16="http://schemas.microsoft.com/office/drawing/2014/main" id="{28A447CB-19E2-1546-A6F2-6B13AEEF4ED4}"/>
                    </a:ext>
                  </a:extLst>
                </p:cNvPr>
                <p:cNvSpPr/>
                <p:nvPr/>
              </p:nvSpPr>
              <p:spPr>
                <a:xfrm>
                  <a:off x="1806977" y="3782373"/>
                  <a:ext cx="539989" cy="456488"/>
                </a:xfrm>
                <a:custGeom>
                  <a:avLst/>
                  <a:gdLst>
                    <a:gd name="connsiteX0" fmla="*/ 36807 w 576731"/>
                    <a:gd name="connsiteY0" fmla="*/ 449906 h 505924"/>
                    <a:gd name="connsiteX1" fmla="*/ 39982 w 576731"/>
                    <a:gd name="connsiteY1" fmla="*/ 214956 h 505924"/>
                    <a:gd name="connsiteX2" fmla="*/ 55857 w 576731"/>
                    <a:gd name="connsiteY2" fmla="*/ 176856 h 505924"/>
                    <a:gd name="connsiteX3" fmla="*/ 103482 w 576731"/>
                    <a:gd name="connsiteY3" fmla="*/ 160981 h 505924"/>
                    <a:gd name="connsiteX4" fmla="*/ 205082 w 576731"/>
                    <a:gd name="connsiteY4" fmla="*/ 154631 h 505924"/>
                    <a:gd name="connsiteX5" fmla="*/ 230482 w 576731"/>
                    <a:gd name="connsiteY5" fmla="*/ 151456 h 505924"/>
                    <a:gd name="connsiteX6" fmla="*/ 233657 w 576731"/>
                    <a:gd name="connsiteY6" fmla="*/ 18106 h 505924"/>
                    <a:gd name="connsiteX7" fmla="*/ 344782 w 576731"/>
                    <a:gd name="connsiteY7" fmla="*/ 14931 h 505924"/>
                    <a:gd name="connsiteX8" fmla="*/ 344782 w 576731"/>
                    <a:gd name="connsiteY8" fmla="*/ 145106 h 505924"/>
                    <a:gd name="connsiteX9" fmla="*/ 386057 w 576731"/>
                    <a:gd name="connsiteY9" fmla="*/ 151456 h 505924"/>
                    <a:gd name="connsiteX10" fmla="*/ 478132 w 576731"/>
                    <a:gd name="connsiteY10" fmla="*/ 164156 h 505924"/>
                    <a:gd name="connsiteX11" fmla="*/ 519407 w 576731"/>
                    <a:gd name="connsiteY11" fmla="*/ 189556 h 505924"/>
                    <a:gd name="connsiteX12" fmla="*/ 541632 w 576731"/>
                    <a:gd name="connsiteY12" fmla="*/ 234006 h 505924"/>
                    <a:gd name="connsiteX13" fmla="*/ 538457 w 576731"/>
                    <a:gd name="connsiteY13" fmla="*/ 488006 h 505924"/>
                    <a:gd name="connsiteX14" fmla="*/ 36807 w 576731"/>
                    <a:gd name="connsiteY14" fmla="*/ 449906 h 505924"/>
                    <a:gd name="connsiteX0" fmla="*/ 5769 w 545693"/>
                    <a:gd name="connsiteY0" fmla="*/ 449906 h 505924"/>
                    <a:gd name="connsiteX1" fmla="*/ 8944 w 545693"/>
                    <a:gd name="connsiteY1" fmla="*/ 214956 h 505924"/>
                    <a:gd name="connsiteX2" fmla="*/ 24819 w 545693"/>
                    <a:gd name="connsiteY2" fmla="*/ 176856 h 505924"/>
                    <a:gd name="connsiteX3" fmla="*/ 72444 w 545693"/>
                    <a:gd name="connsiteY3" fmla="*/ 160981 h 505924"/>
                    <a:gd name="connsiteX4" fmla="*/ 174044 w 545693"/>
                    <a:gd name="connsiteY4" fmla="*/ 154631 h 505924"/>
                    <a:gd name="connsiteX5" fmla="*/ 199444 w 545693"/>
                    <a:gd name="connsiteY5" fmla="*/ 151456 h 505924"/>
                    <a:gd name="connsiteX6" fmla="*/ 202619 w 545693"/>
                    <a:gd name="connsiteY6" fmla="*/ 18106 h 505924"/>
                    <a:gd name="connsiteX7" fmla="*/ 313744 w 545693"/>
                    <a:gd name="connsiteY7" fmla="*/ 14931 h 505924"/>
                    <a:gd name="connsiteX8" fmla="*/ 313744 w 545693"/>
                    <a:gd name="connsiteY8" fmla="*/ 145106 h 505924"/>
                    <a:gd name="connsiteX9" fmla="*/ 355019 w 545693"/>
                    <a:gd name="connsiteY9" fmla="*/ 151456 h 505924"/>
                    <a:gd name="connsiteX10" fmla="*/ 447094 w 545693"/>
                    <a:gd name="connsiteY10" fmla="*/ 164156 h 505924"/>
                    <a:gd name="connsiteX11" fmla="*/ 488369 w 545693"/>
                    <a:gd name="connsiteY11" fmla="*/ 189556 h 505924"/>
                    <a:gd name="connsiteX12" fmla="*/ 510594 w 545693"/>
                    <a:gd name="connsiteY12" fmla="*/ 234006 h 505924"/>
                    <a:gd name="connsiteX13" fmla="*/ 507419 w 545693"/>
                    <a:gd name="connsiteY13" fmla="*/ 488006 h 505924"/>
                    <a:gd name="connsiteX14" fmla="*/ 5769 w 545693"/>
                    <a:gd name="connsiteY14" fmla="*/ 449906 h 505924"/>
                    <a:gd name="connsiteX0" fmla="*/ 21286 w 561210"/>
                    <a:gd name="connsiteY0" fmla="*/ 449906 h 508025"/>
                    <a:gd name="connsiteX1" fmla="*/ 24461 w 561210"/>
                    <a:gd name="connsiteY1" fmla="*/ 214956 h 508025"/>
                    <a:gd name="connsiteX2" fmla="*/ 40336 w 561210"/>
                    <a:gd name="connsiteY2" fmla="*/ 176856 h 508025"/>
                    <a:gd name="connsiteX3" fmla="*/ 87961 w 561210"/>
                    <a:gd name="connsiteY3" fmla="*/ 160981 h 508025"/>
                    <a:gd name="connsiteX4" fmla="*/ 189561 w 561210"/>
                    <a:gd name="connsiteY4" fmla="*/ 154631 h 508025"/>
                    <a:gd name="connsiteX5" fmla="*/ 214961 w 561210"/>
                    <a:gd name="connsiteY5" fmla="*/ 151456 h 508025"/>
                    <a:gd name="connsiteX6" fmla="*/ 218136 w 561210"/>
                    <a:gd name="connsiteY6" fmla="*/ 18106 h 508025"/>
                    <a:gd name="connsiteX7" fmla="*/ 329261 w 561210"/>
                    <a:gd name="connsiteY7" fmla="*/ 14931 h 508025"/>
                    <a:gd name="connsiteX8" fmla="*/ 329261 w 561210"/>
                    <a:gd name="connsiteY8" fmla="*/ 145106 h 508025"/>
                    <a:gd name="connsiteX9" fmla="*/ 370536 w 561210"/>
                    <a:gd name="connsiteY9" fmla="*/ 151456 h 508025"/>
                    <a:gd name="connsiteX10" fmla="*/ 462611 w 561210"/>
                    <a:gd name="connsiteY10" fmla="*/ 164156 h 508025"/>
                    <a:gd name="connsiteX11" fmla="*/ 503886 w 561210"/>
                    <a:gd name="connsiteY11" fmla="*/ 189556 h 508025"/>
                    <a:gd name="connsiteX12" fmla="*/ 526111 w 561210"/>
                    <a:gd name="connsiteY12" fmla="*/ 234006 h 508025"/>
                    <a:gd name="connsiteX13" fmla="*/ 522936 w 561210"/>
                    <a:gd name="connsiteY13" fmla="*/ 488006 h 508025"/>
                    <a:gd name="connsiteX14" fmla="*/ 21286 w 561210"/>
                    <a:gd name="connsiteY14" fmla="*/ 449906 h 508025"/>
                    <a:gd name="connsiteX0" fmla="*/ 21286 w 561210"/>
                    <a:gd name="connsiteY0" fmla="*/ 449906 h 508025"/>
                    <a:gd name="connsiteX1" fmla="*/ 24461 w 561210"/>
                    <a:gd name="connsiteY1" fmla="*/ 214956 h 508025"/>
                    <a:gd name="connsiteX2" fmla="*/ 40336 w 561210"/>
                    <a:gd name="connsiteY2" fmla="*/ 176856 h 508025"/>
                    <a:gd name="connsiteX3" fmla="*/ 87961 w 561210"/>
                    <a:gd name="connsiteY3" fmla="*/ 160981 h 508025"/>
                    <a:gd name="connsiteX4" fmla="*/ 189561 w 561210"/>
                    <a:gd name="connsiteY4" fmla="*/ 154631 h 508025"/>
                    <a:gd name="connsiteX5" fmla="*/ 214961 w 561210"/>
                    <a:gd name="connsiteY5" fmla="*/ 151456 h 508025"/>
                    <a:gd name="connsiteX6" fmla="*/ 218136 w 561210"/>
                    <a:gd name="connsiteY6" fmla="*/ 18106 h 508025"/>
                    <a:gd name="connsiteX7" fmla="*/ 329261 w 561210"/>
                    <a:gd name="connsiteY7" fmla="*/ 14931 h 508025"/>
                    <a:gd name="connsiteX8" fmla="*/ 329261 w 561210"/>
                    <a:gd name="connsiteY8" fmla="*/ 145106 h 508025"/>
                    <a:gd name="connsiteX9" fmla="*/ 370536 w 561210"/>
                    <a:gd name="connsiteY9" fmla="*/ 151456 h 508025"/>
                    <a:gd name="connsiteX10" fmla="*/ 462611 w 561210"/>
                    <a:gd name="connsiteY10" fmla="*/ 164156 h 508025"/>
                    <a:gd name="connsiteX11" fmla="*/ 503886 w 561210"/>
                    <a:gd name="connsiteY11" fmla="*/ 189556 h 508025"/>
                    <a:gd name="connsiteX12" fmla="*/ 526111 w 561210"/>
                    <a:gd name="connsiteY12" fmla="*/ 234006 h 508025"/>
                    <a:gd name="connsiteX13" fmla="*/ 522936 w 561210"/>
                    <a:gd name="connsiteY13" fmla="*/ 488006 h 508025"/>
                    <a:gd name="connsiteX14" fmla="*/ 21286 w 561210"/>
                    <a:gd name="connsiteY14" fmla="*/ 449906 h 508025"/>
                    <a:gd name="connsiteX0" fmla="*/ 4360 w 544284"/>
                    <a:gd name="connsiteY0" fmla="*/ 449906 h 508025"/>
                    <a:gd name="connsiteX1" fmla="*/ 7535 w 544284"/>
                    <a:gd name="connsiteY1" fmla="*/ 214956 h 508025"/>
                    <a:gd name="connsiteX2" fmla="*/ 23410 w 544284"/>
                    <a:gd name="connsiteY2" fmla="*/ 176856 h 508025"/>
                    <a:gd name="connsiteX3" fmla="*/ 71035 w 544284"/>
                    <a:gd name="connsiteY3" fmla="*/ 160981 h 508025"/>
                    <a:gd name="connsiteX4" fmla="*/ 172635 w 544284"/>
                    <a:gd name="connsiteY4" fmla="*/ 154631 h 508025"/>
                    <a:gd name="connsiteX5" fmla="*/ 198035 w 544284"/>
                    <a:gd name="connsiteY5" fmla="*/ 151456 h 508025"/>
                    <a:gd name="connsiteX6" fmla="*/ 201210 w 544284"/>
                    <a:gd name="connsiteY6" fmla="*/ 18106 h 508025"/>
                    <a:gd name="connsiteX7" fmla="*/ 312335 w 544284"/>
                    <a:gd name="connsiteY7" fmla="*/ 14931 h 508025"/>
                    <a:gd name="connsiteX8" fmla="*/ 312335 w 544284"/>
                    <a:gd name="connsiteY8" fmla="*/ 145106 h 508025"/>
                    <a:gd name="connsiteX9" fmla="*/ 353610 w 544284"/>
                    <a:gd name="connsiteY9" fmla="*/ 151456 h 508025"/>
                    <a:gd name="connsiteX10" fmla="*/ 445685 w 544284"/>
                    <a:gd name="connsiteY10" fmla="*/ 164156 h 508025"/>
                    <a:gd name="connsiteX11" fmla="*/ 486960 w 544284"/>
                    <a:gd name="connsiteY11" fmla="*/ 189556 h 508025"/>
                    <a:gd name="connsiteX12" fmla="*/ 509185 w 544284"/>
                    <a:gd name="connsiteY12" fmla="*/ 234006 h 508025"/>
                    <a:gd name="connsiteX13" fmla="*/ 506010 w 544284"/>
                    <a:gd name="connsiteY13" fmla="*/ 488006 h 508025"/>
                    <a:gd name="connsiteX14" fmla="*/ 4360 w 544284"/>
                    <a:gd name="connsiteY14" fmla="*/ 449906 h 508025"/>
                    <a:gd name="connsiteX0" fmla="*/ 4360 w 544284"/>
                    <a:gd name="connsiteY0" fmla="*/ 449906 h 500804"/>
                    <a:gd name="connsiteX1" fmla="*/ 7535 w 544284"/>
                    <a:gd name="connsiteY1" fmla="*/ 214956 h 500804"/>
                    <a:gd name="connsiteX2" fmla="*/ 23410 w 544284"/>
                    <a:gd name="connsiteY2" fmla="*/ 176856 h 500804"/>
                    <a:gd name="connsiteX3" fmla="*/ 71035 w 544284"/>
                    <a:gd name="connsiteY3" fmla="*/ 160981 h 500804"/>
                    <a:gd name="connsiteX4" fmla="*/ 172635 w 544284"/>
                    <a:gd name="connsiteY4" fmla="*/ 154631 h 500804"/>
                    <a:gd name="connsiteX5" fmla="*/ 198035 w 544284"/>
                    <a:gd name="connsiteY5" fmla="*/ 151456 h 500804"/>
                    <a:gd name="connsiteX6" fmla="*/ 201210 w 544284"/>
                    <a:gd name="connsiteY6" fmla="*/ 18106 h 500804"/>
                    <a:gd name="connsiteX7" fmla="*/ 312335 w 544284"/>
                    <a:gd name="connsiteY7" fmla="*/ 14931 h 500804"/>
                    <a:gd name="connsiteX8" fmla="*/ 312335 w 544284"/>
                    <a:gd name="connsiteY8" fmla="*/ 145106 h 500804"/>
                    <a:gd name="connsiteX9" fmla="*/ 353610 w 544284"/>
                    <a:gd name="connsiteY9" fmla="*/ 151456 h 500804"/>
                    <a:gd name="connsiteX10" fmla="*/ 445685 w 544284"/>
                    <a:gd name="connsiteY10" fmla="*/ 164156 h 500804"/>
                    <a:gd name="connsiteX11" fmla="*/ 486960 w 544284"/>
                    <a:gd name="connsiteY11" fmla="*/ 189556 h 500804"/>
                    <a:gd name="connsiteX12" fmla="*/ 509185 w 544284"/>
                    <a:gd name="connsiteY12" fmla="*/ 234006 h 500804"/>
                    <a:gd name="connsiteX13" fmla="*/ 506010 w 544284"/>
                    <a:gd name="connsiteY13" fmla="*/ 488006 h 500804"/>
                    <a:gd name="connsiteX14" fmla="*/ 4360 w 544284"/>
                    <a:gd name="connsiteY14" fmla="*/ 449906 h 500804"/>
                    <a:gd name="connsiteX0" fmla="*/ 4360 w 544284"/>
                    <a:gd name="connsiteY0" fmla="*/ 449906 h 500804"/>
                    <a:gd name="connsiteX1" fmla="*/ 7535 w 544284"/>
                    <a:gd name="connsiteY1" fmla="*/ 214956 h 500804"/>
                    <a:gd name="connsiteX2" fmla="*/ 23410 w 544284"/>
                    <a:gd name="connsiteY2" fmla="*/ 176856 h 500804"/>
                    <a:gd name="connsiteX3" fmla="*/ 71035 w 544284"/>
                    <a:gd name="connsiteY3" fmla="*/ 160981 h 500804"/>
                    <a:gd name="connsiteX4" fmla="*/ 172635 w 544284"/>
                    <a:gd name="connsiteY4" fmla="*/ 154631 h 500804"/>
                    <a:gd name="connsiteX5" fmla="*/ 198035 w 544284"/>
                    <a:gd name="connsiteY5" fmla="*/ 151456 h 500804"/>
                    <a:gd name="connsiteX6" fmla="*/ 201210 w 544284"/>
                    <a:gd name="connsiteY6" fmla="*/ 18106 h 500804"/>
                    <a:gd name="connsiteX7" fmla="*/ 312335 w 544284"/>
                    <a:gd name="connsiteY7" fmla="*/ 14931 h 500804"/>
                    <a:gd name="connsiteX8" fmla="*/ 312335 w 544284"/>
                    <a:gd name="connsiteY8" fmla="*/ 145106 h 500804"/>
                    <a:gd name="connsiteX9" fmla="*/ 353610 w 544284"/>
                    <a:gd name="connsiteY9" fmla="*/ 151456 h 500804"/>
                    <a:gd name="connsiteX10" fmla="*/ 445685 w 544284"/>
                    <a:gd name="connsiteY10" fmla="*/ 164156 h 500804"/>
                    <a:gd name="connsiteX11" fmla="*/ 486960 w 544284"/>
                    <a:gd name="connsiteY11" fmla="*/ 189556 h 500804"/>
                    <a:gd name="connsiteX12" fmla="*/ 509185 w 544284"/>
                    <a:gd name="connsiteY12" fmla="*/ 234006 h 500804"/>
                    <a:gd name="connsiteX13" fmla="*/ 506010 w 544284"/>
                    <a:gd name="connsiteY13" fmla="*/ 488006 h 500804"/>
                    <a:gd name="connsiteX14" fmla="*/ 4360 w 544284"/>
                    <a:gd name="connsiteY14" fmla="*/ 449906 h 500804"/>
                    <a:gd name="connsiteX0" fmla="*/ 4360 w 519024"/>
                    <a:gd name="connsiteY0" fmla="*/ 449906 h 500804"/>
                    <a:gd name="connsiteX1" fmla="*/ 7535 w 519024"/>
                    <a:gd name="connsiteY1" fmla="*/ 214956 h 500804"/>
                    <a:gd name="connsiteX2" fmla="*/ 23410 w 519024"/>
                    <a:gd name="connsiteY2" fmla="*/ 176856 h 500804"/>
                    <a:gd name="connsiteX3" fmla="*/ 71035 w 519024"/>
                    <a:gd name="connsiteY3" fmla="*/ 160981 h 500804"/>
                    <a:gd name="connsiteX4" fmla="*/ 172635 w 519024"/>
                    <a:gd name="connsiteY4" fmla="*/ 154631 h 500804"/>
                    <a:gd name="connsiteX5" fmla="*/ 198035 w 519024"/>
                    <a:gd name="connsiteY5" fmla="*/ 151456 h 500804"/>
                    <a:gd name="connsiteX6" fmla="*/ 201210 w 519024"/>
                    <a:gd name="connsiteY6" fmla="*/ 18106 h 500804"/>
                    <a:gd name="connsiteX7" fmla="*/ 312335 w 519024"/>
                    <a:gd name="connsiteY7" fmla="*/ 14931 h 500804"/>
                    <a:gd name="connsiteX8" fmla="*/ 312335 w 519024"/>
                    <a:gd name="connsiteY8" fmla="*/ 145106 h 500804"/>
                    <a:gd name="connsiteX9" fmla="*/ 353610 w 519024"/>
                    <a:gd name="connsiteY9" fmla="*/ 151456 h 500804"/>
                    <a:gd name="connsiteX10" fmla="*/ 445685 w 519024"/>
                    <a:gd name="connsiteY10" fmla="*/ 164156 h 500804"/>
                    <a:gd name="connsiteX11" fmla="*/ 486960 w 519024"/>
                    <a:gd name="connsiteY11" fmla="*/ 189556 h 500804"/>
                    <a:gd name="connsiteX12" fmla="*/ 509185 w 519024"/>
                    <a:gd name="connsiteY12" fmla="*/ 234006 h 500804"/>
                    <a:gd name="connsiteX13" fmla="*/ 506010 w 519024"/>
                    <a:gd name="connsiteY13" fmla="*/ 488006 h 500804"/>
                    <a:gd name="connsiteX14" fmla="*/ 4360 w 519024"/>
                    <a:gd name="connsiteY14" fmla="*/ 449906 h 500804"/>
                    <a:gd name="connsiteX0" fmla="*/ 4360 w 519024"/>
                    <a:gd name="connsiteY0" fmla="*/ 449906 h 488006"/>
                    <a:gd name="connsiteX1" fmla="*/ 7535 w 519024"/>
                    <a:gd name="connsiteY1" fmla="*/ 214956 h 488006"/>
                    <a:gd name="connsiteX2" fmla="*/ 23410 w 519024"/>
                    <a:gd name="connsiteY2" fmla="*/ 176856 h 488006"/>
                    <a:gd name="connsiteX3" fmla="*/ 71035 w 519024"/>
                    <a:gd name="connsiteY3" fmla="*/ 160981 h 488006"/>
                    <a:gd name="connsiteX4" fmla="*/ 172635 w 519024"/>
                    <a:gd name="connsiteY4" fmla="*/ 154631 h 488006"/>
                    <a:gd name="connsiteX5" fmla="*/ 198035 w 519024"/>
                    <a:gd name="connsiteY5" fmla="*/ 151456 h 488006"/>
                    <a:gd name="connsiteX6" fmla="*/ 201210 w 519024"/>
                    <a:gd name="connsiteY6" fmla="*/ 18106 h 488006"/>
                    <a:gd name="connsiteX7" fmla="*/ 312335 w 519024"/>
                    <a:gd name="connsiteY7" fmla="*/ 14931 h 488006"/>
                    <a:gd name="connsiteX8" fmla="*/ 312335 w 519024"/>
                    <a:gd name="connsiteY8" fmla="*/ 145106 h 488006"/>
                    <a:gd name="connsiteX9" fmla="*/ 353610 w 519024"/>
                    <a:gd name="connsiteY9" fmla="*/ 151456 h 488006"/>
                    <a:gd name="connsiteX10" fmla="*/ 445685 w 519024"/>
                    <a:gd name="connsiteY10" fmla="*/ 164156 h 488006"/>
                    <a:gd name="connsiteX11" fmla="*/ 486960 w 519024"/>
                    <a:gd name="connsiteY11" fmla="*/ 189556 h 488006"/>
                    <a:gd name="connsiteX12" fmla="*/ 509185 w 519024"/>
                    <a:gd name="connsiteY12" fmla="*/ 234006 h 488006"/>
                    <a:gd name="connsiteX13" fmla="*/ 506010 w 519024"/>
                    <a:gd name="connsiteY13" fmla="*/ 488006 h 488006"/>
                    <a:gd name="connsiteX14" fmla="*/ 4360 w 519024"/>
                    <a:gd name="connsiteY14" fmla="*/ 449906 h 488006"/>
                    <a:gd name="connsiteX0" fmla="*/ 4360 w 523534"/>
                    <a:gd name="connsiteY0" fmla="*/ 449906 h 472131"/>
                    <a:gd name="connsiteX1" fmla="*/ 7535 w 523534"/>
                    <a:gd name="connsiteY1" fmla="*/ 214956 h 472131"/>
                    <a:gd name="connsiteX2" fmla="*/ 23410 w 523534"/>
                    <a:gd name="connsiteY2" fmla="*/ 176856 h 472131"/>
                    <a:gd name="connsiteX3" fmla="*/ 71035 w 523534"/>
                    <a:gd name="connsiteY3" fmla="*/ 160981 h 472131"/>
                    <a:gd name="connsiteX4" fmla="*/ 172635 w 523534"/>
                    <a:gd name="connsiteY4" fmla="*/ 154631 h 472131"/>
                    <a:gd name="connsiteX5" fmla="*/ 198035 w 523534"/>
                    <a:gd name="connsiteY5" fmla="*/ 151456 h 472131"/>
                    <a:gd name="connsiteX6" fmla="*/ 201210 w 523534"/>
                    <a:gd name="connsiteY6" fmla="*/ 18106 h 472131"/>
                    <a:gd name="connsiteX7" fmla="*/ 312335 w 523534"/>
                    <a:gd name="connsiteY7" fmla="*/ 14931 h 472131"/>
                    <a:gd name="connsiteX8" fmla="*/ 312335 w 523534"/>
                    <a:gd name="connsiteY8" fmla="*/ 145106 h 472131"/>
                    <a:gd name="connsiteX9" fmla="*/ 353610 w 523534"/>
                    <a:gd name="connsiteY9" fmla="*/ 151456 h 472131"/>
                    <a:gd name="connsiteX10" fmla="*/ 445685 w 523534"/>
                    <a:gd name="connsiteY10" fmla="*/ 164156 h 472131"/>
                    <a:gd name="connsiteX11" fmla="*/ 486960 w 523534"/>
                    <a:gd name="connsiteY11" fmla="*/ 189556 h 472131"/>
                    <a:gd name="connsiteX12" fmla="*/ 509185 w 523534"/>
                    <a:gd name="connsiteY12" fmla="*/ 234006 h 472131"/>
                    <a:gd name="connsiteX13" fmla="*/ 512360 w 523534"/>
                    <a:gd name="connsiteY13" fmla="*/ 472131 h 472131"/>
                    <a:gd name="connsiteX14" fmla="*/ 4360 w 523534"/>
                    <a:gd name="connsiteY14" fmla="*/ 449906 h 472131"/>
                    <a:gd name="connsiteX0" fmla="*/ 4360 w 513675"/>
                    <a:gd name="connsiteY0" fmla="*/ 449906 h 472131"/>
                    <a:gd name="connsiteX1" fmla="*/ 7535 w 513675"/>
                    <a:gd name="connsiteY1" fmla="*/ 214956 h 472131"/>
                    <a:gd name="connsiteX2" fmla="*/ 23410 w 513675"/>
                    <a:gd name="connsiteY2" fmla="*/ 176856 h 472131"/>
                    <a:gd name="connsiteX3" fmla="*/ 71035 w 513675"/>
                    <a:gd name="connsiteY3" fmla="*/ 160981 h 472131"/>
                    <a:gd name="connsiteX4" fmla="*/ 172635 w 513675"/>
                    <a:gd name="connsiteY4" fmla="*/ 154631 h 472131"/>
                    <a:gd name="connsiteX5" fmla="*/ 198035 w 513675"/>
                    <a:gd name="connsiteY5" fmla="*/ 151456 h 472131"/>
                    <a:gd name="connsiteX6" fmla="*/ 201210 w 513675"/>
                    <a:gd name="connsiteY6" fmla="*/ 18106 h 472131"/>
                    <a:gd name="connsiteX7" fmla="*/ 312335 w 513675"/>
                    <a:gd name="connsiteY7" fmla="*/ 14931 h 472131"/>
                    <a:gd name="connsiteX8" fmla="*/ 312335 w 513675"/>
                    <a:gd name="connsiteY8" fmla="*/ 145106 h 472131"/>
                    <a:gd name="connsiteX9" fmla="*/ 353610 w 513675"/>
                    <a:gd name="connsiteY9" fmla="*/ 151456 h 472131"/>
                    <a:gd name="connsiteX10" fmla="*/ 445685 w 513675"/>
                    <a:gd name="connsiteY10" fmla="*/ 164156 h 472131"/>
                    <a:gd name="connsiteX11" fmla="*/ 486960 w 513675"/>
                    <a:gd name="connsiteY11" fmla="*/ 189556 h 472131"/>
                    <a:gd name="connsiteX12" fmla="*/ 509185 w 513675"/>
                    <a:gd name="connsiteY12" fmla="*/ 234006 h 472131"/>
                    <a:gd name="connsiteX13" fmla="*/ 512360 w 513675"/>
                    <a:gd name="connsiteY13" fmla="*/ 472131 h 472131"/>
                    <a:gd name="connsiteX14" fmla="*/ 4360 w 513675"/>
                    <a:gd name="connsiteY14" fmla="*/ 449906 h 472131"/>
                    <a:gd name="connsiteX0" fmla="*/ 4360 w 513675"/>
                    <a:gd name="connsiteY0" fmla="*/ 446969 h 469194"/>
                    <a:gd name="connsiteX1" fmla="*/ 7535 w 513675"/>
                    <a:gd name="connsiteY1" fmla="*/ 212019 h 469194"/>
                    <a:gd name="connsiteX2" fmla="*/ 23410 w 513675"/>
                    <a:gd name="connsiteY2" fmla="*/ 173919 h 469194"/>
                    <a:gd name="connsiteX3" fmla="*/ 71035 w 513675"/>
                    <a:gd name="connsiteY3" fmla="*/ 158044 h 469194"/>
                    <a:gd name="connsiteX4" fmla="*/ 172635 w 513675"/>
                    <a:gd name="connsiteY4" fmla="*/ 151694 h 469194"/>
                    <a:gd name="connsiteX5" fmla="*/ 188510 w 513675"/>
                    <a:gd name="connsiteY5" fmla="*/ 94544 h 469194"/>
                    <a:gd name="connsiteX6" fmla="*/ 201210 w 513675"/>
                    <a:gd name="connsiteY6" fmla="*/ 15169 h 469194"/>
                    <a:gd name="connsiteX7" fmla="*/ 312335 w 513675"/>
                    <a:gd name="connsiteY7" fmla="*/ 11994 h 469194"/>
                    <a:gd name="connsiteX8" fmla="*/ 312335 w 513675"/>
                    <a:gd name="connsiteY8" fmla="*/ 142169 h 469194"/>
                    <a:gd name="connsiteX9" fmla="*/ 353610 w 513675"/>
                    <a:gd name="connsiteY9" fmla="*/ 148519 h 469194"/>
                    <a:gd name="connsiteX10" fmla="*/ 445685 w 513675"/>
                    <a:gd name="connsiteY10" fmla="*/ 161219 h 469194"/>
                    <a:gd name="connsiteX11" fmla="*/ 486960 w 513675"/>
                    <a:gd name="connsiteY11" fmla="*/ 186619 h 469194"/>
                    <a:gd name="connsiteX12" fmla="*/ 509185 w 513675"/>
                    <a:gd name="connsiteY12" fmla="*/ 231069 h 469194"/>
                    <a:gd name="connsiteX13" fmla="*/ 512360 w 513675"/>
                    <a:gd name="connsiteY13" fmla="*/ 469194 h 469194"/>
                    <a:gd name="connsiteX14" fmla="*/ 4360 w 513675"/>
                    <a:gd name="connsiteY14" fmla="*/ 446969 h 469194"/>
                    <a:gd name="connsiteX0" fmla="*/ 4360 w 513675"/>
                    <a:gd name="connsiteY0" fmla="*/ 443409 h 465634"/>
                    <a:gd name="connsiteX1" fmla="*/ 7535 w 513675"/>
                    <a:gd name="connsiteY1" fmla="*/ 208459 h 465634"/>
                    <a:gd name="connsiteX2" fmla="*/ 23410 w 513675"/>
                    <a:gd name="connsiteY2" fmla="*/ 170359 h 465634"/>
                    <a:gd name="connsiteX3" fmla="*/ 71035 w 513675"/>
                    <a:gd name="connsiteY3" fmla="*/ 154484 h 465634"/>
                    <a:gd name="connsiteX4" fmla="*/ 172635 w 513675"/>
                    <a:gd name="connsiteY4" fmla="*/ 148134 h 465634"/>
                    <a:gd name="connsiteX5" fmla="*/ 188510 w 513675"/>
                    <a:gd name="connsiteY5" fmla="*/ 90984 h 465634"/>
                    <a:gd name="connsiteX6" fmla="*/ 201210 w 513675"/>
                    <a:gd name="connsiteY6" fmla="*/ 11609 h 465634"/>
                    <a:gd name="connsiteX7" fmla="*/ 312335 w 513675"/>
                    <a:gd name="connsiteY7" fmla="*/ 8434 h 465634"/>
                    <a:gd name="connsiteX8" fmla="*/ 312335 w 513675"/>
                    <a:gd name="connsiteY8" fmla="*/ 87809 h 465634"/>
                    <a:gd name="connsiteX9" fmla="*/ 353610 w 513675"/>
                    <a:gd name="connsiteY9" fmla="*/ 144959 h 465634"/>
                    <a:gd name="connsiteX10" fmla="*/ 445685 w 513675"/>
                    <a:gd name="connsiteY10" fmla="*/ 157659 h 465634"/>
                    <a:gd name="connsiteX11" fmla="*/ 486960 w 513675"/>
                    <a:gd name="connsiteY11" fmla="*/ 183059 h 465634"/>
                    <a:gd name="connsiteX12" fmla="*/ 509185 w 513675"/>
                    <a:gd name="connsiteY12" fmla="*/ 227509 h 465634"/>
                    <a:gd name="connsiteX13" fmla="*/ 512360 w 513675"/>
                    <a:gd name="connsiteY13" fmla="*/ 465634 h 465634"/>
                    <a:gd name="connsiteX14" fmla="*/ 4360 w 513675"/>
                    <a:gd name="connsiteY14" fmla="*/ 443409 h 465634"/>
                    <a:gd name="connsiteX0" fmla="*/ 4360 w 513675"/>
                    <a:gd name="connsiteY0" fmla="*/ 443409 h 465634"/>
                    <a:gd name="connsiteX1" fmla="*/ 7535 w 513675"/>
                    <a:gd name="connsiteY1" fmla="*/ 208459 h 465634"/>
                    <a:gd name="connsiteX2" fmla="*/ 23410 w 513675"/>
                    <a:gd name="connsiteY2" fmla="*/ 170359 h 465634"/>
                    <a:gd name="connsiteX3" fmla="*/ 71035 w 513675"/>
                    <a:gd name="connsiteY3" fmla="*/ 154484 h 465634"/>
                    <a:gd name="connsiteX4" fmla="*/ 172635 w 513675"/>
                    <a:gd name="connsiteY4" fmla="*/ 148134 h 465634"/>
                    <a:gd name="connsiteX5" fmla="*/ 188510 w 513675"/>
                    <a:gd name="connsiteY5" fmla="*/ 90984 h 465634"/>
                    <a:gd name="connsiteX6" fmla="*/ 201210 w 513675"/>
                    <a:gd name="connsiteY6" fmla="*/ 11609 h 465634"/>
                    <a:gd name="connsiteX7" fmla="*/ 312335 w 513675"/>
                    <a:gd name="connsiteY7" fmla="*/ 8434 h 465634"/>
                    <a:gd name="connsiteX8" fmla="*/ 312335 w 513675"/>
                    <a:gd name="connsiteY8" fmla="*/ 87809 h 465634"/>
                    <a:gd name="connsiteX9" fmla="*/ 334560 w 513675"/>
                    <a:gd name="connsiteY9" fmla="*/ 135434 h 465634"/>
                    <a:gd name="connsiteX10" fmla="*/ 445685 w 513675"/>
                    <a:gd name="connsiteY10" fmla="*/ 157659 h 465634"/>
                    <a:gd name="connsiteX11" fmla="*/ 486960 w 513675"/>
                    <a:gd name="connsiteY11" fmla="*/ 183059 h 465634"/>
                    <a:gd name="connsiteX12" fmla="*/ 509185 w 513675"/>
                    <a:gd name="connsiteY12" fmla="*/ 227509 h 465634"/>
                    <a:gd name="connsiteX13" fmla="*/ 512360 w 513675"/>
                    <a:gd name="connsiteY13" fmla="*/ 465634 h 465634"/>
                    <a:gd name="connsiteX14" fmla="*/ 4360 w 513675"/>
                    <a:gd name="connsiteY14" fmla="*/ 443409 h 465634"/>
                    <a:gd name="connsiteX0" fmla="*/ 4360 w 510500"/>
                    <a:gd name="connsiteY0" fmla="*/ 443409 h 449759"/>
                    <a:gd name="connsiteX1" fmla="*/ 7535 w 510500"/>
                    <a:gd name="connsiteY1" fmla="*/ 208459 h 449759"/>
                    <a:gd name="connsiteX2" fmla="*/ 23410 w 510500"/>
                    <a:gd name="connsiteY2" fmla="*/ 170359 h 449759"/>
                    <a:gd name="connsiteX3" fmla="*/ 71035 w 510500"/>
                    <a:gd name="connsiteY3" fmla="*/ 154484 h 449759"/>
                    <a:gd name="connsiteX4" fmla="*/ 172635 w 510500"/>
                    <a:gd name="connsiteY4" fmla="*/ 148134 h 449759"/>
                    <a:gd name="connsiteX5" fmla="*/ 188510 w 510500"/>
                    <a:gd name="connsiteY5" fmla="*/ 90984 h 449759"/>
                    <a:gd name="connsiteX6" fmla="*/ 201210 w 510500"/>
                    <a:gd name="connsiteY6" fmla="*/ 11609 h 449759"/>
                    <a:gd name="connsiteX7" fmla="*/ 312335 w 510500"/>
                    <a:gd name="connsiteY7" fmla="*/ 8434 h 449759"/>
                    <a:gd name="connsiteX8" fmla="*/ 312335 w 510500"/>
                    <a:gd name="connsiteY8" fmla="*/ 87809 h 449759"/>
                    <a:gd name="connsiteX9" fmla="*/ 334560 w 510500"/>
                    <a:gd name="connsiteY9" fmla="*/ 135434 h 449759"/>
                    <a:gd name="connsiteX10" fmla="*/ 445685 w 510500"/>
                    <a:gd name="connsiteY10" fmla="*/ 157659 h 449759"/>
                    <a:gd name="connsiteX11" fmla="*/ 486960 w 510500"/>
                    <a:gd name="connsiteY11" fmla="*/ 183059 h 449759"/>
                    <a:gd name="connsiteX12" fmla="*/ 509185 w 510500"/>
                    <a:gd name="connsiteY12" fmla="*/ 227509 h 449759"/>
                    <a:gd name="connsiteX13" fmla="*/ 506010 w 510500"/>
                    <a:gd name="connsiteY13" fmla="*/ 449759 h 449759"/>
                    <a:gd name="connsiteX14" fmla="*/ 4360 w 510500"/>
                    <a:gd name="connsiteY14" fmla="*/ 443409 h 449759"/>
                    <a:gd name="connsiteX0" fmla="*/ 4360 w 510500"/>
                    <a:gd name="connsiteY0" fmla="*/ 443409 h 454926"/>
                    <a:gd name="connsiteX1" fmla="*/ 7535 w 510500"/>
                    <a:gd name="connsiteY1" fmla="*/ 208459 h 454926"/>
                    <a:gd name="connsiteX2" fmla="*/ 23410 w 510500"/>
                    <a:gd name="connsiteY2" fmla="*/ 170359 h 454926"/>
                    <a:gd name="connsiteX3" fmla="*/ 71035 w 510500"/>
                    <a:gd name="connsiteY3" fmla="*/ 154484 h 454926"/>
                    <a:gd name="connsiteX4" fmla="*/ 172635 w 510500"/>
                    <a:gd name="connsiteY4" fmla="*/ 148134 h 454926"/>
                    <a:gd name="connsiteX5" fmla="*/ 188510 w 510500"/>
                    <a:gd name="connsiteY5" fmla="*/ 90984 h 454926"/>
                    <a:gd name="connsiteX6" fmla="*/ 201210 w 510500"/>
                    <a:gd name="connsiteY6" fmla="*/ 11609 h 454926"/>
                    <a:gd name="connsiteX7" fmla="*/ 312335 w 510500"/>
                    <a:gd name="connsiteY7" fmla="*/ 8434 h 454926"/>
                    <a:gd name="connsiteX8" fmla="*/ 312335 w 510500"/>
                    <a:gd name="connsiteY8" fmla="*/ 87809 h 454926"/>
                    <a:gd name="connsiteX9" fmla="*/ 334560 w 510500"/>
                    <a:gd name="connsiteY9" fmla="*/ 135434 h 454926"/>
                    <a:gd name="connsiteX10" fmla="*/ 445685 w 510500"/>
                    <a:gd name="connsiteY10" fmla="*/ 157659 h 454926"/>
                    <a:gd name="connsiteX11" fmla="*/ 486960 w 510500"/>
                    <a:gd name="connsiteY11" fmla="*/ 183059 h 454926"/>
                    <a:gd name="connsiteX12" fmla="*/ 509185 w 510500"/>
                    <a:gd name="connsiteY12" fmla="*/ 227509 h 454926"/>
                    <a:gd name="connsiteX13" fmla="*/ 506010 w 510500"/>
                    <a:gd name="connsiteY13" fmla="*/ 449759 h 454926"/>
                    <a:gd name="connsiteX14" fmla="*/ 4360 w 510500"/>
                    <a:gd name="connsiteY14" fmla="*/ 443409 h 454926"/>
                    <a:gd name="connsiteX0" fmla="*/ 6473 w 512613"/>
                    <a:gd name="connsiteY0" fmla="*/ 443409 h 454926"/>
                    <a:gd name="connsiteX1" fmla="*/ 9648 w 512613"/>
                    <a:gd name="connsiteY1" fmla="*/ 208459 h 454926"/>
                    <a:gd name="connsiteX2" fmla="*/ 73148 w 512613"/>
                    <a:gd name="connsiteY2" fmla="*/ 154484 h 454926"/>
                    <a:gd name="connsiteX3" fmla="*/ 174748 w 512613"/>
                    <a:gd name="connsiteY3" fmla="*/ 148134 h 454926"/>
                    <a:gd name="connsiteX4" fmla="*/ 190623 w 512613"/>
                    <a:gd name="connsiteY4" fmla="*/ 90984 h 454926"/>
                    <a:gd name="connsiteX5" fmla="*/ 203323 w 512613"/>
                    <a:gd name="connsiteY5" fmla="*/ 11609 h 454926"/>
                    <a:gd name="connsiteX6" fmla="*/ 314448 w 512613"/>
                    <a:gd name="connsiteY6" fmla="*/ 8434 h 454926"/>
                    <a:gd name="connsiteX7" fmla="*/ 314448 w 512613"/>
                    <a:gd name="connsiteY7" fmla="*/ 87809 h 454926"/>
                    <a:gd name="connsiteX8" fmla="*/ 336673 w 512613"/>
                    <a:gd name="connsiteY8" fmla="*/ 135434 h 454926"/>
                    <a:gd name="connsiteX9" fmla="*/ 447798 w 512613"/>
                    <a:gd name="connsiteY9" fmla="*/ 157659 h 454926"/>
                    <a:gd name="connsiteX10" fmla="*/ 489073 w 512613"/>
                    <a:gd name="connsiteY10" fmla="*/ 183059 h 454926"/>
                    <a:gd name="connsiteX11" fmla="*/ 511298 w 512613"/>
                    <a:gd name="connsiteY11" fmla="*/ 227509 h 454926"/>
                    <a:gd name="connsiteX12" fmla="*/ 508123 w 512613"/>
                    <a:gd name="connsiteY12" fmla="*/ 449759 h 454926"/>
                    <a:gd name="connsiteX13" fmla="*/ 6473 w 512613"/>
                    <a:gd name="connsiteY13" fmla="*/ 443409 h 454926"/>
                    <a:gd name="connsiteX0" fmla="*/ 4049 w 510189"/>
                    <a:gd name="connsiteY0" fmla="*/ 443409 h 454926"/>
                    <a:gd name="connsiteX1" fmla="*/ 7224 w 510189"/>
                    <a:gd name="connsiteY1" fmla="*/ 208459 h 454926"/>
                    <a:gd name="connsiteX2" fmla="*/ 70724 w 510189"/>
                    <a:gd name="connsiteY2" fmla="*/ 154484 h 454926"/>
                    <a:gd name="connsiteX3" fmla="*/ 172324 w 510189"/>
                    <a:gd name="connsiteY3" fmla="*/ 148134 h 454926"/>
                    <a:gd name="connsiteX4" fmla="*/ 188199 w 510189"/>
                    <a:gd name="connsiteY4" fmla="*/ 90984 h 454926"/>
                    <a:gd name="connsiteX5" fmla="*/ 200899 w 510189"/>
                    <a:gd name="connsiteY5" fmla="*/ 11609 h 454926"/>
                    <a:gd name="connsiteX6" fmla="*/ 312024 w 510189"/>
                    <a:gd name="connsiteY6" fmla="*/ 8434 h 454926"/>
                    <a:gd name="connsiteX7" fmla="*/ 312024 w 510189"/>
                    <a:gd name="connsiteY7" fmla="*/ 87809 h 454926"/>
                    <a:gd name="connsiteX8" fmla="*/ 334249 w 510189"/>
                    <a:gd name="connsiteY8" fmla="*/ 135434 h 454926"/>
                    <a:gd name="connsiteX9" fmla="*/ 445374 w 510189"/>
                    <a:gd name="connsiteY9" fmla="*/ 157659 h 454926"/>
                    <a:gd name="connsiteX10" fmla="*/ 486649 w 510189"/>
                    <a:gd name="connsiteY10" fmla="*/ 183059 h 454926"/>
                    <a:gd name="connsiteX11" fmla="*/ 508874 w 510189"/>
                    <a:gd name="connsiteY11" fmla="*/ 227509 h 454926"/>
                    <a:gd name="connsiteX12" fmla="*/ 505699 w 510189"/>
                    <a:gd name="connsiteY12" fmla="*/ 449759 h 454926"/>
                    <a:gd name="connsiteX13" fmla="*/ 4049 w 510189"/>
                    <a:gd name="connsiteY13" fmla="*/ 443409 h 454926"/>
                    <a:gd name="connsiteX0" fmla="*/ 4049 w 510189"/>
                    <a:gd name="connsiteY0" fmla="*/ 443409 h 454926"/>
                    <a:gd name="connsiteX1" fmla="*/ 7224 w 510189"/>
                    <a:gd name="connsiteY1" fmla="*/ 208459 h 454926"/>
                    <a:gd name="connsiteX2" fmla="*/ 70724 w 510189"/>
                    <a:gd name="connsiteY2" fmla="*/ 154484 h 454926"/>
                    <a:gd name="connsiteX3" fmla="*/ 172324 w 510189"/>
                    <a:gd name="connsiteY3" fmla="*/ 148134 h 454926"/>
                    <a:gd name="connsiteX4" fmla="*/ 188199 w 510189"/>
                    <a:gd name="connsiteY4" fmla="*/ 90984 h 454926"/>
                    <a:gd name="connsiteX5" fmla="*/ 200899 w 510189"/>
                    <a:gd name="connsiteY5" fmla="*/ 11609 h 454926"/>
                    <a:gd name="connsiteX6" fmla="*/ 312024 w 510189"/>
                    <a:gd name="connsiteY6" fmla="*/ 8434 h 454926"/>
                    <a:gd name="connsiteX7" fmla="*/ 312024 w 510189"/>
                    <a:gd name="connsiteY7" fmla="*/ 87809 h 454926"/>
                    <a:gd name="connsiteX8" fmla="*/ 334249 w 510189"/>
                    <a:gd name="connsiteY8" fmla="*/ 135434 h 454926"/>
                    <a:gd name="connsiteX9" fmla="*/ 445374 w 510189"/>
                    <a:gd name="connsiteY9" fmla="*/ 157659 h 454926"/>
                    <a:gd name="connsiteX10" fmla="*/ 508874 w 510189"/>
                    <a:gd name="connsiteY10" fmla="*/ 227509 h 454926"/>
                    <a:gd name="connsiteX11" fmla="*/ 505699 w 510189"/>
                    <a:gd name="connsiteY11" fmla="*/ 449759 h 454926"/>
                    <a:gd name="connsiteX12" fmla="*/ 4049 w 510189"/>
                    <a:gd name="connsiteY12" fmla="*/ 443409 h 454926"/>
                    <a:gd name="connsiteX0" fmla="*/ 4049 w 510189"/>
                    <a:gd name="connsiteY0" fmla="*/ 443409 h 454926"/>
                    <a:gd name="connsiteX1" fmla="*/ 7224 w 510189"/>
                    <a:gd name="connsiteY1" fmla="*/ 208459 h 454926"/>
                    <a:gd name="connsiteX2" fmla="*/ 70724 w 510189"/>
                    <a:gd name="connsiteY2" fmla="*/ 154484 h 454926"/>
                    <a:gd name="connsiteX3" fmla="*/ 172324 w 510189"/>
                    <a:gd name="connsiteY3" fmla="*/ 148134 h 454926"/>
                    <a:gd name="connsiteX4" fmla="*/ 188199 w 510189"/>
                    <a:gd name="connsiteY4" fmla="*/ 90984 h 454926"/>
                    <a:gd name="connsiteX5" fmla="*/ 200899 w 510189"/>
                    <a:gd name="connsiteY5" fmla="*/ 11609 h 454926"/>
                    <a:gd name="connsiteX6" fmla="*/ 312024 w 510189"/>
                    <a:gd name="connsiteY6" fmla="*/ 8434 h 454926"/>
                    <a:gd name="connsiteX7" fmla="*/ 312024 w 510189"/>
                    <a:gd name="connsiteY7" fmla="*/ 87809 h 454926"/>
                    <a:gd name="connsiteX8" fmla="*/ 334249 w 510189"/>
                    <a:gd name="connsiteY8" fmla="*/ 135434 h 454926"/>
                    <a:gd name="connsiteX9" fmla="*/ 445374 w 510189"/>
                    <a:gd name="connsiteY9" fmla="*/ 157659 h 454926"/>
                    <a:gd name="connsiteX10" fmla="*/ 508874 w 510189"/>
                    <a:gd name="connsiteY10" fmla="*/ 227509 h 454926"/>
                    <a:gd name="connsiteX11" fmla="*/ 505699 w 510189"/>
                    <a:gd name="connsiteY11" fmla="*/ 449759 h 454926"/>
                    <a:gd name="connsiteX12" fmla="*/ 4049 w 510189"/>
                    <a:gd name="connsiteY12" fmla="*/ 443409 h 454926"/>
                    <a:gd name="connsiteX0" fmla="*/ 5987 w 512127"/>
                    <a:gd name="connsiteY0" fmla="*/ 443409 h 454926"/>
                    <a:gd name="connsiteX1" fmla="*/ 2812 w 512127"/>
                    <a:gd name="connsiteY1" fmla="*/ 217984 h 454926"/>
                    <a:gd name="connsiteX2" fmla="*/ 72662 w 512127"/>
                    <a:gd name="connsiteY2" fmla="*/ 154484 h 454926"/>
                    <a:gd name="connsiteX3" fmla="*/ 174262 w 512127"/>
                    <a:gd name="connsiteY3" fmla="*/ 148134 h 454926"/>
                    <a:gd name="connsiteX4" fmla="*/ 190137 w 512127"/>
                    <a:gd name="connsiteY4" fmla="*/ 90984 h 454926"/>
                    <a:gd name="connsiteX5" fmla="*/ 202837 w 512127"/>
                    <a:gd name="connsiteY5" fmla="*/ 11609 h 454926"/>
                    <a:gd name="connsiteX6" fmla="*/ 313962 w 512127"/>
                    <a:gd name="connsiteY6" fmla="*/ 8434 h 454926"/>
                    <a:gd name="connsiteX7" fmla="*/ 313962 w 512127"/>
                    <a:gd name="connsiteY7" fmla="*/ 87809 h 454926"/>
                    <a:gd name="connsiteX8" fmla="*/ 336187 w 512127"/>
                    <a:gd name="connsiteY8" fmla="*/ 135434 h 454926"/>
                    <a:gd name="connsiteX9" fmla="*/ 447312 w 512127"/>
                    <a:gd name="connsiteY9" fmla="*/ 157659 h 454926"/>
                    <a:gd name="connsiteX10" fmla="*/ 510812 w 512127"/>
                    <a:gd name="connsiteY10" fmla="*/ 227509 h 454926"/>
                    <a:gd name="connsiteX11" fmla="*/ 507637 w 512127"/>
                    <a:gd name="connsiteY11" fmla="*/ 449759 h 454926"/>
                    <a:gd name="connsiteX12" fmla="*/ 5987 w 512127"/>
                    <a:gd name="connsiteY12" fmla="*/ 443409 h 454926"/>
                    <a:gd name="connsiteX0" fmla="*/ 9762 w 515902"/>
                    <a:gd name="connsiteY0" fmla="*/ 443409 h 454926"/>
                    <a:gd name="connsiteX1" fmla="*/ 6587 w 515902"/>
                    <a:gd name="connsiteY1" fmla="*/ 217984 h 454926"/>
                    <a:gd name="connsiteX2" fmla="*/ 76437 w 515902"/>
                    <a:gd name="connsiteY2" fmla="*/ 154484 h 454926"/>
                    <a:gd name="connsiteX3" fmla="*/ 178037 w 515902"/>
                    <a:gd name="connsiteY3" fmla="*/ 148134 h 454926"/>
                    <a:gd name="connsiteX4" fmla="*/ 193912 w 515902"/>
                    <a:gd name="connsiteY4" fmla="*/ 90984 h 454926"/>
                    <a:gd name="connsiteX5" fmla="*/ 206612 w 515902"/>
                    <a:gd name="connsiteY5" fmla="*/ 11609 h 454926"/>
                    <a:gd name="connsiteX6" fmla="*/ 317737 w 515902"/>
                    <a:gd name="connsiteY6" fmla="*/ 8434 h 454926"/>
                    <a:gd name="connsiteX7" fmla="*/ 317737 w 515902"/>
                    <a:gd name="connsiteY7" fmla="*/ 87809 h 454926"/>
                    <a:gd name="connsiteX8" fmla="*/ 339962 w 515902"/>
                    <a:gd name="connsiteY8" fmla="*/ 135434 h 454926"/>
                    <a:gd name="connsiteX9" fmla="*/ 451087 w 515902"/>
                    <a:gd name="connsiteY9" fmla="*/ 157659 h 454926"/>
                    <a:gd name="connsiteX10" fmla="*/ 514587 w 515902"/>
                    <a:gd name="connsiteY10" fmla="*/ 227509 h 454926"/>
                    <a:gd name="connsiteX11" fmla="*/ 511412 w 515902"/>
                    <a:gd name="connsiteY11" fmla="*/ 449759 h 454926"/>
                    <a:gd name="connsiteX12" fmla="*/ 9762 w 515902"/>
                    <a:gd name="connsiteY12" fmla="*/ 443409 h 454926"/>
                    <a:gd name="connsiteX0" fmla="*/ 9762 w 515902"/>
                    <a:gd name="connsiteY0" fmla="*/ 443409 h 454926"/>
                    <a:gd name="connsiteX1" fmla="*/ 6587 w 515902"/>
                    <a:gd name="connsiteY1" fmla="*/ 217984 h 454926"/>
                    <a:gd name="connsiteX2" fmla="*/ 76437 w 515902"/>
                    <a:gd name="connsiteY2" fmla="*/ 154484 h 454926"/>
                    <a:gd name="connsiteX3" fmla="*/ 178037 w 515902"/>
                    <a:gd name="connsiteY3" fmla="*/ 148134 h 454926"/>
                    <a:gd name="connsiteX4" fmla="*/ 193912 w 515902"/>
                    <a:gd name="connsiteY4" fmla="*/ 90984 h 454926"/>
                    <a:gd name="connsiteX5" fmla="*/ 206612 w 515902"/>
                    <a:gd name="connsiteY5" fmla="*/ 11609 h 454926"/>
                    <a:gd name="connsiteX6" fmla="*/ 317737 w 515902"/>
                    <a:gd name="connsiteY6" fmla="*/ 8434 h 454926"/>
                    <a:gd name="connsiteX7" fmla="*/ 317737 w 515902"/>
                    <a:gd name="connsiteY7" fmla="*/ 87809 h 454926"/>
                    <a:gd name="connsiteX8" fmla="*/ 339962 w 515902"/>
                    <a:gd name="connsiteY8" fmla="*/ 135434 h 454926"/>
                    <a:gd name="connsiteX9" fmla="*/ 451087 w 515902"/>
                    <a:gd name="connsiteY9" fmla="*/ 157659 h 454926"/>
                    <a:gd name="connsiteX10" fmla="*/ 514587 w 515902"/>
                    <a:gd name="connsiteY10" fmla="*/ 227509 h 454926"/>
                    <a:gd name="connsiteX11" fmla="*/ 511412 w 515902"/>
                    <a:gd name="connsiteY11" fmla="*/ 449759 h 454926"/>
                    <a:gd name="connsiteX12" fmla="*/ 9762 w 515902"/>
                    <a:gd name="connsiteY12" fmla="*/ 443409 h 454926"/>
                    <a:gd name="connsiteX0" fmla="*/ 9762 w 515902"/>
                    <a:gd name="connsiteY0" fmla="*/ 443409 h 454926"/>
                    <a:gd name="connsiteX1" fmla="*/ 6587 w 515902"/>
                    <a:gd name="connsiteY1" fmla="*/ 217984 h 454926"/>
                    <a:gd name="connsiteX2" fmla="*/ 76437 w 515902"/>
                    <a:gd name="connsiteY2" fmla="*/ 154484 h 454926"/>
                    <a:gd name="connsiteX3" fmla="*/ 193912 w 515902"/>
                    <a:gd name="connsiteY3" fmla="*/ 90984 h 454926"/>
                    <a:gd name="connsiteX4" fmla="*/ 206612 w 515902"/>
                    <a:gd name="connsiteY4" fmla="*/ 11609 h 454926"/>
                    <a:gd name="connsiteX5" fmla="*/ 317737 w 515902"/>
                    <a:gd name="connsiteY5" fmla="*/ 8434 h 454926"/>
                    <a:gd name="connsiteX6" fmla="*/ 317737 w 515902"/>
                    <a:gd name="connsiteY6" fmla="*/ 87809 h 454926"/>
                    <a:gd name="connsiteX7" fmla="*/ 339962 w 515902"/>
                    <a:gd name="connsiteY7" fmla="*/ 135434 h 454926"/>
                    <a:gd name="connsiteX8" fmla="*/ 451087 w 515902"/>
                    <a:gd name="connsiteY8" fmla="*/ 157659 h 454926"/>
                    <a:gd name="connsiteX9" fmla="*/ 514587 w 515902"/>
                    <a:gd name="connsiteY9" fmla="*/ 227509 h 454926"/>
                    <a:gd name="connsiteX10" fmla="*/ 511412 w 515902"/>
                    <a:gd name="connsiteY10" fmla="*/ 449759 h 454926"/>
                    <a:gd name="connsiteX11" fmla="*/ 9762 w 515902"/>
                    <a:gd name="connsiteY11" fmla="*/ 443409 h 454926"/>
                    <a:gd name="connsiteX0" fmla="*/ 9762 w 515902"/>
                    <a:gd name="connsiteY0" fmla="*/ 446099 h 457616"/>
                    <a:gd name="connsiteX1" fmla="*/ 6587 w 515902"/>
                    <a:gd name="connsiteY1" fmla="*/ 220674 h 457616"/>
                    <a:gd name="connsiteX2" fmla="*/ 76437 w 515902"/>
                    <a:gd name="connsiteY2" fmla="*/ 157174 h 457616"/>
                    <a:gd name="connsiteX3" fmla="*/ 190737 w 515902"/>
                    <a:gd name="connsiteY3" fmla="*/ 138124 h 457616"/>
                    <a:gd name="connsiteX4" fmla="*/ 206612 w 515902"/>
                    <a:gd name="connsiteY4" fmla="*/ 14299 h 457616"/>
                    <a:gd name="connsiteX5" fmla="*/ 317737 w 515902"/>
                    <a:gd name="connsiteY5" fmla="*/ 11124 h 457616"/>
                    <a:gd name="connsiteX6" fmla="*/ 317737 w 515902"/>
                    <a:gd name="connsiteY6" fmla="*/ 90499 h 457616"/>
                    <a:gd name="connsiteX7" fmla="*/ 339962 w 515902"/>
                    <a:gd name="connsiteY7" fmla="*/ 138124 h 457616"/>
                    <a:gd name="connsiteX8" fmla="*/ 451087 w 515902"/>
                    <a:gd name="connsiteY8" fmla="*/ 160349 h 457616"/>
                    <a:gd name="connsiteX9" fmla="*/ 514587 w 515902"/>
                    <a:gd name="connsiteY9" fmla="*/ 230199 h 457616"/>
                    <a:gd name="connsiteX10" fmla="*/ 511412 w 515902"/>
                    <a:gd name="connsiteY10" fmla="*/ 452449 h 457616"/>
                    <a:gd name="connsiteX11" fmla="*/ 9762 w 515902"/>
                    <a:gd name="connsiteY11" fmla="*/ 446099 h 457616"/>
                    <a:gd name="connsiteX0" fmla="*/ 9762 w 515902"/>
                    <a:gd name="connsiteY0" fmla="*/ 446099 h 457616"/>
                    <a:gd name="connsiteX1" fmla="*/ 6587 w 515902"/>
                    <a:gd name="connsiteY1" fmla="*/ 220674 h 457616"/>
                    <a:gd name="connsiteX2" fmla="*/ 76437 w 515902"/>
                    <a:gd name="connsiteY2" fmla="*/ 157174 h 457616"/>
                    <a:gd name="connsiteX3" fmla="*/ 190737 w 515902"/>
                    <a:gd name="connsiteY3" fmla="*/ 138124 h 457616"/>
                    <a:gd name="connsiteX4" fmla="*/ 206612 w 515902"/>
                    <a:gd name="connsiteY4" fmla="*/ 14299 h 457616"/>
                    <a:gd name="connsiteX5" fmla="*/ 317737 w 515902"/>
                    <a:gd name="connsiteY5" fmla="*/ 11124 h 457616"/>
                    <a:gd name="connsiteX6" fmla="*/ 317737 w 515902"/>
                    <a:gd name="connsiteY6" fmla="*/ 90499 h 457616"/>
                    <a:gd name="connsiteX7" fmla="*/ 451087 w 515902"/>
                    <a:gd name="connsiteY7" fmla="*/ 160349 h 457616"/>
                    <a:gd name="connsiteX8" fmla="*/ 514587 w 515902"/>
                    <a:gd name="connsiteY8" fmla="*/ 230199 h 457616"/>
                    <a:gd name="connsiteX9" fmla="*/ 511412 w 515902"/>
                    <a:gd name="connsiteY9" fmla="*/ 452449 h 457616"/>
                    <a:gd name="connsiteX10" fmla="*/ 9762 w 515902"/>
                    <a:gd name="connsiteY10" fmla="*/ 446099 h 457616"/>
                    <a:gd name="connsiteX0" fmla="*/ 9762 w 515902"/>
                    <a:gd name="connsiteY0" fmla="*/ 447482 h 458999"/>
                    <a:gd name="connsiteX1" fmla="*/ 6587 w 515902"/>
                    <a:gd name="connsiteY1" fmla="*/ 222057 h 458999"/>
                    <a:gd name="connsiteX2" fmla="*/ 76437 w 515902"/>
                    <a:gd name="connsiteY2" fmla="*/ 158557 h 458999"/>
                    <a:gd name="connsiteX3" fmla="*/ 190737 w 515902"/>
                    <a:gd name="connsiteY3" fmla="*/ 139507 h 458999"/>
                    <a:gd name="connsiteX4" fmla="*/ 206612 w 515902"/>
                    <a:gd name="connsiteY4" fmla="*/ 15682 h 458999"/>
                    <a:gd name="connsiteX5" fmla="*/ 317737 w 515902"/>
                    <a:gd name="connsiteY5" fmla="*/ 12507 h 458999"/>
                    <a:gd name="connsiteX6" fmla="*/ 330437 w 515902"/>
                    <a:gd name="connsiteY6" fmla="*/ 114107 h 458999"/>
                    <a:gd name="connsiteX7" fmla="*/ 451087 w 515902"/>
                    <a:gd name="connsiteY7" fmla="*/ 161732 h 458999"/>
                    <a:gd name="connsiteX8" fmla="*/ 514587 w 515902"/>
                    <a:gd name="connsiteY8" fmla="*/ 231582 h 458999"/>
                    <a:gd name="connsiteX9" fmla="*/ 511412 w 515902"/>
                    <a:gd name="connsiteY9" fmla="*/ 453832 h 458999"/>
                    <a:gd name="connsiteX10" fmla="*/ 9762 w 515902"/>
                    <a:gd name="connsiteY10" fmla="*/ 447482 h 458999"/>
                    <a:gd name="connsiteX0" fmla="*/ 9762 w 515902"/>
                    <a:gd name="connsiteY0" fmla="*/ 446348 h 457865"/>
                    <a:gd name="connsiteX1" fmla="*/ 6587 w 515902"/>
                    <a:gd name="connsiteY1" fmla="*/ 220923 h 457865"/>
                    <a:gd name="connsiteX2" fmla="*/ 76437 w 515902"/>
                    <a:gd name="connsiteY2" fmla="*/ 157423 h 457865"/>
                    <a:gd name="connsiteX3" fmla="*/ 200262 w 515902"/>
                    <a:gd name="connsiteY3" fmla="*/ 119323 h 457865"/>
                    <a:gd name="connsiteX4" fmla="*/ 206612 w 515902"/>
                    <a:gd name="connsiteY4" fmla="*/ 14548 h 457865"/>
                    <a:gd name="connsiteX5" fmla="*/ 317737 w 515902"/>
                    <a:gd name="connsiteY5" fmla="*/ 11373 h 457865"/>
                    <a:gd name="connsiteX6" fmla="*/ 330437 w 515902"/>
                    <a:gd name="connsiteY6" fmla="*/ 112973 h 457865"/>
                    <a:gd name="connsiteX7" fmla="*/ 451087 w 515902"/>
                    <a:gd name="connsiteY7" fmla="*/ 160598 h 457865"/>
                    <a:gd name="connsiteX8" fmla="*/ 514587 w 515902"/>
                    <a:gd name="connsiteY8" fmla="*/ 230448 h 457865"/>
                    <a:gd name="connsiteX9" fmla="*/ 511412 w 515902"/>
                    <a:gd name="connsiteY9" fmla="*/ 452698 h 457865"/>
                    <a:gd name="connsiteX10" fmla="*/ 9762 w 515902"/>
                    <a:gd name="connsiteY10" fmla="*/ 446348 h 457865"/>
                    <a:gd name="connsiteX0" fmla="*/ 9762 w 515902"/>
                    <a:gd name="connsiteY0" fmla="*/ 446681 h 458198"/>
                    <a:gd name="connsiteX1" fmla="*/ 6587 w 515902"/>
                    <a:gd name="connsiteY1" fmla="*/ 221256 h 458198"/>
                    <a:gd name="connsiteX2" fmla="*/ 76437 w 515902"/>
                    <a:gd name="connsiteY2" fmla="*/ 157756 h 458198"/>
                    <a:gd name="connsiteX3" fmla="*/ 200262 w 515902"/>
                    <a:gd name="connsiteY3" fmla="*/ 119656 h 458198"/>
                    <a:gd name="connsiteX4" fmla="*/ 206612 w 515902"/>
                    <a:gd name="connsiteY4" fmla="*/ 14881 h 458198"/>
                    <a:gd name="connsiteX5" fmla="*/ 317737 w 515902"/>
                    <a:gd name="connsiteY5" fmla="*/ 11706 h 458198"/>
                    <a:gd name="connsiteX6" fmla="*/ 311502 w 515902"/>
                    <a:gd name="connsiteY6" fmla="*/ 118302 h 458198"/>
                    <a:gd name="connsiteX7" fmla="*/ 451087 w 515902"/>
                    <a:gd name="connsiteY7" fmla="*/ 160931 h 458198"/>
                    <a:gd name="connsiteX8" fmla="*/ 514587 w 515902"/>
                    <a:gd name="connsiteY8" fmla="*/ 230781 h 458198"/>
                    <a:gd name="connsiteX9" fmla="*/ 511412 w 515902"/>
                    <a:gd name="connsiteY9" fmla="*/ 453031 h 458198"/>
                    <a:gd name="connsiteX10" fmla="*/ 9762 w 515902"/>
                    <a:gd name="connsiteY10" fmla="*/ 446681 h 458198"/>
                    <a:gd name="connsiteX0" fmla="*/ 9762 w 515902"/>
                    <a:gd name="connsiteY0" fmla="*/ 446681 h 458198"/>
                    <a:gd name="connsiteX1" fmla="*/ 6587 w 515902"/>
                    <a:gd name="connsiteY1" fmla="*/ 221256 h 458198"/>
                    <a:gd name="connsiteX2" fmla="*/ 76437 w 515902"/>
                    <a:gd name="connsiteY2" fmla="*/ 157756 h 458198"/>
                    <a:gd name="connsiteX3" fmla="*/ 200262 w 515902"/>
                    <a:gd name="connsiteY3" fmla="*/ 119656 h 458198"/>
                    <a:gd name="connsiteX4" fmla="*/ 206612 w 515902"/>
                    <a:gd name="connsiteY4" fmla="*/ 14881 h 458198"/>
                    <a:gd name="connsiteX5" fmla="*/ 301506 w 515902"/>
                    <a:gd name="connsiteY5" fmla="*/ 11706 h 458198"/>
                    <a:gd name="connsiteX6" fmla="*/ 311502 w 515902"/>
                    <a:gd name="connsiteY6" fmla="*/ 118302 h 458198"/>
                    <a:gd name="connsiteX7" fmla="*/ 451087 w 515902"/>
                    <a:gd name="connsiteY7" fmla="*/ 160931 h 458198"/>
                    <a:gd name="connsiteX8" fmla="*/ 514587 w 515902"/>
                    <a:gd name="connsiteY8" fmla="*/ 230781 h 458198"/>
                    <a:gd name="connsiteX9" fmla="*/ 511412 w 515902"/>
                    <a:gd name="connsiteY9" fmla="*/ 453031 h 458198"/>
                    <a:gd name="connsiteX10" fmla="*/ 9762 w 515902"/>
                    <a:gd name="connsiteY10" fmla="*/ 446681 h 458198"/>
                    <a:gd name="connsiteX0" fmla="*/ 9762 w 515902"/>
                    <a:gd name="connsiteY0" fmla="*/ 446681 h 458198"/>
                    <a:gd name="connsiteX1" fmla="*/ 6587 w 515902"/>
                    <a:gd name="connsiteY1" fmla="*/ 221256 h 458198"/>
                    <a:gd name="connsiteX2" fmla="*/ 76437 w 515902"/>
                    <a:gd name="connsiteY2" fmla="*/ 157756 h 458198"/>
                    <a:gd name="connsiteX3" fmla="*/ 200262 w 515902"/>
                    <a:gd name="connsiteY3" fmla="*/ 119656 h 458198"/>
                    <a:gd name="connsiteX4" fmla="*/ 206612 w 515902"/>
                    <a:gd name="connsiteY4" fmla="*/ 14881 h 458198"/>
                    <a:gd name="connsiteX5" fmla="*/ 301506 w 515902"/>
                    <a:gd name="connsiteY5" fmla="*/ 11706 h 458198"/>
                    <a:gd name="connsiteX6" fmla="*/ 311502 w 515902"/>
                    <a:gd name="connsiteY6" fmla="*/ 118302 h 458198"/>
                    <a:gd name="connsiteX7" fmla="*/ 442972 w 515902"/>
                    <a:gd name="connsiteY7" fmla="*/ 180912 h 458198"/>
                    <a:gd name="connsiteX8" fmla="*/ 514587 w 515902"/>
                    <a:gd name="connsiteY8" fmla="*/ 230781 h 458198"/>
                    <a:gd name="connsiteX9" fmla="*/ 511412 w 515902"/>
                    <a:gd name="connsiteY9" fmla="*/ 453031 h 458198"/>
                    <a:gd name="connsiteX10" fmla="*/ 9762 w 515902"/>
                    <a:gd name="connsiteY10" fmla="*/ 446681 h 458198"/>
                    <a:gd name="connsiteX0" fmla="*/ 9762 w 511905"/>
                    <a:gd name="connsiteY0" fmla="*/ 446681 h 458198"/>
                    <a:gd name="connsiteX1" fmla="*/ 6587 w 511905"/>
                    <a:gd name="connsiteY1" fmla="*/ 221256 h 458198"/>
                    <a:gd name="connsiteX2" fmla="*/ 76437 w 511905"/>
                    <a:gd name="connsiteY2" fmla="*/ 157756 h 458198"/>
                    <a:gd name="connsiteX3" fmla="*/ 200262 w 511905"/>
                    <a:gd name="connsiteY3" fmla="*/ 119656 h 458198"/>
                    <a:gd name="connsiteX4" fmla="*/ 206612 w 511905"/>
                    <a:gd name="connsiteY4" fmla="*/ 14881 h 458198"/>
                    <a:gd name="connsiteX5" fmla="*/ 301506 w 511905"/>
                    <a:gd name="connsiteY5" fmla="*/ 11706 h 458198"/>
                    <a:gd name="connsiteX6" fmla="*/ 311502 w 511905"/>
                    <a:gd name="connsiteY6" fmla="*/ 118302 h 458198"/>
                    <a:gd name="connsiteX7" fmla="*/ 442972 w 511905"/>
                    <a:gd name="connsiteY7" fmla="*/ 180912 h 458198"/>
                    <a:gd name="connsiteX8" fmla="*/ 498357 w 511905"/>
                    <a:gd name="connsiteY8" fmla="*/ 250762 h 458198"/>
                    <a:gd name="connsiteX9" fmla="*/ 511412 w 511905"/>
                    <a:gd name="connsiteY9" fmla="*/ 453031 h 458198"/>
                    <a:gd name="connsiteX10" fmla="*/ 9762 w 511905"/>
                    <a:gd name="connsiteY10" fmla="*/ 446681 h 458198"/>
                    <a:gd name="connsiteX0" fmla="*/ 9762 w 511905"/>
                    <a:gd name="connsiteY0" fmla="*/ 446681 h 458198"/>
                    <a:gd name="connsiteX1" fmla="*/ 6587 w 511905"/>
                    <a:gd name="connsiteY1" fmla="*/ 221256 h 458198"/>
                    <a:gd name="connsiteX2" fmla="*/ 76437 w 511905"/>
                    <a:gd name="connsiteY2" fmla="*/ 157756 h 458198"/>
                    <a:gd name="connsiteX3" fmla="*/ 200262 w 511905"/>
                    <a:gd name="connsiteY3" fmla="*/ 119656 h 458198"/>
                    <a:gd name="connsiteX4" fmla="*/ 206612 w 511905"/>
                    <a:gd name="connsiteY4" fmla="*/ 14881 h 458198"/>
                    <a:gd name="connsiteX5" fmla="*/ 301506 w 511905"/>
                    <a:gd name="connsiteY5" fmla="*/ 11706 h 458198"/>
                    <a:gd name="connsiteX6" fmla="*/ 311502 w 511905"/>
                    <a:gd name="connsiteY6" fmla="*/ 118302 h 458198"/>
                    <a:gd name="connsiteX7" fmla="*/ 437562 w 511905"/>
                    <a:gd name="connsiteY7" fmla="*/ 198396 h 458198"/>
                    <a:gd name="connsiteX8" fmla="*/ 498357 w 511905"/>
                    <a:gd name="connsiteY8" fmla="*/ 250762 h 458198"/>
                    <a:gd name="connsiteX9" fmla="*/ 511412 w 511905"/>
                    <a:gd name="connsiteY9" fmla="*/ 453031 h 458198"/>
                    <a:gd name="connsiteX10" fmla="*/ 9762 w 511905"/>
                    <a:gd name="connsiteY10" fmla="*/ 446681 h 458198"/>
                    <a:gd name="connsiteX0" fmla="*/ 9762 w 511905"/>
                    <a:gd name="connsiteY0" fmla="*/ 446681 h 458198"/>
                    <a:gd name="connsiteX1" fmla="*/ 6587 w 511905"/>
                    <a:gd name="connsiteY1" fmla="*/ 221256 h 458198"/>
                    <a:gd name="connsiteX2" fmla="*/ 76437 w 511905"/>
                    <a:gd name="connsiteY2" fmla="*/ 157756 h 458198"/>
                    <a:gd name="connsiteX3" fmla="*/ 200262 w 511905"/>
                    <a:gd name="connsiteY3" fmla="*/ 119656 h 458198"/>
                    <a:gd name="connsiteX4" fmla="*/ 206612 w 511905"/>
                    <a:gd name="connsiteY4" fmla="*/ 14881 h 458198"/>
                    <a:gd name="connsiteX5" fmla="*/ 301506 w 511905"/>
                    <a:gd name="connsiteY5" fmla="*/ 11706 h 458198"/>
                    <a:gd name="connsiteX6" fmla="*/ 311502 w 511905"/>
                    <a:gd name="connsiteY6" fmla="*/ 118302 h 458198"/>
                    <a:gd name="connsiteX7" fmla="*/ 451087 w 511905"/>
                    <a:gd name="connsiteY7" fmla="*/ 188406 h 458198"/>
                    <a:gd name="connsiteX8" fmla="*/ 498357 w 511905"/>
                    <a:gd name="connsiteY8" fmla="*/ 250762 h 458198"/>
                    <a:gd name="connsiteX9" fmla="*/ 511412 w 511905"/>
                    <a:gd name="connsiteY9" fmla="*/ 453031 h 458198"/>
                    <a:gd name="connsiteX10" fmla="*/ 9762 w 511905"/>
                    <a:gd name="connsiteY10" fmla="*/ 446681 h 458198"/>
                    <a:gd name="connsiteX0" fmla="*/ 9762 w 511905"/>
                    <a:gd name="connsiteY0" fmla="*/ 447695 h 459212"/>
                    <a:gd name="connsiteX1" fmla="*/ 6587 w 511905"/>
                    <a:gd name="connsiteY1" fmla="*/ 222270 h 459212"/>
                    <a:gd name="connsiteX2" fmla="*/ 76437 w 511905"/>
                    <a:gd name="connsiteY2" fmla="*/ 158770 h 459212"/>
                    <a:gd name="connsiteX3" fmla="*/ 200262 w 511905"/>
                    <a:gd name="connsiteY3" fmla="*/ 120670 h 459212"/>
                    <a:gd name="connsiteX4" fmla="*/ 206612 w 511905"/>
                    <a:gd name="connsiteY4" fmla="*/ 15895 h 459212"/>
                    <a:gd name="connsiteX5" fmla="*/ 301506 w 511905"/>
                    <a:gd name="connsiteY5" fmla="*/ 12720 h 459212"/>
                    <a:gd name="connsiteX6" fmla="*/ 311502 w 511905"/>
                    <a:gd name="connsiteY6" fmla="*/ 134302 h 459212"/>
                    <a:gd name="connsiteX7" fmla="*/ 451087 w 511905"/>
                    <a:gd name="connsiteY7" fmla="*/ 189420 h 459212"/>
                    <a:gd name="connsiteX8" fmla="*/ 498357 w 511905"/>
                    <a:gd name="connsiteY8" fmla="*/ 251776 h 459212"/>
                    <a:gd name="connsiteX9" fmla="*/ 511412 w 511905"/>
                    <a:gd name="connsiteY9" fmla="*/ 454045 h 459212"/>
                    <a:gd name="connsiteX10" fmla="*/ 9762 w 511905"/>
                    <a:gd name="connsiteY10" fmla="*/ 447695 h 459212"/>
                    <a:gd name="connsiteX0" fmla="*/ 4227 w 522600"/>
                    <a:gd name="connsiteY0" fmla="*/ 455188 h 463021"/>
                    <a:gd name="connsiteX1" fmla="*/ 17282 w 522600"/>
                    <a:gd name="connsiteY1" fmla="*/ 222270 h 463021"/>
                    <a:gd name="connsiteX2" fmla="*/ 87132 w 522600"/>
                    <a:gd name="connsiteY2" fmla="*/ 158770 h 463021"/>
                    <a:gd name="connsiteX3" fmla="*/ 210957 w 522600"/>
                    <a:gd name="connsiteY3" fmla="*/ 120670 h 463021"/>
                    <a:gd name="connsiteX4" fmla="*/ 217307 w 522600"/>
                    <a:gd name="connsiteY4" fmla="*/ 15895 h 463021"/>
                    <a:gd name="connsiteX5" fmla="*/ 312201 w 522600"/>
                    <a:gd name="connsiteY5" fmla="*/ 12720 h 463021"/>
                    <a:gd name="connsiteX6" fmla="*/ 322197 w 522600"/>
                    <a:gd name="connsiteY6" fmla="*/ 134302 h 463021"/>
                    <a:gd name="connsiteX7" fmla="*/ 461782 w 522600"/>
                    <a:gd name="connsiteY7" fmla="*/ 189420 h 463021"/>
                    <a:gd name="connsiteX8" fmla="*/ 509052 w 522600"/>
                    <a:gd name="connsiteY8" fmla="*/ 251776 h 463021"/>
                    <a:gd name="connsiteX9" fmla="*/ 522107 w 522600"/>
                    <a:gd name="connsiteY9" fmla="*/ 454045 h 463021"/>
                    <a:gd name="connsiteX10" fmla="*/ 4227 w 522600"/>
                    <a:gd name="connsiteY10" fmla="*/ 455188 h 463021"/>
                    <a:gd name="connsiteX0" fmla="*/ 4227 w 522600"/>
                    <a:gd name="connsiteY0" fmla="*/ 455188 h 457596"/>
                    <a:gd name="connsiteX1" fmla="*/ 17282 w 522600"/>
                    <a:gd name="connsiteY1" fmla="*/ 222270 h 457596"/>
                    <a:gd name="connsiteX2" fmla="*/ 87132 w 522600"/>
                    <a:gd name="connsiteY2" fmla="*/ 158770 h 457596"/>
                    <a:gd name="connsiteX3" fmla="*/ 210957 w 522600"/>
                    <a:gd name="connsiteY3" fmla="*/ 120670 h 457596"/>
                    <a:gd name="connsiteX4" fmla="*/ 217307 w 522600"/>
                    <a:gd name="connsiteY4" fmla="*/ 15895 h 457596"/>
                    <a:gd name="connsiteX5" fmla="*/ 312201 w 522600"/>
                    <a:gd name="connsiteY5" fmla="*/ 12720 h 457596"/>
                    <a:gd name="connsiteX6" fmla="*/ 322197 w 522600"/>
                    <a:gd name="connsiteY6" fmla="*/ 134302 h 457596"/>
                    <a:gd name="connsiteX7" fmla="*/ 461782 w 522600"/>
                    <a:gd name="connsiteY7" fmla="*/ 189420 h 457596"/>
                    <a:gd name="connsiteX8" fmla="*/ 509052 w 522600"/>
                    <a:gd name="connsiteY8" fmla="*/ 251776 h 457596"/>
                    <a:gd name="connsiteX9" fmla="*/ 522107 w 522600"/>
                    <a:gd name="connsiteY9" fmla="*/ 454045 h 457596"/>
                    <a:gd name="connsiteX10" fmla="*/ 4227 w 522600"/>
                    <a:gd name="connsiteY10" fmla="*/ 455188 h 457596"/>
                    <a:gd name="connsiteX0" fmla="*/ 12757 w 531130"/>
                    <a:gd name="connsiteY0" fmla="*/ 455188 h 457596"/>
                    <a:gd name="connsiteX1" fmla="*/ 6876 w 531130"/>
                    <a:gd name="connsiteY1" fmla="*/ 237256 h 457596"/>
                    <a:gd name="connsiteX2" fmla="*/ 95662 w 531130"/>
                    <a:gd name="connsiteY2" fmla="*/ 158770 h 457596"/>
                    <a:gd name="connsiteX3" fmla="*/ 219487 w 531130"/>
                    <a:gd name="connsiteY3" fmla="*/ 120670 h 457596"/>
                    <a:gd name="connsiteX4" fmla="*/ 225837 w 531130"/>
                    <a:gd name="connsiteY4" fmla="*/ 15895 h 457596"/>
                    <a:gd name="connsiteX5" fmla="*/ 320731 w 531130"/>
                    <a:gd name="connsiteY5" fmla="*/ 12720 h 457596"/>
                    <a:gd name="connsiteX6" fmla="*/ 330727 w 531130"/>
                    <a:gd name="connsiteY6" fmla="*/ 134302 h 457596"/>
                    <a:gd name="connsiteX7" fmla="*/ 470312 w 531130"/>
                    <a:gd name="connsiteY7" fmla="*/ 189420 h 457596"/>
                    <a:gd name="connsiteX8" fmla="*/ 517582 w 531130"/>
                    <a:gd name="connsiteY8" fmla="*/ 251776 h 457596"/>
                    <a:gd name="connsiteX9" fmla="*/ 530637 w 531130"/>
                    <a:gd name="connsiteY9" fmla="*/ 454045 h 457596"/>
                    <a:gd name="connsiteX10" fmla="*/ 12757 w 531130"/>
                    <a:gd name="connsiteY10" fmla="*/ 455188 h 457596"/>
                    <a:gd name="connsiteX0" fmla="*/ 7226 w 536419"/>
                    <a:gd name="connsiteY0" fmla="*/ 447695 h 456315"/>
                    <a:gd name="connsiteX1" fmla="*/ 12165 w 536419"/>
                    <a:gd name="connsiteY1" fmla="*/ 237256 h 456315"/>
                    <a:gd name="connsiteX2" fmla="*/ 100951 w 536419"/>
                    <a:gd name="connsiteY2" fmla="*/ 158770 h 456315"/>
                    <a:gd name="connsiteX3" fmla="*/ 224776 w 536419"/>
                    <a:gd name="connsiteY3" fmla="*/ 120670 h 456315"/>
                    <a:gd name="connsiteX4" fmla="*/ 231126 w 536419"/>
                    <a:gd name="connsiteY4" fmla="*/ 15895 h 456315"/>
                    <a:gd name="connsiteX5" fmla="*/ 326020 w 536419"/>
                    <a:gd name="connsiteY5" fmla="*/ 12720 h 456315"/>
                    <a:gd name="connsiteX6" fmla="*/ 336016 w 536419"/>
                    <a:gd name="connsiteY6" fmla="*/ 134302 h 456315"/>
                    <a:gd name="connsiteX7" fmla="*/ 475601 w 536419"/>
                    <a:gd name="connsiteY7" fmla="*/ 189420 h 456315"/>
                    <a:gd name="connsiteX8" fmla="*/ 522871 w 536419"/>
                    <a:gd name="connsiteY8" fmla="*/ 251776 h 456315"/>
                    <a:gd name="connsiteX9" fmla="*/ 535926 w 536419"/>
                    <a:gd name="connsiteY9" fmla="*/ 454045 h 456315"/>
                    <a:gd name="connsiteX10" fmla="*/ 7226 w 536419"/>
                    <a:gd name="connsiteY10" fmla="*/ 447695 h 456315"/>
                    <a:gd name="connsiteX0" fmla="*/ 7226 w 528834"/>
                    <a:gd name="connsiteY0" fmla="*/ 447695 h 456315"/>
                    <a:gd name="connsiteX1" fmla="*/ 12165 w 528834"/>
                    <a:gd name="connsiteY1" fmla="*/ 237256 h 456315"/>
                    <a:gd name="connsiteX2" fmla="*/ 100951 w 528834"/>
                    <a:gd name="connsiteY2" fmla="*/ 158770 h 456315"/>
                    <a:gd name="connsiteX3" fmla="*/ 224776 w 528834"/>
                    <a:gd name="connsiteY3" fmla="*/ 120670 h 456315"/>
                    <a:gd name="connsiteX4" fmla="*/ 231126 w 528834"/>
                    <a:gd name="connsiteY4" fmla="*/ 15895 h 456315"/>
                    <a:gd name="connsiteX5" fmla="*/ 326020 w 528834"/>
                    <a:gd name="connsiteY5" fmla="*/ 12720 h 456315"/>
                    <a:gd name="connsiteX6" fmla="*/ 336016 w 528834"/>
                    <a:gd name="connsiteY6" fmla="*/ 134302 h 456315"/>
                    <a:gd name="connsiteX7" fmla="*/ 475601 w 528834"/>
                    <a:gd name="connsiteY7" fmla="*/ 189420 h 456315"/>
                    <a:gd name="connsiteX8" fmla="*/ 522871 w 528834"/>
                    <a:gd name="connsiteY8" fmla="*/ 251776 h 456315"/>
                    <a:gd name="connsiteX9" fmla="*/ 527811 w 528834"/>
                    <a:gd name="connsiteY9" fmla="*/ 454045 h 456315"/>
                    <a:gd name="connsiteX10" fmla="*/ 7226 w 528834"/>
                    <a:gd name="connsiteY10" fmla="*/ 447695 h 456315"/>
                    <a:gd name="connsiteX0" fmla="*/ 7226 w 528834"/>
                    <a:gd name="connsiteY0" fmla="*/ 447695 h 456315"/>
                    <a:gd name="connsiteX1" fmla="*/ 12165 w 528834"/>
                    <a:gd name="connsiteY1" fmla="*/ 237256 h 456315"/>
                    <a:gd name="connsiteX2" fmla="*/ 100951 w 528834"/>
                    <a:gd name="connsiteY2" fmla="*/ 158770 h 456315"/>
                    <a:gd name="connsiteX3" fmla="*/ 224776 w 528834"/>
                    <a:gd name="connsiteY3" fmla="*/ 120670 h 456315"/>
                    <a:gd name="connsiteX4" fmla="*/ 231126 w 528834"/>
                    <a:gd name="connsiteY4" fmla="*/ 15895 h 456315"/>
                    <a:gd name="connsiteX5" fmla="*/ 326020 w 528834"/>
                    <a:gd name="connsiteY5" fmla="*/ 12720 h 456315"/>
                    <a:gd name="connsiteX6" fmla="*/ 336016 w 528834"/>
                    <a:gd name="connsiteY6" fmla="*/ 134302 h 456315"/>
                    <a:gd name="connsiteX7" fmla="*/ 462076 w 528834"/>
                    <a:gd name="connsiteY7" fmla="*/ 184425 h 456315"/>
                    <a:gd name="connsiteX8" fmla="*/ 522871 w 528834"/>
                    <a:gd name="connsiteY8" fmla="*/ 251776 h 456315"/>
                    <a:gd name="connsiteX9" fmla="*/ 527811 w 528834"/>
                    <a:gd name="connsiteY9" fmla="*/ 454045 h 456315"/>
                    <a:gd name="connsiteX10" fmla="*/ 7226 w 528834"/>
                    <a:gd name="connsiteY10" fmla="*/ 447695 h 456315"/>
                    <a:gd name="connsiteX0" fmla="*/ 8515 w 530123"/>
                    <a:gd name="connsiteY0" fmla="*/ 447695 h 456315"/>
                    <a:gd name="connsiteX1" fmla="*/ 10749 w 530123"/>
                    <a:gd name="connsiteY1" fmla="*/ 244749 h 456315"/>
                    <a:gd name="connsiteX2" fmla="*/ 102240 w 530123"/>
                    <a:gd name="connsiteY2" fmla="*/ 158770 h 456315"/>
                    <a:gd name="connsiteX3" fmla="*/ 226065 w 530123"/>
                    <a:gd name="connsiteY3" fmla="*/ 120670 h 456315"/>
                    <a:gd name="connsiteX4" fmla="*/ 232415 w 530123"/>
                    <a:gd name="connsiteY4" fmla="*/ 15895 h 456315"/>
                    <a:gd name="connsiteX5" fmla="*/ 327309 w 530123"/>
                    <a:gd name="connsiteY5" fmla="*/ 12720 h 456315"/>
                    <a:gd name="connsiteX6" fmla="*/ 337305 w 530123"/>
                    <a:gd name="connsiteY6" fmla="*/ 134302 h 456315"/>
                    <a:gd name="connsiteX7" fmla="*/ 463365 w 530123"/>
                    <a:gd name="connsiteY7" fmla="*/ 184425 h 456315"/>
                    <a:gd name="connsiteX8" fmla="*/ 524160 w 530123"/>
                    <a:gd name="connsiteY8" fmla="*/ 251776 h 456315"/>
                    <a:gd name="connsiteX9" fmla="*/ 529100 w 530123"/>
                    <a:gd name="connsiteY9" fmla="*/ 454045 h 456315"/>
                    <a:gd name="connsiteX10" fmla="*/ 8515 w 530123"/>
                    <a:gd name="connsiteY10" fmla="*/ 447695 h 456315"/>
                    <a:gd name="connsiteX0" fmla="*/ 7671 w 529279"/>
                    <a:gd name="connsiteY0" fmla="*/ 447695 h 456315"/>
                    <a:gd name="connsiteX1" fmla="*/ 9905 w 529279"/>
                    <a:gd name="connsiteY1" fmla="*/ 244749 h 456315"/>
                    <a:gd name="connsiteX2" fmla="*/ 87870 w 529279"/>
                    <a:gd name="connsiteY2" fmla="*/ 166263 h 456315"/>
                    <a:gd name="connsiteX3" fmla="*/ 225221 w 529279"/>
                    <a:gd name="connsiteY3" fmla="*/ 120670 h 456315"/>
                    <a:gd name="connsiteX4" fmla="*/ 231571 w 529279"/>
                    <a:gd name="connsiteY4" fmla="*/ 15895 h 456315"/>
                    <a:gd name="connsiteX5" fmla="*/ 326465 w 529279"/>
                    <a:gd name="connsiteY5" fmla="*/ 12720 h 456315"/>
                    <a:gd name="connsiteX6" fmla="*/ 336461 w 529279"/>
                    <a:gd name="connsiteY6" fmla="*/ 134302 h 456315"/>
                    <a:gd name="connsiteX7" fmla="*/ 462521 w 529279"/>
                    <a:gd name="connsiteY7" fmla="*/ 184425 h 456315"/>
                    <a:gd name="connsiteX8" fmla="*/ 523316 w 529279"/>
                    <a:gd name="connsiteY8" fmla="*/ 251776 h 456315"/>
                    <a:gd name="connsiteX9" fmla="*/ 528256 w 529279"/>
                    <a:gd name="connsiteY9" fmla="*/ 454045 h 456315"/>
                    <a:gd name="connsiteX10" fmla="*/ 7671 w 529279"/>
                    <a:gd name="connsiteY10" fmla="*/ 447695 h 456315"/>
                    <a:gd name="connsiteX0" fmla="*/ 7671 w 529279"/>
                    <a:gd name="connsiteY0" fmla="*/ 447558 h 456178"/>
                    <a:gd name="connsiteX1" fmla="*/ 9905 w 529279"/>
                    <a:gd name="connsiteY1" fmla="*/ 244612 h 456178"/>
                    <a:gd name="connsiteX2" fmla="*/ 87870 w 529279"/>
                    <a:gd name="connsiteY2" fmla="*/ 166126 h 456178"/>
                    <a:gd name="connsiteX3" fmla="*/ 206285 w 529279"/>
                    <a:gd name="connsiteY3" fmla="*/ 118035 h 456178"/>
                    <a:gd name="connsiteX4" fmla="*/ 231571 w 529279"/>
                    <a:gd name="connsiteY4" fmla="*/ 15758 h 456178"/>
                    <a:gd name="connsiteX5" fmla="*/ 326465 w 529279"/>
                    <a:gd name="connsiteY5" fmla="*/ 12583 h 456178"/>
                    <a:gd name="connsiteX6" fmla="*/ 336461 w 529279"/>
                    <a:gd name="connsiteY6" fmla="*/ 134165 h 456178"/>
                    <a:gd name="connsiteX7" fmla="*/ 462521 w 529279"/>
                    <a:gd name="connsiteY7" fmla="*/ 184288 h 456178"/>
                    <a:gd name="connsiteX8" fmla="*/ 523316 w 529279"/>
                    <a:gd name="connsiteY8" fmla="*/ 251639 h 456178"/>
                    <a:gd name="connsiteX9" fmla="*/ 528256 w 529279"/>
                    <a:gd name="connsiteY9" fmla="*/ 453908 h 456178"/>
                    <a:gd name="connsiteX10" fmla="*/ 7671 w 529279"/>
                    <a:gd name="connsiteY10" fmla="*/ 447558 h 456178"/>
                    <a:gd name="connsiteX0" fmla="*/ 14544 w 536152"/>
                    <a:gd name="connsiteY0" fmla="*/ 447558 h 456178"/>
                    <a:gd name="connsiteX1" fmla="*/ 5958 w 536152"/>
                    <a:gd name="connsiteY1" fmla="*/ 247109 h 456178"/>
                    <a:gd name="connsiteX2" fmla="*/ 94743 w 536152"/>
                    <a:gd name="connsiteY2" fmla="*/ 166126 h 456178"/>
                    <a:gd name="connsiteX3" fmla="*/ 213158 w 536152"/>
                    <a:gd name="connsiteY3" fmla="*/ 118035 h 456178"/>
                    <a:gd name="connsiteX4" fmla="*/ 238444 w 536152"/>
                    <a:gd name="connsiteY4" fmla="*/ 15758 h 456178"/>
                    <a:gd name="connsiteX5" fmla="*/ 333338 w 536152"/>
                    <a:gd name="connsiteY5" fmla="*/ 12583 h 456178"/>
                    <a:gd name="connsiteX6" fmla="*/ 343334 w 536152"/>
                    <a:gd name="connsiteY6" fmla="*/ 134165 h 456178"/>
                    <a:gd name="connsiteX7" fmla="*/ 469394 w 536152"/>
                    <a:gd name="connsiteY7" fmla="*/ 184288 h 456178"/>
                    <a:gd name="connsiteX8" fmla="*/ 530189 w 536152"/>
                    <a:gd name="connsiteY8" fmla="*/ 251639 h 456178"/>
                    <a:gd name="connsiteX9" fmla="*/ 535129 w 536152"/>
                    <a:gd name="connsiteY9" fmla="*/ 453908 h 456178"/>
                    <a:gd name="connsiteX10" fmla="*/ 14544 w 536152"/>
                    <a:gd name="connsiteY10" fmla="*/ 447558 h 456178"/>
                    <a:gd name="connsiteX0" fmla="*/ 7226 w 542359"/>
                    <a:gd name="connsiteY0" fmla="*/ 450055 h 456488"/>
                    <a:gd name="connsiteX1" fmla="*/ 12165 w 542359"/>
                    <a:gd name="connsiteY1" fmla="*/ 247109 h 456488"/>
                    <a:gd name="connsiteX2" fmla="*/ 100950 w 542359"/>
                    <a:gd name="connsiteY2" fmla="*/ 166126 h 456488"/>
                    <a:gd name="connsiteX3" fmla="*/ 219365 w 542359"/>
                    <a:gd name="connsiteY3" fmla="*/ 118035 h 456488"/>
                    <a:gd name="connsiteX4" fmla="*/ 244651 w 542359"/>
                    <a:gd name="connsiteY4" fmla="*/ 15758 h 456488"/>
                    <a:gd name="connsiteX5" fmla="*/ 339545 w 542359"/>
                    <a:gd name="connsiteY5" fmla="*/ 12583 h 456488"/>
                    <a:gd name="connsiteX6" fmla="*/ 349541 w 542359"/>
                    <a:gd name="connsiteY6" fmla="*/ 134165 h 456488"/>
                    <a:gd name="connsiteX7" fmla="*/ 475601 w 542359"/>
                    <a:gd name="connsiteY7" fmla="*/ 184288 h 456488"/>
                    <a:gd name="connsiteX8" fmla="*/ 536396 w 542359"/>
                    <a:gd name="connsiteY8" fmla="*/ 251639 h 456488"/>
                    <a:gd name="connsiteX9" fmla="*/ 541336 w 542359"/>
                    <a:gd name="connsiteY9" fmla="*/ 453908 h 456488"/>
                    <a:gd name="connsiteX10" fmla="*/ 7226 w 542359"/>
                    <a:gd name="connsiteY10" fmla="*/ 450055 h 456488"/>
                    <a:gd name="connsiteX0" fmla="*/ 7226 w 542359"/>
                    <a:gd name="connsiteY0" fmla="*/ 450055 h 456488"/>
                    <a:gd name="connsiteX1" fmla="*/ 12165 w 542359"/>
                    <a:gd name="connsiteY1" fmla="*/ 247109 h 456488"/>
                    <a:gd name="connsiteX2" fmla="*/ 100950 w 542359"/>
                    <a:gd name="connsiteY2" fmla="*/ 166126 h 456488"/>
                    <a:gd name="connsiteX3" fmla="*/ 219365 w 542359"/>
                    <a:gd name="connsiteY3" fmla="*/ 118035 h 456488"/>
                    <a:gd name="connsiteX4" fmla="*/ 244651 w 542359"/>
                    <a:gd name="connsiteY4" fmla="*/ 15758 h 456488"/>
                    <a:gd name="connsiteX5" fmla="*/ 331430 w 542359"/>
                    <a:gd name="connsiteY5" fmla="*/ 12583 h 456488"/>
                    <a:gd name="connsiteX6" fmla="*/ 349541 w 542359"/>
                    <a:gd name="connsiteY6" fmla="*/ 134165 h 456488"/>
                    <a:gd name="connsiteX7" fmla="*/ 475601 w 542359"/>
                    <a:gd name="connsiteY7" fmla="*/ 184288 h 456488"/>
                    <a:gd name="connsiteX8" fmla="*/ 536396 w 542359"/>
                    <a:gd name="connsiteY8" fmla="*/ 251639 h 456488"/>
                    <a:gd name="connsiteX9" fmla="*/ 541336 w 542359"/>
                    <a:gd name="connsiteY9" fmla="*/ 453908 h 456488"/>
                    <a:gd name="connsiteX10" fmla="*/ 7226 w 542359"/>
                    <a:gd name="connsiteY10" fmla="*/ 450055 h 456488"/>
                    <a:gd name="connsiteX0" fmla="*/ 7226 w 542359"/>
                    <a:gd name="connsiteY0" fmla="*/ 450055 h 456488"/>
                    <a:gd name="connsiteX1" fmla="*/ 12165 w 542359"/>
                    <a:gd name="connsiteY1" fmla="*/ 247109 h 456488"/>
                    <a:gd name="connsiteX2" fmla="*/ 100950 w 542359"/>
                    <a:gd name="connsiteY2" fmla="*/ 166126 h 456488"/>
                    <a:gd name="connsiteX3" fmla="*/ 219365 w 542359"/>
                    <a:gd name="connsiteY3" fmla="*/ 118035 h 456488"/>
                    <a:gd name="connsiteX4" fmla="*/ 244651 w 542359"/>
                    <a:gd name="connsiteY4" fmla="*/ 15758 h 456488"/>
                    <a:gd name="connsiteX5" fmla="*/ 331430 w 542359"/>
                    <a:gd name="connsiteY5" fmla="*/ 12583 h 456488"/>
                    <a:gd name="connsiteX6" fmla="*/ 349541 w 542359"/>
                    <a:gd name="connsiteY6" fmla="*/ 134165 h 456488"/>
                    <a:gd name="connsiteX7" fmla="*/ 483716 w 542359"/>
                    <a:gd name="connsiteY7" fmla="*/ 179293 h 456488"/>
                    <a:gd name="connsiteX8" fmla="*/ 536396 w 542359"/>
                    <a:gd name="connsiteY8" fmla="*/ 251639 h 456488"/>
                    <a:gd name="connsiteX9" fmla="*/ 541336 w 542359"/>
                    <a:gd name="connsiteY9" fmla="*/ 453908 h 456488"/>
                    <a:gd name="connsiteX10" fmla="*/ 7226 w 542359"/>
                    <a:gd name="connsiteY10" fmla="*/ 450055 h 456488"/>
                    <a:gd name="connsiteX0" fmla="*/ 6630 w 541763"/>
                    <a:gd name="connsiteY0" fmla="*/ 450055 h 456488"/>
                    <a:gd name="connsiteX1" fmla="*/ 11569 w 541763"/>
                    <a:gd name="connsiteY1" fmla="*/ 247109 h 456488"/>
                    <a:gd name="connsiteX2" fmla="*/ 89534 w 541763"/>
                    <a:gd name="connsiteY2" fmla="*/ 166126 h 456488"/>
                    <a:gd name="connsiteX3" fmla="*/ 218769 w 541763"/>
                    <a:gd name="connsiteY3" fmla="*/ 118035 h 456488"/>
                    <a:gd name="connsiteX4" fmla="*/ 244055 w 541763"/>
                    <a:gd name="connsiteY4" fmla="*/ 15758 h 456488"/>
                    <a:gd name="connsiteX5" fmla="*/ 330834 w 541763"/>
                    <a:gd name="connsiteY5" fmla="*/ 12583 h 456488"/>
                    <a:gd name="connsiteX6" fmla="*/ 348945 w 541763"/>
                    <a:gd name="connsiteY6" fmla="*/ 134165 h 456488"/>
                    <a:gd name="connsiteX7" fmla="*/ 483120 w 541763"/>
                    <a:gd name="connsiteY7" fmla="*/ 179293 h 456488"/>
                    <a:gd name="connsiteX8" fmla="*/ 535800 w 541763"/>
                    <a:gd name="connsiteY8" fmla="*/ 251639 h 456488"/>
                    <a:gd name="connsiteX9" fmla="*/ 540740 w 541763"/>
                    <a:gd name="connsiteY9" fmla="*/ 453908 h 456488"/>
                    <a:gd name="connsiteX10" fmla="*/ 6630 w 541763"/>
                    <a:gd name="connsiteY10" fmla="*/ 450055 h 456488"/>
                    <a:gd name="connsiteX0" fmla="*/ 4856 w 539989"/>
                    <a:gd name="connsiteY0" fmla="*/ 450055 h 456488"/>
                    <a:gd name="connsiteX1" fmla="*/ 15205 w 539989"/>
                    <a:gd name="connsiteY1" fmla="*/ 227128 h 456488"/>
                    <a:gd name="connsiteX2" fmla="*/ 87760 w 539989"/>
                    <a:gd name="connsiteY2" fmla="*/ 166126 h 456488"/>
                    <a:gd name="connsiteX3" fmla="*/ 216995 w 539989"/>
                    <a:gd name="connsiteY3" fmla="*/ 118035 h 456488"/>
                    <a:gd name="connsiteX4" fmla="*/ 242281 w 539989"/>
                    <a:gd name="connsiteY4" fmla="*/ 15758 h 456488"/>
                    <a:gd name="connsiteX5" fmla="*/ 329060 w 539989"/>
                    <a:gd name="connsiteY5" fmla="*/ 12583 h 456488"/>
                    <a:gd name="connsiteX6" fmla="*/ 347171 w 539989"/>
                    <a:gd name="connsiteY6" fmla="*/ 134165 h 456488"/>
                    <a:gd name="connsiteX7" fmla="*/ 481346 w 539989"/>
                    <a:gd name="connsiteY7" fmla="*/ 179293 h 456488"/>
                    <a:gd name="connsiteX8" fmla="*/ 534026 w 539989"/>
                    <a:gd name="connsiteY8" fmla="*/ 251639 h 456488"/>
                    <a:gd name="connsiteX9" fmla="*/ 538966 w 539989"/>
                    <a:gd name="connsiteY9" fmla="*/ 453908 h 456488"/>
                    <a:gd name="connsiteX10" fmla="*/ 4856 w 539989"/>
                    <a:gd name="connsiteY10" fmla="*/ 450055 h 4564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39989" h="456488">
                      <a:moveTo>
                        <a:pt x="4856" y="450055"/>
                      </a:moveTo>
                      <a:cubicBezTo>
                        <a:pt x="-5198" y="385497"/>
                        <a:pt x="1388" y="274449"/>
                        <a:pt x="15205" y="227128"/>
                      </a:cubicBezTo>
                      <a:cubicBezTo>
                        <a:pt x="29022" y="179807"/>
                        <a:pt x="54128" y="184308"/>
                        <a:pt x="87760" y="166126"/>
                      </a:cubicBezTo>
                      <a:cubicBezTo>
                        <a:pt x="121392" y="147944"/>
                        <a:pt x="191242" y="143096"/>
                        <a:pt x="216995" y="118035"/>
                      </a:cubicBezTo>
                      <a:cubicBezTo>
                        <a:pt x="242748" y="92974"/>
                        <a:pt x="223604" y="33333"/>
                        <a:pt x="242281" y="15758"/>
                      </a:cubicBezTo>
                      <a:cubicBezTo>
                        <a:pt x="260958" y="-1817"/>
                        <a:pt x="311578" y="-7151"/>
                        <a:pt x="329060" y="12583"/>
                      </a:cubicBezTo>
                      <a:cubicBezTo>
                        <a:pt x="346542" y="32317"/>
                        <a:pt x="321790" y="106380"/>
                        <a:pt x="347171" y="134165"/>
                      </a:cubicBezTo>
                      <a:cubicBezTo>
                        <a:pt x="372552" y="161950"/>
                        <a:pt x="450204" y="159714"/>
                        <a:pt x="481346" y="179293"/>
                      </a:cubicBezTo>
                      <a:cubicBezTo>
                        <a:pt x="512489" y="198872"/>
                        <a:pt x="523972" y="202956"/>
                        <a:pt x="534026" y="251639"/>
                      </a:cubicBezTo>
                      <a:cubicBezTo>
                        <a:pt x="537201" y="301381"/>
                        <a:pt x="542141" y="328496"/>
                        <a:pt x="538966" y="453908"/>
                      </a:cubicBezTo>
                      <a:cubicBezTo>
                        <a:pt x="307191" y="461845"/>
                        <a:pt x="250800" y="448827"/>
                        <a:pt x="4856" y="450055"/>
                      </a:cubicBezTo>
                      <a:close/>
                    </a:path>
                  </a:pathLst>
                </a:custGeom>
                <a:solidFill>
                  <a:schemeClr val="bg1"/>
                </a:solidFill>
                <a:ln w="57150">
                  <a:solidFill>
                    <a:schemeClr val="tx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66" name="Oval 65">
                  <a:extLst>
                    <a:ext uri="{FF2B5EF4-FFF2-40B4-BE49-F238E27FC236}">
                      <a16:creationId xmlns:a16="http://schemas.microsoft.com/office/drawing/2014/main" id="{953677B4-FB40-8044-ADC3-B360FA41F011}"/>
                    </a:ext>
                  </a:extLst>
                </p:cNvPr>
                <p:cNvSpPr/>
                <p:nvPr/>
              </p:nvSpPr>
              <p:spPr>
                <a:xfrm>
                  <a:off x="1964431" y="3500843"/>
                  <a:ext cx="259337" cy="299858"/>
                </a:xfrm>
                <a:prstGeom prst="ellipse">
                  <a:avLst/>
                </a:prstGeom>
                <a:solidFill>
                  <a:schemeClr val="bg1"/>
                </a:solidFill>
                <a:ln w="57150">
                  <a:solidFill>
                    <a:schemeClr val="tx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grpSp>
        </p:grpSp>
        <p:grpSp>
          <p:nvGrpSpPr>
            <p:cNvPr id="57" name="Group 56">
              <a:extLst>
                <a:ext uri="{FF2B5EF4-FFF2-40B4-BE49-F238E27FC236}">
                  <a16:creationId xmlns:a16="http://schemas.microsoft.com/office/drawing/2014/main" id="{1104FACA-4B34-3E43-9C4D-1A3D8AF68B8E}"/>
                </a:ext>
              </a:extLst>
            </p:cNvPr>
            <p:cNvGrpSpPr/>
            <p:nvPr/>
          </p:nvGrpSpPr>
          <p:grpSpPr>
            <a:xfrm>
              <a:off x="2495712" y="4589934"/>
              <a:ext cx="1256698" cy="510604"/>
              <a:chOff x="2495712" y="4589934"/>
              <a:chExt cx="1256698" cy="510604"/>
            </a:xfrm>
            <a:solidFill>
              <a:schemeClr val="tx1">
                <a:lumMod val="50000"/>
              </a:schemeClr>
            </a:solidFill>
          </p:grpSpPr>
          <p:sp>
            <p:nvSpPr>
              <p:cNvPr id="59" name="Rounded Rectangle 58">
                <a:extLst>
                  <a:ext uri="{FF2B5EF4-FFF2-40B4-BE49-F238E27FC236}">
                    <a16:creationId xmlns:a16="http://schemas.microsoft.com/office/drawing/2014/main" id="{A5F8712B-59E3-6447-B9A1-6D978A40897D}"/>
                  </a:ext>
                </a:extLst>
              </p:cNvPr>
              <p:cNvSpPr/>
              <p:nvPr/>
            </p:nvSpPr>
            <p:spPr>
              <a:xfrm>
                <a:off x="2495712" y="4589934"/>
                <a:ext cx="1256697" cy="251941"/>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60" name="Rectangle 59">
                <a:extLst>
                  <a:ext uri="{FF2B5EF4-FFF2-40B4-BE49-F238E27FC236}">
                    <a16:creationId xmlns:a16="http://schemas.microsoft.com/office/drawing/2014/main" id="{6561214B-D143-D542-A942-8DA81EFF37E0}"/>
                  </a:ext>
                </a:extLst>
              </p:cNvPr>
              <p:cNvSpPr/>
              <p:nvPr/>
            </p:nvSpPr>
            <p:spPr>
              <a:xfrm>
                <a:off x="2498725" y="4797790"/>
                <a:ext cx="1253685" cy="13315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61" name="Rectangle 60">
                <a:extLst>
                  <a:ext uri="{FF2B5EF4-FFF2-40B4-BE49-F238E27FC236}">
                    <a16:creationId xmlns:a16="http://schemas.microsoft.com/office/drawing/2014/main" id="{46489AE6-5449-2D4B-BF12-B06279781E4C}"/>
                  </a:ext>
                </a:extLst>
              </p:cNvPr>
              <p:cNvSpPr/>
              <p:nvPr/>
            </p:nvSpPr>
            <p:spPr>
              <a:xfrm>
                <a:off x="2546350" y="4923041"/>
                <a:ext cx="109152" cy="17749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62" name="Rectangle 61">
                <a:extLst>
                  <a:ext uri="{FF2B5EF4-FFF2-40B4-BE49-F238E27FC236}">
                    <a16:creationId xmlns:a16="http://schemas.microsoft.com/office/drawing/2014/main" id="{48E86C4D-E4D3-9B43-8944-C6F466340E2A}"/>
                  </a:ext>
                </a:extLst>
              </p:cNvPr>
              <p:cNvSpPr/>
              <p:nvPr/>
            </p:nvSpPr>
            <p:spPr>
              <a:xfrm>
                <a:off x="3610945" y="4923041"/>
                <a:ext cx="109152" cy="17749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grpSp>
        <p:sp>
          <p:nvSpPr>
            <p:cNvPr id="58" name="Trapezoid 57">
              <a:extLst>
                <a:ext uri="{FF2B5EF4-FFF2-40B4-BE49-F238E27FC236}">
                  <a16:creationId xmlns:a16="http://schemas.microsoft.com/office/drawing/2014/main" id="{5FE014A2-E5BE-3A4F-96AA-1AEF74B77F2B}"/>
                </a:ext>
              </a:extLst>
            </p:cNvPr>
            <p:cNvSpPr/>
            <p:nvPr/>
          </p:nvSpPr>
          <p:spPr>
            <a:xfrm>
              <a:off x="2655502" y="4181475"/>
              <a:ext cx="958850" cy="363303"/>
            </a:xfrm>
            <a:prstGeom prst="trapezoid">
              <a:avLst/>
            </a:prstGeom>
            <a:solidFill>
              <a:schemeClr val="tx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grpSp>
      <p:grpSp>
        <p:nvGrpSpPr>
          <p:cNvPr id="69" name="Group 68">
            <a:extLst>
              <a:ext uri="{FF2B5EF4-FFF2-40B4-BE49-F238E27FC236}">
                <a16:creationId xmlns:a16="http://schemas.microsoft.com/office/drawing/2014/main" id="{F05C6A72-B204-F64E-B4BD-151D1861FC0E}"/>
              </a:ext>
            </a:extLst>
          </p:cNvPr>
          <p:cNvGrpSpPr/>
          <p:nvPr/>
        </p:nvGrpSpPr>
        <p:grpSpPr>
          <a:xfrm>
            <a:off x="9316527" y="2754895"/>
            <a:ext cx="1025213" cy="1261037"/>
            <a:chOff x="2441771" y="3385414"/>
            <a:chExt cx="1325481" cy="1781019"/>
          </a:xfrm>
        </p:grpSpPr>
        <p:pic>
          <p:nvPicPr>
            <p:cNvPr id="70" name="Picture 69">
              <a:extLst>
                <a:ext uri="{FF2B5EF4-FFF2-40B4-BE49-F238E27FC236}">
                  <a16:creationId xmlns:a16="http://schemas.microsoft.com/office/drawing/2014/main" id="{4302F371-A671-6948-8160-4E20967BB40A}"/>
                </a:ext>
              </a:extLst>
            </p:cNvPr>
            <p:cNvPicPr>
              <a:picLocks noChangeAspect="1"/>
            </p:cNvPicPr>
            <p:nvPr/>
          </p:nvPicPr>
          <p:blipFill rotWithShape="1">
            <a:blip r:embed="rId2"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a:xfrm>
              <a:off x="2441771" y="3385414"/>
              <a:ext cx="1325481" cy="1781019"/>
            </a:xfrm>
            <a:prstGeom prst="rect">
              <a:avLst/>
            </a:prstGeom>
          </p:spPr>
        </p:pic>
        <p:sp>
          <p:nvSpPr>
            <p:cNvPr id="71" name="Rounded Rectangle 70">
              <a:extLst>
                <a:ext uri="{FF2B5EF4-FFF2-40B4-BE49-F238E27FC236}">
                  <a16:creationId xmlns:a16="http://schemas.microsoft.com/office/drawing/2014/main" id="{EAA17BCD-0814-CE44-9CC9-4305DCEEDB96}"/>
                </a:ext>
              </a:extLst>
            </p:cNvPr>
            <p:cNvSpPr/>
            <p:nvPr/>
          </p:nvSpPr>
          <p:spPr>
            <a:xfrm>
              <a:off x="2655502" y="3670300"/>
              <a:ext cx="958850" cy="436656"/>
            </a:xfrm>
            <a:prstGeom prst="roundRect">
              <a:avLst/>
            </a:prstGeom>
            <a:solidFill>
              <a:schemeClr val="tx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grpSp>
          <p:nvGrpSpPr>
            <p:cNvPr id="72" name="Group 71">
              <a:extLst>
                <a:ext uri="{FF2B5EF4-FFF2-40B4-BE49-F238E27FC236}">
                  <a16:creationId xmlns:a16="http://schemas.microsoft.com/office/drawing/2014/main" id="{4E7B1C8D-E2A6-AC47-90A0-DAB63FDE5192}"/>
                </a:ext>
              </a:extLst>
            </p:cNvPr>
            <p:cNvGrpSpPr/>
            <p:nvPr/>
          </p:nvGrpSpPr>
          <p:grpSpPr>
            <a:xfrm>
              <a:off x="2776471" y="3456093"/>
              <a:ext cx="748710" cy="1056883"/>
              <a:chOff x="1496718" y="3334932"/>
              <a:chExt cx="748710" cy="1056883"/>
            </a:xfrm>
          </p:grpSpPr>
          <p:grpSp>
            <p:nvGrpSpPr>
              <p:cNvPr id="79" name="Group 78">
                <a:extLst>
                  <a:ext uri="{FF2B5EF4-FFF2-40B4-BE49-F238E27FC236}">
                    <a16:creationId xmlns:a16="http://schemas.microsoft.com/office/drawing/2014/main" id="{74AD4C73-DEB5-5643-B034-9B58618EE774}"/>
                  </a:ext>
                </a:extLst>
              </p:cNvPr>
              <p:cNvGrpSpPr/>
              <p:nvPr/>
            </p:nvGrpSpPr>
            <p:grpSpPr>
              <a:xfrm>
                <a:off x="1496718" y="3334932"/>
                <a:ext cx="748710" cy="1056883"/>
                <a:chOff x="1843570" y="3508300"/>
                <a:chExt cx="514980" cy="727982"/>
              </a:xfrm>
              <a:solidFill>
                <a:schemeClr val="bg1"/>
              </a:solidFill>
            </p:grpSpPr>
            <p:sp>
              <p:nvSpPr>
                <p:cNvPr id="83" name="Freeform 82">
                  <a:extLst>
                    <a:ext uri="{FF2B5EF4-FFF2-40B4-BE49-F238E27FC236}">
                      <a16:creationId xmlns:a16="http://schemas.microsoft.com/office/drawing/2014/main" id="{68AD7506-3770-0D43-A010-670F29D3DA6F}"/>
                    </a:ext>
                  </a:extLst>
                </p:cNvPr>
                <p:cNvSpPr/>
                <p:nvPr/>
              </p:nvSpPr>
              <p:spPr>
                <a:xfrm>
                  <a:off x="1843570" y="3787509"/>
                  <a:ext cx="514980" cy="448773"/>
                </a:xfrm>
                <a:custGeom>
                  <a:avLst/>
                  <a:gdLst>
                    <a:gd name="connsiteX0" fmla="*/ 36807 w 576731"/>
                    <a:gd name="connsiteY0" fmla="*/ 449906 h 505924"/>
                    <a:gd name="connsiteX1" fmla="*/ 39982 w 576731"/>
                    <a:gd name="connsiteY1" fmla="*/ 214956 h 505924"/>
                    <a:gd name="connsiteX2" fmla="*/ 55857 w 576731"/>
                    <a:gd name="connsiteY2" fmla="*/ 176856 h 505924"/>
                    <a:gd name="connsiteX3" fmla="*/ 103482 w 576731"/>
                    <a:gd name="connsiteY3" fmla="*/ 160981 h 505924"/>
                    <a:gd name="connsiteX4" fmla="*/ 205082 w 576731"/>
                    <a:gd name="connsiteY4" fmla="*/ 154631 h 505924"/>
                    <a:gd name="connsiteX5" fmla="*/ 230482 w 576731"/>
                    <a:gd name="connsiteY5" fmla="*/ 151456 h 505924"/>
                    <a:gd name="connsiteX6" fmla="*/ 233657 w 576731"/>
                    <a:gd name="connsiteY6" fmla="*/ 18106 h 505924"/>
                    <a:gd name="connsiteX7" fmla="*/ 344782 w 576731"/>
                    <a:gd name="connsiteY7" fmla="*/ 14931 h 505924"/>
                    <a:gd name="connsiteX8" fmla="*/ 344782 w 576731"/>
                    <a:gd name="connsiteY8" fmla="*/ 145106 h 505924"/>
                    <a:gd name="connsiteX9" fmla="*/ 386057 w 576731"/>
                    <a:gd name="connsiteY9" fmla="*/ 151456 h 505924"/>
                    <a:gd name="connsiteX10" fmla="*/ 478132 w 576731"/>
                    <a:gd name="connsiteY10" fmla="*/ 164156 h 505924"/>
                    <a:gd name="connsiteX11" fmla="*/ 519407 w 576731"/>
                    <a:gd name="connsiteY11" fmla="*/ 189556 h 505924"/>
                    <a:gd name="connsiteX12" fmla="*/ 541632 w 576731"/>
                    <a:gd name="connsiteY12" fmla="*/ 234006 h 505924"/>
                    <a:gd name="connsiteX13" fmla="*/ 538457 w 576731"/>
                    <a:gd name="connsiteY13" fmla="*/ 488006 h 505924"/>
                    <a:gd name="connsiteX14" fmla="*/ 36807 w 576731"/>
                    <a:gd name="connsiteY14" fmla="*/ 449906 h 505924"/>
                    <a:gd name="connsiteX0" fmla="*/ 5769 w 545693"/>
                    <a:gd name="connsiteY0" fmla="*/ 449906 h 505924"/>
                    <a:gd name="connsiteX1" fmla="*/ 8944 w 545693"/>
                    <a:gd name="connsiteY1" fmla="*/ 214956 h 505924"/>
                    <a:gd name="connsiteX2" fmla="*/ 24819 w 545693"/>
                    <a:gd name="connsiteY2" fmla="*/ 176856 h 505924"/>
                    <a:gd name="connsiteX3" fmla="*/ 72444 w 545693"/>
                    <a:gd name="connsiteY3" fmla="*/ 160981 h 505924"/>
                    <a:gd name="connsiteX4" fmla="*/ 174044 w 545693"/>
                    <a:gd name="connsiteY4" fmla="*/ 154631 h 505924"/>
                    <a:gd name="connsiteX5" fmla="*/ 199444 w 545693"/>
                    <a:gd name="connsiteY5" fmla="*/ 151456 h 505924"/>
                    <a:gd name="connsiteX6" fmla="*/ 202619 w 545693"/>
                    <a:gd name="connsiteY6" fmla="*/ 18106 h 505924"/>
                    <a:gd name="connsiteX7" fmla="*/ 313744 w 545693"/>
                    <a:gd name="connsiteY7" fmla="*/ 14931 h 505924"/>
                    <a:gd name="connsiteX8" fmla="*/ 313744 w 545693"/>
                    <a:gd name="connsiteY8" fmla="*/ 145106 h 505924"/>
                    <a:gd name="connsiteX9" fmla="*/ 355019 w 545693"/>
                    <a:gd name="connsiteY9" fmla="*/ 151456 h 505924"/>
                    <a:gd name="connsiteX10" fmla="*/ 447094 w 545693"/>
                    <a:gd name="connsiteY10" fmla="*/ 164156 h 505924"/>
                    <a:gd name="connsiteX11" fmla="*/ 488369 w 545693"/>
                    <a:gd name="connsiteY11" fmla="*/ 189556 h 505924"/>
                    <a:gd name="connsiteX12" fmla="*/ 510594 w 545693"/>
                    <a:gd name="connsiteY12" fmla="*/ 234006 h 505924"/>
                    <a:gd name="connsiteX13" fmla="*/ 507419 w 545693"/>
                    <a:gd name="connsiteY13" fmla="*/ 488006 h 505924"/>
                    <a:gd name="connsiteX14" fmla="*/ 5769 w 545693"/>
                    <a:gd name="connsiteY14" fmla="*/ 449906 h 505924"/>
                    <a:gd name="connsiteX0" fmla="*/ 21286 w 561210"/>
                    <a:gd name="connsiteY0" fmla="*/ 449906 h 508025"/>
                    <a:gd name="connsiteX1" fmla="*/ 24461 w 561210"/>
                    <a:gd name="connsiteY1" fmla="*/ 214956 h 508025"/>
                    <a:gd name="connsiteX2" fmla="*/ 40336 w 561210"/>
                    <a:gd name="connsiteY2" fmla="*/ 176856 h 508025"/>
                    <a:gd name="connsiteX3" fmla="*/ 87961 w 561210"/>
                    <a:gd name="connsiteY3" fmla="*/ 160981 h 508025"/>
                    <a:gd name="connsiteX4" fmla="*/ 189561 w 561210"/>
                    <a:gd name="connsiteY4" fmla="*/ 154631 h 508025"/>
                    <a:gd name="connsiteX5" fmla="*/ 214961 w 561210"/>
                    <a:gd name="connsiteY5" fmla="*/ 151456 h 508025"/>
                    <a:gd name="connsiteX6" fmla="*/ 218136 w 561210"/>
                    <a:gd name="connsiteY6" fmla="*/ 18106 h 508025"/>
                    <a:gd name="connsiteX7" fmla="*/ 329261 w 561210"/>
                    <a:gd name="connsiteY7" fmla="*/ 14931 h 508025"/>
                    <a:gd name="connsiteX8" fmla="*/ 329261 w 561210"/>
                    <a:gd name="connsiteY8" fmla="*/ 145106 h 508025"/>
                    <a:gd name="connsiteX9" fmla="*/ 370536 w 561210"/>
                    <a:gd name="connsiteY9" fmla="*/ 151456 h 508025"/>
                    <a:gd name="connsiteX10" fmla="*/ 462611 w 561210"/>
                    <a:gd name="connsiteY10" fmla="*/ 164156 h 508025"/>
                    <a:gd name="connsiteX11" fmla="*/ 503886 w 561210"/>
                    <a:gd name="connsiteY11" fmla="*/ 189556 h 508025"/>
                    <a:gd name="connsiteX12" fmla="*/ 526111 w 561210"/>
                    <a:gd name="connsiteY12" fmla="*/ 234006 h 508025"/>
                    <a:gd name="connsiteX13" fmla="*/ 522936 w 561210"/>
                    <a:gd name="connsiteY13" fmla="*/ 488006 h 508025"/>
                    <a:gd name="connsiteX14" fmla="*/ 21286 w 561210"/>
                    <a:gd name="connsiteY14" fmla="*/ 449906 h 508025"/>
                    <a:gd name="connsiteX0" fmla="*/ 21286 w 561210"/>
                    <a:gd name="connsiteY0" fmla="*/ 449906 h 508025"/>
                    <a:gd name="connsiteX1" fmla="*/ 24461 w 561210"/>
                    <a:gd name="connsiteY1" fmla="*/ 214956 h 508025"/>
                    <a:gd name="connsiteX2" fmla="*/ 40336 w 561210"/>
                    <a:gd name="connsiteY2" fmla="*/ 176856 h 508025"/>
                    <a:gd name="connsiteX3" fmla="*/ 87961 w 561210"/>
                    <a:gd name="connsiteY3" fmla="*/ 160981 h 508025"/>
                    <a:gd name="connsiteX4" fmla="*/ 189561 w 561210"/>
                    <a:gd name="connsiteY4" fmla="*/ 154631 h 508025"/>
                    <a:gd name="connsiteX5" fmla="*/ 214961 w 561210"/>
                    <a:gd name="connsiteY5" fmla="*/ 151456 h 508025"/>
                    <a:gd name="connsiteX6" fmla="*/ 218136 w 561210"/>
                    <a:gd name="connsiteY6" fmla="*/ 18106 h 508025"/>
                    <a:gd name="connsiteX7" fmla="*/ 329261 w 561210"/>
                    <a:gd name="connsiteY7" fmla="*/ 14931 h 508025"/>
                    <a:gd name="connsiteX8" fmla="*/ 329261 w 561210"/>
                    <a:gd name="connsiteY8" fmla="*/ 145106 h 508025"/>
                    <a:gd name="connsiteX9" fmla="*/ 370536 w 561210"/>
                    <a:gd name="connsiteY9" fmla="*/ 151456 h 508025"/>
                    <a:gd name="connsiteX10" fmla="*/ 462611 w 561210"/>
                    <a:gd name="connsiteY10" fmla="*/ 164156 h 508025"/>
                    <a:gd name="connsiteX11" fmla="*/ 503886 w 561210"/>
                    <a:gd name="connsiteY11" fmla="*/ 189556 h 508025"/>
                    <a:gd name="connsiteX12" fmla="*/ 526111 w 561210"/>
                    <a:gd name="connsiteY12" fmla="*/ 234006 h 508025"/>
                    <a:gd name="connsiteX13" fmla="*/ 522936 w 561210"/>
                    <a:gd name="connsiteY13" fmla="*/ 488006 h 508025"/>
                    <a:gd name="connsiteX14" fmla="*/ 21286 w 561210"/>
                    <a:gd name="connsiteY14" fmla="*/ 449906 h 508025"/>
                    <a:gd name="connsiteX0" fmla="*/ 4360 w 544284"/>
                    <a:gd name="connsiteY0" fmla="*/ 449906 h 508025"/>
                    <a:gd name="connsiteX1" fmla="*/ 7535 w 544284"/>
                    <a:gd name="connsiteY1" fmla="*/ 214956 h 508025"/>
                    <a:gd name="connsiteX2" fmla="*/ 23410 w 544284"/>
                    <a:gd name="connsiteY2" fmla="*/ 176856 h 508025"/>
                    <a:gd name="connsiteX3" fmla="*/ 71035 w 544284"/>
                    <a:gd name="connsiteY3" fmla="*/ 160981 h 508025"/>
                    <a:gd name="connsiteX4" fmla="*/ 172635 w 544284"/>
                    <a:gd name="connsiteY4" fmla="*/ 154631 h 508025"/>
                    <a:gd name="connsiteX5" fmla="*/ 198035 w 544284"/>
                    <a:gd name="connsiteY5" fmla="*/ 151456 h 508025"/>
                    <a:gd name="connsiteX6" fmla="*/ 201210 w 544284"/>
                    <a:gd name="connsiteY6" fmla="*/ 18106 h 508025"/>
                    <a:gd name="connsiteX7" fmla="*/ 312335 w 544284"/>
                    <a:gd name="connsiteY7" fmla="*/ 14931 h 508025"/>
                    <a:gd name="connsiteX8" fmla="*/ 312335 w 544284"/>
                    <a:gd name="connsiteY8" fmla="*/ 145106 h 508025"/>
                    <a:gd name="connsiteX9" fmla="*/ 353610 w 544284"/>
                    <a:gd name="connsiteY9" fmla="*/ 151456 h 508025"/>
                    <a:gd name="connsiteX10" fmla="*/ 445685 w 544284"/>
                    <a:gd name="connsiteY10" fmla="*/ 164156 h 508025"/>
                    <a:gd name="connsiteX11" fmla="*/ 486960 w 544284"/>
                    <a:gd name="connsiteY11" fmla="*/ 189556 h 508025"/>
                    <a:gd name="connsiteX12" fmla="*/ 509185 w 544284"/>
                    <a:gd name="connsiteY12" fmla="*/ 234006 h 508025"/>
                    <a:gd name="connsiteX13" fmla="*/ 506010 w 544284"/>
                    <a:gd name="connsiteY13" fmla="*/ 488006 h 508025"/>
                    <a:gd name="connsiteX14" fmla="*/ 4360 w 544284"/>
                    <a:gd name="connsiteY14" fmla="*/ 449906 h 508025"/>
                    <a:gd name="connsiteX0" fmla="*/ 4360 w 544284"/>
                    <a:gd name="connsiteY0" fmla="*/ 449906 h 500804"/>
                    <a:gd name="connsiteX1" fmla="*/ 7535 w 544284"/>
                    <a:gd name="connsiteY1" fmla="*/ 214956 h 500804"/>
                    <a:gd name="connsiteX2" fmla="*/ 23410 w 544284"/>
                    <a:gd name="connsiteY2" fmla="*/ 176856 h 500804"/>
                    <a:gd name="connsiteX3" fmla="*/ 71035 w 544284"/>
                    <a:gd name="connsiteY3" fmla="*/ 160981 h 500804"/>
                    <a:gd name="connsiteX4" fmla="*/ 172635 w 544284"/>
                    <a:gd name="connsiteY4" fmla="*/ 154631 h 500804"/>
                    <a:gd name="connsiteX5" fmla="*/ 198035 w 544284"/>
                    <a:gd name="connsiteY5" fmla="*/ 151456 h 500804"/>
                    <a:gd name="connsiteX6" fmla="*/ 201210 w 544284"/>
                    <a:gd name="connsiteY6" fmla="*/ 18106 h 500804"/>
                    <a:gd name="connsiteX7" fmla="*/ 312335 w 544284"/>
                    <a:gd name="connsiteY7" fmla="*/ 14931 h 500804"/>
                    <a:gd name="connsiteX8" fmla="*/ 312335 w 544284"/>
                    <a:gd name="connsiteY8" fmla="*/ 145106 h 500804"/>
                    <a:gd name="connsiteX9" fmla="*/ 353610 w 544284"/>
                    <a:gd name="connsiteY9" fmla="*/ 151456 h 500804"/>
                    <a:gd name="connsiteX10" fmla="*/ 445685 w 544284"/>
                    <a:gd name="connsiteY10" fmla="*/ 164156 h 500804"/>
                    <a:gd name="connsiteX11" fmla="*/ 486960 w 544284"/>
                    <a:gd name="connsiteY11" fmla="*/ 189556 h 500804"/>
                    <a:gd name="connsiteX12" fmla="*/ 509185 w 544284"/>
                    <a:gd name="connsiteY12" fmla="*/ 234006 h 500804"/>
                    <a:gd name="connsiteX13" fmla="*/ 506010 w 544284"/>
                    <a:gd name="connsiteY13" fmla="*/ 488006 h 500804"/>
                    <a:gd name="connsiteX14" fmla="*/ 4360 w 544284"/>
                    <a:gd name="connsiteY14" fmla="*/ 449906 h 500804"/>
                    <a:gd name="connsiteX0" fmla="*/ 4360 w 544284"/>
                    <a:gd name="connsiteY0" fmla="*/ 449906 h 500804"/>
                    <a:gd name="connsiteX1" fmla="*/ 7535 w 544284"/>
                    <a:gd name="connsiteY1" fmla="*/ 214956 h 500804"/>
                    <a:gd name="connsiteX2" fmla="*/ 23410 w 544284"/>
                    <a:gd name="connsiteY2" fmla="*/ 176856 h 500804"/>
                    <a:gd name="connsiteX3" fmla="*/ 71035 w 544284"/>
                    <a:gd name="connsiteY3" fmla="*/ 160981 h 500804"/>
                    <a:gd name="connsiteX4" fmla="*/ 172635 w 544284"/>
                    <a:gd name="connsiteY4" fmla="*/ 154631 h 500804"/>
                    <a:gd name="connsiteX5" fmla="*/ 198035 w 544284"/>
                    <a:gd name="connsiteY5" fmla="*/ 151456 h 500804"/>
                    <a:gd name="connsiteX6" fmla="*/ 201210 w 544284"/>
                    <a:gd name="connsiteY6" fmla="*/ 18106 h 500804"/>
                    <a:gd name="connsiteX7" fmla="*/ 312335 w 544284"/>
                    <a:gd name="connsiteY7" fmla="*/ 14931 h 500804"/>
                    <a:gd name="connsiteX8" fmla="*/ 312335 w 544284"/>
                    <a:gd name="connsiteY8" fmla="*/ 145106 h 500804"/>
                    <a:gd name="connsiteX9" fmla="*/ 353610 w 544284"/>
                    <a:gd name="connsiteY9" fmla="*/ 151456 h 500804"/>
                    <a:gd name="connsiteX10" fmla="*/ 445685 w 544284"/>
                    <a:gd name="connsiteY10" fmla="*/ 164156 h 500804"/>
                    <a:gd name="connsiteX11" fmla="*/ 486960 w 544284"/>
                    <a:gd name="connsiteY11" fmla="*/ 189556 h 500804"/>
                    <a:gd name="connsiteX12" fmla="*/ 509185 w 544284"/>
                    <a:gd name="connsiteY12" fmla="*/ 234006 h 500804"/>
                    <a:gd name="connsiteX13" fmla="*/ 506010 w 544284"/>
                    <a:gd name="connsiteY13" fmla="*/ 488006 h 500804"/>
                    <a:gd name="connsiteX14" fmla="*/ 4360 w 544284"/>
                    <a:gd name="connsiteY14" fmla="*/ 449906 h 500804"/>
                    <a:gd name="connsiteX0" fmla="*/ 4360 w 519024"/>
                    <a:gd name="connsiteY0" fmla="*/ 449906 h 500804"/>
                    <a:gd name="connsiteX1" fmla="*/ 7535 w 519024"/>
                    <a:gd name="connsiteY1" fmla="*/ 214956 h 500804"/>
                    <a:gd name="connsiteX2" fmla="*/ 23410 w 519024"/>
                    <a:gd name="connsiteY2" fmla="*/ 176856 h 500804"/>
                    <a:gd name="connsiteX3" fmla="*/ 71035 w 519024"/>
                    <a:gd name="connsiteY3" fmla="*/ 160981 h 500804"/>
                    <a:gd name="connsiteX4" fmla="*/ 172635 w 519024"/>
                    <a:gd name="connsiteY4" fmla="*/ 154631 h 500804"/>
                    <a:gd name="connsiteX5" fmla="*/ 198035 w 519024"/>
                    <a:gd name="connsiteY5" fmla="*/ 151456 h 500804"/>
                    <a:gd name="connsiteX6" fmla="*/ 201210 w 519024"/>
                    <a:gd name="connsiteY6" fmla="*/ 18106 h 500804"/>
                    <a:gd name="connsiteX7" fmla="*/ 312335 w 519024"/>
                    <a:gd name="connsiteY7" fmla="*/ 14931 h 500804"/>
                    <a:gd name="connsiteX8" fmla="*/ 312335 w 519024"/>
                    <a:gd name="connsiteY8" fmla="*/ 145106 h 500804"/>
                    <a:gd name="connsiteX9" fmla="*/ 353610 w 519024"/>
                    <a:gd name="connsiteY9" fmla="*/ 151456 h 500804"/>
                    <a:gd name="connsiteX10" fmla="*/ 445685 w 519024"/>
                    <a:gd name="connsiteY10" fmla="*/ 164156 h 500804"/>
                    <a:gd name="connsiteX11" fmla="*/ 486960 w 519024"/>
                    <a:gd name="connsiteY11" fmla="*/ 189556 h 500804"/>
                    <a:gd name="connsiteX12" fmla="*/ 509185 w 519024"/>
                    <a:gd name="connsiteY12" fmla="*/ 234006 h 500804"/>
                    <a:gd name="connsiteX13" fmla="*/ 506010 w 519024"/>
                    <a:gd name="connsiteY13" fmla="*/ 488006 h 500804"/>
                    <a:gd name="connsiteX14" fmla="*/ 4360 w 519024"/>
                    <a:gd name="connsiteY14" fmla="*/ 449906 h 500804"/>
                    <a:gd name="connsiteX0" fmla="*/ 4360 w 519024"/>
                    <a:gd name="connsiteY0" fmla="*/ 449906 h 488006"/>
                    <a:gd name="connsiteX1" fmla="*/ 7535 w 519024"/>
                    <a:gd name="connsiteY1" fmla="*/ 214956 h 488006"/>
                    <a:gd name="connsiteX2" fmla="*/ 23410 w 519024"/>
                    <a:gd name="connsiteY2" fmla="*/ 176856 h 488006"/>
                    <a:gd name="connsiteX3" fmla="*/ 71035 w 519024"/>
                    <a:gd name="connsiteY3" fmla="*/ 160981 h 488006"/>
                    <a:gd name="connsiteX4" fmla="*/ 172635 w 519024"/>
                    <a:gd name="connsiteY4" fmla="*/ 154631 h 488006"/>
                    <a:gd name="connsiteX5" fmla="*/ 198035 w 519024"/>
                    <a:gd name="connsiteY5" fmla="*/ 151456 h 488006"/>
                    <a:gd name="connsiteX6" fmla="*/ 201210 w 519024"/>
                    <a:gd name="connsiteY6" fmla="*/ 18106 h 488006"/>
                    <a:gd name="connsiteX7" fmla="*/ 312335 w 519024"/>
                    <a:gd name="connsiteY7" fmla="*/ 14931 h 488006"/>
                    <a:gd name="connsiteX8" fmla="*/ 312335 w 519024"/>
                    <a:gd name="connsiteY8" fmla="*/ 145106 h 488006"/>
                    <a:gd name="connsiteX9" fmla="*/ 353610 w 519024"/>
                    <a:gd name="connsiteY9" fmla="*/ 151456 h 488006"/>
                    <a:gd name="connsiteX10" fmla="*/ 445685 w 519024"/>
                    <a:gd name="connsiteY10" fmla="*/ 164156 h 488006"/>
                    <a:gd name="connsiteX11" fmla="*/ 486960 w 519024"/>
                    <a:gd name="connsiteY11" fmla="*/ 189556 h 488006"/>
                    <a:gd name="connsiteX12" fmla="*/ 509185 w 519024"/>
                    <a:gd name="connsiteY12" fmla="*/ 234006 h 488006"/>
                    <a:gd name="connsiteX13" fmla="*/ 506010 w 519024"/>
                    <a:gd name="connsiteY13" fmla="*/ 488006 h 488006"/>
                    <a:gd name="connsiteX14" fmla="*/ 4360 w 519024"/>
                    <a:gd name="connsiteY14" fmla="*/ 449906 h 488006"/>
                    <a:gd name="connsiteX0" fmla="*/ 4360 w 523534"/>
                    <a:gd name="connsiteY0" fmla="*/ 449906 h 472131"/>
                    <a:gd name="connsiteX1" fmla="*/ 7535 w 523534"/>
                    <a:gd name="connsiteY1" fmla="*/ 214956 h 472131"/>
                    <a:gd name="connsiteX2" fmla="*/ 23410 w 523534"/>
                    <a:gd name="connsiteY2" fmla="*/ 176856 h 472131"/>
                    <a:gd name="connsiteX3" fmla="*/ 71035 w 523534"/>
                    <a:gd name="connsiteY3" fmla="*/ 160981 h 472131"/>
                    <a:gd name="connsiteX4" fmla="*/ 172635 w 523534"/>
                    <a:gd name="connsiteY4" fmla="*/ 154631 h 472131"/>
                    <a:gd name="connsiteX5" fmla="*/ 198035 w 523534"/>
                    <a:gd name="connsiteY5" fmla="*/ 151456 h 472131"/>
                    <a:gd name="connsiteX6" fmla="*/ 201210 w 523534"/>
                    <a:gd name="connsiteY6" fmla="*/ 18106 h 472131"/>
                    <a:gd name="connsiteX7" fmla="*/ 312335 w 523534"/>
                    <a:gd name="connsiteY7" fmla="*/ 14931 h 472131"/>
                    <a:gd name="connsiteX8" fmla="*/ 312335 w 523534"/>
                    <a:gd name="connsiteY8" fmla="*/ 145106 h 472131"/>
                    <a:gd name="connsiteX9" fmla="*/ 353610 w 523534"/>
                    <a:gd name="connsiteY9" fmla="*/ 151456 h 472131"/>
                    <a:gd name="connsiteX10" fmla="*/ 445685 w 523534"/>
                    <a:gd name="connsiteY10" fmla="*/ 164156 h 472131"/>
                    <a:gd name="connsiteX11" fmla="*/ 486960 w 523534"/>
                    <a:gd name="connsiteY11" fmla="*/ 189556 h 472131"/>
                    <a:gd name="connsiteX12" fmla="*/ 509185 w 523534"/>
                    <a:gd name="connsiteY12" fmla="*/ 234006 h 472131"/>
                    <a:gd name="connsiteX13" fmla="*/ 512360 w 523534"/>
                    <a:gd name="connsiteY13" fmla="*/ 472131 h 472131"/>
                    <a:gd name="connsiteX14" fmla="*/ 4360 w 523534"/>
                    <a:gd name="connsiteY14" fmla="*/ 449906 h 472131"/>
                    <a:gd name="connsiteX0" fmla="*/ 4360 w 513675"/>
                    <a:gd name="connsiteY0" fmla="*/ 449906 h 472131"/>
                    <a:gd name="connsiteX1" fmla="*/ 7535 w 513675"/>
                    <a:gd name="connsiteY1" fmla="*/ 214956 h 472131"/>
                    <a:gd name="connsiteX2" fmla="*/ 23410 w 513675"/>
                    <a:gd name="connsiteY2" fmla="*/ 176856 h 472131"/>
                    <a:gd name="connsiteX3" fmla="*/ 71035 w 513675"/>
                    <a:gd name="connsiteY3" fmla="*/ 160981 h 472131"/>
                    <a:gd name="connsiteX4" fmla="*/ 172635 w 513675"/>
                    <a:gd name="connsiteY4" fmla="*/ 154631 h 472131"/>
                    <a:gd name="connsiteX5" fmla="*/ 198035 w 513675"/>
                    <a:gd name="connsiteY5" fmla="*/ 151456 h 472131"/>
                    <a:gd name="connsiteX6" fmla="*/ 201210 w 513675"/>
                    <a:gd name="connsiteY6" fmla="*/ 18106 h 472131"/>
                    <a:gd name="connsiteX7" fmla="*/ 312335 w 513675"/>
                    <a:gd name="connsiteY7" fmla="*/ 14931 h 472131"/>
                    <a:gd name="connsiteX8" fmla="*/ 312335 w 513675"/>
                    <a:gd name="connsiteY8" fmla="*/ 145106 h 472131"/>
                    <a:gd name="connsiteX9" fmla="*/ 353610 w 513675"/>
                    <a:gd name="connsiteY9" fmla="*/ 151456 h 472131"/>
                    <a:gd name="connsiteX10" fmla="*/ 445685 w 513675"/>
                    <a:gd name="connsiteY10" fmla="*/ 164156 h 472131"/>
                    <a:gd name="connsiteX11" fmla="*/ 486960 w 513675"/>
                    <a:gd name="connsiteY11" fmla="*/ 189556 h 472131"/>
                    <a:gd name="connsiteX12" fmla="*/ 509185 w 513675"/>
                    <a:gd name="connsiteY12" fmla="*/ 234006 h 472131"/>
                    <a:gd name="connsiteX13" fmla="*/ 512360 w 513675"/>
                    <a:gd name="connsiteY13" fmla="*/ 472131 h 472131"/>
                    <a:gd name="connsiteX14" fmla="*/ 4360 w 513675"/>
                    <a:gd name="connsiteY14" fmla="*/ 449906 h 472131"/>
                    <a:gd name="connsiteX0" fmla="*/ 4360 w 513675"/>
                    <a:gd name="connsiteY0" fmla="*/ 446969 h 469194"/>
                    <a:gd name="connsiteX1" fmla="*/ 7535 w 513675"/>
                    <a:gd name="connsiteY1" fmla="*/ 212019 h 469194"/>
                    <a:gd name="connsiteX2" fmla="*/ 23410 w 513675"/>
                    <a:gd name="connsiteY2" fmla="*/ 173919 h 469194"/>
                    <a:gd name="connsiteX3" fmla="*/ 71035 w 513675"/>
                    <a:gd name="connsiteY3" fmla="*/ 158044 h 469194"/>
                    <a:gd name="connsiteX4" fmla="*/ 172635 w 513675"/>
                    <a:gd name="connsiteY4" fmla="*/ 151694 h 469194"/>
                    <a:gd name="connsiteX5" fmla="*/ 188510 w 513675"/>
                    <a:gd name="connsiteY5" fmla="*/ 94544 h 469194"/>
                    <a:gd name="connsiteX6" fmla="*/ 201210 w 513675"/>
                    <a:gd name="connsiteY6" fmla="*/ 15169 h 469194"/>
                    <a:gd name="connsiteX7" fmla="*/ 312335 w 513675"/>
                    <a:gd name="connsiteY7" fmla="*/ 11994 h 469194"/>
                    <a:gd name="connsiteX8" fmla="*/ 312335 w 513675"/>
                    <a:gd name="connsiteY8" fmla="*/ 142169 h 469194"/>
                    <a:gd name="connsiteX9" fmla="*/ 353610 w 513675"/>
                    <a:gd name="connsiteY9" fmla="*/ 148519 h 469194"/>
                    <a:gd name="connsiteX10" fmla="*/ 445685 w 513675"/>
                    <a:gd name="connsiteY10" fmla="*/ 161219 h 469194"/>
                    <a:gd name="connsiteX11" fmla="*/ 486960 w 513675"/>
                    <a:gd name="connsiteY11" fmla="*/ 186619 h 469194"/>
                    <a:gd name="connsiteX12" fmla="*/ 509185 w 513675"/>
                    <a:gd name="connsiteY12" fmla="*/ 231069 h 469194"/>
                    <a:gd name="connsiteX13" fmla="*/ 512360 w 513675"/>
                    <a:gd name="connsiteY13" fmla="*/ 469194 h 469194"/>
                    <a:gd name="connsiteX14" fmla="*/ 4360 w 513675"/>
                    <a:gd name="connsiteY14" fmla="*/ 446969 h 469194"/>
                    <a:gd name="connsiteX0" fmla="*/ 4360 w 513675"/>
                    <a:gd name="connsiteY0" fmla="*/ 443409 h 465634"/>
                    <a:gd name="connsiteX1" fmla="*/ 7535 w 513675"/>
                    <a:gd name="connsiteY1" fmla="*/ 208459 h 465634"/>
                    <a:gd name="connsiteX2" fmla="*/ 23410 w 513675"/>
                    <a:gd name="connsiteY2" fmla="*/ 170359 h 465634"/>
                    <a:gd name="connsiteX3" fmla="*/ 71035 w 513675"/>
                    <a:gd name="connsiteY3" fmla="*/ 154484 h 465634"/>
                    <a:gd name="connsiteX4" fmla="*/ 172635 w 513675"/>
                    <a:gd name="connsiteY4" fmla="*/ 148134 h 465634"/>
                    <a:gd name="connsiteX5" fmla="*/ 188510 w 513675"/>
                    <a:gd name="connsiteY5" fmla="*/ 90984 h 465634"/>
                    <a:gd name="connsiteX6" fmla="*/ 201210 w 513675"/>
                    <a:gd name="connsiteY6" fmla="*/ 11609 h 465634"/>
                    <a:gd name="connsiteX7" fmla="*/ 312335 w 513675"/>
                    <a:gd name="connsiteY7" fmla="*/ 8434 h 465634"/>
                    <a:gd name="connsiteX8" fmla="*/ 312335 w 513675"/>
                    <a:gd name="connsiteY8" fmla="*/ 87809 h 465634"/>
                    <a:gd name="connsiteX9" fmla="*/ 353610 w 513675"/>
                    <a:gd name="connsiteY9" fmla="*/ 144959 h 465634"/>
                    <a:gd name="connsiteX10" fmla="*/ 445685 w 513675"/>
                    <a:gd name="connsiteY10" fmla="*/ 157659 h 465634"/>
                    <a:gd name="connsiteX11" fmla="*/ 486960 w 513675"/>
                    <a:gd name="connsiteY11" fmla="*/ 183059 h 465634"/>
                    <a:gd name="connsiteX12" fmla="*/ 509185 w 513675"/>
                    <a:gd name="connsiteY12" fmla="*/ 227509 h 465634"/>
                    <a:gd name="connsiteX13" fmla="*/ 512360 w 513675"/>
                    <a:gd name="connsiteY13" fmla="*/ 465634 h 465634"/>
                    <a:gd name="connsiteX14" fmla="*/ 4360 w 513675"/>
                    <a:gd name="connsiteY14" fmla="*/ 443409 h 465634"/>
                    <a:gd name="connsiteX0" fmla="*/ 4360 w 513675"/>
                    <a:gd name="connsiteY0" fmla="*/ 443409 h 465634"/>
                    <a:gd name="connsiteX1" fmla="*/ 7535 w 513675"/>
                    <a:gd name="connsiteY1" fmla="*/ 208459 h 465634"/>
                    <a:gd name="connsiteX2" fmla="*/ 23410 w 513675"/>
                    <a:gd name="connsiteY2" fmla="*/ 170359 h 465634"/>
                    <a:gd name="connsiteX3" fmla="*/ 71035 w 513675"/>
                    <a:gd name="connsiteY3" fmla="*/ 154484 h 465634"/>
                    <a:gd name="connsiteX4" fmla="*/ 172635 w 513675"/>
                    <a:gd name="connsiteY4" fmla="*/ 148134 h 465634"/>
                    <a:gd name="connsiteX5" fmla="*/ 188510 w 513675"/>
                    <a:gd name="connsiteY5" fmla="*/ 90984 h 465634"/>
                    <a:gd name="connsiteX6" fmla="*/ 201210 w 513675"/>
                    <a:gd name="connsiteY6" fmla="*/ 11609 h 465634"/>
                    <a:gd name="connsiteX7" fmla="*/ 312335 w 513675"/>
                    <a:gd name="connsiteY7" fmla="*/ 8434 h 465634"/>
                    <a:gd name="connsiteX8" fmla="*/ 312335 w 513675"/>
                    <a:gd name="connsiteY8" fmla="*/ 87809 h 465634"/>
                    <a:gd name="connsiteX9" fmla="*/ 334560 w 513675"/>
                    <a:gd name="connsiteY9" fmla="*/ 135434 h 465634"/>
                    <a:gd name="connsiteX10" fmla="*/ 445685 w 513675"/>
                    <a:gd name="connsiteY10" fmla="*/ 157659 h 465634"/>
                    <a:gd name="connsiteX11" fmla="*/ 486960 w 513675"/>
                    <a:gd name="connsiteY11" fmla="*/ 183059 h 465634"/>
                    <a:gd name="connsiteX12" fmla="*/ 509185 w 513675"/>
                    <a:gd name="connsiteY12" fmla="*/ 227509 h 465634"/>
                    <a:gd name="connsiteX13" fmla="*/ 512360 w 513675"/>
                    <a:gd name="connsiteY13" fmla="*/ 465634 h 465634"/>
                    <a:gd name="connsiteX14" fmla="*/ 4360 w 513675"/>
                    <a:gd name="connsiteY14" fmla="*/ 443409 h 465634"/>
                    <a:gd name="connsiteX0" fmla="*/ 4360 w 510500"/>
                    <a:gd name="connsiteY0" fmla="*/ 443409 h 449759"/>
                    <a:gd name="connsiteX1" fmla="*/ 7535 w 510500"/>
                    <a:gd name="connsiteY1" fmla="*/ 208459 h 449759"/>
                    <a:gd name="connsiteX2" fmla="*/ 23410 w 510500"/>
                    <a:gd name="connsiteY2" fmla="*/ 170359 h 449759"/>
                    <a:gd name="connsiteX3" fmla="*/ 71035 w 510500"/>
                    <a:gd name="connsiteY3" fmla="*/ 154484 h 449759"/>
                    <a:gd name="connsiteX4" fmla="*/ 172635 w 510500"/>
                    <a:gd name="connsiteY4" fmla="*/ 148134 h 449759"/>
                    <a:gd name="connsiteX5" fmla="*/ 188510 w 510500"/>
                    <a:gd name="connsiteY5" fmla="*/ 90984 h 449759"/>
                    <a:gd name="connsiteX6" fmla="*/ 201210 w 510500"/>
                    <a:gd name="connsiteY6" fmla="*/ 11609 h 449759"/>
                    <a:gd name="connsiteX7" fmla="*/ 312335 w 510500"/>
                    <a:gd name="connsiteY7" fmla="*/ 8434 h 449759"/>
                    <a:gd name="connsiteX8" fmla="*/ 312335 w 510500"/>
                    <a:gd name="connsiteY8" fmla="*/ 87809 h 449759"/>
                    <a:gd name="connsiteX9" fmla="*/ 334560 w 510500"/>
                    <a:gd name="connsiteY9" fmla="*/ 135434 h 449759"/>
                    <a:gd name="connsiteX10" fmla="*/ 445685 w 510500"/>
                    <a:gd name="connsiteY10" fmla="*/ 157659 h 449759"/>
                    <a:gd name="connsiteX11" fmla="*/ 486960 w 510500"/>
                    <a:gd name="connsiteY11" fmla="*/ 183059 h 449759"/>
                    <a:gd name="connsiteX12" fmla="*/ 509185 w 510500"/>
                    <a:gd name="connsiteY12" fmla="*/ 227509 h 449759"/>
                    <a:gd name="connsiteX13" fmla="*/ 506010 w 510500"/>
                    <a:gd name="connsiteY13" fmla="*/ 449759 h 449759"/>
                    <a:gd name="connsiteX14" fmla="*/ 4360 w 510500"/>
                    <a:gd name="connsiteY14" fmla="*/ 443409 h 449759"/>
                    <a:gd name="connsiteX0" fmla="*/ 4360 w 510500"/>
                    <a:gd name="connsiteY0" fmla="*/ 443409 h 454926"/>
                    <a:gd name="connsiteX1" fmla="*/ 7535 w 510500"/>
                    <a:gd name="connsiteY1" fmla="*/ 208459 h 454926"/>
                    <a:gd name="connsiteX2" fmla="*/ 23410 w 510500"/>
                    <a:gd name="connsiteY2" fmla="*/ 170359 h 454926"/>
                    <a:gd name="connsiteX3" fmla="*/ 71035 w 510500"/>
                    <a:gd name="connsiteY3" fmla="*/ 154484 h 454926"/>
                    <a:gd name="connsiteX4" fmla="*/ 172635 w 510500"/>
                    <a:gd name="connsiteY4" fmla="*/ 148134 h 454926"/>
                    <a:gd name="connsiteX5" fmla="*/ 188510 w 510500"/>
                    <a:gd name="connsiteY5" fmla="*/ 90984 h 454926"/>
                    <a:gd name="connsiteX6" fmla="*/ 201210 w 510500"/>
                    <a:gd name="connsiteY6" fmla="*/ 11609 h 454926"/>
                    <a:gd name="connsiteX7" fmla="*/ 312335 w 510500"/>
                    <a:gd name="connsiteY7" fmla="*/ 8434 h 454926"/>
                    <a:gd name="connsiteX8" fmla="*/ 312335 w 510500"/>
                    <a:gd name="connsiteY8" fmla="*/ 87809 h 454926"/>
                    <a:gd name="connsiteX9" fmla="*/ 334560 w 510500"/>
                    <a:gd name="connsiteY9" fmla="*/ 135434 h 454926"/>
                    <a:gd name="connsiteX10" fmla="*/ 445685 w 510500"/>
                    <a:gd name="connsiteY10" fmla="*/ 157659 h 454926"/>
                    <a:gd name="connsiteX11" fmla="*/ 486960 w 510500"/>
                    <a:gd name="connsiteY11" fmla="*/ 183059 h 454926"/>
                    <a:gd name="connsiteX12" fmla="*/ 509185 w 510500"/>
                    <a:gd name="connsiteY12" fmla="*/ 227509 h 454926"/>
                    <a:gd name="connsiteX13" fmla="*/ 506010 w 510500"/>
                    <a:gd name="connsiteY13" fmla="*/ 449759 h 454926"/>
                    <a:gd name="connsiteX14" fmla="*/ 4360 w 510500"/>
                    <a:gd name="connsiteY14" fmla="*/ 443409 h 454926"/>
                    <a:gd name="connsiteX0" fmla="*/ 6473 w 512613"/>
                    <a:gd name="connsiteY0" fmla="*/ 443409 h 454926"/>
                    <a:gd name="connsiteX1" fmla="*/ 9648 w 512613"/>
                    <a:gd name="connsiteY1" fmla="*/ 208459 h 454926"/>
                    <a:gd name="connsiteX2" fmla="*/ 73148 w 512613"/>
                    <a:gd name="connsiteY2" fmla="*/ 154484 h 454926"/>
                    <a:gd name="connsiteX3" fmla="*/ 174748 w 512613"/>
                    <a:gd name="connsiteY3" fmla="*/ 148134 h 454926"/>
                    <a:gd name="connsiteX4" fmla="*/ 190623 w 512613"/>
                    <a:gd name="connsiteY4" fmla="*/ 90984 h 454926"/>
                    <a:gd name="connsiteX5" fmla="*/ 203323 w 512613"/>
                    <a:gd name="connsiteY5" fmla="*/ 11609 h 454926"/>
                    <a:gd name="connsiteX6" fmla="*/ 314448 w 512613"/>
                    <a:gd name="connsiteY6" fmla="*/ 8434 h 454926"/>
                    <a:gd name="connsiteX7" fmla="*/ 314448 w 512613"/>
                    <a:gd name="connsiteY7" fmla="*/ 87809 h 454926"/>
                    <a:gd name="connsiteX8" fmla="*/ 336673 w 512613"/>
                    <a:gd name="connsiteY8" fmla="*/ 135434 h 454926"/>
                    <a:gd name="connsiteX9" fmla="*/ 447798 w 512613"/>
                    <a:gd name="connsiteY9" fmla="*/ 157659 h 454926"/>
                    <a:gd name="connsiteX10" fmla="*/ 489073 w 512613"/>
                    <a:gd name="connsiteY10" fmla="*/ 183059 h 454926"/>
                    <a:gd name="connsiteX11" fmla="*/ 511298 w 512613"/>
                    <a:gd name="connsiteY11" fmla="*/ 227509 h 454926"/>
                    <a:gd name="connsiteX12" fmla="*/ 508123 w 512613"/>
                    <a:gd name="connsiteY12" fmla="*/ 449759 h 454926"/>
                    <a:gd name="connsiteX13" fmla="*/ 6473 w 512613"/>
                    <a:gd name="connsiteY13" fmla="*/ 443409 h 454926"/>
                    <a:gd name="connsiteX0" fmla="*/ 4049 w 510189"/>
                    <a:gd name="connsiteY0" fmla="*/ 443409 h 454926"/>
                    <a:gd name="connsiteX1" fmla="*/ 7224 w 510189"/>
                    <a:gd name="connsiteY1" fmla="*/ 208459 h 454926"/>
                    <a:gd name="connsiteX2" fmla="*/ 70724 w 510189"/>
                    <a:gd name="connsiteY2" fmla="*/ 154484 h 454926"/>
                    <a:gd name="connsiteX3" fmla="*/ 172324 w 510189"/>
                    <a:gd name="connsiteY3" fmla="*/ 148134 h 454926"/>
                    <a:gd name="connsiteX4" fmla="*/ 188199 w 510189"/>
                    <a:gd name="connsiteY4" fmla="*/ 90984 h 454926"/>
                    <a:gd name="connsiteX5" fmla="*/ 200899 w 510189"/>
                    <a:gd name="connsiteY5" fmla="*/ 11609 h 454926"/>
                    <a:gd name="connsiteX6" fmla="*/ 312024 w 510189"/>
                    <a:gd name="connsiteY6" fmla="*/ 8434 h 454926"/>
                    <a:gd name="connsiteX7" fmla="*/ 312024 w 510189"/>
                    <a:gd name="connsiteY7" fmla="*/ 87809 h 454926"/>
                    <a:gd name="connsiteX8" fmla="*/ 334249 w 510189"/>
                    <a:gd name="connsiteY8" fmla="*/ 135434 h 454926"/>
                    <a:gd name="connsiteX9" fmla="*/ 445374 w 510189"/>
                    <a:gd name="connsiteY9" fmla="*/ 157659 h 454926"/>
                    <a:gd name="connsiteX10" fmla="*/ 486649 w 510189"/>
                    <a:gd name="connsiteY10" fmla="*/ 183059 h 454926"/>
                    <a:gd name="connsiteX11" fmla="*/ 508874 w 510189"/>
                    <a:gd name="connsiteY11" fmla="*/ 227509 h 454926"/>
                    <a:gd name="connsiteX12" fmla="*/ 505699 w 510189"/>
                    <a:gd name="connsiteY12" fmla="*/ 449759 h 454926"/>
                    <a:gd name="connsiteX13" fmla="*/ 4049 w 510189"/>
                    <a:gd name="connsiteY13" fmla="*/ 443409 h 454926"/>
                    <a:gd name="connsiteX0" fmla="*/ 4049 w 510189"/>
                    <a:gd name="connsiteY0" fmla="*/ 443409 h 454926"/>
                    <a:gd name="connsiteX1" fmla="*/ 7224 w 510189"/>
                    <a:gd name="connsiteY1" fmla="*/ 208459 h 454926"/>
                    <a:gd name="connsiteX2" fmla="*/ 70724 w 510189"/>
                    <a:gd name="connsiteY2" fmla="*/ 154484 h 454926"/>
                    <a:gd name="connsiteX3" fmla="*/ 172324 w 510189"/>
                    <a:gd name="connsiteY3" fmla="*/ 148134 h 454926"/>
                    <a:gd name="connsiteX4" fmla="*/ 188199 w 510189"/>
                    <a:gd name="connsiteY4" fmla="*/ 90984 h 454926"/>
                    <a:gd name="connsiteX5" fmla="*/ 200899 w 510189"/>
                    <a:gd name="connsiteY5" fmla="*/ 11609 h 454926"/>
                    <a:gd name="connsiteX6" fmla="*/ 312024 w 510189"/>
                    <a:gd name="connsiteY6" fmla="*/ 8434 h 454926"/>
                    <a:gd name="connsiteX7" fmla="*/ 312024 w 510189"/>
                    <a:gd name="connsiteY7" fmla="*/ 87809 h 454926"/>
                    <a:gd name="connsiteX8" fmla="*/ 334249 w 510189"/>
                    <a:gd name="connsiteY8" fmla="*/ 135434 h 454926"/>
                    <a:gd name="connsiteX9" fmla="*/ 445374 w 510189"/>
                    <a:gd name="connsiteY9" fmla="*/ 157659 h 454926"/>
                    <a:gd name="connsiteX10" fmla="*/ 508874 w 510189"/>
                    <a:gd name="connsiteY10" fmla="*/ 227509 h 454926"/>
                    <a:gd name="connsiteX11" fmla="*/ 505699 w 510189"/>
                    <a:gd name="connsiteY11" fmla="*/ 449759 h 454926"/>
                    <a:gd name="connsiteX12" fmla="*/ 4049 w 510189"/>
                    <a:gd name="connsiteY12" fmla="*/ 443409 h 454926"/>
                    <a:gd name="connsiteX0" fmla="*/ 4049 w 510189"/>
                    <a:gd name="connsiteY0" fmla="*/ 443409 h 454926"/>
                    <a:gd name="connsiteX1" fmla="*/ 7224 w 510189"/>
                    <a:gd name="connsiteY1" fmla="*/ 208459 h 454926"/>
                    <a:gd name="connsiteX2" fmla="*/ 70724 w 510189"/>
                    <a:gd name="connsiteY2" fmla="*/ 154484 h 454926"/>
                    <a:gd name="connsiteX3" fmla="*/ 172324 w 510189"/>
                    <a:gd name="connsiteY3" fmla="*/ 148134 h 454926"/>
                    <a:gd name="connsiteX4" fmla="*/ 188199 w 510189"/>
                    <a:gd name="connsiteY4" fmla="*/ 90984 h 454926"/>
                    <a:gd name="connsiteX5" fmla="*/ 200899 w 510189"/>
                    <a:gd name="connsiteY5" fmla="*/ 11609 h 454926"/>
                    <a:gd name="connsiteX6" fmla="*/ 312024 w 510189"/>
                    <a:gd name="connsiteY6" fmla="*/ 8434 h 454926"/>
                    <a:gd name="connsiteX7" fmla="*/ 312024 w 510189"/>
                    <a:gd name="connsiteY7" fmla="*/ 87809 h 454926"/>
                    <a:gd name="connsiteX8" fmla="*/ 334249 w 510189"/>
                    <a:gd name="connsiteY8" fmla="*/ 135434 h 454926"/>
                    <a:gd name="connsiteX9" fmla="*/ 445374 w 510189"/>
                    <a:gd name="connsiteY9" fmla="*/ 157659 h 454926"/>
                    <a:gd name="connsiteX10" fmla="*/ 508874 w 510189"/>
                    <a:gd name="connsiteY10" fmla="*/ 227509 h 454926"/>
                    <a:gd name="connsiteX11" fmla="*/ 505699 w 510189"/>
                    <a:gd name="connsiteY11" fmla="*/ 449759 h 454926"/>
                    <a:gd name="connsiteX12" fmla="*/ 4049 w 510189"/>
                    <a:gd name="connsiteY12" fmla="*/ 443409 h 454926"/>
                    <a:gd name="connsiteX0" fmla="*/ 5987 w 512127"/>
                    <a:gd name="connsiteY0" fmla="*/ 443409 h 454926"/>
                    <a:gd name="connsiteX1" fmla="*/ 2812 w 512127"/>
                    <a:gd name="connsiteY1" fmla="*/ 217984 h 454926"/>
                    <a:gd name="connsiteX2" fmla="*/ 72662 w 512127"/>
                    <a:gd name="connsiteY2" fmla="*/ 154484 h 454926"/>
                    <a:gd name="connsiteX3" fmla="*/ 174262 w 512127"/>
                    <a:gd name="connsiteY3" fmla="*/ 148134 h 454926"/>
                    <a:gd name="connsiteX4" fmla="*/ 190137 w 512127"/>
                    <a:gd name="connsiteY4" fmla="*/ 90984 h 454926"/>
                    <a:gd name="connsiteX5" fmla="*/ 202837 w 512127"/>
                    <a:gd name="connsiteY5" fmla="*/ 11609 h 454926"/>
                    <a:gd name="connsiteX6" fmla="*/ 313962 w 512127"/>
                    <a:gd name="connsiteY6" fmla="*/ 8434 h 454926"/>
                    <a:gd name="connsiteX7" fmla="*/ 313962 w 512127"/>
                    <a:gd name="connsiteY7" fmla="*/ 87809 h 454926"/>
                    <a:gd name="connsiteX8" fmla="*/ 336187 w 512127"/>
                    <a:gd name="connsiteY8" fmla="*/ 135434 h 454926"/>
                    <a:gd name="connsiteX9" fmla="*/ 447312 w 512127"/>
                    <a:gd name="connsiteY9" fmla="*/ 157659 h 454926"/>
                    <a:gd name="connsiteX10" fmla="*/ 510812 w 512127"/>
                    <a:gd name="connsiteY10" fmla="*/ 227509 h 454926"/>
                    <a:gd name="connsiteX11" fmla="*/ 507637 w 512127"/>
                    <a:gd name="connsiteY11" fmla="*/ 449759 h 454926"/>
                    <a:gd name="connsiteX12" fmla="*/ 5987 w 512127"/>
                    <a:gd name="connsiteY12" fmla="*/ 443409 h 454926"/>
                    <a:gd name="connsiteX0" fmla="*/ 9762 w 515902"/>
                    <a:gd name="connsiteY0" fmla="*/ 443409 h 454926"/>
                    <a:gd name="connsiteX1" fmla="*/ 6587 w 515902"/>
                    <a:gd name="connsiteY1" fmla="*/ 217984 h 454926"/>
                    <a:gd name="connsiteX2" fmla="*/ 76437 w 515902"/>
                    <a:gd name="connsiteY2" fmla="*/ 154484 h 454926"/>
                    <a:gd name="connsiteX3" fmla="*/ 178037 w 515902"/>
                    <a:gd name="connsiteY3" fmla="*/ 148134 h 454926"/>
                    <a:gd name="connsiteX4" fmla="*/ 193912 w 515902"/>
                    <a:gd name="connsiteY4" fmla="*/ 90984 h 454926"/>
                    <a:gd name="connsiteX5" fmla="*/ 206612 w 515902"/>
                    <a:gd name="connsiteY5" fmla="*/ 11609 h 454926"/>
                    <a:gd name="connsiteX6" fmla="*/ 317737 w 515902"/>
                    <a:gd name="connsiteY6" fmla="*/ 8434 h 454926"/>
                    <a:gd name="connsiteX7" fmla="*/ 317737 w 515902"/>
                    <a:gd name="connsiteY7" fmla="*/ 87809 h 454926"/>
                    <a:gd name="connsiteX8" fmla="*/ 339962 w 515902"/>
                    <a:gd name="connsiteY8" fmla="*/ 135434 h 454926"/>
                    <a:gd name="connsiteX9" fmla="*/ 451087 w 515902"/>
                    <a:gd name="connsiteY9" fmla="*/ 157659 h 454926"/>
                    <a:gd name="connsiteX10" fmla="*/ 514587 w 515902"/>
                    <a:gd name="connsiteY10" fmla="*/ 227509 h 454926"/>
                    <a:gd name="connsiteX11" fmla="*/ 511412 w 515902"/>
                    <a:gd name="connsiteY11" fmla="*/ 449759 h 454926"/>
                    <a:gd name="connsiteX12" fmla="*/ 9762 w 515902"/>
                    <a:gd name="connsiteY12" fmla="*/ 443409 h 454926"/>
                    <a:gd name="connsiteX0" fmla="*/ 9762 w 515902"/>
                    <a:gd name="connsiteY0" fmla="*/ 443409 h 454926"/>
                    <a:gd name="connsiteX1" fmla="*/ 6587 w 515902"/>
                    <a:gd name="connsiteY1" fmla="*/ 217984 h 454926"/>
                    <a:gd name="connsiteX2" fmla="*/ 76437 w 515902"/>
                    <a:gd name="connsiteY2" fmla="*/ 154484 h 454926"/>
                    <a:gd name="connsiteX3" fmla="*/ 178037 w 515902"/>
                    <a:gd name="connsiteY3" fmla="*/ 148134 h 454926"/>
                    <a:gd name="connsiteX4" fmla="*/ 193912 w 515902"/>
                    <a:gd name="connsiteY4" fmla="*/ 90984 h 454926"/>
                    <a:gd name="connsiteX5" fmla="*/ 206612 w 515902"/>
                    <a:gd name="connsiteY5" fmla="*/ 11609 h 454926"/>
                    <a:gd name="connsiteX6" fmla="*/ 317737 w 515902"/>
                    <a:gd name="connsiteY6" fmla="*/ 8434 h 454926"/>
                    <a:gd name="connsiteX7" fmla="*/ 317737 w 515902"/>
                    <a:gd name="connsiteY7" fmla="*/ 87809 h 454926"/>
                    <a:gd name="connsiteX8" fmla="*/ 339962 w 515902"/>
                    <a:gd name="connsiteY8" fmla="*/ 135434 h 454926"/>
                    <a:gd name="connsiteX9" fmla="*/ 451087 w 515902"/>
                    <a:gd name="connsiteY9" fmla="*/ 157659 h 454926"/>
                    <a:gd name="connsiteX10" fmla="*/ 514587 w 515902"/>
                    <a:gd name="connsiteY10" fmla="*/ 227509 h 454926"/>
                    <a:gd name="connsiteX11" fmla="*/ 511412 w 515902"/>
                    <a:gd name="connsiteY11" fmla="*/ 449759 h 454926"/>
                    <a:gd name="connsiteX12" fmla="*/ 9762 w 515902"/>
                    <a:gd name="connsiteY12" fmla="*/ 443409 h 454926"/>
                    <a:gd name="connsiteX0" fmla="*/ 9762 w 515902"/>
                    <a:gd name="connsiteY0" fmla="*/ 443409 h 454926"/>
                    <a:gd name="connsiteX1" fmla="*/ 6587 w 515902"/>
                    <a:gd name="connsiteY1" fmla="*/ 217984 h 454926"/>
                    <a:gd name="connsiteX2" fmla="*/ 76437 w 515902"/>
                    <a:gd name="connsiteY2" fmla="*/ 154484 h 454926"/>
                    <a:gd name="connsiteX3" fmla="*/ 193912 w 515902"/>
                    <a:gd name="connsiteY3" fmla="*/ 90984 h 454926"/>
                    <a:gd name="connsiteX4" fmla="*/ 206612 w 515902"/>
                    <a:gd name="connsiteY4" fmla="*/ 11609 h 454926"/>
                    <a:gd name="connsiteX5" fmla="*/ 317737 w 515902"/>
                    <a:gd name="connsiteY5" fmla="*/ 8434 h 454926"/>
                    <a:gd name="connsiteX6" fmla="*/ 317737 w 515902"/>
                    <a:gd name="connsiteY6" fmla="*/ 87809 h 454926"/>
                    <a:gd name="connsiteX7" fmla="*/ 339962 w 515902"/>
                    <a:gd name="connsiteY7" fmla="*/ 135434 h 454926"/>
                    <a:gd name="connsiteX8" fmla="*/ 451087 w 515902"/>
                    <a:gd name="connsiteY8" fmla="*/ 157659 h 454926"/>
                    <a:gd name="connsiteX9" fmla="*/ 514587 w 515902"/>
                    <a:gd name="connsiteY9" fmla="*/ 227509 h 454926"/>
                    <a:gd name="connsiteX10" fmla="*/ 511412 w 515902"/>
                    <a:gd name="connsiteY10" fmla="*/ 449759 h 454926"/>
                    <a:gd name="connsiteX11" fmla="*/ 9762 w 515902"/>
                    <a:gd name="connsiteY11" fmla="*/ 443409 h 454926"/>
                    <a:gd name="connsiteX0" fmla="*/ 9762 w 515902"/>
                    <a:gd name="connsiteY0" fmla="*/ 446099 h 457616"/>
                    <a:gd name="connsiteX1" fmla="*/ 6587 w 515902"/>
                    <a:gd name="connsiteY1" fmla="*/ 220674 h 457616"/>
                    <a:gd name="connsiteX2" fmla="*/ 76437 w 515902"/>
                    <a:gd name="connsiteY2" fmla="*/ 157174 h 457616"/>
                    <a:gd name="connsiteX3" fmla="*/ 190737 w 515902"/>
                    <a:gd name="connsiteY3" fmla="*/ 138124 h 457616"/>
                    <a:gd name="connsiteX4" fmla="*/ 206612 w 515902"/>
                    <a:gd name="connsiteY4" fmla="*/ 14299 h 457616"/>
                    <a:gd name="connsiteX5" fmla="*/ 317737 w 515902"/>
                    <a:gd name="connsiteY5" fmla="*/ 11124 h 457616"/>
                    <a:gd name="connsiteX6" fmla="*/ 317737 w 515902"/>
                    <a:gd name="connsiteY6" fmla="*/ 90499 h 457616"/>
                    <a:gd name="connsiteX7" fmla="*/ 339962 w 515902"/>
                    <a:gd name="connsiteY7" fmla="*/ 138124 h 457616"/>
                    <a:gd name="connsiteX8" fmla="*/ 451087 w 515902"/>
                    <a:gd name="connsiteY8" fmla="*/ 160349 h 457616"/>
                    <a:gd name="connsiteX9" fmla="*/ 514587 w 515902"/>
                    <a:gd name="connsiteY9" fmla="*/ 230199 h 457616"/>
                    <a:gd name="connsiteX10" fmla="*/ 511412 w 515902"/>
                    <a:gd name="connsiteY10" fmla="*/ 452449 h 457616"/>
                    <a:gd name="connsiteX11" fmla="*/ 9762 w 515902"/>
                    <a:gd name="connsiteY11" fmla="*/ 446099 h 457616"/>
                    <a:gd name="connsiteX0" fmla="*/ 9762 w 515902"/>
                    <a:gd name="connsiteY0" fmla="*/ 446099 h 457616"/>
                    <a:gd name="connsiteX1" fmla="*/ 6587 w 515902"/>
                    <a:gd name="connsiteY1" fmla="*/ 220674 h 457616"/>
                    <a:gd name="connsiteX2" fmla="*/ 76437 w 515902"/>
                    <a:gd name="connsiteY2" fmla="*/ 157174 h 457616"/>
                    <a:gd name="connsiteX3" fmla="*/ 190737 w 515902"/>
                    <a:gd name="connsiteY3" fmla="*/ 138124 h 457616"/>
                    <a:gd name="connsiteX4" fmla="*/ 206612 w 515902"/>
                    <a:gd name="connsiteY4" fmla="*/ 14299 h 457616"/>
                    <a:gd name="connsiteX5" fmla="*/ 317737 w 515902"/>
                    <a:gd name="connsiteY5" fmla="*/ 11124 h 457616"/>
                    <a:gd name="connsiteX6" fmla="*/ 317737 w 515902"/>
                    <a:gd name="connsiteY6" fmla="*/ 90499 h 457616"/>
                    <a:gd name="connsiteX7" fmla="*/ 451087 w 515902"/>
                    <a:gd name="connsiteY7" fmla="*/ 160349 h 457616"/>
                    <a:gd name="connsiteX8" fmla="*/ 514587 w 515902"/>
                    <a:gd name="connsiteY8" fmla="*/ 230199 h 457616"/>
                    <a:gd name="connsiteX9" fmla="*/ 511412 w 515902"/>
                    <a:gd name="connsiteY9" fmla="*/ 452449 h 457616"/>
                    <a:gd name="connsiteX10" fmla="*/ 9762 w 515902"/>
                    <a:gd name="connsiteY10" fmla="*/ 446099 h 457616"/>
                    <a:gd name="connsiteX0" fmla="*/ 9762 w 515902"/>
                    <a:gd name="connsiteY0" fmla="*/ 447482 h 458999"/>
                    <a:gd name="connsiteX1" fmla="*/ 6587 w 515902"/>
                    <a:gd name="connsiteY1" fmla="*/ 222057 h 458999"/>
                    <a:gd name="connsiteX2" fmla="*/ 76437 w 515902"/>
                    <a:gd name="connsiteY2" fmla="*/ 158557 h 458999"/>
                    <a:gd name="connsiteX3" fmla="*/ 190737 w 515902"/>
                    <a:gd name="connsiteY3" fmla="*/ 139507 h 458999"/>
                    <a:gd name="connsiteX4" fmla="*/ 206612 w 515902"/>
                    <a:gd name="connsiteY4" fmla="*/ 15682 h 458999"/>
                    <a:gd name="connsiteX5" fmla="*/ 317737 w 515902"/>
                    <a:gd name="connsiteY5" fmla="*/ 12507 h 458999"/>
                    <a:gd name="connsiteX6" fmla="*/ 330437 w 515902"/>
                    <a:gd name="connsiteY6" fmla="*/ 114107 h 458999"/>
                    <a:gd name="connsiteX7" fmla="*/ 451087 w 515902"/>
                    <a:gd name="connsiteY7" fmla="*/ 161732 h 458999"/>
                    <a:gd name="connsiteX8" fmla="*/ 514587 w 515902"/>
                    <a:gd name="connsiteY8" fmla="*/ 231582 h 458999"/>
                    <a:gd name="connsiteX9" fmla="*/ 511412 w 515902"/>
                    <a:gd name="connsiteY9" fmla="*/ 453832 h 458999"/>
                    <a:gd name="connsiteX10" fmla="*/ 9762 w 515902"/>
                    <a:gd name="connsiteY10" fmla="*/ 447482 h 458999"/>
                    <a:gd name="connsiteX0" fmla="*/ 9762 w 515902"/>
                    <a:gd name="connsiteY0" fmla="*/ 446348 h 457865"/>
                    <a:gd name="connsiteX1" fmla="*/ 6587 w 515902"/>
                    <a:gd name="connsiteY1" fmla="*/ 220923 h 457865"/>
                    <a:gd name="connsiteX2" fmla="*/ 76437 w 515902"/>
                    <a:gd name="connsiteY2" fmla="*/ 157423 h 457865"/>
                    <a:gd name="connsiteX3" fmla="*/ 200262 w 515902"/>
                    <a:gd name="connsiteY3" fmla="*/ 119323 h 457865"/>
                    <a:gd name="connsiteX4" fmla="*/ 206612 w 515902"/>
                    <a:gd name="connsiteY4" fmla="*/ 14548 h 457865"/>
                    <a:gd name="connsiteX5" fmla="*/ 317737 w 515902"/>
                    <a:gd name="connsiteY5" fmla="*/ 11373 h 457865"/>
                    <a:gd name="connsiteX6" fmla="*/ 330437 w 515902"/>
                    <a:gd name="connsiteY6" fmla="*/ 112973 h 457865"/>
                    <a:gd name="connsiteX7" fmla="*/ 451087 w 515902"/>
                    <a:gd name="connsiteY7" fmla="*/ 160598 h 457865"/>
                    <a:gd name="connsiteX8" fmla="*/ 514587 w 515902"/>
                    <a:gd name="connsiteY8" fmla="*/ 230448 h 457865"/>
                    <a:gd name="connsiteX9" fmla="*/ 511412 w 515902"/>
                    <a:gd name="connsiteY9" fmla="*/ 452698 h 457865"/>
                    <a:gd name="connsiteX10" fmla="*/ 9762 w 515902"/>
                    <a:gd name="connsiteY10" fmla="*/ 446348 h 457865"/>
                    <a:gd name="connsiteX0" fmla="*/ 8840 w 514980"/>
                    <a:gd name="connsiteY0" fmla="*/ 446348 h 457865"/>
                    <a:gd name="connsiteX1" fmla="*/ 5665 w 514980"/>
                    <a:gd name="connsiteY1" fmla="*/ 220923 h 457865"/>
                    <a:gd name="connsiteX2" fmla="*/ 62412 w 514980"/>
                    <a:gd name="connsiteY2" fmla="*/ 133367 h 457865"/>
                    <a:gd name="connsiteX3" fmla="*/ 199340 w 514980"/>
                    <a:gd name="connsiteY3" fmla="*/ 119323 h 457865"/>
                    <a:gd name="connsiteX4" fmla="*/ 205690 w 514980"/>
                    <a:gd name="connsiteY4" fmla="*/ 14548 h 457865"/>
                    <a:gd name="connsiteX5" fmla="*/ 316815 w 514980"/>
                    <a:gd name="connsiteY5" fmla="*/ 11373 h 457865"/>
                    <a:gd name="connsiteX6" fmla="*/ 329515 w 514980"/>
                    <a:gd name="connsiteY6" fmla="*/ 112973 h 457865"/>
                    <a:gd name="connsiteX7" fmla="*/ 450165 w 514980"/>
                    <a:gd name="connsiteY7" fmla="*/ 160598 h 457865"/>
                    <a:gd name="connsiteX8" fmla="*/ 513665 w 514980"/>
                    <a:gd name="connsiteY8" fmla="*/ 230448 h 457865"/>
                    <a:gd name="connsiteX9" fmla="*/ 510490 w 514980"/>
                    <a:gd name="connsiteY9" fmla="*/ 452698 h 457865"/>
                    <a:gd name="connsiteX10" fmla="*/ 8840 w 514980"/>
                    <a:gd name="connsiteY10" fmla="*/ 446348 h 457865"/>
                    <a:gd name="connsiteX0" fmla="*/ 8840 w 514980"/>
                    <a:gd name="connsiteY0" fmla="*/ 445015 h 456532"/>
                    <a:gd name="connsiteX1" fmla="*/ 5665 w 514980"/>
                    <a:gd name="connsiteY1" fmla="*/ 219590 h 456532"/>
                    <a:gd name="connsiteX2" fmla="*/ 62412 w 514980"/>
                    <a:gd name="connsiteY2" fmla="*/ 132034 h 456532"/>
                    <a:gd name="connsiteX3" fmla="*/ 186237 w 514980"/>
                    <a:gd name="connsiteY3" fmla="*/ 93934 h 456532"/>
                    <a:gd name="connsiteX4" fmla="*/ 205690 w 514980"/>
                    <a:gd name="connsiteY4" fmla="*/ 13215 h 456532"/>
                    <a:gd name="connsiteX5" fmla="*/ 316815 w 514980"/>
                    <a:gd name="connsiteY5" fmla="*/ 10040 h 456532"/>
                    <a:gd name="connsiteX6" fmla="*/ 329515 w 514980"/>
                    <a:gd name="connsiteY6" fmla="*/ 111640 h 456532"/>
                    <a:gd name="connsiteX7" fmla="*/ 450165 w 514980"/>
                    <a:gd name="connsiteY7" fmla="*/ 159265 h 456532"/>
                    <a:gd name="connsiteX8" fmla="*/ 513665 w 514980"/>
                    <a:gd name="connsiteY8" fmla="*/ 229115 h 456532"/>
                    <a:gd name="connsiteX9" fmla="*/ 510490 w 514980"/>
                    <a:gd name="connsiteY9" fmla="*/ 451365 h 456532"/>
                    <a:gd name="connsiteX10" fmla="*/ 8840 w 514980"/>
                    <a:gd name="connsiteY10" fmla="*/ 445015 h 456532"/>
                    <a:gd name="connsiteX0" fmla="*/ 8840 w 514980"/>
                    <a:gd name="connsiteY0" fmla="*/ 445015 h 456532"/>
                    <a:gd name="connsiteX1" fmla="*/ 5665 w 514980"/>
                    <a:gd name="connsiteY1" fmla="*/ 219590 h 456532"/>
                    <a:gd name="connsiteX2" fmla="*/ 62412 w 514980"/>
                    <a:gd name="connsiteY2" fmla="*/ 132034 h 456532"/>
                    <a:gd name="connsiteX3" fmla="*/ 186237 w 514980"/>
                    <a:gd name="connsiteY3" fmla="*/ 93934 h 456532"/>
                    <a:gd name="connsiteX4" fmla="*/ 205690 w 514980"/>
                    <a:gd name="connsiteY4" fmla="*/ 13215 h 456532"/>
                    <a:gd name="connsiteX5" fmla="*/ 316815 w 514980"/>
                    <a:gd name="connsiteY5" fmla="*/ 10040 h 456532"/>
                    <a:gd name="connsiteX6" fmla="*/ 329515 w 514980"/>
                    <a:gd name="connsiteY6" fmla="*/ 111640 h 456532"/>
                    <a:gd name="connsiteX7" fmla="*/ 461084 w 514980"/>
                    <a:gd name="connsiteY7" fmla="*/ 146143 h 456532"/>
                    <a:gd name="connsiteX8" fmla="*/ 513665 w 514980"/>
                    <a:gd name="connsiteY8" fmla="*/ 229115 h 456532"/>
                    <a:gd name="connsiteX9" fmla="*/ 510490 w 514980"/>
                    <a:gd name="connsiteY9" fmla="*/ 451365 h 456532"/>
                    <a:gd name="connsiteX10" fmla="*/ 8840 w 514980"/>
                    <a:gd name="connsiteY10" fmla="*/ 445015 h 456532"/>
                    <a:gd name="connsiteX0" fmla="*/ 8840 w 514980"/>
                    <a:gd name="connsiteY0" fmla="*/ 444105 h 455622"/>
                    <a:gd name="connsiteX1" fmla="*/ 5665 w 514980"/>
                    <a:gd name="connsiteY1" fmla="*/ 218680 h 455622"/>
                    <a:gd name="connsiteX2" fmla="*/ 62412 w 514980"/>
                    <a:gd name="connsiteY2" fmla="*/ 131124 h 455622"/>
                    <a:gd name="connsiteX3" fmla="*/ 186237 w 514980"/>
                    <a:gd name="connsiteY3" fmla="*/ 93024 h 455622"/>
                    <a:gd name="connsiteX4" fmla="*/ 205690 w 514980"/>
                    <a:gd name="connsiteY4" fmla="*/ 12305 h 455622"/>
                    <a:gd name="connsiteX5" fmla="*/ 316815 w 514980"/>
                    <a:gd name="connsiteY5" fmla="*/ 9130 h 455622"/>
                    <a:gd name="connsiteX6" fmla="*/ 351353 w 514980"/>
                    <a:gd name="connsiteY6" fmla="*/ 97608 h 455622"/>
                    <a:gd name="connsiteX7" fmla="*/ 461084 w 514980"/>
                    <a:gd name="connsiteY7" fmla="*/ 145233 h 455622"/>
                    <a:gd name="connsiteX8" fmla="*/ 513665 w 514980"/>
                    <a:gd name="connsiteY8" fmla="*/ 228205 h 455622"/>
                    <a:gd name="connsiteX9" fmla="*/ 510490 w 514980"/>
                    <a:gd name="connsiteY9" fmla="*/ 450455 h 455622"/>
                    <a:gd name="connsiteX10" fmla="*/ 8840 w 514980"/>
                    <a:gd name="connsiteY10" fmla="*/ 444105 h 455622"/>
                    <a:gd name="connsiteX0" fmla="*/ 8840 w 514980"/>
                    <a:gd name="connsiteY0" fmla="*/ 442755 h 454272"/>
                    <a:gd name="connsiteX1" fmla="*/ 5665 w 514980"/>
                    <a:gd name="connsiteY1" fmla="*/ 217330 h 454272"/>
                    <a:gd name="connsiteX2" fmla="*/ 62412 w 514980"/>
                    <a:gd name="connsiteY2" fmla="*/ 129774 h 454272"/>
                    <a:gd name="connsiteX3" fmla="*/ 186237 w 514980"/>
                    <a:gd name="connsiteY3" fmla="*/ 91674 h 454272"/>
                    <a:gd name="connsiteX4" fmla="*/ 205690 w 514980"/>
                    <a:gd name="connsiteY4" fmla="*/ 10955 h 454272"/>
                    <a:gd name="connsiteX5" fmla="*/ 325550 w 514980"/>
                    <a:gd name="connsiteY5" fmla="*/ 9967 h 454272"/>
                    <a:gd name="connsiteX6" fmla="*/ 351353 w 514980"/>
                    <a:gd name="connsiteY6" fmla="*/ 96258 h 454272"/>
                    <a:gd name="connsiteX7" fmla="*/ 461084 w 514980"/>
                    <a:gd name="connsiteY7" fmla="*/ 143883 h 454272"/>
                    <a:gd name="connsiteX8" fmla="*/ 513665 w 514980"/>
                    <a:gd name="connsiteY8" fmla="*/ 226855 h 454272"/>
                    <a:gd name="connsiteX9" fmla="*/ 510490 w 514980"/>
                    <a:gd name="connsiteY9" fmla="*/ 449105 h 454272"/>
                    <a:gd name="connsiteX10" fmla="*/ 8840 w 514980"/>
                    <a:gd name="connsiteY10" fmla="*/ 442755 h 454272"/>
                    <a:gd name="connsiteX0" fmla="*/ 8840 w 514980"/>
                    <a:gd name="connsiteY0" fmla="*/ 442755 h 454272"/>
                    <a:gd name="connsiteX1" fmla="*/ 5665 w 514980"/>
                    <a:gd name="connsiteY1" fmla="*/ 217330 h 454272"/>
                    <a:gd name="connsiteX2" fmla="*/ 62412 w 514980"/>
                    <a:gd name="connsiteY2" fmla="*/ 129774 h 454272"/>
                    <a:gd name="connsiteX3" fmla="*/ 186237 w 514980"/>
                    <a:gd name="connsiteY3" fmla="*/ 91674 h 454272"/>
                    <a:gd name="connsiteX4" fmla="*/ 205690 w 514980"/>
                    <a:gd name="connsiteY4" fmla="*/ 10955 h 454272"/>
                    <a:gd name="connsiteX5" fmla="*/ 325550 w 514980"/>
                    <a:gd name="connsiteY5" fmla="*/ 9967 h 454272"/>
                    <a:gd name="connsiteX6" fmla="*/ 351353 w 514980"/>
                    <a:gd name="connsiteY6" fmla="*/ 96258 h 454272"/>
                    <a:gd name="connsiteX7" fmla="*/ 461084 w 514980"/>
                    <a:gd name="connsiteY7" fmla="*/ 143883 h 454272"/>
                    <a:gd name="connsiteX8" fmla="*/ 513665 w 514980"/>
                    <a:gd name="connsiteY8" fmla="*/ 226855 h 454272"/>
                    <a:gd name="connsiteX9" fmla="*/ 510490 w 514980"/>
                    <a:gd name="connsiteY9" fmla="*/ 449105 h 454272"/>
                    <a:gd name="connsiteX10" fmla="*/ 8840 w 514980"/>
                    <a:gd name="connsiteY10" fmla="*/ 442755 h 454272"/>
                    <a:gd name="connsiteX0" fmla="*/ 8840 w 514980"/>
                    <a:gd name="connsiteY0" fmla="*/ 442755 h 454272"/>
                    <a:gd name="connsiteX1" fmla="*/ 5665 w 514980"/>
                    <a:gd name="connsiteY1" fmla="*/ 217330 h 454272"/>
                    <a:gd name="connsiteX2" fmla="*/ 62412 w 514980"/>
                    <a:gd name="connsiteY2" fmla="*/ 129774 h 454272"/>
                    <a:gd name="connsiteX3" fmla="*/ 186237 w 514980"/>
                    <a:gd name="connsiteY3" fmla="*/ 91674 h 454272"/>
                    <a:gd name="connsiteX4" fmla="*/ 205690 w 514980"/>
                    <a:gd name="connsiteY4" fmla="*/ 10955 h 454272"/>
                    <a:gd name="connsiteX5" fmla="*/ 325550 w 514980"/>
                    <a:gd name="connsiteY5" fmla="*/ 9967 h 454272"/>
                    <a:gd name="connsiteX6" fmla="*/ 351353 w 514980"/>
                    <a:gd name="connsiteY6" fmla="*/ 96258 h 454272"/>
                    <a:gd name="connsiteX7" fmla="*/ 461084 w 514980"/>
                    <a:gd name="connsiteY7" fmla="*/ 143883 h 454272"/>
                    <a:gd name="connsiteX8" fmla="*/ 513665 w 514980"/>
                    <a:gd name="connsiteY8" fmla="*/ 226855 h 454272"/>
                    <a:gd name="connsiteX9" fmla="*/ 510490 w 514980"/>
                    <a:gd name="connsiteY9" fmla="*/ 449105 h 454272"/>
                    <a:gd name="connsiteX10" fmla="*/ 8840 w 514980"/>
                    <a:gd name="connsiteY10" fmla="*/ 442755 h 454272"/>
                    <a:gd name="connsiteX0" fmla="*/ 8840 w 514980"/>
                    <a:gd name="connsiteY0" fmla="*/ 442755 h 454272"/>
                    <a:gd name="connsiteX1" fmla="*/ 5665 w 514980"/>
                    <a:gd name="connsiteY1" fmla="*/ 217330 h 454272"/>
                    <a:gd name="connsiteX2" fmla="*/ 62412 w 514980"/>
                    <a:gd name="connsiteY2" fmla="*/ 129774 h 454272"/>
                    <a:gd name="connsiteX3" fmla="*/ 186237 w 514980"/>
                    <a:gd name="connsiteY3" fmla="*/ 91674 h 454272"/>
                    <a:gd name="connsiteX4" fmla="*/ 205690 w 514980"/>
                    <a:gd name="connsiteY4" fmla="*/ 10955 h 454272"/>
                    <a:gd name="connsiteX5" fmla="*/ 325550 w 514980"/>
                    <a:gd name="connsiteY5" fmla="*/ 9967 h 454272"/>
                    <a:gd name="connsiteX6" fmla="*/ 351353 w 514980"/>
                    <a:gd name="connsiteY6" fmla="*/ 96258 h 454272"/>
                    <a:gd name="connsiteX7" fmla="*/ 461084 w 514980"/>
                    <a:gd name="connsiteY7" fmla="*/ 143883 h 454272"/>
                    <a:gd name="connsiteX8" fmla="*/ 513665 w 514980"/>
                    <a:gd name="connsiteY8" fmla="*/ 226855 h 454272"/>
                    <a:gd name="connsiteX9" fmla="*/ 510490 w 514980"/>
                    <a:gd name="connsiteY9" fmla="*/ 449105 h 454272"/>
                    <a:gd name="connsiteX10" fmla="*/ 8840 w 514980"/>
                    <a:gd name="connsiteY10" fmla="*/ 442755 h 454272"/>
                    <a:gd name="connsiteX0" fmla="*/ 8840 w 514980"/>
                    <a:gd name="connsiteY0" fmla="*/ 436996 h 448513"/>
                    <a:gd name="connsiteX1" fmla="*/ 5665 w 514980"/>
                    <a:gd name="connsiteY1" fmla="*/ 211571 h 448513"/>
                    <a:gd name="connsiteX2" fmla="*/ 62412 w 514980"/>
                    <a:gd name="connsiteY2" fmla="*/ 124015 h 448513"/>
                    <a:gd name="connsiteX3" fmla="*/ 186237 w 514980"/>
                    <a:gd name="connsiteY3" fmla="*/ 85915 h 448513"/>
                    <a:gd name="connsiteX4" fmla="*/ 205690 w 514980"/>
                    <a:gd name="connsiteY4" fmla="*/ 5196 h 448513"/>
                    <a:gd name="connsiteX5" fmla="*/ 325550 w 514980"/>
                    <a:gd name="connsiteY5" fmla="*/ 4208 h 448513"/>
                    <a:gd name="connsiteX6" fmla="*/ 351353 w 514980"/>
                    <a:gd name="connsiteY6" fmla="*/ 90499 h 448513"/>
                    <a:gd name="connsiteX7" fmla="*/ 461084 w 514980"/>
                    <a:gd name="connsiteY7" fmla="*/ 138124 h 448513"/>
                    <a:gd name="connsiteX8" fmla="*/ 513665 w 514980"/>
                    <a:gd name="connsiteY8" fmla="*/ 221096 h 448513"/>
                    <a:gd name="connsiteX9" fmla="*/ 510490 w 514980"/>
                    <a:gd name="connsiteY9" fmla="*/ 443346 h 448513"/>
                    <a:gd name="connsiteX10" fmla="*/ 8840 w 514980"/>
                    <a:gd name="connsiteY10" fmla="*/ 436996 h 448513"/>
                    <a:gd name="connsiteX0" fmla="*/ 8840 w 514980"/>
                    <a:gd name="connsiteY0" fmla="*/ 436996 h 448513"/>
                    <a:gd name="connsiteX1" fmla="*/ 5665 w 514980"/>
                    <a:gd name="connsiteY1" fmla="*/ 211571 h 448513"/>
                    <a:gd name="connsiteX2" fmla="*/ 62412 w 514980"/>
                    <a:gd name="connsiteY2" fmla="*/ 124015 h 448513"/>
                    <a:gd name="connsiteX3" fmla="*/ 186237 w 514980"/>
                    <a:gd name="connsiteY3" fmla="*/ 85915 h 448513"/>
                    <a:gd name="connsiteX4" fmla="*/ 205690 w 514980"/>
                    <a:gd name="connsiteY4" fmla="*/ 5196 h 448513"/>
                    <a:gd name="connsiteX5" fmla="*/ 325550 w 514980"/>
                    <a:gd name="connsiteY5" fmla="*/ 4208 h 448513"/>
                    <a:gd name="connsiteX6" fmla="*/ 351353 w 514980"/>
                    <a:gd name="connsiteY6" fmla="*/ 90499 h 448513"/>
                    <a:gd name="connsiteX7" fmla="*/ 461084 w 514980"/>
                    <a:gd name="connsiteY7" fmla="*/ 138124 h 448513"/>
                    <a:gd name="connsiteX8" fmla="*/ 513665 w 514980"/>
                    <a:gd name="connsiteY8" fmla="*/ 221096 h 448513"/>
                    <a:gd name="connsiteX9" fmla="*/ 510490 w 514980"/>
                    <a:gd name="connsiteY9" fmla="*/ 443346 h 448513"/>
                    <a:gd name="connsiteX10" fmla="*/ 8840 w 514980"/>
                    <a:gd name="connsiteY10" fmla="*/ 436996 h 448513"/>
                    <a:gd name="connsiteX0" fmla="*/ 8840 w 514980"/>
                    <a:gd name="connsiteY0" fmla="*/ 436996 h 448513"/>
                    <a:gd name="connsiteX1" fmla="*/ 5665 w 514980"/>
                    <a:gd name="connsiteY1" fmla="*/ 211571 h 448513"/>
                    <a:gd name="connsiteX2" fmla="*/ 62412 w 514980"/>
                    <a:gd name="connsiteY2" fmla="*/ 124015 h 448513"/>
                    <a:gd name="connsiteX3" fmla="*/ 186237 w 514980"/>
                    <a:gd name="connsiteY3" fmla="*/ 85915 h 448513"/>
                    <a:gd name="connsiteX4" fmla="*/ 205690 w 514980"/>
                    <a:gd name="connsiteY4" fmla="*/ 5196 h 448513"/>
                    <a:gd name="connsiteX5" fmla="*/ 325550 w 514980"/>
                    <a:gd name="connsiteY5" fmla="*/ 4208 h 448513"/>
                    <a:gd name="connsiteX6" fmla="*/ 351353 w 514980"/>
                    <a:gd name="connsiteY6" fmla="*/ 90499 h 448513"/>
                    <a:gd name="connsiteX7" fmla="*/ 461084 w 514980"/>
                    <a:gd name="connsiteY7" fmla="*/ 138124 h 448513"/>
                    <a:gd name="connsiteX8" fmla="*/ 513665 w 514980"/>
                    <a:gd name="connsiteY8" fmla="*/ 221096 h 448513"/>
                    <a:gd name="connsiteX9" fmla="*/ 510490 w 514980"/>
                    <a:gd name="connsiteY9" fmla="*/ 443346 h 448513"/>
                    <a:gd name="connsiteX10" fmla="*/ 8840 w 514980"/>
                    <a:gd name="connsiteY10" fmla="*/ 436996 h 448513"/>
                    <a:gd name="connsiteX0" fmla="*/ 8840 w 514980"/>
                    <a:gd name="connsiteY0" fmla="*/ 436996 h 448513"/>
                    <a:gd name="connsiteX1" fmla="*/ 5665 w 514980"/>
                    <a:gd name="connsiteY1" fmla="*/ 211571 h 448513"/>
                    <a:gd name="connsiteX2" fmla="*/ 62412 w 514980"/>
                    <a:gd name="connsiteY2" fmla="*/ 124015 h 448513"/>
                    <a:gd name="connsiteX3" fmla="*/ 168766 w 514980"/>
                    <a:gd name="connsiteY3" fmla="*/ 88102 h 448513"/>
                    <a:gd name="connsiteX4" fmla="*/ 205690 w 514980"/>
                    <a:gd name="connsiteY4" fmla="*/ 5196 h 448513"/>
                    <a:gd name="connsiteX5" fmla="*/ 325550 w 514980"/>
                    <a:gd name="connsiteY5" fmla="*/ 4208 h 448513"/>
                    <a:gd name="connsiteX6" fmla="*/ 351353 w 514980"/>
                    <a:gd name="connsiteY6" fmla="*/ 90499 h 448513"/>
                    <a:gd name="connsiteX7" fmla="*/ 461084 w 514980"/>
                    <a:gd name="connsiteY7" fmla="*/ 138124 h 448513"/>
                    <a:gd name="connsiteX8" fmla="*/ 513665 w 514980"/>
                    <a:gd name="connsiteY8" fmla="*/ 221096 h 448513"/>
                    <a:gd name="connsiteX9" fmla="*/ 510490 w 514980"/>
                    <a:gd name="connsiteY9" fmla="*/ 443346 h 448513"/>
                    <a:gd name="connsiteX10" fmla="*/ 8840 w 514980"/>
                    <a:gd name="connsiteY10" fmla="*/ 436996 h 448513"/>
                    <a:gd name="connsiteX0" fmla="*/ 8840 w 514980"/>
                    <a:gd name="connsiteY0" fmla="*/ 440628 h 452145"/>
                    <a:gd name="connsiteX1" fmla="*/ 5665 w 514980"/>
                    <a:gd name="connsiteY1" fmla="*/ 215203 h 452145"/>
                    <a:gd name="connsiteX2" fmla="*/ 62412 w 514980"/>
                    <a:gd name="connsiteY2" fmla="*/ 127647 h 452145"/>
                    <a:gd name="connsiteX3" fmla="*/ 168766 w 514980"/>
                    <a:gd name="connsiteY3" fmla="*/ 91734 h 452145"/>
                    <a:gd name="connsiteX4" fmla="*/ 179484 w 514980"/>
                    <a:gd name="connsiteY4" fmla="*/ 4454 h 452145"/>
                    <a:gd name="connsiteX5" fmla="*/ 325550 w 514980"/>
                    <a:gd name="connsiteY5" fmla="*/ 7840 h 452145"/>
                    <a:gd name="connsiteX6" fmla="*/ 351353 w 514980"/>
                    <a:gd name="connsiteY6" fmla="*/ 94131 h 452145"/>
                    <a:gd name="connsiteX7" fmla="*/ 461084 w 514980"/>
                    <a:gd name="connsiteY7" fmla="*/ 141756 h 452145"/>
                    <a:gd name="connsiteX8" fmla="*/ 513665 w 514980"/>
                    <a:gd name="connsiteY8" fmla="*/ 224728 h 452145"/>
                    <a:gd name="connsiteX9" fmla="*/ 510490 w 514980"/>
                    <a:gd name="connsiteY9" fmla="*/ 446978 h 452145"/>
                    <a:gd name="connsiteX10" fmla="*/ 8840 w 514980"/>
                    <a:gd name="connsiteY10" fmla="*/ 440628 h 452145"/>
                    <a:gd name="connsiteX0" fmla="*/ 8840 w 514980"/>
                    <a:gd name="connsiteY0" fmla="*/ 442422 h 453939"/>
                    <a:gd name="connsiteX1" fmla="*/ 5665 w 514980"/>
                    <a:gd name="connsiteY1" fmla="*/ 216997 h 453939"/>
                    <a:gd name="connsiteX2" fmla="*/ 62412 w 514980"/>
                    <a:gd name="connsiteY2" fmla="*/ 129441 h 453939"/>
                    <a:gd name="connsiteX3" fmla="*/ 168766 w 514980"/>
                    <a:gd name="connsiteY3" fmla="*/ 93528 h 453939"/>
                    <a:gd name="connsiteX4" fmla="*/ 179484 w 514980"/>
                    <a:gd name="connsiteY4" fmla="*/ 6248 h 453939"/>
                    <a:gd name="connsiteX5" fmla="*/ 351756 w 514980"/>
                    <a:gd name="connsiteY5" fmla="*/ 886 h 453939"/>
                    <a:gd name="connsiteX6" fmla="*/ 351353 w 514980"/>
                    <a:gd name="connsiteY6" fmla="*/ 95925 h 453939"/>
                    <a:gd name="connsiteX7" fmla="*/ 461084 w 514980"/>
                    <a:gd name="connsiteY7" fmla="*/ 143550 h 453939"/>
                    <a:gd name="connsiteX8" fmla="*/ 513665 w 514980"/>
                    <a:gd name="connsiteY8" fmla="*/ 226522 h 453939"/>
                    <a:gd name="connsiteX9" fmla="*/ 510490 w 514980"/>
                    <a:gd name="connsiteY9" fmla="*/ 448772 h 453939"/>
                    <a:gd name="connsiteX10" fmla="*/ 8840 w 514980"/>
                    <a:gd name="connsiteY10" fmla="*/ 442422 h 453939"/>
                    <a:gd name="connsiteX0" fmla="*/ 8840 w 514980"/>
                    <a:gd name="connsiteY0" fmla="*/ 442422 h 453939"/>
                    <a:gd name="connsiteX1" fmla="*/ 5665 w 514980"/>
                    <a:gd name="connsiteY1" fmla="*/ 216997 h 453939"/>
                    <a:gd name="connsiteX2" fmla="*/ 62412 w 514980"/>
                    <a:gd name="connsiteY2" fmla="*/ 129441 h 453939"/>
                    <a:gd name="connsiteX3" fmla="*/ 168766 w 514980"/>
                    <a:gd name="connsiteY3" fmla="*/ 93528 h 453939"/>
                    <a:gd name="connsiteX4" fmla="*/ 179484 w 514980"/>
                    <a:gd name="connsiteY4" fmla="*/ 6248 h 453939"/>
                    <a:gd name="connsiteX5" fmla="*/ 351756 w 514980"/>
                    <a:gd name="connsiteY5" fmla="*/ 886 h 453939"/>
                    <a:gd name="connsiteX6" fmla="*/ 366640 w 514980"/>
                    <a:gd name="connsiteY6" fmla="*/ 100299 h 453939"/>
                    <a:gd name="connsiteX7" fmla="*/ 461084 w 514980"/>
                    <a:gd name="connsiteY7" fmla="*/ 143550 h 453939"/>
                    <a:gd name="connsiteX8" fmla="*/ 513665 w 514980"/>
                    <a:gd name="connsiteY8" fmla="*/ 226522 h 453939"/>
                    <a:gd name="connsiteX9" fmla="*/ 510490 w 514980"/>
                    <a:gd name="connsiteY9" fmla="*/ 448772 h 453939"/>
                    <a:gd name="connsiteX10" fmla="*/ 8840 w 514980"/>
                    <a:gd name="connsiteY10" fmla="*/ 442422 h 453939"/>
                    <a:gd name="connsiteX0" fmla="*/ 8840 w 514980"/>
                    <a:gd name="connsiteY0" fmla="*/ 442422 h 450476"/>
                    <a:gd name="connsiteX1" fmla="*/ 5665 w 514980"/>
                    <a:gd name="connsiteY1" fmla="*/ 216997 h 450476"/>
                    <a:gd name="connsiteX2" fmla="*/ 62412 w 514980"/>
                    <a:gd name="connsiteY2" fmla="*/ 129441 h 450476"/>
                    <a:gd name="connsiteX3" fmla="*/ 168766 w 514980"/>
                    <a:gd name="connsiteY3" fmla="*/ 93528 h 450476"/>
                    <a:gd name="connsiteX4" fmla="*/ 179484 w 514980"/>
                    <a:gd name="connsiteY4" fmla="*/ 6248 h 450476"/>
                    <a:gd name="connsiteX5" fmla="*/ 351756 w 514980"/>
                    <a:gd name="connsiteY5" fmla="*/ 886 h 450476"/>
                    <a:gd name="connsiteX6" fmla="*/ 366640 w 514980"/>
                    <a:gd name="connsiteY6" fmla="*/ 100299 h 450476"/>
                    <a:gd name="connsiteX7" fmla="*/ 461084 w 514980"/>
                    <a:gd name="connsiteY7" fmla="*/ 143550 h 450476"/>
                    <a:gd name="connsiteX8" fmla="*/ 513665 w 514980"/>
                    <a:gd name="connsiteY8" fmla="*/ 226522 h 450476"/>
                    <a:gd name="connsiteX9" fmla="*/ 510490 w 514980"/>
                    <a:gd name="connsiteY9" fmla="*/ 448772 h 450476"/>
                    <a:gd name="connsiteX10" fmla="*/ 8840 w 514980"/>
                    <a:gd name="connsiteY10" fmla="*/ 442422 h 450476"/>
                    <a:gd name="connsiteX0" fmla="*/ 8840 w 514980"/>
                    <a:gd name="connsiteY0" fmla="*/ 442422 h 448772"/>
                    <a:gd name="connsiteX1" fmla="*/ 5665 w 514980"/>
                    <a:gd name="connsiteY1" fmla="*/ 216997 h 448772"/>
                    <a:gd name="connsiteX2" fmla="*/ 62412 w 514980"/>
                    <a:gd name="connsiteY2" fmla="*/ 129441 h 448772"/>
                    <a:gd name="connsiteX3" fmla="*/ 168766 w 514980"/>
                    <a:gd name="connsiteY3" fmla="*/ 93528 h 448772"/>
                    <a:gd name="connsiteX4" fmla="*/ 179484 w 514980"/>
                    <a:gd name="connsiteY4" fmla="*/ 6248 h 448772"/>
                    <a:gd name="connsiteX5" fmla="*/ 351756 w 514980"/>
                    <a:gd name="connsiteY5" fmla="*/ 886 h 448772"/>
                    <a:gd name="connsiteX6" fmla="*/ 366640 w 514980"/>
                    <a:gd name="connsiteY6" fmla="*/ 100299 h 448772"/>
                    <a:gd name="connsiteX7" fmla="*/ 461084 w 514980"/>
                    <a:gd name="connsiteY7" fmla="*/ 143550 h 448772"/>
                    <a:gd name="connsiteX8" fmla="*/ 513665 w 514980"/>
                    <a:gd name="connsiteY8" fmla="*/ 226522 h 448772"/>
                    <a:gd name="connsiteX9" fmla="*/ 510490 w 514980"/>
                    <a:gd name="connsiteY9" fmla="*/ 448772 h 448772"/>
                    <a:gd name="connsiteX10" fmla="*/ 8840 w 514980"/>
                    <a:gd name="connsiteY10" fmla="*/ 442422 h 448772"/>
                    <a:gd name="connsiteX0" fmla="*/ 8840 w 514980"/>
                    <a:gd name="connsiteY0" fmla="*/ 442422 h 448772"/>
                    <a:gd name="connsiteX1" fmla="*/ 5665 w 514980"/>
                    <a:gd name="connsiteY1" fmla="*/ 216997 h 448772"/>
                    <a:gd name="connsiteX2" fmla="*/ 62412 w 514980"/>
                    <a:gd name="connsiteY2" fmla="*/ 129441 h 448772"/>
                    <a:gd name="connsiteX3" fmla="*/ 168766 w 514980"/>
                    <a:gd name="connsiteY3" fmla="*/ 93528 h 448772"/>
                    <a:gd name="connsiteX4" fmla="*/ 179484 w 514980"/>
                    <a:gd name="connsiteY4" fmla="*/ 6248 h 448772"/>
                    <a:gd name="connsiteX5" fmla="*/ 351756 w 514980"/>
                    <a:gd name="connsiteY5" fmla="*/ 886 h 448772"/>
                    <a:gd name="connsiteX6" fmla="*/ 357905 w 514980"/>
                    <a:gd name="connsiteY6" fmla="*/ 98112 h 448772"/>
                    <a:gd name="connsiteX7" fmla="*/ 461084 w 514980"/>
                    <a:gd name="connsiteY7" fmla="*/ 143550 h 448772"/>
                    <a:gd name="connsiteX8" fmla="*/ 513665 w 514980"/>
                    <a:gd name="connsiteY8" fmla="*/ 226522 h 448772"/>
                    <a:gd name="connsiteX9" fmla="*/ 510490 w 514980"/>
                    <a:gd name="connsiteY9" fmla="*/ 448772 h 448772"/>
                    <a:gd name="connsiteX10" fmla="*/ 8840 w 514980"/>
                    <a:gd name="connsiteY10" fmla="*/ 442422 h 448772"/>
                    <a:gd name="connsiteX0" fmla="*/ 8840 w 514980"/>
                    <a:gd name="connsiteY0" fmla="*/ 442422 h 448772"/>
                    <a:gd name="connsiteX1" fmla="*/ 5665 w 514980"/>
                    <a:gd name="connsiteY1" fmla="*/ 216997 h 448772"/>
                    <a:gd name="connsiteX2" fmla="*/ 62412 w 514980"/>
                    <a:gd name="connsiteY2" fmla="*/ 129441 h 448772"/>
                    <a:gd name="connsiteX3" fmla="*/ 168766 w 514980"/>
                    <a:gd name="connsiteY3" fmla="*/ 93528 h 448772"/>
                    <a:gd name="connsiteX4" fmla="*/ 179484 w 514980"/>
                    <a:gd name="connsiteY4" fmla="*/ 6248 h 448772"/>
                    <a:gd name="connsiteX5" fmla="*/ 351756 w 514980"/>
                    <a:gd name="connsiteY5" fmla="*/ 886 h 448772"/>
                    <a:gd name="connsiteX6" fmla="*/ 357905 w 514980"/>
                    <a:gd name="connsiteY6" fmla="*/ 98112 h 448772"/>
                    <a:gd name="connsiteX7" fmla="*/ 454533 w 514980"/>
                    <a:gd name="connsiteY7" fmla="*/ 136989 h 448772"/>
                    <a:gd name="connsiteX8" fmla="*/ 513665 w 514980"/>
                    <a:gd name="connsiteY8" fmla="*/ 226522 h 448772"/>
                    <a:gd name="connsiteX9" fmla="*/ 510490 w 514980"/>
                    <a:gd name="connsiteY9" fmla="*/ 448772 h 448772"/>
                    <a:gd name="connsiteX10" fmla="*/ 8840 w 514980"/>
                    <a:gd name="connsiteY10" fmla="*/ 442422 h 448772"/>
                    <a:gd name="connsiteX0" fmla="*/ 8840 w 514980"/>
                    <a:gd name="connsiteY0" fmla="*/ 442422 h 448772"/>
                    <a:gd name="connsiteX1" fmla="*/ 5665 w 514980"/>
                    <a:gd name="connsiteY1" fmla="*/ 216997 h 448772"/>
                    <a:gd name="connsiteX2" fmla="*/ 62412 w 514980"/>
                    <a:gd name="connsiteY2" fmla="*/ 129441 h 448772"/>
                    <a:gd name="connsiteX3" fmla="*/ 168766 w 514980"/>
                    <a:gd name="connsiteY3" fmla="*/ 93528 h 448772"/>
                    <a:gd name="connsiteX4" fmla="*/ 179484 w 514980"/>
                    <a:gd name="connsiteY4" fmla="*/ 6248 h 448772"/>
                    <a:gd name="connsiteX5" fmla="*/ 351756 w 514980"/>
                    <a:gd name="connsiteY5" fmla="*/ 886 h 448772"/>
                    <a:gd name="connsiteX6" fmla="*/ 357905 w 514980"/>
                    <a:gd name="connsiteY6" fmla="*/ 98112 h 448772"/>
                    <a:gd name="connsiteX7" fmla="*/ 454533 w 514980"/>
                    <a:gd name="connsiteY7" fmla="*/ 136989 h 448772"/>
                    <a:gd name="connsiteX8" fmla="*/ 513665 w 514980"/>
                    <a:gd name="connsiteY8" fmla="*/ 226522 h 448772"/>
                    <a:gd name="connsiteX9" fmla="*/ 510490 w 514980"/>
                    <a:gd name="connsiteY9" fmla="*/ 448772 h 448772"/>
                    <a:gd name="connsiteX10" fmla="*/ 8840 w 514980"/>
                    <a:gd name="connsiteY10" fmla="*/ 442422 h 448772"/>
                    <a:gd name="connsiteX0" fmla="*/ 8840 w 514980"/>
                    <a:gd name="connsiteY0" fmla="*/ 442422 h 448772"/>
                    <a:gd name="connsiteX1" fmla="*/ 5665 w 514980"/>
                    <a:gd name="connsiteY1" fmla="*/ 216997 h 448772"/>
                    <a:gd name="connsiteX2" fmla="*/ 62412 w 514980"/>
                    <a:gd name="connsiteY2" fmla="*/ 129441 h 448772"/>
                    <a:gd name="connsiteX3" fmla="*/ 168766 w 514980"/>
                    <a:gd name="connsiteY3" fmla="*/ 93528 h 448772"/>
                    <a:gd name="connsiteX4" fmla="*/ 179484 w 514980"/>
                    <a:gd name="connsiteY4" fmla="*/ 6248 h 448772"/>
                    <a:gd name="connsiteX5" fmla="*/ 351756 w 514980"/>
                    <a:gd name="connsiteY5" fmla="*/ 886 h 448772"/>
                    <a:gd name="connsiteX6" fmla="*/ 357905 w 514980"/>
                    <a:gd name="connsiteY6" fmla="*/ 98112 h 448772"/>
                    <a:gd name="connsiteX7" fmla="*/ 454533 w 514980"/>
                    <a:gd name="connsiteY7" fmla="*/ 136989 h 448772"/>
                    <a:gd name="connsiteX8" fmla="*/ 513665 w 514980"/>
                    <a:gd name="connsiteY8" fmla="*/ 226522 h 448772"/>
                    <a:gd name="connsiteX9" fmla="*/ 510490 w 514980"/>
                    <a:gd name="connsiteY9" fmla="*/ 448772 h 448772"/>
                    <a:gd name="connsiteX10" fmla="*/ 8840 w 514980"/>
                    <a:gd name="connsiteY10" fmla="*/ 442422 h 448772"/>
                    <a:gd name="connsiteX0" fmla="*/ 8840 w 514980"/>
                    <a:gd name="connsiteY0" fmla="*/ 442422 h 448772"/>
                    <a:gd name="connsiteX1" fmla="*/ 5665 w 514980"/>
                    <a:gd name="connsiteY1" fmla="*/ 216997 h 448772"/>
                    <a:gd name="connsiteX2" fmla="*/ 62412 w 514980"/>
                    <a:gd name="connsiteY2" fmla="*/ 129441 h 448772"/>
                    <a:gd name="connsiteX3" fmla="*/ 168766 w 514980"/>
                    <a:gd name="connsiteY3" fmla="*/ 93528 h 448772"/>
                    <a:gd name="connsiteX4" fmla="*/ 179484 w 514980"/>
                    <a:gd name="connsiteY4" fmla="*/ 6248 h 448772"/>
                    <a:gd name="connsiteX5" fmla="*/ 351756 w 514980"/>
                    <a:gd name="connsiteY5" fmla="*/ 886 h 448772"/>
                    <a:gd name="connsiteX6" fmla="*/ 353538 w 514980"/>
                    <a:gd name="connsiteY6" fmla="*/ 98112 h 448772"/>
                    <a:gd name="connsiteX7" fmla="*/ 454533 w 514980"/>
                    <a:gd name="connsiteY7" fmla="*/ 136989 h 448772"/>
                    <a:gd name="connsiteX8" fmla="*/ 513665 w 514980"/>
                    <a:gd name="connsiteY8" fmla="*/ 226522 h 448772"/>
                    <a:gd name="connsiteX9" fmla="*/ 510490 w 514980"/>
                    <a:gd name="connsiteY9" fmla="*/ 448772 h 448772"/>
                    <a:gd name="connsiteX10" fmla="*/ 8840 w 514980"/>
                    <a:gd name="connsiteY10" fmla="*/ 442422 h 448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14980" h="448772">
                      <a:moveTo>
                        <a:pt x="8840" y="442422"/>
                      </a:moveTo>
                      <a:cubicBezTo>
                        <a:pt x="-1214" y="377864"/>
                        <a:pt x="-3264" y="269160"/>
                        <a:pt x="5665" y="216997"/>
                      </a:cubicBezTo>
                      <a:cubicBezTo>
                        <a:pt x="14594" y="164834"/>
                        <a:pt x="35229" y="150019"/>
                        <a:pt x="62412" y="129441"/>
                      </a:cubicBezTo>
                      <a:cubicBezTo>
                        <a:pt x="89595" y="108863"/>
                        <a:pt x="149254" y="114060"/>
                        <a:pt x="168766" y="93528"/>
                      </a:cubicBezTo>
                      <a:cubicBezTo>
                        <a:pt x="188278" y="72996"/>
                        <a:pt x="189023" y="43922"/>
                        <a:pt x="179484" y="6248"/>
                      </a:cubicBezTo>
                      <a:cubicBezTo>
                        <a:pt x="202703" y="-7370"/>
                        <a:pt x="323111" y="6352"/>
                        <a:pt x="351756" y="886"/>
                      </a:cubicBezTo>
                      <a:cubicBezTo>
                        <a:pt x="354195" y="39159"/>
                        <a:pt x="342961" y="75428"/>
                        <a:pt x="353538" y="98112"/>
                      </a:cubicBezTo>
                      <a:cubicBezTo>
                        <a:pt x="364115" y="120796"/>
                        <a:pt x="427845" y="115587"/>
                        <a:pt x="454533" y="136989"/>
                      </a:cubicBezTo>
                      <a:cubicBezTo>
                        <a:pt x="481221" y="158391"/>
                        <a:pt x="503611" y="177839"/>
                        <a:pt x="513665" y="226522"/>
                      </a:cubicBezTo>
                      <a:cubicBezTo>
                        <a:pt x="516840" y="276264"/>
                        <a:pt x="513665" y="323360"/>
                        <a:pt x="510490" y="448772"/>
                      </a:cubicBezTo>
                      <a:lnTo>
                        <a:pt x="8840" y="442422"/>
                      </a:lnTo>
                      <a:close/>
                    </a:path>
                  </a:pathLst>
                </a:custGeom>
                <a:grpFill/>
                <a:ln w="571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84" name="Oval 83">
                  <a:extLst>
                    <a:ext uri="{FF2B5EF4-FFF2-40B4-BE49-F238E27FC236}">
                      <a16:creationId xmlns:a16="http://schemas.microsoft.com/office/drawing/2014/main" id="{05D4E6CE-B3D0-A747-9A30-55AE70C3B66C}"/>
                    </a:ext>
                  </a:extLst>
                </p:cNvPr>
                <p:cNvSpPr/>
                <p:nvPr/>
              </p:nvSpPr>
              <p:spPr>
                <a:xfrm>
                  <a:off x="1971467" y="3508300"/>
                  <a:ext cx="282088" cy="336550"/>
                </a:xfrm>
                <a:prstGeom prst="ellipse">
                  <a:avLst/>
                </a:prstGeom>
                <a:grpFill/>
                <a:ln w="571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grpSp>
          <p:grpSp>
            <p:nvGrpSpPr>
              <p:cNvPr id="80" name="Group 79">
                <a:extLst>
                  <a:ext uri="{FF2B5EF4-FFF2-40B4-BE49-F238E27FC236}">
                    <a16:creationId xmlns:a16="http://schemas.microsoft.com/office/drawing/2014/main" id="{A22D719C-1A01-4248-9F05-A6B2371E67CB}"/>
                  </a:ext>
                </a:extLst>
              </p:cNvPr>
              <p:cNvGrpSpPr/>
              <p:nvPr/>
            </p:nvGrpSpPr>
            <p:grpSpPr>
              <a:xfrm>
                <a:off x="1553120" y="3388644"/>
                <a:ext cx="633802" cy="938165"/>
                <a:chOff x="1806977" y="3500843"/>
                <a:chExt cx="539989" cy="738018"/>
              </a:xfrm>
            </p:grpSpPr>
            <p:sp>
              <p:nvSpPr>
                <p:cNvPr id="81" name="Freeform 80">
                  <a:extLst>
                    <a:ext uri="{FF2B5EF4-FFF2-40B4-BE49-F238E27FC236}">
                      <a16:creationId xmlns:a16="http://schemas.microsoft.com/office/drawing/2014/main" id="{BB3B631F-136B-5D42-A972-52AF604923BD}"/>
                    </a:ext>
                  </a:extLst>
                </p:cNvPr>
                <p:cNvSpPr/>
                <p:nvPr/>
              </p:nvSpPr>
              <p:spPr>
                <a:xfrm>
                  <a:off x="1806977" y="3782373"/>
                  <a:ext cx="539989" cy="456488"/>
                </a:xfrm>
                <a:custGeom>
                  <a:avLst/>
                  <a:gdLst>
                    <a:gd name="connsiteX0" fmla="*/ 36807 w 576731"/>
                    <a:gd name="connsiteY0" fmla="*/ 449906 h 505924"/>
                    <a:gd name="connsiteX1" fmla="*/ 39982 w 576731"/>
                    <a:gd name="connsiteY1" fmla="*/ 214956 h 505924"/>
                    <a:gd name="connsiteX2" fmla="*/ 55857 w 576731"/>
                    <a:gd name="connsiteY2" fmla="*/ 176856 h 505924"/>
                    <a:gd name="connsiteX3" fmla="*/ 103482 w 576731"/>
                    <a:gd name="connsiteY3" fmla="*/ 160981 h 505924"/>
                    <a:gd name="connsiteX4" fmla="*/ 205082 w 576731"/>
                    <a:gd name="connsiteY4" fmla="*/ 154631 h 505924"/>
                    <a:gd name="connsiteX5" fmla="*/ 230482 w 576731"/>
                    <a:gd name="connsiteY5" fmla="*/ 151456 h 505924"/>
                    <a:gd name="connsiteX6" fmla="*/ 233657 w 576731"/>
                    <a:gd name="connsiteY6" fmla="*/ 18106 h 505924"/>
                    <a:gd name="connsiteX7" fmla="*/ 344782 w 576731"/>
                    <a:gd name="connsiteY7" fmla="*/ 14931 h 505924"/>
                    <a:gd name="connsiteX8" fmla="*/ 344782 w 576731"/>
                    <a:gd name="connsiteY8" fmla="*/ 145106 h 505924"/>
                    <a:gd name="connsiteX9" fmla="*/ 386057 w 576731"/>
                    <a:gd name="connsiteY9" fmla="*/ 151456 h 505924"/>
                    <a:gd name="connsiteX10" fmla="*/ 478132 w 576731"/>
                    <a:gd name="connsiteY10" fmla="*/ 164156 h 505924"/>
                    <a:gd name="connsiteX11" fmla="*/ 519407 w 576731"/>
                    <a:gd name="connsiteY11" fmla="*/ 189556 h 505924"/>
                    <a:gd name="connsiteX12" fmla="*/ 541632 w 576731"/>
                    <a:gd name="connsiteY12" fmla="*/ 234006 h 505924"/>
                    <a:gd name="connsiteX13" fmla="*/ 538457 w 576731"/>
                    <a:gd name="connsiteY13" fmla="*/ 488006 h 505924"/>
                    <a:gd name="connsiteX14" fmla="*/ 36807 w 576731"/>
                    <a:gd name="connsiteY14" fmla="*/ 449906 h 505924"/>
                    <a:gd name="connsiteX0" fmla="*/ 5769 w 545693"/>
                    <a:gd name="connsiteY0" fmla="*/ 449906 h 505924"/>
                    <a:gd name="connsiteX1" fmla="*/ 8944 w 545693"/>
                    <a:gd name="connsiteY1" fmla="*/ 214956 h 505924"/>
                    <a:gd name="connsiteX2" fmla="*/ 24819 w 545693"/>
                    <a:gd name="connsiteY2" fmla="*/ 176856 h 505924"/>
                    <a:gd name="connsiteX3" fmla="*/ 72444 w 545693"/>
                    <a:gd name="connsiteY3" fmla="*/ 160981 h 505924"/>
                    <a:gd name="connsiteX4" fmla="*/ 174044 w 545693"/>
                    <a:gd name="connsiteY4" fmla="*/ 154631 h 505924"/>
                    <a:gd name="connsiteX5" fmla="*/ 199444 w 545693"/>
                    <a:gd name="connsiteY5" fmla="*/ 151456 h 505924"/>
                    <a:gd name="connsiteX6" fmla="*/ 202619 w 545693"/>
                    <a:gd name="connsiteY6" fmla="*/ 18106 h 505924"/>
                    <a:gd name="connsiteX7" fmla="*/ 313744 w 545693"/>
                    <a:gd name="connsiteY7" fmla="*/ 14931 h 505924"/>
                    <a:gd name="connsiteX8" fmla="*/ 313744 w 545693"/>
                    <a:gd name="connsiteY8" fmla="*/ 145106 h 505924"/>
                    <a:gd name="connsiteX9" fmla="*/ 355019 w 545693"/>
                    <a:gd name="connsiteY9" fmla="*/ 151456 h 505924"/>
                    <a:gd name="connsiteX10" fmla="*/ 447094 w 545693"/>
                    <a:gd name="connsiteY10" fmla="*/ 164156 h 505924"/>
                    <a:gd name="connsiteX11" fmla="*/ 488369 w 545693"/>
                    <a:gd name="connsiteY11" fmla="*/ 189556 h 505924"/>
                    <a:gd name="connsiteX12" fmla="*/ 510594 w 545693"/>
                    <a:gd name="connsiteY12" fmla="*/ 234006 h 505924"/>
                    <a:gd name="connsiteX13" fmla="*/ 507419 w 545693"/>
                    <a:gd name="connsiteY13" fmla="*/ 488006 h 505924"/>
                    <a:gd name="connsiteX14" fmla="*/ 5769 w 545693"/>
                    <a:gd name="connsiteY14" fmla="*/ 449906 h 505924"/>
                    <a:gd name="connsiteX0" fmla="*/ 21286 w 561210"/>
                    <a:gd name="connsiteY0" fmla="*/ 449906 h 508025"/>
                    <a:gd name="connsiteX1" fmla="*/ 24461 w 561210"/>
                    <a:gd name="connsiteY1" fmla="*/ 214956 h 508025"/>
                    <a:gd name="connsiteX2" fmla="*/ 40336 w 561210"/>
                    <a:gd name="connsiteY2" fmla="*/ 176856 h 508025"/>
                    <a:gd name="connsiteX3" fmla="*/ 87961 w 561210"/>
                    <a:gd name="connsiteY3" fmla="*/ 160981 h 508025"/>
                    <a:gd name="connsiteX4" fmla="*/ 189561 w 561210"/>
                    <a:gd name="connsiteY4" fmla="*/ 154631 h 508025"/>
                    <a:gd name="connsiteX5" fmla="*/ 214961 w 561210"/>
                    <a:gd name="connsiteY5" fmla="*/ 151456 h 508025"/>
                    <a:gd name="connsiteX6" fmla="*/ 218136 w 561210"/>
                    <a:gd name="connsiteY6" fmla="*/ 18106 h 508025"/>
                    <a:gd name="connsiteX7" fmla="*/ 329261 w 561210"/>
                    <a:gd name="connsiteY7" fmla="*/ 14931 h 508025"/>
                    <a:gd name="connsiteX8" fmla="*/ 329261 w 561210"/>
                    <a:gd name="connsiteY8" fmla="*/ 145106 h 508025"/>
                    <a:gd name="connsiteX9" fmla="*/ 370536 w 561210"/>
                    <a:gd name="connsiteY9" fmla="*/ 151456 h 508025"/>
                    <a:gd name="connsiteX10" fmla="*/ 462611 w 561210"/>
                    <a:gd name="connsiteY10" fmla="*/ 164156 h 508025"/>
                    <a:gd name="connsiteX11" fmla="*/ 503886 w 561210"/>
                    <a:gd name="connsiteY11" fmla="*/ 189556 h 508025"/>
                    <a:gd name="connsiteX12" fmla="*/ 526111 w 561210"/>
                    <a:gd name="connsiteY12" fmla="*/ 234006 h 508025"/>
                    <a:gd name="connsiteX13" fmla="*/ 522936 w 561210"/>
                    <a:gd name="connsiteY13" fmla="*/ 488006 h 508025"/>
                    <a:gd name="connsiteX14" fmla="*/ 21286 w 561210"/>
                    <a:gd name="connsiteY14" fmla="*/ 449906 h 508025"/>
                    <a:gd name="connsiteX0" fmla="*/ 21286 w 561210"/>
                    <a:gd name="connsiteY0" fmla="*/ 449906 h 508025"/>
                    <a:gd name="connsiteX1" fmla="*/ 24461 w 561210"/>
                    <a:gd name="connsiteY1" fmla="*/ 214956 h 508025"/>
                    <a:gd name="connsiteX2" fmla="*/ 40336 w 561210"/>
                    <a:gd name="connsiteY2" fmla="*/ 176856 h 508025"/>
                    <a:gd name="connsiteX3" fmla="*/ 87961 w 561210"/>
                    <a:gd name="connsiteY3" fmla="*/ 160981 h 508025"/>
                    <a:gd name="connsiteX4" fmla="*/ 189561 w 561210"/>
                    <a:gd name="connsiteY4" fmla="*/ 154631 h 508025"/>
                    <a:gd name="connsiteX5" fmla="*/ 214961 w 561210"/>
                    <a:gd name="connsiteY5" fmla="*/ 151456 h 508025"/>
                    <a:gd name="connsiteX6" fmla="*/ 218136 w 561210"/>
                    <a:gd name="connsiteY6" fmla="*/ 18106 h 508025"/>
                    <a:gd name="connsiteX7" fmla="*/ 329261 w 561210"/>
                    <a:gd name="connsiteY7" fmla="*/ 14931 h 508025"/>
                    <a:gd name="connsiteX8" fmla="*/ 329261 w 561210"/>
                    <a:gd name="connsiteY8" fmla="*/ 145106 h 508025"/>
                    <a:gd name="connsiteX9" fmla="*/ 370536 w 561210"/>
                    <a:gd name="connsiteY9" fmla="*/ 151456 h 508025"/>
                    <a:gd name="connsiteX10" fmla="*/ 462611 w 561210"/>
                    <a:gd name="connsiteY10" fmla="*/ 164156 h 508025"/>
                    <a:gd name="connsiteX11" fmla="*/ 503886 w 561210"/>
                    <a:gd name="connsiteY11" fmla="*/ 189556 h 508025"/>
                    <a:gd name="connsiteX12" fmla="*/ 526111 w 561210"/>
                    <a:gd name="connsiteY12" fmla="*/ 234006 h 508025"/>
                    <a:gd name="connsiteX13" fmla="*/ 522936 w 561210"/>
                    <a:gd name="connsiteY13" fmla="*/ 488006 h 508025"/>
                    <a:gd name="connsiteX14" fmla="*/ 21286 w 561210"/>
                    <a:gd name="connsiteY14" fmla="*/ 449906 h 508025"/>
                    <a:gd name="connsiteX0" fmla="*/ 4360 w 544284"/>
                    <a:gd name="connsiteY0" fmla="*/ 449906 h 508025"/>
                    <a:gd name="connsiteX1" fmla="*/ 7535 w 544284"/>
                    <a:gd name="connsiteY1" fmla="*/ 214956 h 508025"/>
                    <a:gd name="connsiteX2" fmla="*/ 23410 w 544284"/>
                    <a:gd name="connsiteY2" fmla="*/ 176856 h 508025"/>
                    <a:gd name="connsiteX3" fmla="*/ 71035 w 544284"/>
                    <a:gd name="connsiteY3" fmla="*/ 160981 h 508025"/>
                    <a:gd name="connsiteX4" fmla="*/ 172635 w 544284"/>
                    <a:gd name="connsiteY4" fmla="*/ 154631 h 508025"/>
                    <a:gd name="connsiteX5" fmla="*/ 198035 w 544284"/>
                    <a:gd name="connsiteY5" fmla="*/ 151456 h 508025"/>
                    <a:gd name="connsiteX6" fmla="*/ 201210 w 544284"/>
                    <a:gd name="connsiteY6" fmla="*/ 18106 h 508025"/>
                    <a:gd name="connsiteX7" fmla="*/ 312335 w 544284"/>
                    <a:gd name="connsiteY7" fmla="*/ 14931 h 508025"/>
                    <a:gd name="connsiteX8" fmla="*/ 312335 w 544284"/>
                    <a:gd name="connsiteY8" fmla="*/ 145106 h 508025"/>
                    <a:gd name="connsiteX9" fmla="*/ 353610 w 544284"/>
                    <a:gd name="connsiteY9" fmla="*/ 151456 h 508025"/>
                    <a:gd name="connsiteX10" fmla="*/ 445685 w 544284"/>
                    <a:gd name="connsiteY10" fmla="*/ 164156 h 508025"/>
                    <a:gd name="connsiteX11" fmla="*/ 486960 w 544284"/>
                    <a:gd name="connsiteY11" fmla="*/ 189556 h 508025"/>
                    <a:gd name="connsiteX12" fmla="*/ 509185 w 544284"/>
                    <a:gd name="connsiteY12" fmla="*/ 234006 h 508025"/>
                    <a:gd name="connsiteX13" fmla="*/ 506010 w 544284"/>
                    <a:gd name="connsiteY13" fmla="*/ 488006 h 508025"/>
                    <a:gd name="connsiteX14" fmla="*/ 4360 w 544284"/>
                    <a:gd name="connsiteY14" fmla="*/ 449906 h 508025"/>
                    <a:gd name="connsiteX0" fmla="*/ 4360 w 544284"/>
                    <a:gd name="connsiteY0" fmla="*/ 449906 h 500804"/>
                    <a:gd name="connsiteX1" fmla="*/ 7535 w 544284"/>
                    <a:gd name="connsiteY1" fmla="*/ 214956 h 500804"/>
                    <a:gd name="connsiteX2" fmla="*/ 23410 w 544284"/>
                    <a:gd name="connsiteY2" fmla="*/ 176856 h 500804"/>
                    <a:gd name="connsiteX3" fmla="*/ 71035 w 544284"/>
                    <a:gd name="connsiteY3" fmla="*/ 160981 h 500804"/>
                    <a:gd name="connsiteX4" fmla="*/ 172635 w 544284"/>
                    <a:gd name="connsiteY4" fmla="*/ 154631 h 500804"/>
                    <a:gd name="connsiteX5" fmla="*/ 198035 w 544284"/>
                    <a:gd name="connsiteY5" fmla="*/ 151456 h 500804"/>
                    <a:gd name="connsiteX6" fmla="*/ 201210 w 544284"/>
                    <a:gd name="connsiteY6" fmla="*/ 18106 h 500804"/>
                    <a:gd name="connsiteX7" fmla="*/ 312335 w 544284"/>
                    <a:gd name="connsiteY7" fmla="*/ 14931 h 500804"/>
                    <a:gd name="connsiteX8" fmla="*/ 312335 w 544284"/>
                    <a:gd name="connsiteY8" fmla="*/ 145106 h 500804"/>
                    <a:gd name="connsiteX9" fmla="*/ 353610 w 544284"/>
                    <a:gd name="connsiteY9" fmla="*/ 151456 h 500804"/>
                    <a:gd name="connsiteX10" fmla="*/ 445685 w 544284"/>
                    <a:gd name="connsiteY10" fmla="*/ 164156 h 500804"/>
                    <a:gd name="connsiteX11" fmla="*/ 486960 w 544284"/>
                    <a:gd name="connsiteY11" fmla="*/ 189556 h 500804"/>
                    <a:gd name="connsiteX12" fmla="*/ 509185 w 544284"/>
                    <a:gd name="connsiteY12" fmla="*/ 234006 h 500804"/>
                    <a:gd name="connsiteX13" fmla="*/ 506010 w 544284"/>
                    <a:gd name="connsiteY13" fmla="*/ 488006 h 500804"/>
                    <a:gd name="connsiteX14" fmla="*/ 4360 w 544284"/>
                    <a:gd name="connsiteY14" fmla="*/ 449906 h 500804"/>
                    <a:gd name="connsiteX0" fmla="*/ 4360 w 544284"/>
                    <a:gd name="connsiteY0" fmla="*/ 449906 h 500804"/>
                    <a:gd name="connsiteX1" fmla="*/ 7535 w 544284"/>
                    <a:gd name="connsiteY1" fmla="*/ 214956 h 500804"/>
                    <a:gd name="connsiteX2" fmla="*/ 23410 w 544284"/>
                    <a:gd name="connsiteY2" fmla="*/ 176856 h 500804"/>
                    <a:gd name="connsiteX3" fmla="*/ 71035 w 544284"/>
                    <a:gd name="connsiteY3" fmla="*/ 160981 h 500804"/>
                    <a:gd name="connsiteX4" fmla="*/ 172635 w 544284"/>
                    <a:gd name="connsiteY4" fmla="*/ 154631 h 500804"/>
                    <a:gd name="connsiteX5" fmla="*/ 198035 w 544284"/>
                    <a:gd name="connsiteY5" fmla="*/ 151456 h 500804"/>
                    <a:gd name="connsiteX6" fmla="*/ 201210 w 544284"/>
                    <a:gd name="connsiteY6" fmla="*/ 18106 h 500804"/>
                    <a:gd name="connsiteX7" fmla="*/ 312335 w 544284"/>
                    <a:gd name="connsiteY7" fmla="*/ 14931 h 500804"/>
                    <a:gd name="connsiteX8" fmla="*/ 312335 w 544284"/>
                    <a:gd name="connsiteY8" fmla="*/ 145106 h 500804"/>
                    <a:gd name="connsiteX9" fmla="*/ 353610 w 544284"/>
                    <a:gd name="connsiteY9" fmla="*/ 151456 h 500804"/>
                    <a:gd name="connsiteX10" fmla="*/ 445685 w 544284"/>
                    <a:gd name="connsiteY10" fmla="*/ 164156 h 500804"/>
                    <a:gd name="connsiteX11" fmla="*/ 486960 w 544284"/>
                    <a:gd name="connsiteY11" fmla="*/ 189556 h 500804"/>
                    <a:gd name="connsiteX12" fmla="*/ 509185 w 544284"/>
                    <a:gd name="connsiteY12" fmla="*/ 234006 h 500804"/>
                    <a:gd name="connsiteX13" fmla="*/ 506010 w 544284"/>
                    <a:gd name="connsiteY13" fmla="*/ 488006 h 500804"/>
                    <a:gd name="connsiteX14" fmla="*/ 4360 w 544284"/>
                    <a:gd name="connsiteY14" fmla="*/ 449906 h 500804"/>
                    <a:gd name="connsiteX0" fmla="*/ 4360 w 519024"/>
                    <a:gd name="connsiteY0" fmla="*/ 449906 h 500804"/>
                    <a:gd name="connsiteX1" fmla="*/ 7535 w 519024"/>
                    <a:gd name="connsiteY1" fmla="*/ 214956 h 500804"/>
                    <a:gd name="connsiteX2" fmla="*/ 23410 w 519024"/>
                    <a:gd name="connsiteY2" fmla="*/ 176856 h 500804"/>
                    <a:gd name="connsiteX3" fmla="*/ 71035 w 519024"/>
                    <a:gd name="connsiteY3" fmla="*/ 160981 h 500804"/>
                    <a:gd name="connsiteX4" fmla="*/ 172635 w 519024"/>
                    <a:gd name="connsiteY4" fmla="*/ 154631 h 500804"/>
                    <a:gd name="connsiteX5" fmla="*/ 198035 w 519024"/>
                    <a:gd name="connsiteY5" fmla="*/ 151456 h 500804"/>
                    <a:gd name="connsiteX6" fmla="*/ 201210 w 519024"/>
                    <a:gd name="connsiteY6" fmla="*/ 18106 h 500804"/>
                    <a:gd name="connsiteX7" fmla="*/ 312335 w 519024"/>
                    <a:gd name="connsiteY7" fmla="*/ 14931 h 500804"/>
                    <a:gd name="connsiteX8" fmla="*/ 312335 w 519024"/>
                    <a:gd name="connsiteY8" fmla="*/ 145106 h 500804"/>
                    <a:gd name="connsiteX9" fmla="*/ 353610 w 519024"/>
                    <a:gd name="connsiteY9" fmla="*/ 151456 h 500804"/>
                    <a:gd name="connsiteX10" fmla="*/ 445685 w 519024"/>
                    <a:gd name="connsiteY10" fmla="*/ 164156 h 500804"/>
                    <a:gd name="connsiteX11" fmla="*/ 486960 w 519024"/>
                    <a:gd name="connsiteY11" fmla="*/ 189556 h 500804"/>
                    <a:gd name="connsiteX12" fmla="*/ 509185 w 519024"/>
                    <a:gd name="connsiteY12" fmla="*/ 234006 h 500804"/>
                    <a:gd name="connsiteX13" fmla="*/ 506010 w 519024"/>
                    <a:gd name="connsiteY13" fmla="*/ 488006 h 500804"/>
                    <a:gd name="connsiteX14" fmla="*/ 4360 w 519024"/>
                    <a:gd name="connsiteY14" fmla="*/ 449906 h 500804"/>
                    <a:gd name="connsiteX0" fmla="*/ 4360 w 519024"/>
                    <a:gd name="connsiteY0" fmla="*/ 449906 h 488006"/>
                    <a:gd name="connsiteX1" fmla="*/ 7535 w 519024"/>
                    <a:gd name="connsiteY1" fmla="*/ 214956 h 488006"/>
                    <a:gd name="connsiteX2" fmla="*/ 23410 w 519024"/>
                    <a:gd name="connsiteY2" fmla="*/ 176856 h 488006"/>
                    <a:gd name="connsiteX3" fmla="*/ 71035 w 519024"/>
                    <a:gd name="connsiteY3" fmla="*/ 160981 h 488006"/>
                    <a:gd name="connsiteX4" fmla="*/ 172635 w 519024"/>
                    <a:gd name="connsiteY4" fmla="*/ 154631 h 488006"/>
                    <a:gd name="connsiteX5" fmla="*/ 198035 w 519024"/>
                    <a:gd name="connsiteY5" fmla="*/ 151456 h 488006"/>
                    <a:gd name="connsiteX6" fmla="*/ 201210 w 519024"/>
                    <a:gd name="connsiteY6" fmla="*/ 18106 h 488006"/>
                    <a:gd name="connsiteX7" fmla="*/ 312335 w 519024"/>
                    <a:gd name="connsiteY7" fmla="*/ 14931 h 488006"/>
                    <a:gd name="connsiteX8" fmla="*/ 312335 w 519024"/>
                    <a:gd name="connsiteY8" fmla="*/ 145106 h 488006"/>
                    <a:gd name="connsiteX9" fmla="*/ 353610 w 519024"/>
                    <a:gd name="connsiteY9" fmla="*/ 151456 h 488006"/>
                    <a:gd name="connsiteX10" fmla="*/ 445685 w 519024"/>
                    <a:gd name="connsiteY10" fmla="*/ 164156 h 488006"/>
                    <a:gd name="connsiteX11" fmla="*/ 486960 w 519024"/>
                    <a:gd name="connsiteY11" fmla="*/ 189556 h 488006"/>
                    <a:gd name="connsiteX12" fmla="*/ 509185 w 519024"/>
                    <a:gd name="connsiteY12" fmla="*/ 234006 h 488006"/>
                    <a:gd name="connsiteX13" fmla="*/ 506010 w 519024"/>
                    <a:gd name="connsiteY13" fmla="*/ 488006 h 488006"/>
                    <a:gd name="connsiteX14" fmla="*/ 4360 w 519024"/>
                    <a:gd name="connsiteY14" fmla="*/ 449906 h 488006"/>
                    <a:gd name="connsiteX0" fmla="*/ 4360 w 523534"/>
                    <a:gd name="connsiteY0" fmla="*/ 449906 h 472131"/>
                    <a:gd name="connsiteX1" fmla="*/ 7535 w 523534"/>
                    <a:gd name="connsiteY1" fmla="*/ 214956 h 472131"/>
                    <a:gd name="connsiteX2" fmla="*/ 23410 w 523534"/>
                    <a:gd name="connsiteY2" fmla="*/ 176856 h 472131"/>
                    <a:gd name="connsiteX3" fmla="*/ 71035 w 523534"/>
                    <a:gd name="connsiteY3" fmla="*/ 160981 h 472131"/>
                    <a:gd name="connsiteX4" fmla="*/ 172635 w 523534"/>
                    <a:gd name="connsiteY4" fmla="*/ 154631 h 472131"/>
                    <a:gd name="connsiteX5" fmla="*/ 198035 w 523534"/>
                    <a:gd name="connsiteY5" fmla="*/ 151456 h 472131"/>
                    <a:gd name="connsiteX6" fmla="*/ 201210 w 523534"/>
                    <a:gd name="connsiteY6" fmla="*/ 18106 h 472131"/>
                    <a:gd name="connsiteX7" fmla="*/ 312335 w 523534"/>
                    <a:gd name="connsiteY7" fmla="*/ 14931 h 472131"/>
                    <a:gd name="connsiteX8" fmla="*/ 312335 w 523534"/>
                    <a:gd name="connsiteY8" fmla="*/ 145106 h 472131"/>
                    <a:gd name="connsiteX9" fmla="*/ 353610 w 523534"/>
                    <a:gd name="connsiteY9" fmla="*/ 151456 h 472131"/>
                    <a:gd name="connsiteX10" fmla="*/ 445685 w 523534"/>
                    <a:gd name="connsiteY10" fmla="*/ 164156 h 472131"/>
                    <a:gd name="connsiteX11" fmla="*/ 486960 w 523534"/>
                    <a:gd name="connsiteY11" fmla="*/ 189556 h 472131"/>
                    <a:gd name="connsiteX12" fmla="*/ 509185 w 523534"/>
                    <a:gd name="connsiteY12" fmla="*/ 234006 h 472131"/>
                    <a:gd name="connsiteX13" fmla="*/ 512360 w 523534"/>
                    <a:gd name="connsiteY13" fmla="*/ 472131 h 472131"/>
                    <a:gd name="connsiteX14" fmla="*/ 4360 w 523534"/>
                    <a:gd name="connsiteY14" fmla="*/ 449906 h 472131"/>
                    <a:gd name="connsiteX0" fmla="*/ 4360 w 513675"/>
                    <a:gd name="connsiteY0" fmla="*/ 449906 h 472131"/>
                    <a:gd name="connsiteX1" fmla="*/ 7535 w 513675"/>
                    <a:gd name="connsiteY1" fmla="*/ 214956 h 472131"/>
                    <a:gd name="connsiteX2" fmla="*/ 23410 w 513675"/>
                    <a:gd name="connsiteY2" fmla="*/ 176856 h 472131"/>
                    <a:gd name="connsiteX3" fmla="*/ 71035 w 513675"/>
                    <a:gd name="connsiteY3" fmla="*/ 160981 h 472131"/>
                    <a:gd name="connsiteX4" fmla="*/ 172635 w 513675"/>
                    <a:gd name="connsiteY4" fmla="*/ 154631 h 472131"/>
                    <a:gd name="connsiteX5" fmla="*/ 198035 w 513675"/>
                    <a:gd name="connsiteY5" fmla="*/ 151456 h 472131"/>
                    <a:gd name="connsiteX6" fmla="*/ 201210 w 513675"/>
                    <a:gd name="connsiteY6" fmla="*/ 18106 h 472131"/>
                    <a:gd name="connsiteX7" fmla="*/ 312335 w 513675"/>
                    <a:gd name="connsiteY7" fmla="*/ 14931 h 472131"/>
                    <a:gd name="connsiteX8" fmla="*/ 312335 w 513675"/>
                    <a:gd name="connsiteY8" fmla="*/ 145106 h 472131"/>
                    <a:gd name="connsiteX9" fmla="*/ 353610 w 513675"/>
                    <a:gd name="connsiteY9" fmla="*/ 151456 h 472131"/>
                    <a:gd name="connsiteX10" fmla="*/ 445685 w 513675"/>
                    <a:gd name="connsiteY10" fmla="*/ 164156 h 472131"/>
                    <a:gd name="connsiteX11" fmla="*/ 486960 w 513675"/>
                    <a:gd name="connsiteY11" fmla="*/ 189556 h 472131"/>
                    <a:gd name="connsiteX12" fmla="*/ 509185 w 513675"/>
                    <a:gd name="connsiteY12" fmla="*/ 234006 h 472131"/>
                    <a:gd name="connsiteX13" fmla="*/ 512360 w 513675"/>
                    <a:gd name="connsiteY13" fmla="*/ 472131 h 472131"/>
                    <a:gd name="connsiteX14" fmla="*/ 4360 w 513675"/>
                    <a:gd name="connsiteY14" fmla="*/ 449906 h 472131"/>
                    <a:gd name="connsiteX0" fmla="*/ 4360 w 513675"/>
                    <a:gd name="connsiteY0" fmla="*/ 446969 h 469194"/>
                    <a:gd name="connsiteX1" fmla="*/ 7535 w 513675"/>
                    <a:gd name="connsiteY1" fmla="*/ 212019 h 469194"/>
                    <a:gd name="connsiteX2" fmla="*/ 23410 w 513675"/>
                    <a:gd name="connsiteY2" fmla="*/ 173919 h 469194"/>
                    <a:gd name="connsiteX3" fmla="*/ 71035 w 513675"/>
                    <a:gd name="connsiteY3" fmla="*/ 158044 h 469194"/>
                    <a:gd name="connsiteX4" fmla="*/ 172635 w 513675"/>
                    <a:gd name="connsiteY4" fmla="*/ 151694 h 469194"/>
                    <a:gd name="connsiteX5" fmla="*/ 188510 w 513675"/>
                    <a:gd name="connsiteY5" fmla="*/ 94544 h 469194"/>
                    <a:gd name="connsiteX6" fmla="*/ 201210 w 513675"/>
                    <a:gd name="connsiteY6" fmla="*/ 15169 h 469194"/>
                    <a:gd name="connsiteX7" fmla="*/ 312335 w 513675"/>
                    <a:gd name="connsiteY7" fmla="*/ 11994 h 469194"/>
                    <a:gd name="connsiteX8" fmla="*/ 312335 w 513675"/>
                    <a:gd name="connsiteY8" fmla="*/ 142169 h 469194"/>
                    <a:gd name="connsiteX9" fmla="*/ 353610 w 513675"/>
                    <a:gd name="connsiteY9" fmla="*/ 148519 h 469194"/>
                    <a:gd name="connsiteX10" fmla="*/ 445685 w 513675"/>
                    <a:gd name="connsiteY10" fmla="*/ 161219 h 469194"/>
                    <a:gd name="connsiteX11" fmla="*/ 486960 w 513675"/>
                    <a:gd name="connsiteY11" fmla="*/ 186619 h 469194"/>
                    <a:gd name="connsiteX12" fmla="*/ 509185 w 513675"/>
                    <a:gd name="connsiteY12" fmla="*/ 231069 h 469194"/>
                    <a:gd name="connsiteX13" fmla="*/ 512360 w 513675"/>
                    <a:gd name="connsiteY13" fmla="*/ 469194 h 469194"/>
                    <a:gd name="connsiteX14" fmla="*/ 4360 w 513675"/>
                    <a:gd name="connsiteY14" fmla="*/ 446969 h 469194"/>
                    <a:gd name="connsiteX0" fmla="*/ 4360 w 513675"/>
                    <a:gd name="connsiteY0" fmla="*/ 443409 h 465634"/>
                    <a:gd name="connsiteX1" fmla="*/ 7535 w 513675"/>
                    <a:gd name="connsiteY1" fmla="*/ 208459 h 465634"/>
                    <a:gd name="connsiteX2" fmla="*/ 23410 w 513675"/>
                    <a:gd name="connsiteY2" fmla="*/ 170359 h 465634"/>
                    <a:gd name="connsiteX3" fmla="*/ 71035 w 513675"/>
                    <a:gd name="connsiteY3" fmla="*/ 154484 h 465634"/>
                    <a:gd name="connsiteX4" fmla="*/ 172635 w 513675"/>
                    <a:gd name="connsiteY4" fmla="*/ 148134 h 465634"/>
                    <a:gd name="connsiteX5" fmla="*/ 188510 w 513675"/>
                    <a:gd name="connsiteY5" fmla="*/ 90984 h 465634"/>
                    <a:gd name="connsiteX6" fmla="*/ 201210 w 513675"/>
                    <a:gd name="connsiteY6" fmla="*/ 11609 h 465634"/>
                    <a:gd name="connsiteX7" fmla="*/ 312335 w 513675"/>
                    <a:gd name="connsiteY7" fmla="*/ 8434 h 465634"/>
                    <a:gd name="connsiteX8" fmla="*/ 312335 w 513675"/>
                    <a:gd name="connsiteY8" fmla="*/ 87809 h 465634"/>
                    <a:gd name="connsiteX9" fmla="*/ 353610 w 513675"/>
                    <a:gd name="connsiteY9" fmla="*/ 144959 h 465634"/>
                    <a:gd name="connsiteX10" fmla="*/ 445685 w 513675"/>
                    <a:gd name="connsiteY10" fmla="*/ 157659 h 465634"/>
                    <a:gd name="connsiteX11" fmla="*/ 486960 w 513675"/>
                    <a:gd name="connsiteY11" fmla="*/ 183059 h 465634"/>
                    <a:gd name="connsiteX12" fmla="*/ 509185 w 513675"/>
                    <a:gd name="connsiteY12" fmla="*/ 227509 h 465634"/>
                    <a:gd name="connsiteX13" fmla="*/ 512360 w 513675"/>
                    <a:gd name="connsiteY13" fmla="*/ 465634 h 465634"/>
                    <a:gd name="connsiteX14" fmla="*/ 4360 w 513675"/>
                    <a:gd name="connsiteY14" fmla="*/ 443409 h 465634"/>
                    <a:gd name="connsiteX0" fmla="*/ 4360 w 513675"/>
                    <a:gd name="connsiteY0" fmla="*/ 443409 h 465634"/>
                    <a:gd name="connsiteX1" fmla="*/ 7535 w 513675"/>
                    <a:gd name="connsiteY1" fmla="*/ 208459 h 465634"/>
                    <a:gd name="connsiteX2" fmla="*/ 23410 w 513675"/>
                    <a:gd name="connsiteY2" fmla="*/ 170359 h 465634"/>
                    <a:gd name="connsiteX3" fmla="*/ 71035 w 513675"/>
                    <a:gd name="connsiteY3" fmla="*/ 154484 h 465634"/>
                    <a:gd name="connsiteX4" fmla="*/ 172635 w 513675"/>
                    <a:gd name="connsiteY4" fmla="*/ 148134 h 465634"/>
                    <a:gd name="connsiteX5" fmla="*/ 188510 w 513675"/>
                    <a:gd name="connsiteY5" fmla="*/ 90984 h 465634"/>
                    <a:gd name="connsiteX6" fmla="*/ 201210 w 513675"/>
                    <a:gd name="connsiteY6" fmla="*/ 11609 h 465634"/>
                    <a:gd name="connsiteX7" fmla="*/ 312335 w 513675"/>
                    <a:gd name="connsiteY7" fmla="*/ 8434 h 465634"/>
                    <a:gd name="connsiteX8" fmla="*/ 312335 w 513675"/>
                    <a:gd name="connsiteY8" fmla="*/ 87809 h 465634"/>
                    <a:gd name="connsiteX9" fmla="*/ 334560 w 513675"/>
                    <a:gd name="connsiteY9" fmla="*/ 135434 h 465634"/>
                    <a:gd name="connsiteX10" fmla="*/ 445685 w 513675"/>
                    <a:gd name="connsiteY10" fmla="*/ 157659 h 465634"/>
                    <a:gd name="connsiteX11" fmla="*/ 486960 w 513675"/>
                    <a:gd name="connsiteY11" fmla="*/ 183059 h 465634"/>
                    <a:gd name="connsiteX12" fmla="*/ 509185 w 513675"/>
                    <a:gd name="connsiteY12" fmla="*/ 227509 h 465634"/>
                    <a:gd name="connsiteX13" fmla="*/ 512360 w 513675"/>
                    <a:gd name="connsiteY13" fmla="*/ 465634 h 465634"/>
                    <a:gd name="connsiteX14" fmla="*/ 4360 w 513675"/>
                    <a:gd name="connsiteY14" fmla="*/ 443409 h 465634"/>
                    <a:gd name="connsiteX0" fmla="*/ 4360 w 510500"/>
                    <a:gd name="connsiteY0" fmla="*/ 443409 h 449759"/>
                    <a:gd name="connsiteX1" fmla="*/ 7535 w 510500"/>
                    <a:gd name="connsiteY1" fmla="*/ 208459 h 449759"/>
                    <a:gd name="connsiteX2" fmla="*/ 23410 w 510500"/>
                    <a:gd name="connsiteY2" fmla="*/ 170359 h 449759"/>
                    <a:gd name="connsiteX3" fmla="*/ 71035 w 510500"/>
                    <a:gd name="connsiteY3" fmla="*/ 154484 h 449759"/>
                    <a:gd name="connsiteX4" fmla="*/ 172635 w 510500"/>
                    <a:gd name="connsiteY4" fmla="*/ 148134 h 449759"/>
                    <a:gd name="connsiteX5" fmla="*/ 188510 w 510500"/>
                    <a:gd name="connsiteY5" fmla="*/ 90984 h 449759"/>
                    <a:gd name="connsiteX6" fmla="*/ 201210 w 510500"/>
                    <a:gd name="connsiteY6" fmla="*/ 11609 h 449759"/>
                    <a:gd name="connsiteX7" fmla="*/ 312335 w 510500"/>
                    <a:gd name="connsiteY7" fmla="*/ 8434 h 449759"/>
                    <a:gd name="connsiteX8" fmla="*/ 312335 w 510500"/>
                    <a:gd name="connsiteY8" fmla="*/ 87809 h 449759"/>
                    <a:gd name="connsiteX9" fmla="*/ 334560 w 510500"/>
                    <a:gd name="connsiteY9" fmla="*/ 135434 h 449759"/>
                    <a:gd name="connsiteX10" fmla="*/ 445685 w 510500"/>
                    <a:gd name="connsiteY10" fmla="*/ 157659 h 449759"/>
                    <a:gd name="connsiteX11" fmla="*/ 486960 w 510500"/>
                    <a:gd name="connsiteY11" fmla="*/ 183059 h 449759"/>
                    <a:gd name="connsiteX12" fmla="*/ 509185 w 510500"/>
                    <a:gd name="connsiteY12" fmla="*/ 227509 h 449759"/>
                    <a:gd name="connsiteX13" fmla="*/ 506010 w 510500"/>
                    <a:gd name="connsiteY13" fmla="*/ 449759 h 449759"/>
                    <a:gd name="connsiteX14" fmla="*/ 4360 w 510500"/>
                    <a:gd name="connsiteY14" fmla="*/ 443409 h 449759"/>
                    <a:gd name="connsiteX0" fmla="*/ 4360 w 510500"/>
                    <a:gd name="connsiteY0" fmla="*/ 443409 h 454926"/>
                    <a:gd name="connsiteX1" fmla="*/ 7535 w 510500"/>
                    <a:gd name="connsiteY1" fmla="*/ 208459 h 454926"/>
                    <a:gd name="connsiteX2" fmla="*/ 23410 w 510500"/>
                    <a:gd name="connsiteY2" fmla="*/ 170359 h 454926"/>
                    <a:gd name="connsiteX3" fmla="*/ 71035 w 510500"/>
                    <a:gd name="connsiteY3" fmla="*/ 154484 h 454926"/>
                    <a:gd name="connsiteX4" fmla="*/ 172635 w 510500"/>
                    <a:gd name="connsiteY4" fmla="*/ 148134 h 454926"/>
                    <a:gd name="connsiteX5" fmla="*/ 188510 w 510500"/>
                    <a:gd name="connsiteY5" fmla="*/ 90984 h 454926"/>
                    <a:gd name="connsiteX6" fmla="*/ 201210 w 510500"/>
                    <a:gd name="connsiteY6" fmla="*/ 11609 h 454926"/>
                    <a:gd name="connsiteX7" fmla="*/ 312335 w 510500"/>
                    <a:gd name="connsiteY7" fmla="*/ 8434 h 454926"/>
                    <a:gd name="connsiteX8" fmla="*/ 312335 w 510500"/>
                    <a:gd name="connsiteY8" fmla="*/ 87809 h 454926"/>
                    <a:gd name="connsiteX9" fmla="*/ 334560 w 510500"/>
                    <a:gd name="connsiteY9" fmla="*/ 135434 h 454926"/>
                    <a:gd name="connsiteX10" fmla="*/ 445685 w 510500"/>
                    <a:gd name="connsiteY10" fmla="*/ 157659 h 454926"/>
                    <a:gd name="connsiteX11" fmla="*/ 486960 w 510500"/>
                    <a:gd name="connsiteY11" fmla="*/ 183059 h 454926"/>
                    <a:gd name="connsiteX12" fmla="*/ 509185 w 510500"/>
                    <a:gd name="connsiteY12" fmla="*/ 227509 h 454926"/>
                    <a:gd name="connsiteX13" fmla="*/ 506010 w 510500"/>
                    <a:gd name="connsiteY13" fmla="*/ 449759 h 454926"/>
                    <a:gd name="connsiteX14" fmla="*/ 4360 w 510500"/>
                    <a:gd name="connsiteY14" fmla="*/ 443409 h 454926"/>
                    <a:gd name="connsiteX0" fmla="*/ 6473 w 512613"/>
                    <a:gd name="connsiteY0" fmla="*/ 443409 h 454926"/>
                    <a:gd name="connsiteX1" fmla="*/ 9648 w 512613"/>
                    <a:gd name="connsiteY1" fmla="*/ 208459 h 454926"/>
                    <a:gd name="connsiteX2" fmla="*/ 73148 w 512613"/>
                    <a:gd name="connsiteY2" fmla="*/ 154484 h 454926"/>
                    <a:gd name="connsiteX3" fmla="*/ 174748 w 512613"/>
                    <a:gd name="connsiteY3" fmla="*/ 148134 h 454926"/>
                    <a:gd name="connsiteX4" fmla="*/ 190623 w 512613"/>
                    <a:gd name="connsiteY4" fmla="*/ 90984 h 454926"/>
                    <a:gd name="connsiteX5" fmla="*/ 203323 w 512613"/>
                    <a:gd name="connsiteY5" fmla="*/ 11609 h 454926"/>
                    <a:gd name="connsiteX6" fmla="*/ 314448 w 512613"/>
                    <a:gd name="connsiteY6" fmla="*/ 8434 h 454926"/>
                    <a:gd name="connsiteX7" fmla="*/ 314448 w 512613"/>
                    <a:gd name="connsiteY7" fmla="*/ 87809 h 454926"/>
                    <a:gd name="connsiteX8" fmla="*/ 336673 w 512613"/>
                    <a:gd name="connsiteY8" fmla="*/ 135434 h 454926"/>
                    <a:gd name="connsiteX9" fmla="*/ 447798 w 512613"/>
                    <a:gd name="connsiteY9" fmla="*/ 157659 h 454926"/>
                    <a:gd name="connsiteX10" fmla="*/ 489073 w 512613"/>
                    <a:gd name="connsiteY10" fmla="*/ 183059 h 454926"/>
                    <a:gd name="connsiteX11" fmla="*/ 511298 w 512613"/>
                    <a:gd name="connsiteY11" fmla="*/ 227509 h 454926"/>
                    <a:gd name="connsiteX12" fmla="*/ 508123 w 512613"/>
                    <a:gd name="connsiteY12" fmla="*/ 449759 h 454926"/>
                    <a:gd name="connsiteX13" fmla="*/ 6473 w 512613"/>
                    <a:gd name="connsiteY13" fmla="*/ 443409 h 454926"/>
                    <a:gd name="connsiteX0" fmla="*/ 4049 w 510189"/>
                    <a:gd name="connsiteY0" fmla="*/ 443409 h 454926"/>
                    <a:gd name="connsiteX1" fmla="*/ 7224 w 510189"/>
                    <a:gd name="connsiteY1" fmla="*/ 208459 h 454926"/>
                    <a:gd name="connsiteX2" fmla="*/ 70724 w 510189"/>
                    <a:gd name="connsiteY2" fmla="*/ 154484 h 454926"/>
                    <a:gd name="connsiteX3" fmla="*/ 172324 w 510189"/>
                    <a:gd name="connsiteY3" fmla="*/ 148134 h 454926"/>
                    <a:gd name="connsiteX4" fmla="*/ 188199 w 510189"/>
                    <a:gd name="connsiteY4" fmla="*/ 90984 h 454926"/>
                    <a:gd name="connsiteX5" fmla="*/ 200899 w 510189"/>
                    <a:gd name="connsiteY5" fmla="*/ 11609 h 454926"/>
                    <a:gd name="connsiteX6" fmla="*/ 312024 w 510189"/>
                    <a:gd name="connsiteY6" fmla="*/ 8434 h 454926"/>
                    <a:gd name="connsiteX7" fmla="*/ 312024 w 510189"/>
                    <a:gd name="connsiteY7" fmla="*/ 87809 h 454926"/>
                    <a:gd name="connsiteX8" fmla="*/ 334249 w 510189"/>
                    <a:gd name="connsiteY8" fmla="*/ 135434 h 454926"/>
                    <a:gd name="connsiteX9" fmla="*/ 445374 w 510189"/>
                    <a:gd name="connsiteY9" fmla="*/ 157659 h 454926"/>
                    <a:gd name="connsiteX10" fmla="*/ 486649 w 510189"/>
                    <a:gd name="connsiteY10" fmla="*/ 183059 h 454926"/>
                    <a:gd name="connsiteX11" fmla="*/ 508874 w 510189"/>
                    <a:gd name="connsiteY11" fmla="*/ 227509 h 454926"/>
                    <a:gd name="connsiteX12" fmla="*/ 505699 w 510189"/>
                    <a:gd name="connsiteY12" fmla="*/ 449759 h 454926"/>
                    <a:gd name="connsiteX13" fmla="*/ 4049 w 510189"/>
                    <a:gd name="connsiteY13" fmla="*/ 443409 h 454926"/>
                    <a:gd name="connsiteX0" fmla="*/ 4049 w 510189"/>
                    <a:gd name="connsiteY0" fmla="*/ 443409 h 454926"/>
                    <a:gd name="connsiteX1" fmla="*/ 7224 w 510189"/>
                    <a:gd name="connsiteY1" fmla="*/ 208459 h 454926"/>
                    <a:gd name="connsiteX2" fmla="*/ 70724 w 510189"/>
                    <a:gd name="connsiteY2" fmla="*/ 154484 h 454926"/>
                    <a:gd name="connsiteX3" fmla="*/ 172324 w 510189"/>
                    <a:gd name="connsiteY3" fmla="*/ 148134 h 454926"/>
                    <a:gd name="connsiteX4" fmla="*/ 188199 w 510189"/>
                    <a:gd name="connsiteY4" fmla="*/ 90984 h 454926"/>
                    <a:gd name="connsiteX5" fmla="*/ 200899 w 510189"/>
                    <a:gd name="connsiteY5" fmla="*/ 11609 h 454926"/>
                    <a:gd name="connsiteX6" fmla="*/ 312024 w 510189"/>
                    <a:gd name="connsiteY6" fmla="*/ 8434 h 454926"/>
                    <a:gd name="connsiteX7" fmla="*/ 312024 w 510189"/>
                    <a:gd name="connsiteY7" fmla="*/ 87809 h 454926"/>
                    <a:gd name="connsiteX8" fmla="*/ 334249 w 510189"/>
                    <a:gd name="connsiteY8" fmla="*/ 135434 h 454926"/>
                    <a:gd name="connsiteX9" fmla="*/ 445374 w 510189"/>
                    <a:gd name="connsiteY9" fmla="*/ 157659 h 454926"/>
                    <a:gd name="connsiteX10" fmla="*/ 508874 w 510189"/>
                    <a:gd name="connsiteY10" fmla="*/ 227509 h 454926"/>
                    <a:gd name="connsiteX11" fmla="*/ 505699 w 510189"/>
                    <a:gd name="connsiteY11" fmla="*/ 449759 h 454926"/>
                    <a:gd name="connsiteX12" fmla="*/ 4049 w 510189"/>
                    <a:gd name="connsiteY12" fmla="*/ 443409 h 454926"/>
                    <a:gd name="connsiteX0" fmla="*/ 4049 w 510189"/>
                    <a:gd name="connsiteY0" fmla="*/ 443409 h 454926"/>
                    <a:gd name="connsiteX1" fmla="*/ 7224 w 510189"/>
                    <a:gd name="connsiteY1" fmla="*/ 208459 h 454926"/>
                    <a:gd name="connsiteX2" fmla="*/ 70724 w 510189"/>
                    <a:gd name="connsiteY2" fmla="*/ 154484 h 454926"/>
                    <a:gd name="connsiteX3" fmla="*/ 172324 w 510189"/>
                    <a:gd name="connsiteY3" fmla="*/ 148134 h 454926"/>
                    <a:gd name="connsiteX4" fmla="*/ 188199 w 510189"/>
                    <a:gd name="connsiteY4" fmla="*/ 90984 h 454926"/>
                    <a:gd name="connsiteX5" fmla="*/ 200899 w 510189"/>
                    <a:gd name="connsiteY5" fmla="*/ 11609 h 454926"/>
                    <a:gd name="connsiteX6" fmla="*/ 312024 w 510189"/>
                    <a:gd name="connsiteY6" fmla="*/ 8434 h 454926"/>
                    <a:gd name="connsiteX7" fmla="*/ 312024 w 510189"/>
                    <a:gd name="connsiteY7" fmla="*/ 87809 h 454926"/>
                    <a:gd name="connsiteX8" fmla="*/ 334249 w 510189"/>
                    <a:gd name="connsiteY8" fmla="*/ 135434 h 454926"/>
                    <a:gd name="connsiteX9" fmla="*/ 445374 w 510189"/>
                    <a:gd name="connsiteY9" fmla="*/ 157659 h 454926"/>
                    <a:gd name="connsiteX10" fmla="*/ 508874 w 510189"/>
                    <a:gd name="connsiteY10" fmla="*/ 227509 h 454926"/>
                    <a:gd name="connsiteX11" fmla="*/ 505699 w 510189"/>
                    <a:gd name="connsiteY11" fmla="*/ 449759 h 454926"/>
                    <a:gd name="connsiteX12" fmla="*/ 4049 w 510189"/>
                    <a:gd name="connsiteY12" fmla="*/ 443409 h 454926"/>
                    <a:gd name="connsiteX0" fmla="*/ 5987 w 512127"/>
                    <a:gd name="connsiteY0" fmla="*/ 443409 h 454926"/>
                    <a:gd name="connsiteX1" fmla="*/ 2812 w 512127"/>
                    <a:gd name="connsiteY1" fmla="*/ 217984 h 454926"/>
                    <a:gd name="connsiteX2" fmla="*/ 72662 w 512127"/>
                    <a:gd name="connsiteY2" fmla="*/ 154484 h 454926"/>
                    <a:gd name="connsiteX3" fmla="*/ 174262 w 512127"/>
                    <a:gd name="connsiteY3" fmla="*/ 148134 h 454926"/>
                    <a:gd name="connsiteX4" fmla="*/ 190137 w 512127"/>
                    <a:gd name="connsiteY4" fmla="*/ 90984 h 454926"/>
                    <a:gd name="connsiteX5" fmla="*/ 202837 w 512127"/>
                    <a:gd name="connsiteY5" fmla="*/ 11609 h 454926"/>
                    <a:gd name="connsiteX6" fmla="*/ 313962 w 512127"/>
                    <a:gd name="connsiteY6" fmla="*/ 8434 h 454926"/>
                    <a:gd name="connsiteX7" fmla="*/ 313962 w 512127"/>
                    <a:gd name="connsiteY7" fmla="*/ 87809 h 454926"/>
                    <a:gd name="connsiteX8" fmla="*/ 336187 w 512127"/>
                    <a:gd name="connsiteY8" fmla="*/ 135434 h 454926"/>
                    <a:gd name="connsiteX9" fmla="*/ 447312 w 512127"/>
                    <a:gd name="connsiteY9" fmla="*/ 157659 h 454926"/>
                    <a:gd name="connsiteX10" fmla="*/ 510812 w 512127"/>
                    <a:gd name="connsiteY10" fmla="*/ 227509 h 454926"/>
                    <a:gd name="connsiteX11" fmla="*/ 507637 w 512127"/>
                    <a:gd name="connsiteY11" fmla="*/ 449759 h 454926"/>
                    <a:gd name="connsiteX12" fmla="*/ 5987 w 512127"/>
                    <a:gd name="connsiteY12" fmla="*/ 443409 h 454926"/>
                    <a:gd name="connsiteX0" fmla="*/ 9762 w 515902"/>
                    <a:gd name="connsiteY0" fmla="*/ 443409 h 454926"/>
                    <a:gd name="connsiteX1" fmla="*/ 6587 w 515902"/>
                    <a:gd name="connsiteY1" fmla="*/ 217984 h 454926"/>
                    <a:gd name="connsiteX2" fmla="*/ 76437 w 515902"/>
                    <a:gd name="connsiteY2" fmla="*/ 154484 h 454926"/>
                    <a:gd name="connsiteX3" fmla="*/ 178037 w 515902"/>
                    <a:gd name="connsiteY3" fmla="*/ 148134 h 454926"/>
                    <a:gd name="connsiteX4" fmla="*/ 193912 w 515902"/>
                    <a:gd name="connsiteY4" fmla="*/ 90984 h 454926"/>
                    <a:gd name="connsiteX5" fmla="*/ 206612 w 515902"/>
                    <a:gd name="connsiteY5" fmla="*/ 11609 h 454926"/>
                    <a:gd name="connsiteX6" fmla="*/ 317737 w 515902"/>
                    <a:gd name="connsiteY6" fmla="*/ 8434 h 454926"/>
                    <a:gd name="connsiteX7" fmla="*/ 317737 w 515902"/>
                    <a:gd name="connsiteY7" fmla="*/ 87809 h 454926"/>
                    <a:gd name="connsiteX8" fmla="*/ 339962 w 515902"/>
                    <a:gd name="connsiteY8" fmla="*/ 135434 h 454926"/>
                    <a:gd name="connsiteX9" fmla="*/ 451087 w 515902"/>
                    <a:gd name="connsiteY9" fmla="*/ 157659 h 454926"/>
                    <a:gd name="connsiteX10" fmla="*/ 514587 w 515902"/>
                    <a:gd name="connsiteY10" fmla="*/ 227509 h 454926"/>
                    <a:gd name="connsiteX11" fmla="*/ 511412 w 515902"/>
                    <a:gd name="connsiteY11" fmla="*/ 449759 h 454926"/>
                    <a:gd name="connsiteX12" fmla="*/ 9762 w 515902"/>
                    <a:gd name="connsiteY12" fmla="*/ 443409 h 454926"/>
                    <a:gd name="connsiteX0" fmla="*/ 9762 w 515902"/>
                    <a:gd name="connsiteY0" fmla="*/ 443409 h 454926"/>
                    <a:gd name="connsiteX1" fmla="*/ 6587 w 515902"/>
                    <a:gd name="connsiteY1" fmla="*/ 217984 h 454926"/>
                    <a:gd name="connsiteX2" fmla="*/ 76437 w 515902"/>
                    <a:gd name="connsiteY2" fmla="*/ 154484 h 454926"/>
                    <a:gd name="connsiteX3" fmla="*/ 178037 w 515902"/>
                    <a:gd name="connsiteY3" fmla="*/ 148134 h 454926"/>
                    <a:gd name="connsiteX4" fmla="*/ 193912 w 515902"/>
                    <a:gd name="connsiteY4" fmla="*/ 90984 h 454926"/>
                    <a:gd name="connsiteX5" fmla="*/ 206612 w 515902"/>
                    <a:gd name="connsiteY5" fmla="*/ 11609 h 454926"/>
                    <a:gd name="connsiteX6" fmla="*/ 317737 w 515902"/>
                    <a:gd name="connsiteY6" fmla="*/ 8434 h 454926"/>
                    <a:gd name="connsiteX7" fmla="*/ 317737 w 515902"/>
                    <a:gd name="connsiteY7" fmla="*/ 87809 h 454926"/>
                    <a:gd name="connsiteX8" fmla="*/ 339962 w 515902"/>
                    <a:gd name="connsiteY8" fmla="*/ 135434 h 454926"/>
                    <a:gd name="connsiteX9" fmla="*/ 451087 w 515902"/>
                    <a:gd name="connsiteY9" fmla="*/ 157659 h 454926"/>
                    <a:gd name="connsiteX10" fmla="*/ 514587 w 515902"/>
                    <a:gd name="connsiteY10" fmla="*/ 227509 h 454926"/>
                    <a:gd name="connsiteX11" fmla="*/ 511412 w 515902"/>
                    <a:gd name="connsiteY11" fmla="*/ 449759 h 454926"/>
                    <a:gd name="connsiteX12" fmla="*/ 9762 w 515902"/>
                    <a:gd name="connsiteY12" fmla="*/ 443409 h 454926"/>
                    <a:gd name="connsiteX0" fmla="*/ 9762 w 515902"/>
                    <a:gd name="connsiteY0" fmla="*/ 443409 h 454926"/>
                    <a:gd name="connsiteX1" fmla="*/ 6587 w 515902"/>
                    <a:gd name="connsiteY1" fmla="*/ 217984 h 454926"/>
                    <a:gd name="connsiteX2" fmla="*/ 76437 w 515902"/>
                    <a:gd name="connsiteY2" fmla="*/ 154484 h 454926"/>
                    <a:gd name="connsiteX3" fmla="*/ 193912 w 515902"/>
                    <a:gd name="connsiteY3" fmla="*/ 90984 h 454926"/>
                    <a:gd name="connsiteX4" fmla="*/ 206612 w 515902"/>
                    <a:gd name="connsiteY4" fmla="*/ 11609 h 454926"/>
                    <a:gd name="connsiteX5" fmla="*/ 317737 w 515902"/>
                    <a:gd name="connsiteY5" fmla="*/ 8434 h 454926"/>
                    <a:gd name="connsiteX6" fmla="*/ 317737 w 515902"/>
                    <a:gd name="connsiteY6" fmla="*/ 87809 h 454926"/>
                    <a:gd name="connsiteX7" fmla="*/ 339962 w 515902"/>
                    <a:gd name="connsiteY7" fmla="*/ 135434 h 454926"/>
                    <a:gd name="connsiteX8" fmla="*/ 451087 w 515902"/>
                    <a:gd name="connsiteY8" fmla="*/ 157659 h 454926"/>
                    <a:gd name="connsiteX9" fmla="*/ 514587 w 515902"/>
                    <a:gd name="connsiteY9" fmla="*/ 227509 h 454926"/>
                    <a:gd name="connsiteX10" fmla="*/ 511412 w 515902"/>
                    <a:gd name="connsiteY10" fmla="*/ 449759 h 454926"/>
                    <a:gd name="connsiteX11" fmla="*/ 9762 w 515902"/>
                    <a:gd name="connsiteY11" fmla="*/ 443409 h 454926"/>
                    <a:gd name="connsiteX0" fmla="*/ 9762 w 515902"/>
                    <a:gd name="connsiteY0" fmla="*/ 446099 h 457616"/>
                    <a:gd name="connsiteX1" fmla="*/ 6587 w 515902"/>
                    <a:gd name="connsiteY1" fmla="*/ 220674 h 457616"/>
                    <a:gd name="connsiteX2" fmla="*/ 76437 w 515902"/>
                    <a:gd name="connsiteY2" fmla="*/ 157174 h 457616"/>
                    <a:gd name="connsiteX3" fmla="*/ 190737 w 515902"/>
                    <a:gd name="connsiteY3" fmla="*/ 138124 h 457616"/>
                    <a:gd name="connsiteX4" fmla="*/ 206612 w 515902"/>
                    <a:gd name="connsiteY4" fmla="*/ 14299 h 457616"/>
                    <a:gd name="connsiteX5" fmla="*/ 317737 w 515902"/>
                    <a:gd name="connsiteY5" fmla="*/ 11124 h 457616"/>
                    <a:gd name="connsiteX6" fmla="*/ 317737 w 515902"/>
                    <a:gd name="connsiteY6" fmla="*/ 90499 h 457616"/>
                    <a:gd name="connsiteX7" fmla="*/ 339962 w 515902"/>
                    <a:gd name="connsiteY7" fmla="*/ 138124 h 457616"/>
                    <a:gd name="connsiteX8" fmla="*/ 451087 w 515902"/>
                    <a:gd name="connsiteY8" fmla="*/ 160349 h 457616"/>
                    <a:gd name="connsiteX9" fmla="*/ 514587 w 515902"/>
                    <a:gd name="connsiteY9" fmla="*/ 230199 h 457616"/>
                    <a:gd name="connsiteX10" fmla="*/ 511412 w 515902"/>
                    <a:gd name="connsiteY10" fmla="*/ 452449 h 457616"/>
                    <a:gd name="connsiteX11" fmla="*/ 9762 w 515902"/>
                    <a:gd name="connsiteY11" fmla="*/ 446099 h 457616"/>
                    <a:gd name="connsiteX0" fmla="*/ 9762 w 515902"/>
                    <a:gd name="connsiteY0" fmla="*/ 446099 h 457616"/>
                    <a:gd name="connsiteX1" fmla="*/ 6587 w 515902"/>
                    <a:gd name="connsiteY1" fmla="*/ 220674 h 457616"/>
                    <a:gd name="connsiteX2" fmla="*/ 76437 w 515902"/>
                    <a:gd name="connsiteY2" fmla="*/ 157174 h 457616"/>
                    <a:gd name="connsiteX3" fmla="*/ 190737 w 515902"/>
                    <a:gd name="connsiteY3" fmla="*/ 138124 h 457616"/>
                    <a:gd name="connsiteX4" fmla="*/ 206612 w 515902"/>
                    <a:gd name="connsiteY4" fmla="*/ 14299 h 457616"/>
                    <a:gd name="connsiteX5" fmla="*/ 317737 w 515902"/>
                    <a:gd name="connsiteY5" fmla="*/ 11124 h 457616"/>
                    <a:gd name="connsiteX6" fmla="*/ 317737 w 515902"/>
                    <a:gd name="connsiteY6" fmla="*/ 90499 h 457616"/>
                    <a:gd name="connsiteX7" fmla="*/ 451087 w 515902"/>
                    <a:gd name="connsiteY7" fmla="*/ 160349 h 457616"/>
                    <a:gd name="connsiteX8" fmla="*/ 514587 w 515902"/>
                    <a:gd name="connsiteY8" fmla="*/ 230199 h 457616"/>
                    <a:gd name="connsiteX9" fmla="*/ 511412 w 515902"/>
                    <a:gd name="connsiteY9" fmla="*/ 452449 h 457616"/>
                    <a:gd name="connsiteX10" fmla="*/ 9762 w 515902"/>
                    <a:gd name="connsiteY10" fmla="*/ 446099 h 457616"/>
                    <a:gd name="connsiteX0" fmla="*/ 9762 w 515902"/>
                    <a:gd name="connsiteY0" fmla="*/ 447482 h 458999"/>
                    <a:gd name="connsiteX1" fmla="*/ 6587 w 515902"/>
                    <a:gd name="connsiteY1" fmla="*/ 222057 h 458999"/>
                    <a:gd name="connsiteX2" fmla="*/ 76437 w 515902"/>
                    <a:gd name="connsiteY2" fmla="*/ 158557 h 458999"/>
                    <a:gd name="connsiteX3" fmla="*/ 190737 w 515902"/>
                    <a:gd name="connsiteY3" fmla="*/ 139507 h 458999"/>
                    <a:gd name="connsiteX4" fmla="*/ 206612 w 515902"/>
                    <a:gd name="connsiteY4" fmla="*/ 15682 h 458999"/>
                    <a:gd name="connsiteX5" fmla="*/ 317737 w 515902"/>
                    <a:gd name="connsiteY5" fmla="*/ 12507 h 458999"/>
                    <a:gd name="connsiteX6" fmla="*/ 330437 w 515902"/>
                    <a:gd name="connsiteY6" fmla="*/ 114107 h 458999"/>
                    <a:gd name="connsiteX7" fmla="*/ 451087 w 515902"/>
                    <a:gd name="connsiteY7" fmla="*/ 161732 h 458999"/>
                    <a:gd name="connsiteX8" fmla="*/ 514587 w 515902"/>
                    <a:gd name="connsiteY8" fmla="*/ 231582 h 458999"/>
                    <a:gd name="connsiteX9" fmla="*/ 511412 w 515902"/>
                    <a:gd name="connsiteY9" fmla="*/ 453832 h 458999"/>
                    <a:gd name="connsiteX10" fmla="*/ 9762 w 515902"/>
                    <a:gd name="connsiteY10" fmla="*/ 447482 h 458999"/>
                    <a:gd name="connsiteX0" fmla="*/ 9762 w 515902"/>
                    <a:gd name="connsiteY0" fmla="*/ 446348 h 457865"/>
                    <a:gd name="connsiteX1" fmla="*/ 6587 w 515902"/>
                    <a:gd name="connsiteY1" fmla="*/ 220923 h 457865"/>
                    <a:gd name="connsiteX2" fmla="*/ 76437 w 515902"/>
                    <a:gd name="connsiteY2" fmla="*/ 157423 h 457865"/>
                    <a:gd name="connsiteX3" fmla="*/ 200262 w 515902"/>
                    <a:gd name="connsiteY3" fmla="*/ 119323 h 457865"/>
                    <a:gd name="connsiteX4" fmla="*/ 206612 w 515902"/>
                    <a:gd name="connsiteY4" fmla="*/ 14548 h 457865"/>
                    <a:gd name="connsiteX5" fmla="*/ 317737 w 515902"/>
                    <a:gd name="connsiteY5" fmla="*/ 11373 h 457865"/>
                    <a:gd name="connsiteX6" fmla="*/ 330437 w 515902"/>
                    <a:gd name="connsiteY6" fmla="*/ 112973 h 457865"/>
                    <a:gd name="connsiteX7" fmla="*/ 451087 w 515902"/>
                    <a:gd name="connsiteY7" fmla="*/ 160598 h 457865"/>
                    <a:gd name="connsiteX8" fmla="*/ 514587 w 515902"/>
                    <a:gd name="connsiteY8" fmla="*/ 230448 h 457865"/>
                    <a:gd name="connsiteX9" fmla="*/ 511412 w 515902"/>
                    <a:gd name="connsiteY9" fmla="*/ 452698 h 457865"/>
                    <a:gd name="connsiteX10" fmla="*/ 9762 w 515902"/>
                    <a:gd name="connsiteY10" fmla="*/ 446348 h 457865"/>
                    <a:gd name="connsiteX0" fmla="*/ 9762 w 515902"/>
                    <a:gd name="connsiteY0" fmla="*/ 446681 h 458198"/>
                    <a:gd name="connsiteX1" fmla="*/ 6587 w 515902"/>
                    <a:gd name="connsiteY1" fmla="*/ 221256 h 458198"/>
                    <a:gd name="connsiteX2" fmla="*/ 76437 w 515902"/>
                    <a:gd name="connsiteY2" fmla="*/ 157756 h 458198"/>
                    <a:gd name="connsiteX3" fmla="*/ 200262 w 515902"/>
                    <a:gd name="connsiteY3" fmla="*/ 119656 h 458198"/>
                    <a:gd name="connsiteX4" fmla="*/ 206612 w 515902"/>
                    <a:gd name="connsiteY4" fmla="*/ 14881 h 458198"/>
                    <a:gd name="connsiteX5" fmla="*/ 317737 w 515902"/>
                    <a:gd name="connsiteY5" fmla="*/ 11706 h 458198"/>
                    <a:gd name="connsiteX6" fmla="*/ 311502 w 515902"/>
                    <a:gd name="connsiteY6" fmla="*/ 118302 h 458198"/>
                    <a:gd name="connsiteX7" fmla="*/ 451087 w 515902"/>
                    <a:gd name="connsiteY7" fmla="*/ 160931 h 458198"/>
                    <a:gd name="connsiteX8" fmla="*/ 514587 w 515902"/>
                    <a:gd name="connsiteY8" fmla="*/ 230781 h 458198"/>
                    <a:gd name="connsiteX9" fmla="*/ 511412 w 515902"/>
                    <a:gd name="connsiteY9" fmla="*/ 453031 h 458198"/>
                    <a:gd name="connsiteX10" fmla="*/ 9762 w 515902"/>
                    <a:gd name="connsiteY10" fmla="*/ 446681 h 458198"/>
                    <a:gd name="connsiteX0" fmla="*/ 9762 w 515902"/>
                    <a:gd name="connsiteY0" fmla="*/ 446681 h 458198"/>
                    <a:gd name="connsiteX1" fmla="*/ 6587 w 515902"/>
                    <a:gd name="connsiteY1" fmla="*/ 221256 h 458198"/>
                    <a:gd name="connsiteX2" fmla="*/ 76437 w 515902"/>
                    <a:gd name="connsiteY2" fmla="*/ 157756 h 458198"/>
                    <a:gd name="connsiteX3" fmla="*/ 200262 w 515902"/>
                    <a:gd name="connsiteY3" fmla="*/ 119656 h 458198"/>
                    <a:gd name="connsiteX4" fmla="*/ 206612 w 515902"/>
                    <a:gd name="connsiteY4" fmla="*/ 14881 h 458198"/>
                    <a:gd name="connsiteX5" fmla="*/ 301506 w 515902"/>
                    <a:gd name="connsiteY5" fmla="*/ 11706 h 458198"/>
                    <a:gd name="connsiteX6" fmla="*/ 311502 w 515902"/>
                    <a:gd name="connsiteY6" fmla="*/ 118302 h 458198"/>
                    <a:gd name="connsiteX7" fmla="*/ 451087 w 515902"/>
                    <a:gd name="connsiteY7" fmla="*/ 160931 h 458198"/>
                    <a:gd name="connsiteX8" fmla="*/ 514587 w 515902"/>
                    <a:gd name="connsiteY8" fmla="*/ 230781 h 458198"/>
                    <a:gd name="connsiteX9" fmla="*/ 511412 w 515902"/>
                    <a:gd name="connsiteY9" fmla="*/ 453031 h 458198"/>
                    <a:gd name="connsiteX10" fmla="*/ 9762 w 515902"/>
                    <a:gd name="connsiteY10" fmla="*/ 446681 h 458198"/>
                    <a:gd name="connsiteX0" fmla="*/ 9762 w 515902"/>
                    <a:gd name="connsiteY0" fmla="*/ 446681 h 458198"/>
                    <a:gd name="connsiteX1" fmla="*/ 6587 w 515902"/>
                    <a:gd name="connsiteY1" fmla="*/ 221256 h 458198"/>
                    <a:gd name="connsiteX2" fmla="*/ 76437 w 515902"/>
                    <a:gd name="connsiteY2" fmla="*/ 157756 h 458198"/>
                    <a:gd name="connsiteX3" fmla="*/ 200262 w 515902"/>
                    <a:gd name="connsiteY3" fmla="*/ 119656 h 458198"/>
                    <a:gd name="connsiteX4" fmla="*/ 206612 w 515902"/>
                    <a:gd name="connsiteY4" fmla="*/ 14881 h 458198"/>
                    <a:gd name="connsiteX5" fmla="*/ 301506 w 515902"/>
                    <a:gd name="connsiteY5" fmla="*/ 11706 h 458198"/>
                    <a:gd name="connsiteX6" fmla="*/ 311502 w 515902"/>
                    <a:gd name="connsiteY6" fmla="*/ 118302 h 458198"/>
                    <a:gd name="connsiteX7" fmla="*/ 442972 w 515902"/>
                    <a:gd name="connsiteY7" fmla="*/ 180912 h 458198"/>
                    <a:gd name="connsiteX8" fmla="*/ 514587 w 515902"/>
                    <a:gd name="connsiteY8" fmla="*/ 230781 h 458198"/>
                    <a:gd name="connsiteX9" fmla="*/ 511412 w 515902"/>
                    <a:gd name="connsiteY9" fmla="*/ 453031 h 458198"/>
                    <a:gd name="connsiteX10" fmla="*/ 9762 w 515902"/>
                    <a:gd name="connsiteY10" fmla="*/ 446681 h 458198"/>
                    <a:gd name="connsiteX0" fmla="*/ 9762 w 511905"/>
                    <a:gd name="connsiteY0" fmla="*/ 446681 h 458198"/>
                    <a:gd name="connsiteX1" fmla="*/ 6587 w 511905"/>
                    <a:gd name="connsiteY1" fmla="*/ 221256 h 458198"/>
                    <a:gd name="connsiteX2" fmla="*/ 76437 w 511905"/>
                    <a:gd name="connsiteY2" fmla="*/ 157756 h 458198"/>
                    <a:gd name="connsiteX3" fmla="*/ 200262 w 511905"/>
                    <a:gd name="connsiteY3" fmla="*/ 119656 h 458198"/>
                    <a:gd name="connsiteX4" fmla="*/ 206612 w 511905"/>
                    <a:gd name="connsiteY4" fmla="*/ 14881 h 458198"/>
                    <a:gd name="connsiteX5" fmla="*/ 301506 w 511905"/>
                    <a:gd name="connsiteY5" fmla="*/ 11706 h 458198"/>
                    <a:gd name="connsiteX6" fmla="*/ 311502 w 511905"/>
                    <a:gd name="connsiteY6" fmla="*/ 118302 h 458198"/>
                    <a:gd name="connsiteX7" fmla="*/ 442972 w 511905"/>
                    <a:gd name="connsiteY7" fmla="*/ 180912 h 458198"/>
                    <a:gd name="connsiteX8" fmla="*/ 498357 w 511905"/>
                    <a:gd name="connsiteY8" fmla="*/ 250762 h 458198"/>
                    <a:gd name="connsiteX9" fmla="*/ 511412 w 511905"/>
                    <a:gd name="connsiteY9" fmla="*/ 453031 h 458198"/>
                    <a:gd name="connsiteX10" fmla="*/ 9762 w 511905"/>
                    <a:gd name="connsiteY10" fmla="*/ 446681 h 458198"/>
                    <a:gd name="connsiteX0" fmla="*/ 9762 w 511905"/>
                    <a:gd name="connsiteY0" fmla="*/ 446681 h 458198"/>
                    <a:gd name="connsiteX1" fmla="*/ 6587 w 511905"/>
                    <a:gd name="connsiteY1" fmla="*/ 221256 h 458198"/>
                    <a:gd name="connsiteX2" fmla="*/ 76437 w 511905"/>
                    <a:gd name="connsiteY2" fmla="*/ 157756 h 458198"/>
                    <a:gd name="connsiteX3" fmla="*/ 200262 w 511905"/>
                    <a:gd name="connsiteY3" fmla="*/ 119656 h 458198"/>
                    <a:gd name="connsiteX4" fmla="*/ 206612 w 511905"/>
                    <a:gd name="connsiteY4" fmla="*/ 14881 h 458198"/>
                    <a:gd name="connsiteX5" fmla="*/ 301506 w 511905"/>
                    <a:gd name="connsiteY5" fmla="*/ 11706 h 458198"/>
                    <a:gd name="connsiteX6" fmla="*/ 311502 w 511905"/>
                    <a:gd name="connsiteY6" fmla="*/ 118302 h 458198"/>
                    <a:gd name="connsiteX7" fmla="*/ 437562 w 511905"/>
                    <a:gd name="connsiteY7" fmla="*/ 198396 h 458198"/>
                    <a:gd name="connsiteX8" fmla="*/ 498357 w 511905"/>
                    <a:gd name="connsiteY8" fmla="*/ 250762 h 458198"/>
                    <a:gd name="connsiteX9" fmla="*/ 511412 w 511905"/>
                    <a:gd name="connsiteY9" fmla="*/ 453031 h 458198"/>
                    <a:gd name="connsiteX10" fmla="*/ 9762 w 511905"/>
                    <a:gd name="connsiteY10" fmla="*/ 446681 h 458198"/>
                    <a:gd name="connsiteX0" fmla="*/ 9762 w 511905"/>
                    <a:gd name="connsiteY0" fmla="*/ 446681 h 458198"/>
                    <a:gd name="connsiteX1" fmla="*/ 6587 w 511905"/>
                    <a:gd name="connsiteY1" fmla="*/ 221256 h 458198"/>
                    <a:gd name="connsiteX2" fmla="*/ 76437 w 511905"/>
                    <a:gd name="connsiteY2" fmla="*/ 157756 h 458198"/>
                    <a:gd name="connsiteX3" fmla="*/ 200262 w 511905"/>
                    <a:gd name="connsiteY3" fmla="*/ 119656 h 458198"/>
                    <a:gd name="connsiteX4" fmla="*/ 206612 w 511905"/>
                    <a:gd name="connsiteY4" fmla="*/ 14881 h 458198"/>
                    <a:gd name="connsiteX5" fmla="*/ 301506 w 511905"/>
                    <a:gd name="connsiteY5" fmla="*/ 11706 h 458198"/>
                    <a:gd name="connsiteX6" fmla="*/ 311502 w 511905"/>
                    <a:gd name="connsiteY6" fmla="*/ 118302 h 458198"/>
                    <a:gd name="connsiteX7" fmla="*/ 451087 w 511905"/>
                    <a:gd name="connsiteY7" fmla="*/ 188406 h 458198"/>
                    <a:gd name="connsiteX8" fmla="*/ 498357 w 511905"/>
                    <a:gd name="connsiteY8" fmla="*/ 250762 h 458198"/>
                    <a:gd name="connsiteX9" fmla="*/ 511412 w 511905"/>
                    <a:gd name="connsiteY9" fmla="*/ 453031 h 458198"/>
                    <a:gd name="connsiteX10" fmla="*/ 9762 w 511905"/>
                    <a:gd name="connsiteY10" fmla="*/ 446681 h 458198"/>
                    <a:gd name="connsiteX0" fmla="*/ 9762 w 511905"/>
                    <a:gd name="connsiteY0" fmla="*/ 447695 h 459212"/>
                    <a:gd name="connsiteX1" fmla="*/ 6587 w 511905"/>
                    <a:gd name="connsiteY1" fmla="*/ 222270 h 459212"/>
                    <a:gd name="connsiteX2" fmla="*/ 76437 w 511905"/>
                    <a:gd name="connsiteY2" fmla="*/ 158770 h 459212"/>
                    <a:gd name="connsiteX3" fmla="*/ 200262 w 511905"/>
                    <a:gd name="connsiteY3" fmla="*/ 120670 h 459212"/>
                    <a:gd name="connsiteX4" fmla="*/ 206612 w 511905"/>
                    <a:gd name="connsiteY4" fmla="*/ 15895 h 459212"/>
                    <a:gd name="connsiteX5" fmla="*/ 301506 w 511905"/>
                    <a:gd name="connsiteY5" fmla="*/ 12720 h 459212"/>
                    <a:gd name="connsiteX6" fmla="*/ 311502 w 511905"/>
                    <a:gd name="connsiteY6" fmla="*/ 134302 h 459212"/>
                    <a:gd name="connsiteX7" fmla="*/ 451087 w 511905"/>
                    <a:gd name="connsiteY7" fmla="*/ 189420 h 459212"/>
                    <a:gd name="connsiteX8" fmla="*/ 498357 w 511905"/>
                    <a:gd name="connsiteY8" fmla="*/ 251776 h 459212"/>
                    <a:gd name="connsiteX9" fmla="*/ 511412 w 511905"/>
                    <a:gd name="connsiteY9" fmla="*/ 454045 h 459212"/>
                    <a:gd name="connsiteX10" fmla="*/ 9762 w 511905"/>
                    <a:gd name="connsiteY10" fmla="*/ 447695 h 459212"/>
                    <a:gd name="connsiteX0" fmla="*/ 4227 w 522600"/>
                    <a:gd name="connsiteY0" fmla="*/ 455188 h 463021"/>
                    <a:gd name="connsiteX1" fmla="*/ 17282 w 522600"/>
                    <a:gd name="connsiteY1" fmla="*/ 222270 h 463021"/>
                    <a:gd name="connsiteX2" fmla="*/ 87132 w 522600"/>
                    <a:gd name="connsiteY2" fmla="*/ 158770 h 463021"/>
                    <a:gd name="connsiteX3" fmla="*/ 210957 w 522600"/>
                    <a:gd name="connsiteY3" fmla="*/ 120670 h 463021"/>
                    <a:gd name="connsiteX4" fmla="*/ 217307 w 522600"/>
                    <a:gd name="connsiteY4" fmla="*/ 15895 h 463021"/>
                    <a:gd name="connsiteX5" fmla="*/ 312201 w 522600"/>
                    <a:gd name="connsiteY5" fmla="*/ 12720 h 463021"/>
                    <a:gd name="connsiteX6" fmla="*/ 322197 w 522600"/>
                    <a:gd name="connsiteY6" fmla="*/ 134302 h 463021"/>
                    <a:gd name="connsiteX7" fmla="*/ 461782 w 522600"/>
                    <a:gd name="connsiteY7" fmla="*/ 189420 h 463021"/>
                    <a:gd name="connsiteX8" fmla="*/ 509052 w 522600"/>
                    <a:gd name="connsiteY8" fmla="*/ 251776 h 463021"/>
                    <a:gd name="connsiteX9" fmla="*/ 522107 w 522600"/>
                    <a:gd name="connsiteY9" fmla="*/ 454045 h 463021"/>
                    <a:gd name="connsiteX10" fmla="*/ 4227 w 522600"/>
                    <a:gd name="connsiteY10" fmla="*/ 455188 h 463021"/>
                    <a:gd name="connsiteX0" fmla="*/ 4227 w 522600"/>
                    <a:gd name="connsiteY0" fmla="*/ 455188 h 457596"/>
                    <a:gd name="connsiteX1" fmla="*/ 17282 w 522600"/>
                    <a:gd name="connsiteY1" fmla="*/ 222270 h 457596"/>
                    <a:gd name="connsiteX2" fmla="*/ 87132 w 522600"/>
                    <a:gd name="connsiteY2" fmla="*/ 158770 h 457596"/>
                    <a:gd name="connsiteX3" fmla="*/ 210957 w 522600"/>
                    <a:gd name="connsiteY3" fmla="*/ 120670 h 457596"/>
                    <a:gd name="connsiteX4" fmla="*/ 217307 w 522600"/>
                    <a:gd name="connsiteY4" fmla="*/ 15895 h 457596"/>
                    <a:gd name="connsiteX5" fmla="*/ 312201 w 522600"/>
                    <a:gd name="connsiteY5" fmla="*/ 12720 h 457596"/>
                    <a:gd name="connsiteX6" fmla="*/ 322197 w 522600"/>
                    <a:gd name="connsiteY6" fmla="*/ 134302 h 457596"/>
                    <a:gd name="connsiteX7" fmla="*/ 461782 w 522600"/>
                    <a:gd name="connsiteY7" fmla="*/ 189420 h 457596"/>
                    <a:gd name="connsiteX8" fmla="*/ 509052 w 522600"/>
                    <a:gd name="connsiteY8" fmla="*/ 251776 h 457596"/>
                    <a:gd name="connsiteX9" fmla="*/ 522107 w 522600"/>
                    <a:gd name="connsiteY9" fmla="*/ 454045 h 457596"/>
                    <a:gd name="connsiteX10" fmla="*/ 4227 w 522600"/>
                    <a:gd name="connsiteY10" fmla="*/ 455188 h 457596"/>
                    <a:gd name="connsiteX0" fmla="*/ 12757 w 531130"/>
                    <a:gd name="connsiteY0" fmla="*/ 455188 h 457596"/>
                    <a:gd name="connsiteX1" fmla="*/ 6876 w 531130"/>
                    <a:gd name="connsiteY1" fmla="*/ 237256 h 457596"/>
                    <a:gd name="connsiteX2" fmla="*/ 95662 w 531130"/>
                    <a:gd name="connsiteY2" fmla="*/ 158770 h 457596"/>
                    <a:gd name="connsiteX3" fmla="*/ 219487 w 531130"/>
                    <a:gd name="connsiteY3" fmla="*/ 120670 h 457596"/>
                    <a:gd name="connsiteX4" fmla="*/ 225837 w 531130"/>
                    <a:gd name="connsiteY4" fmla="*/ 15895 h 457596"/>
                    <a:gd name="connsiteX5" fmla="*/ 320731 w 531130"/>
                    <a:gd name="connsiteY5" fmla="*/ 12720 h 457596"/>
                    <a:gd name="connsiteX6" fmla="*/ 330727 w 531130"/>
                    <a:gd name="connsiteY6" fmla="*/ 134302 h 457596"/>
                    <a:gd name="connsiteX7" fmla="*/ 470312 w 531130"/>
                    <a:gd name="connsiteY7" fmla="*/ 189420 h 457596"/>
                    <a:gd name="connsiteX8" fmla="*/ 517582 w 531130"/>
                    <a:gd name="connsiteY8" fmla="*/ 251776 h 457596"/>
                    <a:gd name="connsiteX9" fmla="*/ 530637 w 531130"/>
                    <a:gd name="connsiteY9" fmla="*/ 454045 h 457596"/>
                    <a:gd name="connsiteX10" fmla="*/ 12757 w 531130"/>
                    <a:gd name="connsiteY10" fmla="*/ 455188 h 457596"/>
                    <a:gd name="connsiteX0" fmla="*/ 7226 w 536419"/>
                    <a:gd name="connsiteY0" fmla="*/ 447695 h 456315"/>
                    <a:gd name="connsiteX1" fmla="*/ 12165 w 536419"/>
                    <a:gd name="connsiteY1" fmla="*/ 237256 h 456315"/>
                    <a:gd name="connsiteX2" fmla="*/ 100951 w 536419"/>
                    <a:gd name="connsiteY2" fmla="*/ 158770 h 456315"/>
                    <a:gd name="connsiteX3" fmla="*/ 224776 w 536419"/>
                    <a:gd name="connsiteY3" fmla="*/ 120670 h 456315"/>
                    <a:gd name="connsiteX4" fmla="*/ 231126 w 536419"/>
                    <a:gd name="connsiteY4" fmla="*/ 15895 h 456315"/>
                    <a:gd name="connsiteX5" fmla="*/ 326020 w 536419"/>
                    <a:gd name="connsiteY5" fmla="*/ 12720 h 456315"/>
                    <a:gd name="connsiteX6" fmla="*/ 336016 w 536419"/>
                    <a:gd name="connsiteY6" fmla="*/ 134302 h 456315"/>
                    <a:gd name="connsiteX7" fmla="*/ 475601 w 536419"/>
                    <a:gd name="connsiteY7" fmla="*/ 189420 h 456315"/>
                    <a:gd name="connsiteX8" fmla="*/ 522871 w 536419"/>
                    <a:gd name="connsiteY8" fmla="*/ 251776 h 456315"/>
                    <a:gd name="connsiteX9" fmla="*/ 535926 w 536419"/>
                    <a:gd name="connsiteY9" fmla="*/ 454045 h 456315"/>
                    <a:gd name="connsiteX10" fmla="*/ 7226 w 536419"/>
                    <a:gd name="connsiteY10" fmla="*/ 447695 h 456315"/>
                    <a:gd name="connsiteX0" fmla="*/ 7226 w 528834"/>
                    <a:gd name="connsiteY0" fmla="*/ 447695 h 456315"/>
                    <a:gd name="connsiteX1" fmla="*/ 12165 w 528834"/>
                    <a:gd name="connsiteY1" fmla="*/ 237256 h 456315"/>
                    <a:gd name="connsiteX2" fmla="*/ 100951 w 528834"/>
                    <a:gd name="connsiteY2" fmla="*/ 158770 h 456315"/>
                    <a:gd name="connsiteX3" fmla="*/ 224776 w 528834"/>
                    <a:gd name="connsiteY3" fmla="*/ 120670 h 456315"/>
                    <a:gd name="connsiteX4" fmla="*/ 231126 w 528834"/>
                    <a:gd name="connsiteY4" fmla="*/ 15895 h 456315"/>
                    <a:gd name="connsiteX5" fmla="*/ 326020 w 528834"/>
                    <a:gd name="connsiteY5" fmla="*/ 12720 h 456315"/>
                    <a:gd name="connsiteX6" fmla="*/ 336016 w 528834"/>
                    <a:gd name="connsiteY6" fmla="*/ 134302 h 456315"/>
                    <a:gd name="connsiteX7" fmla="*/ 475601 w 528834"/>
                    <a:gd name="connsiteY7" fmla="*/ 189420 h 456315"/>
                    <a:gd name="connsiteX8" fmla="*/ 522871 w 528834"/>
                    <a:gd name="connsiteY8" fmla="*/ 251776 h 456315"/>
                    <a:gd name="connsiteX9" fmla="*/ 527811 w 528834"/>
                    <a:gd name="connsiteY9" fmla="*/ 454045 h 456315"/>
                    <a:gd name="connsiteX10" fmla="*/ 7226 w 528834"/>
                    <a:gd name="connsiteY10" fmla="*/ 447695 h 456315"/>
                    <a:gd name="connsiteX0" fmla="*/ 7226 w 528834"/>
                    <a:gd name="connsiteY0" fmla="*/ 447695 h 456315"/>
                    <a:gd name="connsiteX1" fmla="*/ 12165 w 528834"/>
                    <a:gd name="connsiteY1" fmla="*/ 237256 h 456315"/>
                    <a:gd name="connsiteX2" fmla="*/ 100951 w 528834"/>
                    <a:gd name="connsiteY2" fmla="*/ 158770 h 456315"/>
                    <a:gd name="connsiteX3" fmla="*/ 224776 w 528834"/>
                    <a:gd name="connsiteY3" fmla="*/ 120670 h 456315"/>
                    <a:gd name="connsiteX4" fmla="*/ 231126 w 528834"/>
                    <a:gd name="connsiteY4" fmla="*/ 15895 h 456315"/>
                    <a:gd name="connsiteX5" fmla="*/ 326020 w 528834"/>
                    <a:gd name="connsiteY5" fmla="*/ 12720 h 456315"/>
                    <a:gd name="connsiteX6" fmla="*/ 336016 w 528834"/>
                    <a:gd name="connsiteY6" fmla="*/ 134302 h 456315"/>
                    <a:gd name="connsiteX7" fmla="*/ 462076 w 528834"/>
                    <a:gd name="connsiteY7" fmla="*/ 184425 h 456315"/>
                    <a:gd name="connsiteX8" fmla="*/ 522871 w 528834"/>
                    <a:gd name="connsiteY8" fmla="*/ 251776 h 456315"/>
                    <a:gd name="connsiteX9" fmla="*/ 527811 w 528834"/>
                    <a:gd name="connsiteY9" fmla="*/ 454045 h 456315"/>
                    <a:gd name="connsiteX10" fmla="*/ 7226 w 528834"/>
                    <a:gd name="connsiteY10" fmla="*/ 447695 h 456315"/>
                    <a:gd name="connsiteX0" fmla="*/ 8515 w 530123"/>
                    <a:gd name="connsiteY0" fmla="*/ 447695 h 456315"/>
                    <a:gd name="connsiteX1" fmla="*/ 10749 w 530123"/>
                    <a:gd name="connsiteY1" fmla="*/ 244749 h 456315"/>
                    <a:gd name="connsiteX2" fmla="*/ 102240 w 530123"/>
                    <a:gd name="connsiteY2" fmla="*/ 158770 h 456315"/>
                    <a:gd name="connsiteX3" fmla="*/ 226065 w 530123"/>
                    <a:gd name="connsiteY3" fmla="*/ 120670 h 456315"/>
                    <a:gd name="connsiteX4" fmla="*/ 232415 w 530123"/>
                    <a:gd name="connsiteY4" fmla="*/ 15895 h 456315"/>
                    <a:gd name="connsiteX5" fmla="*/ 327309 w 530123"/>
                    <a:gd name="connsiteY5" fmla="*/ 12720 h 456315"/>
                    <a:gd name="connsiteX6" fmla="*/ 337305 w 530123"/>
                    <a:gd name="connsiteY6" fmla="*/ 134302 h 456315"/>
                    <a:gd name="connsiteX7" fmla="*/ 463365 w 530123"/>
                    <a:gd name="connsiteY7" fmla="*/ 184425 h 456315"/>
                    <a:gd name="connsiteX8" fmla="*/ 524160 w 530123"/>
                    <a:gd name="connsiteY8" fmla="*/ 251776 h 456315"/>
                    <a:gd name="connsiteX9" fmla="*/ 529100 w 530123"/>
                    <a:gd name="connsiteY9" fmla="*/ 454045 h 456315"/>
                    <a:gd name="connsiteX10" fmla="*/ 8515 w 530123"/>
                    <a:gd name="connsiteY10" fmla="*/ 447695 h 456315"/>
                    <a:gd name="connsiteX0" fmla="*/ 7671 w 529279"/>
                    <a:gd name="connsiteY0" fmla="*/ 447695 h 456315"/>
                    <a:gd name="connsiteX1" fmla="*/ 9905 w 529279"/>
                    <a:gd name="connsiteY1" fmla="*/ 244749 h 456315"/>
                    <a:gd name="connsiteX2" fmla="*/ 87870 w 529279"/>
                    <a:gd name="connsiteY2" fmla="*/ 166263 h 456315"/>
                    <a:gd name="connsiteX3" fmla="*/ 225221 w 529279"/>
                    <a:gd name="connsiteY3" fmla="*/ 120670 h 456315"/>
                    <a:gd name="connsiteX4" fmla="*/ 231571 w 529279"/>
                    <a:gd name="connsiteY4" fmla="*/ 15895 h 456315"/>
                    <a:gd name="connsiteX5" fmla="*/ 326465 w 529279"/>
                    <a:gd name="connsiteY5" fmla="*/ 12720 h 456315"/>
                    <a:gd name="connsiteX6" fmla="*/ 336461 w 529279"/>
                    <a:gd name="connsiteY6" fmla="*/ 134302 h 456315"/>
                    <a:gd name="connsiteX7" fmla="*/ 462521 w 529279"/>
                    <a:gd name="connsiteY7" fmla="*/ 184425 h 456315"/>
                    <a:gd name="connsiteX8" fmla="*/ 523316 w 529279"/>
                    <a:gd name="connsiteY8" fmla="*/ 251776 h 456315"/>
                    <a:gd name="connsiteX9" fmla="*/ 528256 w 529279"/>
                    <a:gd name="connsiteY9" fmla="*/ 454045 h 456315"/>
                    <a:gd name="connsiteX10" fmla="*/ 7671 w 529279"/>
                    <a:gd name="connsiteY10" fmla="*/ 447695 h 456315"/>
                    <a:gd name="connsiteX0" fmla="*/ 7671 w 529279"/>
                    <a:gd name="connsiteY0" fmla="*/ 447558 h 456178"/>
                    <a:gd name="connsiteX1" fmla="*/ 9905 w 529279"/>
                    <a:gd name="connsiteY1" fmla="*/ 244612 h 456178"/>
                    <a:gd name="connsiteX2" fmla="*/ 87870 w 529279"/>
                    <a:gd name="connsiteY2" fmla="*/ 166126 h 456178"/>
                    <a:gd name="connsiteX3" fmla="*/ 206285 w 529279"/>
                    <a:gd name="connsiteY3" fmla="*/ 118035 h 456178"/>
                    <a:gd name="connsiteX4" fmla="*/ 231571 w 529279"/>
                    <a:gd name="connsiteY4" fmla="*/ 15758 h 456178"/>
                    <a:gd name="connsiteX5" fmla="*/ 326465 w 529279"/>
                    <a:gd name="connsiteY5" fmla="*/ 12583 h 456178"/>
                    <a:gd name="connsiteX6" fmla="*/ 336461 w 529279"/>
                    <a:gd name="connsiteY6" fmla="*/ 134165 h 456178"/>
                    <a:gd name="connsiteX7" fmla="*/ 462521 w 529279"/>
                    <a:gd name="connsiteY7" fmla="*/ 184288 h 456178"/>
                    <a:gd name="connsiteX8" fmla="*/ 523316 w 529279"/>
                    <a:gd name="connsiteY8" fmla="*/ 251639 h 456178"/>
                    <a:gd name="connsiteX9" fmla="*/ 528256 w 529279"/>
                    <a:gd name="connsiteY9" fmla="*/ 453908 h 456178"/>
                    <a:gd name="connsiteX10" fmla="*/ 7671 w 529279"/>
                    <a:gd name="connsiteY10" fmla="*/ 447558 h 456178"/>
                    <a:gd name="connsiteX0" fmla="*/ 14544 w 536152"/>
                    <a:gd name="connsiteY0" fmla="*/ 447558 h 456178"/>
                    <a:gd name="connsiteX1" fmla="*/ 5958 w 536152"/>
                    <a:gd name="connsiteY1" fmla="*/ 247109 h 456178"/>
                    <a:gd name="connsiteX2" fmla="*/ 94743 w 536152"/>
                    <a:gd name="connsiteY2" fmla="*/ 166126 h 456178"/>
                    <a:gd name="connsiteX3" fmla="*/ 213158 w 536152"/>
                    <a:gd name="connsiteY3" fmla="*/ 118035 h 456178"/>
                    <a:gd name="connsiteX4" fmla="*/ 238444 w 536152"/>
                    <a:gd name="connsiteY4" fmla="*/ 15758 h 456178"/>
                    <a:gd name="connsiteX5" fmla="*/ 333338 w 536152"/>
                    <a:gd name="connsiteY5" fmla="*/ 12583 h 456178"/>
                    <a:gd name="connsiteX6" fmla="*/ 343334 w 536152"/>
                    <a:gd name="connsiteY6" fmla="*/ 134165 h 456178"/>
                    <a:gd name="connsiteX7" fmla="*/ 469394 w 536152"/>
                    <a:gd name="connsiteY7" fmla="*/ 184288 h 456178"/>
                    <a:gd name="connsiteX8" fmla="*/ 530189 w 536152"/>
                    <a:gd name="connsiteY8" fmla="*/ 251639 h 456178"/>
                    <a:gd name="connsiteX9" fmla="*/ 535129 w 536152"/>
                    <a:gd name="connsiteY9" fmla="*/ 453908 h 456178"/>
                    <a:gd name="connsiteX10" fmla="*/ 14544 w 536152"/>
                    <a:gd name="connsiteY10" fmla="*/ 447558 h 456178"/>
                    <a:gd name="connsiteX0" fmla="*/ 7226 w 542359"/>
                    <a:gd name="connsiteY0" fmla="*/ 450055 h 456488"/>
                    <a:gd name="connsiteX1" fmla="*/ 12165 w 542359"/>
                    <a:gd name="connsiteY1" fmla="*/ 247109 h 456488"/>
                    <a:gd name="connsiteX2" fmla="*/ 100950 w 542359"/>
                    <a:gd name="connsiteY2" fmla="*/ 166126 h 456488"/>
                    <a:gd name="connsiteX3" fmla="*/ 219365 w 542359"/>
                    <a:gd name="connsiteY3" fmla="*/ 118035 h 456488"/>
                    <a:gd name="connsiteX4" fmla="*/ 244651 w 542359"/>
                    <a:gd name="connsiteY4" fmla="*/ 15758 h 456488"/>
                    <a:gd name="connsiteX5" fmla="*/ 339545 w 542359"/>
                    <a:gd name="connsiteY5" fmla="*/ 12583 h 456488"/>
                    <a:gd name="connsiteX6" fmla="*/ 349541 w 542359"/>
                    <a:gd name="connsiteY6" fmla="*/ 134165 h 456488"/>
                    <a:gd name="connsiteX7" fmla="*/ 475601 w 542359"/>
                    <a:gd name="connsiteY7" fmla="*/ 184288 h 456488"/>
                    <a:gd name="connsiteX8" fmla="*/ 536396 w 542359"/>
                    <a:gd name="connsiteY8" fmla="*/ 251639 h 456488"/>
                    <a:gd name="connsiteX9" fmla="*/ 541336 w 542359"/>
                    <a:gd name="connsiteY9" fmla="*/ 453908 h 456488"/>
                    <a:gd name="connsiteX10" fmla="*/ 7226 w 542359"/>
                    <a:gd name="connsiteY10" fmla="*/ 450055 h 456488"/>
                    <a:gd name="connsiteX0" fmla="*/ 7226 w 542359"/>
                    <a:gd name="connsiteY0" fmla="*/ 450055 h 456488"/>
                    <a:gd name="connsiteX1" fmla="*/ 12165 w 542359"/>
                    <a:gd name="connsiteY1" fmla="*/ 247109 h 456488"/>
                    <a:gd name="connsiteX2" fmla="*/ 100950 w 542359"/>
                    <a:gd name="connsiteY2" fmla="*/ 166126 h 456488"/>
                    <a:gd name="connsiteX3" fmla="*/ 219365 w 542359"/>
                    <a:gd name="connsiteY3" fmla="*/ 118035 h 456488"/>
                    <a:gd name="connsiteX4" fmla="*/ 244651 w 542359"/>
                    <a:gd name="connsiteY4" fmla="*/ 15758 h 456488"/>
                    <a:gd name="connsiteX5" fmla="*/ 331430 w 542359"/>
                    <a:gd name="connsiteY5" fmla="*/ 12583 h 456488"/>
                    <a:gd name="connsiteX6" fmla="*/ 349541 w 542359"/>
                    <a:gd name="connsiteY6" fmla="*/ 134165 h 456488"/>
                    <a:gd name="connsiteX7" fmla="*/ 475601 w 542359"/>
                    <a:gd name="connsiteY7" fmla="*/ 184288 h 456488"/>
                    <a:gd name="connsiteX8" fmla="*/ 536396 w 542359"/>
                    <a:gd name="connsiteY8" fmla="*/ 251639 h 456488"/>
                    <a:gd name="connsiteX9" fmla="*/ 541336 w 542359"/>
                    <a:gd name="connsiteY9" fmla="*/ 453908 h 456488"/>
                    <a:gd name="connsiteX10" fmla="*/ 7226 w 542359"/>
                    <a:gd name="connsiteY10" fmla="*/ 450055 h 456488"/>
                    <a:gd name="connsiteX0" fmla="*/ 7226 w 542359"/>
                    <a:gd name="connsiteY0" fmla="*/ 450055 h 456488"/>
                    <a:gd name="connsiteX1" fmla="*/ 12165 w 542359"/>
                    <a:gd name="connsiteY1" fmla="*/ 247109 h 456488"/>
                    <a:gd name="connsiteX2" fmla="*/ 100950 w 542359"/>
                    <a:gd name="connsiteY2" fmla="*/ 166126 h 456488"/>
                    <a:gd name="connsiteX3" fmla="*/ 219365 w 542359"/>
                    <a:gd name="connsiteY3" fmla="*/ 118035 h 456488"/>
                    <a:gd name="connsiteX4" fmla="*/ 244651 w 542359"/>
                    <a:gd name="connsiteY4" fmla="*/ 15758 h 456488"/>
                    <a:gd name="connsiteX5" fmla="*/ 331430 w 542359"/>
                    <a:gd name="connsiteY5" fmla="*/ 12583 h 456488"/>
                    <a:gd name="connsiteX6" fmla="*/ 349541 w 542359"/>
                    <a:gd name="connsiteY6" fmla="*/ 134165 h 456488"/>
                    <a:gd name="connsiteX7" fmla="*/ 483716 w 542359"/>
                    <a:gd name="connsiteY7" fmla="*/ 179293 h 456488"/>
                    <a:gd name="connsiteX8" fmla="*/ 536396 w 542359"/>
                    <a:gd name="connsiteY8" fmla="*/ 251639 h 456488"/>
                    <a:gd name="connsiteX9" fmla="*/ 541336 w 542359"/>
                    <a:gd name="connsiteY9" fmla="*/ 453908 h 456488"/>
                    <a:gd name="connsiteX10" fmla="*/ 7226 w 542359"/>
                    <a:gd name="connsiteY10" fmla="*/ 450055 h 456488"/>
                    <a:gd name="connsiteX0" fmla="*/ 6630 w 541763"/>
                    <a:gd name="connsiteY0" fmla="*/ 450055 h 456488"/>
                    <a:gd name="connsiteX1" fmla="*/ 11569 w 541763"/>
                    <a:gd name="connsiteY1" fmla="*/ 247109 h 456488"/>
                    <a:gd name="connsiteX2" fmla="*/ 89534 w 541763"/>
                    <a:gd name="connsiteY2" fmla="*/ 166126 h 456488"/>
                    <a:gd name="connsiteX3" fmla="*/ 218769 w 541763"/>
                    <a:gd name="connsiteY3" fmla="*/ 118035 h 456488"/>
                    <a:gd name="connsiteX4" fmla="*/ 244055 w 541763"/>
                    <a:gd name="connsiteY4" fmla="*/ 15758 h 456488"/>
                    <a:gd name="connsiteX5" fmla="*/ 330834 w 541763"/>
                    <a:gd name="connsiteY5" fmla="*/ 12583 h 456488"/>
                    <a:gd name="connsiteX6" fmla="*/ 348945 w 541763"/>
                    <a:gd name="connsiteY6" fmla="*/ 134165 h 456488"/>
                    <a:gd name="connsiteX7" fmla="*/ 483120 w 541763"/>
                    <a:gd name="connsiteY7" fmla="*/ 179293 h 456488"/>
                    <a:gd name="connsiteX8" fmla="*/ 535800 w 541763"/>
                    <a:gd name="connsiteY8" fmla="*/ 251639 h 456488"/>
                    <a:gd name="connsiteX9" fmla="*/ 540740 w 541763"/>
                    <a:gd name="connsiteY9" fmla="*/ 453908 h 456488"/>
                    <a:gd name="connsiteX10" fmla="*/ 6630 w 541763"/>
                    <a:gd name="connsiteY10" fmla="*/ 450055 h 456488"/>
                    <a:gd name="connsiteX0" fmla="*/ 4856 w 539989"/>
                    <a:gd name="connsiteY0" fmla="*/ 450055 h 456488"/>
                    <a:gd name="connsiteX1" fmla="*/ 15205 w 539989"/>
                    <a:gd name="connsiteY1" fmla="*/ 227128 h 456488"/>
                    <a:gd name="connsiteX2" fmla="*/ 87760 w 539989"/>
                    <a:gd name="connsiteY2" fmla="*/ 166126 h 456488"/>
                    <a:gd name="connsiteX3" fmla="*/ 216995 w 539989"/>
                    <a:gd name="connsiteY3" fmla="*/ 118035 h 456488"/>
                    <a:gd name="connsiteX4" fmla="*/ 242281 w 539989"/>
                    <a:gd name="connsiteY4" fmla="*/ 15758 h 456488"/>
                    <a:gd name="connsiteX5" fmla="*/ 329060 w 539989"/>
                    <a:gd name="connsiteY5" fmla="*/ 12583 h 456488"/>
                    <a:gd name="connsiteX6" fmla="*/ 347171 w 539989"/>
                    <a:gd name="connsiteY6" fmla="*/ 134165 h 456488"/>
                    <a:gd name="connsiteX7" fmla="*/ 481346 w 539989"/>
                    <a:gd name="connsiteY7" fmla="*/ 179293 h 456488"/>
                    <a:gd name="connsiteX8" fmla="*/ 534026 w 539989"/>
                    <a:gd name="connsiteY8" fmla="*/ 251639 h 456488"/>
                    <a:gd name="connsiteX9" fmla="*/ 538966 w 539989"/>
                    <a:gd name="connsiteY9" fmla="*/ 453908 h 456488"/>
                    <a:gd name="connsiteX10" fmla="*/ 4856 w 539989"/>
                    <a:gd name="connsiteY10" fmla="*/ 450055 h 4564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39989" h="456488">
                      <a:moveTo>
                        <a:pt x="4856" y="450055"/>
                      </a:moveTo>
                      <a:cubicBezTo>
                        <a:pt x="-5198" y="385497"/>
                        <a:pt x="1388" y="274449"/>
                        <a:pt x="15205" y="227128"/>
                      </a:cubicBezTo>
                      <a:cubicBezTo>
                        <a:pt x="29022" y="179807"/>
                        <a:pt x="54128" y="184308"/>
                        <a:pt x="87760" y="166126"/>
                      </a:cubicBezTo>
                      <a:cubicBezTo>
                        <a:pt x="121392" y="147944"/>
                        <a:pt x="191242" y="143096"/>
                        <a:pt x="216995" y="118035"/>
                      </a:cubicBezTo>
                      <a:cubicBezTo>
                        <a:pt x="242748" y="92974"/>
                        <a:pt x="223604" y="33333"/>
                        <a:pt x="242281" y="15758"/>
                      </a:cubicBezTo>
                      <a:cubicBezTo>
                        <a:pt x="260958" y="-1817"/>
                        <a:pt x="311578" y="-7151"/>
                        <a:pt x="329060" y="12583"/>
                      </a:cubicBezTo>
                      <a:cubicBezTo>
                        <a:pt x="346542" y="32317"/>
                        <a:pt x="321790" y="106380"/>
                        <a:pt x="347171" y="134165"/>
                      </a:cubicBezTo>
                      <a:cubicBezTo>
                        <a:pt x="372552" y="161950"/>
                        <a:pt x="450204" y="159714"/>
                        <a:pt x="481346" y="179293"/>
                      </a:cubicBezTo>
                      <a:cubicBezTo>
                        <a:pt x="512489" y="198872"/>
                        <a:pt x="523972" y="202956"/>
                        <a:pt x="534026" y="251639"/>
                      </a:cubicBezTo>
                      <a:cubicBezTo>
                        <a:pt x="537201" y="301381"/>
                        <a:pt x="542141" y="328496"/>
                        <a:pt x="538966" y="453908"/>
                      </a:cubicBezTo>
                      <a:cubicBezTo>
                        <a:pt x="307191" y="461845"/>
                        <a:pt x="250800" y="448827"/>
                        <a:pt x="4856" y="450055"/>
                      </a:cubicBezTo>
                      <a:close/>
                    </a:path>
                  </a:pathLst>
                </a:custGeom>
                <a:solidFill>
                  <a:schemeClr val="bg1"/>
                </a:solidFill>
                <a:ln w="57150">
                  <a:solidFill>
                    <a:schemeClr val="tx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82" name="Oval 81">
                  <a:extLst>
                    <a:ext uri="{FF2B5EF4-FFF2-40B4-BE49-F238E27FC236}">
                      <a16:creationId xmlns:a16="http://schemas.microsoft.com/office/drawing/2014/main" id="{15A1B172-23D4-3D4D-B8C0-8DF3D760830B}"/>
                    </a:ext>
                  </a:extLst>
                </p:cNvPr>
                <p:cNvSpPr/>
                <p:nvPr/>
              </p:nvSpPr>
              <p:spPr>
                <a:xfrm>
                  <a:off x="1964431" y="3500843"/>
                  <a:ext cx="259337" cy="299858"/>
                </a:xfrm>
                <a:prstGeom prst="ellipse">
                  <a:avLst/>
                </a:prstGeom>
                <a:solidFill>
                  <a:schemeClr val="bg1"/>
                </a:solidFill>
                <a:ln w="57150">
                  <a:solidFill>
                    <a:schemeClr val="tx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grpSp>
        </p:grpSp>
        <p:grpSp>
          <p:nvGrpSpPr>
            <p:cNvPr id="73" name="Group 72">
              <a:extLst>
                <a:ext uri="{FF2B5EF4-FFF2-40B4-BE49-F238E27FC236}">
                  <a16:creationId xmlns:a16="http://schemas.microsoft.com/office/drawing/2014/main" id="{D01DA6A5-605E-9842-85B5-781DE8517725}"/>
                </a:ext>
              </a:extLst>
            </p:cNvPr>
            <p:cNvGrpSpPr/>
            <p:nvPr/>
          </p:nvGrpSpPr>
          <p:grpSpPr>
            <a:xfrm>
              <a:off x="2495712" y="4589934"/>
              <a:ext cx="1256698" cy="510604"/>
              <a:chOff x="2495712" y="4589934"/>
              <a:chExt cx="1256698" cy="510604"/>
            </a:xfrm>
            <a:solidFill>
              <a:schemeClr val="tx1">
                <a:lumMod val="50000"/>
              </a:schemeClr>
            </a:solidFill>
          </p:grpSpPr>
          <p:sp>
            <p:nvSpPr>
              <p:cNvPr id="75" name="Rounded Rectangle 74">
                <a:extLst>
                  <a:ext uri="{FF2B5EF4-FFF2-40B4-BE49-F238E27FC236}">
                    <a16:creationId xmlns:a16="http://schemas.microsoft.com/office/drawing/2014/main" id="{CC423A21-A367-D049-98EF-D140951835A9}"/>
                  </a:ext>
                </a:extLst>
              </p:cNvPr>
              <p:cNvSpPr/>
              <p:nvPr/>
            </p:nvSpPr>
            <p:spPr>
              <a:xfrm>
                <a:off x="2495712" y="4589934"/>
                <a:ext cx="1256697" cy="251941"/>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76" name="Rectangle 75">
                <a:extLst>
                  <a:ext uri="{FF2B5EF4-FFF2-40B4-BE49-F238E27FC236}">
                    <a16:creationId xmlns:a16="http://schemas.microsoft.com/office/drawing/2014/main" id="{AD3549CE-6964-3F42-8476-DA810AC29730}"/>
                  </a:ext>
                </a:extLst>
              </p:cNvPr>
              <p:cNvSpPr/>
              <p:nvPr/>
            </p:nvSpPr>
            <p:spPr>
              <a:xfrm>
                <a:off x="2498725" y="4797790"/>
                <a:ext cx="1253685" cy="13315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77" name="Rectangle 76">
                <a:extLst>
                  <a:ext uri="{FF2B5EF4-FFF2-40B4-BE49-F238E27FC236}">
                    <a16:creationId xmlns:a16="http://schemas.microsoft.com/office/drawing/2014/main" id="{12A715A3-4A74-7F4A-9971-EF3EC94E705A}"/>
                  </a:ext>
                </a:extLst>
              </p:cNvPr>
              <p:cNvSpPr/>
              <p:nvPr/>
            </p:nvSpPr>
            <p:spPr>
              <a:xfrm>
                <a:off x="2546350" y="4923041"/>
                <a:ext cx="109152" cy="17749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78" name="Rectangle 77">
                <a:extLst>
                  <a:ext uri="{FF2B5EF4-FFF2-40B4-BE49-F238E27FC236}">
                    <a16:creationId xmlns:a16="http://schemas.microsoft.com/office/drawing/2014/main" id="{EB8A3ADD-CCCD-7243-8A0A-944B95174BFD}"/>
                  </a:ext>
                </a:extLst>
              </p:cNvPr>
              <p:cNvSpPr/>
              <p:nvPr/>
            </p:nvSpPr>
            <p:spPr>
              <a:xfrm>
                <a:off x="3610945" y="4923041"/>
                <a:ext cx="109152" cy="17749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grpSp>
        <p:sp>
          <p:nvSpPr>
            <p:cNvPr id="74" name="Trapezoid 73">
              <a:extLst>
                <a:ext uri="{FF2B5EF4-FFF2-40B4-BE49-F238E27FC236}">
                  <a16:creationId xmlns:a16="http://schemas.microsoft.com/office/drawing/2014/main" id="{5642816B-CEEC-D349-B281-3A80684DE22E}"/>
                </a:ext>
              </a:extLst>
            </p:cNvPr>
            <p:cNvSpPr/>
            <p:nvPr/>
          </p:nvSpPr>
          <p:spPr>
            <a:xfrm>
              <a:off x="2655502" y="4181475"/>
              <a:ext cx="958850" cy="363303"/>
            </a:xfrm>
            <a:prstGeom prst="trapezoid">
              <a:avLst/>
            </a:prstGeom>
            <a:solidFill>
              <a:schemeClr val="tx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grpSp>
      <p:grpSp>
        <p:nvGrpSpPr>
          <p:cNvPr id="85" name="Group 84">
            <a:extLst>
              <a:ext uri="{FF2B5EF4-FFF2-40B4-BE49-F238E27FC236}">
                <a16:creationId xmlns:a16="http://schemas.microsoft.com/office/drawing/2014/main" id="{BF0786CF-8D18-B240-919B-F133AC83884C}"/>
              </a:ext>
            </a:extLst>
          </p:cNvPr>
          <p:cNvGrpSpPr/>
          <p:nvPr/>
        </p:nvGrpSpPr>
        <p:grpSpPr>
          <a:xfrm>
            <a:off x="10490374" y="2622977"/>
            <a:ext cx="1025213" cy="1261037"/>
            <a:chOff x="2441771" y="3385414"/>
            <a:chExt cx="1325481" cy="1781019"/>
          </a:xfrm>
        </p:grpSpPr>
        <p:pic>
          <p:nvPicPr>
            <p:cNvPr id="86" name="Picture 85">
              <a:extLst>
                <a:ext uri="{FF2B5EF4-FFF2-40B4-BE49-F238E27FC236}">
                  <a16:creationId xmlns:a16="http://schemas.microsoft.com/office/drawing/2014/main" id="{1332CA3C-0A88-0C4C-84D5-A4B36225228A}"/>
                </a:ext>
              </a:extLst>
            </p:cNvPr>
            <p:cNvPicPr>
              <a:picLocks noChangeAspect="1"/>
            </p:cNvPicPr>
            <p:nvPr/>
          </p:nvPicPr>
          <p:blipFill rotWithShape="1">
            <a:blip r:embed="rId2"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a:xfrm>
              <a:off x="2441771" y="3385414"/>
              <a:ext cx="1325481" cy="1781019"/>
            </a:xfrm>
            <a:prstGeom prst="rect">
              <a:avLst/>
            </a:prstGeom>
          </p:spPr>
        </p:pic>
        <p:sp>
          <p:nvSpPr>
            <p:cNvPr id="87" name="Rounded Rectangle 86">
              <a:extLst>
                <a:ext uri="{FF2B5EF4-FFF2-40B4-BE49-F238E27FC236}">
                  <a16:creationId xmlns:a16="http://schemas.microsoft.com/office/drawing/2014/main" id="{D17F0241-9F79-914D-8564-4D215F8DC54A}"/>
                </a:ext>
              </a:extLst>
            </p:cNvPr>
            <p:cNvSpPr/>
            <p:nvPr/>
          </p:nvSpPr>
          <p:spPr>
            <a:xfrm>
              <a:off x="2655502" y="3670300"/>
              <a:ext cx="958850" cy="436656"/>
            </a:xfrm>
            <a:prstGeom prst="roundRect">
              <a:avLst/>
            </a:prstGeom>
            <a:solidFill>
              <a:schemeClr val="tx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grpSp>
          <p:nvGrpSpPr>
            <p:cNvPr id="88" name="Group 87">
              <a:extLst>
                <a:ext uri="{FF2B5EF4-FFF2-40B4-BE49-F238E27FC236}">
                  <a16:creationId xmlns:a16="http://schemas.microsoft.com/office/drawing/2014/main" id="{1AE4366C-BE43-5C48-A6EE-744F90DF5B5A}"/>
                </a:ext>
              </a:extLst>
            </p:cNvPr>
            <p:cNvGrpSpPr/>
            <p:nvPr/>
          </p:nvGrpSpPr>
          <p:grpSpPr>
            <a:xfrm>
              <a:off x="2776471" y="3456093"/>
              <a:ext cx="748710" cy="1056883"/>
              <a:chOff x="1496718" y="3334932"/>
              <a:chExt cx="748710" cy="1056883"/>
            </a:xfrm>
          </p:grpSpPr>
          <p:grpSp>
            <p:nvGrpSpPr>
              <p:cNvPr id="95" name="Group 94">
                <a:extLst>
                  <a:ext uri="{FF2B5EF4-FFF2-40B4-BE49-F238E27FC236}">
                    <a16:creationId xmlns:a16="http://schemas.microsoft.com/office/drawing/2014/main" id="{1141F6C4-F97E-354D-8DB2-06F11156C9EB}"/>
                  </a:ext>
                </a:extLst>
              </p:cNvPr>
              <p:cNvGrpSpPr/>
              <p:nvPr/>
            </p:nvGrpSpPr>
            <p:grpSpPr>
              <a:xfrm>
                <a:off x="1496718" y="3334932"/>
                <a:ext cx="748710" cy="1056883"/>
                <a:chOff x="1843570" y="3508300"/>
                <a:chExt cx="514980" cy="727982"/>
              </a:xfrm>
              <a:solidFill>
                <a:schemeClr val="bg1"/>
              </a:solidFill>
            </p:grpSpPr>
            <p:sp>
              <p:nvSpPr>
                <p:cNvPr id="99" name="Freeform 98">
                  <a:extLst>
                    <a:ext uri="{FF2B5EF4-FFF2-40B4-BE49-F238E27FC236}">
                      <a16:creationId xmlns:a16="http://schemas.microsoft.com/office/drawing/2014/main" id="{74651623-1445-3B43-AECF-028869BFD0BE}"/>
                    </a:ext>
                  </a:extLst>
                </p:cNvPr>
                <p:cNvSpPr/>
                <p:nvPr/>
              </p:nvSpPr>
              <p:spPr>
                <a:xfrm>
                  <a:off x="1843570" y="3787509"/>
                  <a:ext cx="514980" cy="448773"/>
                </a:xfrm>
                <a:custGeom>
                  <a:avLst/>
                  <a:gdLst>
                    <a:gd name="connsiteX0" fmla="*/ 36807 w 576731"/>
                    <a:gd name="connsiteY0" fmla="*/ 449906 h 505924"/>
                    <a:gd name="connsiteX1" fmla="*/ 39982 w 576731"/>
                    <a:gd name="connsiteY1" fmla="*/ 214956 h 505924"/>
                    <a:gd name="connsiteX2" fmla="*/ 55857 w 576731"/>
                    <a:gd name="connsiteY2" fmla="*/ 176856 h 505924"/>
                    <a:gd name="connsiteX3" fmla="*/ 103482 w 576731"/>
                    <a:gd name="connsiteY3" fmla="*/ 160981 h 505924"/>
                    <a:gd name="connsiteX4" fmla="*/ 205082 w 576731"/>
                    <a:gd name="connsiteY4" fmla="*/ 154631 h 505924"/>
                    <a:gd name="connsiteX5" fmla="*/ 230482 w 576731"/>
                    <a:gd name="connsiteY5" fmla="*/ 151456 h 505924"/>
                    <a:gd name="connsiteX6" fmla="*/ 233657 w 576731"/>
                    <a:gd name="connsiteY6" fmla="*/ 18106 h 505924"/>
                    <a:gd name="connsiteX7" fmla="*/ 344782 w 576731"/>
                    <a:gd name="connsiteY7" fmla="*/ 14931 h 505924"/>
                    <a:gd name="connsiteX8" fmla="*/ 344782 w 576731"/>
                    <a:gd name="connsiteY8" fmla="*/ 145106 h 505924"/>
                    <a:gd name="connsiteX9" fmla="*/ 386057 w 576731"/>
                    <a:gd name="connsiteY9" fmla="*/ 151456 h 505924"/>
                    <a:gd name="connsiteX10" fmla="*/ 478132 w 576731"/>
                    <a:gd name="connsiteY10" fmla="*/ 164156 h 505924"/>
                    <a:gd name="connsiteX11" fmla="*/ 519407 w 576731"/>
                    <a:gd name="connsiteY11" fmla="*/ 189556 h 505924"/>
                    <a:gd name="connsiteX12" fmla="*/ 541632 w 576731"/>
                    <a:gd name="connsiteY12" fmla="*/ 234006 h 505924"/>
                    <a:gd name="connsiteX13" fmla="*/ 538457 w 576731"/>
                    <a:gd name="connsiteY13" fmla="*/ 488006 h 505924"/>
                    <a:gd name="connsiteX14" fmla="*/ 36807 w 576731"/>
                    <a:gd name="connsiteY14" fmla="*/ 449906 h 505924"/>
                    <a:gd name="connsiteX0" fmla="*/ 5769 w 545693"/>
                    <a:gd name="connsiteY0" fmla="*/ 449906 h 505924"/>
                    <a:gd name="connsiteX1" fmla="*/ 8944 w 545693"/>
                    <a:gd name="connsiteY1" fmla="*/ 214956 h 505924"/>
                    <a:gd name="connsiteX2" fmla="*/ 24819 w 545693"/>
                    <a:gd name="connsiteY2" fmla="*/ 176856 h 505924"/>
                    <a:gd name="connsiteX3" fmla="*/ 72444 w 545693"/>
                    <a:gd name="connsiteY3" fmla="*/ 160981 h 505924"/>
                    <a:gd name="connsiteX4" fmla="*/ 174044 w 545693"/>
                    <a:gd name="connsiteY4" fmla="*/ 154631 h 505924"/>
                    <a:gd name="connsiteX5" fmla="*/ 199444 w 545693"/>
                    <a:gd name="connsiteY5" fmla="*/ 151456 h 505924"/>
                    <a:gd name="connsiteX6" fmla="*/ 202619 w 545693"/>
                    <a:gd name="connsiteY6" fmla="*/ 18106 h 505924"/>
                    <a:gd name="connsiteX7" fmla="*/ 313744 w 545693"/>
                    <a:gd name="connsiteY7" fmla="*/ 14931 h 505924"/>
                    <a:gd name="connsiteX8" fmla="*/ 313744 w 545693"/>
                    <a:gd name="connsiteY8" fmla="*/ 145106 h 505924"/>
                    <a:gd name="connsiteX9" fmla="*/ 355019 w 545693"/>
                    <a:gd name="connsiteY9" fmla="*/ 151456 h 505924"/>
                    <a:gd name="connsiteX10" fmla="*/ 447094 w 545693"/>
                    <a:gd name="connsiteY10" fmla="*/ 164156 h 505924"/>
                    <a:gd name="connsiteX11" fmla="*/ 488369 w 545693"/>
                    <a:gd name="connsiteY11" fmla="*/ 189556 h 505924"/>
                    <a:gd name="connsiteX12" fmla="*/ 510594 w 545693"/>
                    <a:gd name="connsiteY12" fmla="*/ 234006 h 505924"/>
                    <a:gd name="connsiteX13" fmla="*/ 507419 w 545693"/>
                    <a:gd name="connsiteY13" fmla="*/ 488006 h 505924"/>
                    <a:gd name="connsiteX14" fmla="*/ 5769 w 545693"/>
                    <a:gd name="connsiteY14" fmla="*/ 449906 h 505924"/>
                    <a:gd name="connsiteX0" fmla="*/ 21286 w 561210"/>
                    <a:gd name="connsiteY0" fmla="*/ 449906 h 508025"/>
                    <a:gd name="connsiteX1" fmla="*/ 24461 w 561210"/>
                    <a:gd name="connsiteY1" fmla="*/ 214956 h 508025"/>
                    <a:gd name="connsiteX2" fmla="*/ 40336 w 561210"/>
                    <a:gd name="connsiteY2" fmla="*/ 176856 h 508025"/>
                    <a:gd name="connsiteX3" fmla="*/ 87961 w 561210"/>
                    <a:gd name="connsiteY3" fmla="*/ 160981 h 508025"/>
                    <a:gd name="connsiteX4" fmla="*/ 189561 w 561210"/>
                    <a:gd name="connsiteY4" fmla="*/ 154631 h 508025"/>
                    <a:gd name="connsiteX5" fmla="*/ 214961 w 561210"/>
                    <a:gd name="connsiteY5" fmla="*/ 151456 h 508025"/>
                    <a:gd name="connsiteX6" fmla="*/ 218136 w 561210"/>
                    <a:gd name="connsiteY6" fmla="*/ 18106 h 508025"/>
                    <a:gd name="connsiteX7" fmla="*/ 329261 w 561210"/>
                    <a:gd name="connsiteY7" fmla="*/ 14931 h 508025"/>
                    <a:gd name="connsiteX8" fmla="*/ 329261 w 561210"/>
                    <a:gd name="connsiteY8" fmla="*/ 145106 h 508025"/>
                    <a:gd name="connsiteX9" fmla="*/ 370536 w 561210"/>
                    <a:gd name="connsiteY9" fmla="*/ 151456 h 508025"/>
                    <a:gd name="connsiteX10" fmla="*/ 462611 w 561210"/>
                    <a:gd name="connsiteY10" fmla="*/ 164156 h 508025"/>
                    <a:gd name="connsiteX11" fmla="*/ 503886 w 561210"/>
                    <a:gd name="connsiteY11" fmla="*/ 189556 h 508025"/>
                    <a:gd name="connsiteX12" fmla="*/ 526111 w 561210"/>
                    <a:gd name="connsiteY12" fmla="*/ 234006 h 508025"/>
                    <a:gd name="connsiteX13" fmla="*/ 522936 w 561210"/>
                    <a:gd name="connsiteY13" fmla="*/ 488006 h 508025"/>
                    <a:gd name="connsiteX14" fmla="*/ 21286 w 561210"/>
                    <a:gd name="connsiteY14" fmla="*/ 449906 h 508025"/>
                    <a:gd name="connsiteX0" fmla="*/ 21286 w 561210"/>
                    <a:gd name="connsiteY0" fmla="*/ 449906 h 508025"/>
                    <a:gd name="connsiteX1" fmla="*/ 24461 w 561210"/>
                    <a:gd name="connsiteY1" fmla="*/ 214956 h 508025"/>
                    <a:gd name="connsiteX2" fmla="*/ 40336 w 561210"/>
                    <a:gd name="connsiteY2" fmla="*/ 176856 h 508025"/>
                    <a:gd name="connsiteX3" fmla="*/ 87961 w 561210"/>
                    <a:gd name="connsiteY3" fmla="*/ 160981 h 508025"/>
                    <a:gd name="connsiteX4" fmla="*/ 189561 w 561210"/>
                    <a:gd name="connsiteY4" fmla="*/ 154631 h 508025"/>
                    <a:gd name="connsiteX5" fmla="*/ 214961 w 561210"/>
                    <a:gd name="connsiteY5" fmla="*/ 151456 h 508025"/>
                    <a:gd name="connsiteX6" fmla="*/ 218136 w 561210"/>
                    <a:gd name="connsiteY6" fmla="*/ 18106 h 508025"/>
                    <a:gd name="connsiteX7" fmla="*/ 329261 w 561210"/>
                    <a:gd name="connsiteY7" fmla="*/ 14931 h 508025"/>
                    <a:gd name="connsiteX8" fmla="*/ 329261 w 561210"/>
                    <a:gd name="connsiteY8" fmla="*/ 145106 h 508025"/>
                    <a:gd name="connsiteX9" fmla="*/ 370536 w 561210"/>
                    <a:gd name="connsiteY9" fmla="*/ 151456 h 508025"/>
                    <a:gd name="connsiteX10" fmla="*/ 462611 w 561210"/>
                    <a:gd name="connsiteY10" fmla="*/ 164156 h 508025"/>
                    <a:gd name="connsiteX11" fmla="*/ 503886 w 561210"/>
                    <a:gd name="connsiteY11" fmla="*/ 189556 h 508025"/>
                    <a:gd name="connsiteX12" fmla="*/ 526111 w 561210"/>
                    <a:gd name="connsiteY12" fmla="*/ 234006 h 508025"/>
                    <a:gd name="connsiteX13" fmla="*/ 522936 w 561210"/>
                    <a:gd name="connsiteY13" fmla="*/ 488006 h 508025"/>
                    <a:gd name="connsiteX14" fmla="*/ 21286 w 561210"/>
                    <a:gd name="connsiteY14" fmla="*/ 449906 h 508025"/>
                    <a:gd name="connsiteX0" fmla="*/ 4360 w 544284"/>
                    <a:gd name="connsiteY0" fmla="*/ 449906 h 508025"/>
                    <a:gd name="connsiteX1" fmla="*/ 7535 w 544284"/>
                    <a:gd name="connsiteY1" fmla="*/ 214956 h 508025"/>
                    <a:gd name="connsiteX2" fmla="*/ 23410 w 544284"/>
                    <a:gd name="connsiteY2" fmla="*/ 176856 h 508025"/>
                    <a:gd name="connsiteX3" fmla="*/ 71035 w 544284"/>
                    <a:gd name="connsiteY3" fmla="*/ 160981 h 508025"/>
                    <a:gd name="connsiteX4" fmla="*/ 172635 w 544284"/>
                    <a:gd name="connsiteY4" fmla="*/ 154631 h 508025"/>
                    <a:gd name="connsiteX5" fmla="*/ 198035 w 544284"/>
                    <a:gd name="connsiteY5" fmla="*/ 151456 h 508025"/>
                    <a:gd name="connsiteX6" fmla="*/ 201210 w 544284"/>
                    <a:gd name="connsiteY6" fmla="*/ 18106 h 508025"/>
                    <a:gd name="connsiteX7" fmla="*/ 312335 w 544284"/>
                    <a:gd name="connsiteY7" fmla="*/ 14931 h 508025"/>
                    <a:gd name="connsiteX8" fmla="*/ 312335 w 544284"/>
                    <a:gd name="connsiteY8" fmla="*/ 145106 h 508025"/>
                    <a:gd name="connsiteX9" fmla="*/ 353610 w 544284"/>
                    <a:gd name="connsiteY9" fmla="*/ 151456 h 508025"/>
                    <a:gd name="connsiteX10" fmla="*/ 445685 w 544284"/>
                    <a:gd name="connsiteY10" fmla="*/ 164156 h 508025"/>
                    <a:gd name="connsiteX11" fmla="*/ 486960 w 544284"/>
                    <a:gd name="connsiteY11" fmla="*/ 189556 h 508025"/>
                    <a:gd name="connsiteX12" fmla="*/ 509185 w 544284"/>
                    <a:gd name="connsiteY12" fmla="*/ 234006 h 508025"/>
                    <a:gd name="connsiteX13" fmla="*/ 506010 w 544284"/>
                    <a:gd name="connsiteY13" fmla="*/ 488006 h 508025"/>
                    <a:gd name="connsiteX14" fmla="*/ 4360 w 544284"/>
                    <a:gd name="connsiteY14" fmla="*/ 449906 h 508025"/>
                    <a:gd name="connsiteX0" fmla="*/ 4360 w 544284"/>
                    <a:gd name="connsiteY0" fmla="*/ 449906 h 500804"/>
                    <a:gd name="connsiteX1" fmla="*/ 7535 w 544284"/>
                    <a:gd name="connsiteY1" fmla="*/ 214956 h 500804"/>
                    <a:gd name="connsiteX2" fmla="*/ 23410 w 544284"/>
                    <a:gd name="connsiteY2" fmla="*/ 176856 h 500804"/>
                    <a:gd name="connsiteX3" fmla="*/ 71035 w 544284"/>
                    <a:gd name="connsiteY3" fmla="*/ 160981 h 500804"/>
                    <a:gd name="connsiteX4" fmla="*/ 172635 w 544284"/>
                    <a:gd name="connsiteY4" fmla="*/ 154631 h 500804"/>
                    <a:gd name="connsiteX5" fmla="*/ 198035 w 544284"/>
                    <a:gd name="connsiteY5" fmla="*/ 151456 h 500804"/>
                    <a:gd name="connsiteX6" fmla="*/ 201210 w 544284"/>
                    <a:gd name="connsiteY6" fmla="*/ 18106 h 500804"/>
                    <a:gd name="connsiteX7" fmla="*/ 312335 w 544284"/>
                    <a:gd name="connsiteY7" fmla="*/ 14931 h 500804"/>
                    <a:gd name="connsiteX8" fmla="*/ 312335 w 544284"/>
                    <a:gd name="connsiteY8" fmla="*/ 145106 h 500804"/>
                    <a:gd name="connsiteX9" fmla="*/ 353610 w 544284"/>
                    <a:gd name="connsiteY9" fmla="*/ 151456 h 500804"/>
                    <a:gd name="connsiteX10" fmla="*/ 445685 w 544284"/>
                    <a:gd name="connsiteY10" fmla="*/ 164156 h 500804"/>
                    <a:gd name="connsiteX11" fmla="*/ 486960 w 544284"/>
                    <a:gd name="connsiteY11" fmla="*/ 189556 h 500804"/>
                    <a:gd name="connsiteX12" fmla="*/ 509185 w 544284"/>
                    <a:gd name="connsiteY12" fmla="*/ 234006 h 500804"/>
                    <a:gd name="connsiteX13" fmla="*/ 506010 w 544284"/>
                    <a:gd name="connsiteY13" fmla="*/ 488006 h 500804"/>
                    <a:gd name="connsiteX14" fmla="*/ 4360 w 544284"/>
                    <a:gd name="connsiteY14" fmla="*/ 449906 h 500804"/>
                    <a:gd name="connsiteX0" fmla="*/ 4360 w 544284"/>
                    <a:gd name="connsiteY0" fmla="*/ 449906 h 500804"/>
                    <a:gd name="connsiteX1" fmla="*/ 7535 w 544284"/>
                    <a:gd name="connsiteY1" fmla="*/ 214956 h 500804"/>
                    <a:gd name="connsiteX2" fmla="*/ 23410 w 544284"/>
                    <a:gd name="connsiteY2" fmla="*/ 176856 h 500804"/>
                    <a:gd name="connsiteX3" fmla="*/ 71035 w 544284"/>
                    <a:gd name="connsiteY3" fmla="*/ 160981 h 500804"/>
                    <a:gd name="connsiteX4" fmla="*/ 172635 w 544284"/>
                    <a:gd name="connsiteY4" fmla="*/ 154631 h 500804"/>
                    <a:gd name="connsiteX5" fmla="*/ 198035 w 544284"/>
                    <a:gd name="connsiteY5" fmla="*/ 151456 h 500804"/>
                    <a:gd name="connsiteX6" fmla="*/ 201210 w 544284"/>
                    <a:gd name="connsiteY6" fmla="*/ 18106 h 500804"/>
                    <a:gd name="connsiteX7" fmla="*/ 312335 w 544284"/>
                    <a:gd name="connsiteY7" fmla="*/ 14931 h 500804"/>
                    <a:gd name="connsiteX8" fmla="*/ 312335 w 544284"/>
                    <a:gd name="connsiteY8" fmla="*/ 145106 h 500804"/>
                    <a:gd name="connsiteX9" fmla="*/ 353610 w 544284"/>
                    <a:gd name="connsiteY9" fmla="*/ 151456 h 500804"/>
                    <a:gd name="connsiteX10" fmla="*/ 445685 w 544284"/>
                    <a:gd name="connsiteY10" fmla="*/ 164156 h 500804"/>
                    <a:gd name="connsiteX11" fmla="*/ 486960 w 544284"/>
                    <a:gd name="connsiteY11" fmla="*/ 189556 h 500804"/>
                    <a:gd name="connsiteX12" fmla="*/ 509185 w 544284"/>
                    <a:gd name="connsiteY12" fmla="*/ 234006 h 500804"/>
                    <a:gd name="connsiteX13" fmla="*/ 506010 w 544284"/>
                    <a:gd name="connsiteY13" fmla="*/ 488006 h 500804"/>
                    <a:gd name="connsiteX14" fmla="*/ 4360 w 544284"/>
                    <a:gd name="connsiteY14" fmla="*/ 449906 h 500804"/>
                    <a:gd name="connsiteX0" fmla="*/ 4360 w 519024"/>
                    <a:gd name="connsiteY0" fmla="*/ 449906 h 500804"/>
                    <a:gd name="connsiteX1" fmla="*/ 7535 w 519024"/>
                    <a:gd name="connsiteY1" fmla="*/ 214956 h 500804"/>
                    <a:gd name="connsiteX2" fmla="*/ 23410 w 519024"/>
                    <a:gd name="connsiteY2" fmla="*/ 176856 h 500804"/>
                    <a:gd name="connsiteX3" fmla="*/ 71035 w 519024"/>
                    <a:gd name="connsiteY3" fmla="*/ 160981 h 500804"/>
                    <a:gd name="connsiteX4" fmla="*/ 172635 w 519024"/>
                    <a:gd name="connsiteY4" fmla="*/ 154631 h 500804"/>
                    <a:gd name="connsiteX5" fmla="*/ 198035 w 519024"/>
                    <a:gd name="connsiteY5" fmla="*/ 151456 h 500804"/>
                    <a:gd name="connsiteX6" fmla="*/ 201210 w 519024"/>
                    <a:gd name="connsiteY6" fmla="*/ 18106 h 500804"/>
                    <a:gd name="connsiteX7" fmla="*/ 312335 w 519024"/>
                    <a:gd name="connsiteY7" fmla="*/ 14931 h 500804"/>
                    <a:gd name="connsiteX8" fmla="*/ 312335 w 519024"/>
                    <a:gd name="connsiteY8" fmla="*/ 145106 h 500804"/>
                    <a:gd name="connsiteX9" fmla="*/ 353610 w 519024"/>
                    <a:gd name="connsiteY9" fmla="*/ 151456 h 500804"/>
                    <a:gd name="connsiteX10" fmla="*/ 445685 w 519024"/>
                    <a:gd name="connsiteY10" fmla="*/ 164156 h 500804"/>
                    <a:gd name="connsiteX11" fmla="*/ 486960 w 519024"/>
                    <a:gd name="connsiteY11" fmla="*/ 189556 h 500804"/>
                    <a:gd name="connsiteX12" fmla="*/ 509185 w 519024"/>
                    <a:gd name="connsiteY12" fmla="*/ 234006 h 500804"/>
                    <a:gd name="connsiteX13" fmla="*/ 506010 w 519024"/>
                    <a:gd name="connsiteY13" fmla="*/ 488006 h 500804"/>
                    <a:gd name="connsiteX14" fmla="*/ 4360 w 519024"/>
                    <a:gd name="connsiteY14" fmla="*/ 449906 h 500804"/>
                    <a:gd name="connsiteX0" fmla="*/ 4360 w 519024"/>
                    <a:gd name="connsiteY0" fmla="*/ 449906 h 488006"/>
                    <a:gd name="connsiteX1" fmla="*/ 7535 w 519024"/>
                    <a:gd name="connsiteY1" fmla="*/ 214956 h 488006"/>
                    <a:gd name="connsiteX2" fmla="*/ 23410 w 519024"/>
                    <a:gd name="connsiteY2" fmla="*/ 176856 h 488006"/>
                    <a:gd name="connsiteX3" fmla="*/ 71035 w 519024"/>
                    <a:gd name="connsiteY3" fmla="*/ 160981 h 488006"/>
                    <a:gd name="connsiteX4" fmla="*/ 172635 w 519024"/>
                    <a:gd name="connsiteY4" fmla="*/ 154631 h 488006"/>
                    <a:gd name="connsiteX5" fmla="*/ 198035 w 519024"/>
                    <a:gd name="connsiteY5" fmla="*/ 151456 h 488006"/>
                    <a:gd name="connsiteX6" fmla="*/ 201210 w 519024"/>
                    <a:gd name="connsiteY6" fmla="*/ 18106 h 488006"/>
                    <a:gd name="connsiteX7" fmla="*/ 312335 w 519024"/>
                    <a:gd name="connsiteY7" fmla="*/ 14931 h 488006"/>
                    <a:gd name="connsiteX8" fmla="*/ 312335 w 519024"/>
                    <a:gd name="connsiteY8" fmla="*/ 145106 h 488006"/>
                    <a:gd name="connsiteX9" fmla="*/ 353610 w 519024"/>
                    <a:gd name="connsiteY9" fmla="*/ 151456 h 488006"/>
                    <a:gd name="connsiteX10" fmla="*/ 445685 w 519024"/>
                    <a:gd name="connsiteY10" fmla="*/ 164156 h 488006"/>
                    <a:gd name="connsiteX11" fmla="*/ 486960 w 519024"/>
                    <a:gd name="connsiteY11" fmla="*/ 189556 h 488006"/>
                    <a:gd name="connsiteX12" fmla="*/ 509185 w 519024"/>
                    <a:gd name="connsiteY12" fmla="*/ 234006 h 488006"/>
                    <a:gd name="connsiteX13" fmla="*/ 506010 w 519024"/>
                    <a:gd name="connsiteY13" fmla="*/ 488006 h 488006"/>
                    <a:gd name="connsiteX14" fmla="*/ 4360 w 519024"/>
                    <a:gd name="connsiteY14" fmla="*/ 449906 h 488006"/>
                    <a:gd name="connsiteX0" fmla="*/ 4360 w 523534"/>
                    <a:gd name="connsiteY0" fmla="*/ 449906 h 472131"/>
                    <a:gd name="connsiteX1" fmla="*/ 7535 w 523534"/>
                    <a:gd name="connsiteY1" fmla="*/ 214956 h 472131"/>
                    <a:gd name="connsiteX2" fmla="*/ 23410 w 523534"/>
                    <a:gd name="connsiteY2" fmla="*/ 176856 h 472131"/>
                    <a:gd name="connsiteX3" fmla="*/ 71035 w 523534"/>
                    <a:gd name="connsiteY3" fmla="*/ 160981 h 472131"/>
                    <a:gd name="connsiteX4" fmla="*/ 172635 w 523534"/>
                    <a:gd name="connsiteY4" fmla="*/ 154631 h 472131"/>
                    <a:gd name="connsiteX5" fmla="*/ 198035 w 523534"/>
                    <a:gd name="connsiteY5" fmla="*/ 151456 h 472131"/>
                    <a:gd name="connsiteX6" fmla="*/ 201210 w 523534"/>
                    <a:gd name="connsiteY6" fmla="*/ 18106 h 472131"/>
                    <a:gd name="connsiteX7" fmla="*/ 312335 w 523534"/>
                    <a:gd name="connsiteY7" fmla="*/ 14931 h 472131"/>
                    <a:gd name="connsiteX8" fmla="*/ 312335 w 523534"/>
                    <a:gd name="connsiteY8" fmla="*/ 145106 h 472131"/>
                    <a:gd name="connsiteX9" fmla="*/ 353610 w 523534"/>
                    <a:gd name="connsiteY9" fmla="*/ 151456 h 472131"/>
                    <a:gd name="connsiteX10" fmla="*/ 445685 w 523534"/>
                    <a:gd name="connsiteY10" fmla="*/ 164156 h 472131"/>
                    <a:gd name="connsiteX11" fmla="*/ 486960 w 523534"/>
                    <a:gd name="connsiteY11" fmla="*/ 189556 h 472131"/>
                    <a:gd name="connsiteX12" fmla="*/ 509185 w 523534"/>
                    <a:gd name="connsiteY12" fmla="*/ 234006 h 472131"/>
                    <a:gd name="connsiteX13" fmla="*/ 512360 w 523534"/>
                    <a:gd name="connsiteY13" fmla="*/ 472131 h 472131"/>
                    <a:gd name="connsiteX14" fmla="*/ 4360 w 523534"/>
                    <a:gd name="connsiteY14" fmla="*/ 449906 h 472131"/>
                    <a:gd name="connsiteX0" fmla="*/ 4360 w 513675"/>
                    <a:gd name="connsiteY0" fmla="*/ 449906 h 472131"/>
                    <a:gd name="connsiteX1" fmla="*/ 7535 w 513675"/>
                    <a:gd name="connsiteY1" fmla="*/ 214956 h 472131"/>
                    <a:gd name="connsiteX2" fmla="*/ 23410 w 513675"/>
                    <a:gd name="connsiteY2" fmla="*/ 176856 h 472131"/>
                    <a:gd name="connsiteX3" fmla="*/ 71035 w 513675"/>
                    <a:gd name="connsiteY3" fmla="*/ 160981 h 472131"/>
                    <a:gd name="connsiteX4" fmla="*/ 172635 w 513675"/>
                    <a:gd name="connsiteY4" fmla="*/ 154631 h 472131"/>
                    <a:gd name="connsiteX5" fmla="*/ 198035 w 513675"/>
                    <a:gd name="connsiteY5" fmla="*/ 151456 h 472131"/>
                    <a:gd name="connsiteX6" fmla="*/ 201210 w 513675"/>
                    <a:gd name="connsiteY6" fmla="*/ 18106 h 472131"/>
                    <a:gd name="connsiteX7" fmla="*/ 312335 w 513675"/>
                    <a:gd name="connsiteY7" fmla="*/ 14931 h 472131"/>
                    <a:gd name="connsiteX8" fmla="*/ 312335 w 513675"/>
                    <a:gd name="connsiteY8" fmla="*/ 145106 h 472131"/>
                    <a:gd name="connsiteX9" fmla="*/ 353610 w 513675"/>
                    <a:gd name="connsiteY9" fmla="*/ 151456 h 472131"/>
                    <a:gd name="connsiteX10" fmla="*/ 445685 w 513675"/>
                    <a:gd name="connsiteY10" fmla="*/ 164156 h 472131"/>
                    <a:gd name="connsiteX11" fmla="*/ 486960 w 513675"/>
                    <a:gd name="connsiteY11" fmla="*/ 189556 h 472131"/>
                    <a:gd name="connsiteX12" fmla="*/ 509185 w 513675"/>
                    <a:gd name="connsiteY12" fmla="*/ 234006 h 472131"/>
                    <a:gd name="connsiteX13" fmla="*/ 512360 w 513675"/>
                    <a:gd name="connsiteY13" fmla="*/ 472131 h 472131"/>
                    <a:gd name="connsiteX14" fmla="*/ 4360 w 513675"/>
                    <a:gd name="connsiteY14" fmla="*/ 449906 h 472131"/>
                    <a:gd name="connsiteX0" fmla="*/ 4360 w 513675"/>
                    <a:gd name="connsiteY0" fmla="*/ 446969 h 469194"/>
                    <a:gd name="connsiteX1" fmla="*/ 7535 w 513675"/>
                    <a:gd name="connsiteY1" fmla="*/ 212019 h 469194"/>
                    <a:gd name="connsiteX2" fmla="*/ 23410 w 513675"/>
                    <a:gd name="connsiteY2" fmla="*/ 173919 h 469194"/>
                    <a:gd name="connsiteX3" fmla="*/ 71035 w 513675"/>
                    <a:gd name="connsiteY3" fmla="*/ 158044 h 469194"/>
                    <a:gd name="connsiteX4" fmla="*/ 172635 w 513675"/>
                    <a:gd name="connsiteY4" fmla="*/ 151694 h 469194"/>
                    <a:gd name="connsiteX5" fmla="*/ 188510 w 513675"/>
                    <a:gd name="connsiteY5" fmla="*/ 94544 h 469194"/>
                    <a:gd name="connsiteX6" fmla="*/ 201210 w 513675"/>
                    <a:gd name="connsiteY6" fmla="*/ 15169 h 469194"/>
                    <a:gd name="connsiteX7" fmla="*/ 312335 w 513675"/>
                    <a:gd name="connsiteY7" fmla="*/ 11994 h 469194"/>
                    <a:gd name="connsiteX8" fmla="*/ 312335 w 513675"/>
                    <a:gd name="connsiteY8" fmla="*/ 142169 h 469194"/>
                    <a:gd name="connsiteX9" fmla="*/ 353610 w 513675"/>
                    <a:gd name="connsiteY9" fmla="*/ 148519 h 469194"/>
                    <a:gd name="connsiteX10" fmla="*/ 445685 w 513675"/>
                    <a:gd name="connsiteY10" fmla="*/ 161219 h 469194"/>
                    <a:gd name="connsiteX11" fmla="*/ 486960 w 513675"/>
                    <a:gd name="connsiteY11" fmla="*/ 186619 h 469194"/>
                    <a:gd name="connsiteX12" fmla="*/ 509185 w 513675"/>
                    <a:gd name="connsiteY12" fmla="*/ 231069 h 469194"/>
                    <a:gd name="connsiteX13" fmla="*/ 512360 w 513675"/>
                    <a:gd name="connsiteY13" fmla="*/ 469194 h 469194"/>
                    <a:gd name="connsiteX14" fmla="*/ 4360 w 513675"/>
                    <a:gd name="connsiteY14" fmla="*/ 446969 h 469194"/>
                    <a:gd name="connsiteX0" fmla="*/ 4360 w 513675"/>
                    <a:gd name="connsiteY0" fmla="*/ 443409 h 465634"/>
                    <a:gd name="connsiteX1" fmla="*/ 7535 w 513675"/>
                    <a:gd name="connsiteY1" fmla="*/ 208459 h 465634"/>
                    <a:gd name="connsiteX2" fmla="*/ 23410 w 513675"/>
                    <a:gd name="connsiteY2" fmla="*/ 170359 h 465634"/>
                    <a:gd name="connsiteX3" fmla="*/ 71035 w 513675"/>
                    <a:gd name="connsiteY3" fmla="*/ 154484 h 465634"/>
                    <a:gd name="connsiteX4" fmla="*/ 172635 w 513675"/>
                    <a:gd name="connsiteY4" fmla="*/ 148134 h 465634"/>
                    <a:gd name="connsiteX5" fmla="*/ 188510 w 513675"/>
                    <a:gd name="connsiteY5" fmla="*/ 90984 h 465634"/>
                    <a:gd name="connsiteX6" fmla="*/ 201210 w 513675"/>
                    <a:gd name="connsiteY6" fmla="*/ 11609 h 465634"/>
                    <a:gd name="connsiteX7" fmla="*/ 312335 w 513675"/>
                    <a:gd name="connsiteY7" fmla="*/ 8434 h 465634"/>
                    <a:gd name="connsiteX8" fmla="*/ 312335 w 513675"/>
                    <a:gd name="connsiteY8" fmla="*/ 87809 h 465634"/>
                    <a:gd name="connsiteX9" fmla="*/ 353610 w 513675"/>
                    <a:gd name="connsiteY9" fmla="*/ 144959 h 465634"/>
                    <a:gd name="connsiteX10" fmla="*/ 445685 w 513675"/>
                    <a:gd name="connsiteY10" fmla="*/ 157659 h 465634"/>
                    <a:gd name="connsiteX11" fmla="*/ 486960 w 513675"/>
                    <a:gd name="connsiteY11" fmla="*/ 183059 h 465634"/>
                    <a:gd name="connsiteX12" fmla="*/ 509185 w 513675"/>
                    <a:gd name="connsiteY12" fmla="*/ 227509 h 465634"/>
                    <a:gd name="connsiteX13" fmla="*/ 512360 w 513675"/>
                    <a:gd name="connsiteY13" fmla="*/ 465634 h 465634"/>
                    <a:gd name="connsiteX14" fmla="*/ 4360 w 513675"/>
                    <a:gd name="connsiteY14" fmla="*/ 443409 h 465634"/>
                    <a:gd name="connsiteX0" fmla="*/ 4360 w 513675"/>
                    <a:gd name="connsiteY0" fmla="*/ 443409 h 465634"/>
                    <a:gd name="connsiteX1" fmla="*/ 7535 w 513675"/>
                    <a:gd name="connsiteY1" fmla="*/ 208459 h 465634"/>
                    <a:gd name="connsiteX2" fmla="*/ 23410 w 513675"/>
                    <a:gd name="connsiteY2" fmla="*/ 170359 h 465634"/>
                    <a:gd name="connsiteX3" fmla="*/ 71035 w 513675"/>
                    <a:gd name="connsiteY3" fmla="*/ 154484 h 465634"/>
                    <a:gd name="connsiteX4" fmla="*/ 172635 w 513675"/>
                    <a:gd name="connsiteY4" fmla="*/ 148134 h 465634"/>
                    <a:gd name="connsiteX5" fmla="*/ 188510 w 513675"/>
                    <a:gd name="connsiteY5" fmla="*/ 90984 h 465634"/>
                    <a:gd name="connsiteX6" fmla="*/ 201210 w 513675"/>
                    <a:gd name="connsiteY6" fmla="*/ 11609 h 465634"/>
                    <a:gd name="connsiteX7" fmla="*/ 312335 w 513675"/>
                    <a:gd name="connsiteY7" fmla="*/ 8434 h 465634"/>
                    <a:gd name="connsiteX8" fmla="*/ 312335 w 513675"/>
                    <a:gd name="connsiteY8" fmla="*/ 87809 h 465634"/>
                    <a:gd name="connsiteX9" fmla="*/ 334560 w 513675"/>
                    <a:gd name="connsiteY9" fmla="*/ 135434 h 465634"/>
                    <a:gd name="connsiteX10" fmla="*/ 445685 w 513675"/>
                    <a:gd name="connsiteY10" fmla="*/ 157659 h 465634"/>
                    <a:gd name="connsiteX11" fmla="*/ 486960 w 513675"/>
                    <a:gd name="connsiteY11" fmla="*/ 183059 h 465634"/>
                    <a:gd name="connsiteX12" fmla="*/ 509185 w 513675"/>
                    <a:gd name="connsiteY12" fmla="*/ 227509 h 465634"/>
                    <a:gd name="connsiteX13" fmla="*/ 512360 w 513675"/>
                    <a:gd name="connsiteY13" fmla="*/ 465634 h 465634"/>
                    <a:gd name="connsiteX14" fmla="*/ 4360 w 513675"/>
                    <a:gd name="connsiteY14" fmla="*/ 443409 h 465634"/>
                    <a:gd name="connsiteX0" fmla="*/ 4360 w 510500"/>
                    <a:gd name="connsiteY0" fmla="*/ 443409 h 449759"/>
                    <a:gd name="connsiteX1" fmla="*/ 7535 w 510500"/>
                    <a:gd name="connsiteY1" fmla="*/ 208459 h 449759"/>
                    <a:gd name="connsiteX2" fmla="*/ 23410 w 510500"/>
                    <a:gd name="connsiteY2" fmla="*/ 170359 h 449759"/>
                    <a:gd name="connsiteX3" fmla="*/ 71035 w 510500"/>
                    <a:gd name="connsiteY3" fmla="*/ 154484 h 449759"/>
                    <a:gd name="connsiteX4" fmla="*/ 172635 w 510500"/>
                    <a:gd name="connsiteY4" fmla="*/ 148134 h 449759"/>
                    <a:gd name="connsiteX5" fmla="*/ 188510 w 510500"/>
                    <a:gd name="connsiteY5" fmla="*/ 90984 h 449759"/>
                    <a:gd name="connsiteX6" fmla="*/ 201210 w 510500"/>
                    <a:gd name="connsiteY6" fmla="*/ 11609 h 449759"/>
                    <a:gd name="connsiteX7" fmla="*/ 312335 w 510500"/>
                    <a:gd name="connsiteY7" fmla="*/ 8434 h 449759"/>
                    <a:gd name="connsiteX8" fmla="*/ 312335 w 510500"/>
                    <a:gd name="connsiteY8" fmla="*/ 87809 h 449759"/>
                    <a:gd name="connsiteX9" fmla="*/ 334560 w 510500"/>
                    <a:gd name="connsiteY9" fmla="*/ 135434 h 449759"/>
                    <a:gd name="connsiteX10" fmla="*/ 445685 w 510500"/>
                    <a:gd name="connsiteY10" fmla="*/ 157659 h 449759"/>
                    <a:gd name="connsiteX11" fmla="*/ 486960 w 510500"/>
                    <a:gd name="connsiteY11" fmla="*/ 183059 h 449759"/>
                    <a:gd name="connsiteX12" fmla="*/ 509185 w 510500"/>
                    <a:gd name="connsiteY12" fmla="*/ 227509 h 449759"/>
                    <a:gd name="connsiteX13" fmla="*/ 506010 w 510500"/>
                    <a:gd name="connsiteY13" fmla="*/ 449759 h 449759"/>
                    <a:gd name="connsiteX14" fmla="*/ 4360 w 510500"/>
                    <a:gd name="connsiteY14" fmla="*/ 443409 h 449759"/>
                    <a:gd name="connsiteX0" fmla="*/ 4360 w 510500"/>
                    <a:gd name="connsiteY0" fmla="*/ 443409 h 454926"/>
                    <a:gd name="connsiteX1" fmla="*/ 7535 w 510500"/>
                    <a:gd name="connsiteY1" fmla="*/ 208459 h 454926"/>
                    <a:gd name="connsiteX2" fmla="*/ 23410 w 510500"/>
                    <a:gd name="connsiteY2" fmla="*/ 170359 h 454926"/>
                    <a:gd name="connsiteX3" fmla="*/ 71035 w 510500"/>
                    <a:gd name="connsiteY3" fmla="*/ 154484 h 454926"/>
                    <a:gd name="connsiteX4" fmla="*/ 172635 w 510500"/>
                    <a:gd name="connsiteY4" fmla="*/ 148134 h 454926"/>
                    <a:gd name="connsiteX5" fmla="*/ 188510 w 510500"/>
                    <a:gd name="connsiteY5" fmla="*/ 90984 h 454926"/>
                    <a:gd name="connsiteX6" fmla="*/ 201210 w 510500"/>
                    <a:gd name="connsiteY6" fmla="*/ 11609 h 454926"/>
                    <a:gd name="connsiteX7" fmla="*/ 312335 w 510500"/>
                    <a:gd name="connsiteY7" fmla="*/ 8434 h 454926"/>
                    <a:gd name="connsiteX8" fmla="*/ 312335 w 510500"/>
                    <a:gd name="connsiteY8" fmla="*/ 87809 h 454926"/>
                    <a:gd name="connsiteX9" fmla="*/ 334560 w 510500"/>
                    <a:gd name="connsiteY9" fmla="*/ 135434 h 454926"/>
                    <a:gd name="connsiteX10" fmla="*/ 445685 w 510500"/>
                    <a:gd name="connsiteY10" fmla="*/ 157659 h 454926"/>
                    <a:gd name="connsiteX11" fmla="*/ 486960 w 510500"/>
                    <a:gd name="connsiteY11" fmla="*/ 183059 h 454926"/>
                    <a:gd name="connsiteX12" fmla="*/ 509185 w 510500"/>
                    <a:gd name="connsiteY12" fmla="*/ 227509 h 454926"/>
                    <a:gd name="connsiteX13" fmla="*/ 506010 w 510500"/>
                    <a:gd name="connsiteY13" fmla="*/ 449759 h 454926"/>
                    <a:gd name="connsiteX14" fmla="*/ 4360 w 510500"/>
                    <a:gd name="connsiteY14" fmla="*/ 443409 h 454926"/>
                    <a:gd name="connsiteX0" fmla="*/ 6473 w 512613"/>
                    <a:gd name="connsiteY0" fmla="*/ 443409 h 454926"/>
                    <a:gd name="connsiteX1" fmla="*/ 9648 w 512613"/>
                    <a:gd name="connsiteY1" fmla="*/ 208459 h 454926"/>
                    <a:gd name="connsiteX2" fmla="*/ 73148 w 512613"/>
                    <a:gd name="connsiteY2" fmla="*/ 154484 h 454926"/>
                    <a:gd name="connsiteX3" fmla="*/ 174748 w 512613"/>
                    <a:gd name="connsiteY3" fmla="*/ 148134 h 454926"/>
                    <a:gd name="connsiteX4" fmla="*/ 190623 w 512613"/>
                    <a:gd name="connsiteY4" fmla="*/ 90984 h 454926"/>
                    <a:gd name="connsiteX5" fmla="*/ 203323 w 512613"/>
                    <a:gd name="connsiteY5" fmla="*/ 11609 h 454926"/>
                    <a:gd name="connsiteX6" fmla="*/ 314448 w 512613"/>
                    <a:gd name="connsiteY6" fmla="*/ 8434 h 454926"/>
                    <a:gd name="connsiteX7" fmla="*/ 314448 w 512613"/>
                    <a:gd name="connsiteY7" fmla="*/ 87809 h 454926"/>
                    <a:gd name="connsiteX8" fmla="*/ 336673 w 512613"/>
                    <a:gd name="connsiteY8" fmla="*/ 135434 h 454926"/>
                    <a:gd name="connsiteX9" fmla="*/ 447798 w 512613"/>
                    <a:gd name="connsiteY9" fmla="*/ 157659 h 454926"/>
                    <a:gd name="connsiteX10" fmla="*/ 489073 w 512613"/>
                    <a:gd name="connsiteY10" fmla="*/ 183059 h 454926"/>
                    <a:gd name="connsiteX11" fmla="*/ 511298 w 512613"/>
                    <a:gd name="connsiteY11" fmla="*/ 227509 h 454926"/>
                    <a:gd name="connsiteX12" fmla="*/ 508123 w 512613"/>
                    <a:gd name="connsiteY12" fmla="*/ 449759 h 454926"/>
                    <a:gd name="connsiteX13" fmla="*/ 6473 w 512613"/>
                    <a:gd name="connsiteY13" fmla="*/ 443409 h 454926"/>
                    <a:gd name="connsiteX0" fmla="*/ 4049 w 510189"/>
                    <a:gd name="connsiteY0" fmla="*/ 443409 h 454926"/>
                    <a:gd name="connsiteX1" fmla="*/ 7224 w 510189"/>
                    <a:gd name="connsiteY1" fmla="*/ 208459 h 454926"/>
                    <a:gd name="connsiteX2" fmla="*/ 70724 w 510189"/>
                    <a:gd name="connsiteY2" fmla="*/ 154484 h 454926"/>
                    <a:gd name="connsiteX3" fmla="*/ 172324 w 510189"/>
                    <a:gd name="connsiteY3" fmla="*/ 148134 h 454926"/>
                    <a:gd name="connsiteX4" fmla="*/ 188199 w 510189"/>
                    <a:gd name="connsiteY4" fmla="*/ 90984 h 454926"/>
                    <a:gd name="connsiteX5" fmla="*/ 200899 w 510189"/>
                    <a:gd name="connsiteY5" fmla="*/ 11609 h 454926"/>
                    <a:gd name="connsiteX6" fmla="*/ 312024 w 510189"/>
                    <a:gd name="connsiteY6" fmla="*/ 8434 h 454926"/>
                    <a:gd name="connsiteX7" fmla="*/ 312024 w 510189"/>
                    <a:gd name="connsiteY7" fmla="*/ 87809 h 454926"/>
                    <a:gd name="connsiteX8" fmla="*/ 334249 w 510189"/>
                    <a:gd name="connsiteY8" fmla="*/ 135434 h 454926"/>
                    <a:gd name="connsiteX9" fmla="*/ 445374 w 510189"/>
                    <a:gd name="connsiteY9" fmla="*/ 157659 h 454926"/>
                    <a:gd name="connsiteX10" fmla="*/ 486649 w 510189"/>
                    <a:gd name="connsiteY10" fmla="*/ 183059 h 454926"/>
                    <a:gd name="connsiteX11" fmla="*/ 508874 w 510189"/>
                    <a:gd name="connsiteY11" fmla="*/ 227509 h 454926"/>
                    <a:gd name="connsiteX12" fmla="*/ 505699 w 510189"/>
                    <a:gd name="connsiteY12" fmla="*/ 449759 h 454926"/>
                    <a:gd name="connsiteX13" fmla="*/ 4049 w 510189"/>
                    <a:gd name="connsiteY13" fmla="*/ 443409 h 454926"/>
                    <a:gd name="connsiteX0" fmla="*/ 4049 w 510189"/>
                    <a:gd name="connsiteY0" fmla="*/ 443409 h 454926"/>
                    <a:gd name="connsiteX1" fmla="*/ 7224 w 510189"/>
                    <a:gd name="connsiteY1" fmla="*/ 208459 h 454926"/>
                    <a:gd name="connsiteX2" fmla="*/ 70724 w 510189"/>
                    <a:gd name="connsiteY2" fmla="*/ 154484 h 454926"/>
                    <a:gd name="connsiteX3" fmla="*/ 172324 w 510189"/>
                    <a:gd name="connsiteY3" fmla="*/ 148134 h 454926"/>
                    <a:gd name="connsiteX4" fmla="*/ 188199 w 510189"/>
                    <a:gd name="connsiteY4" fmla="*/ 90984 h 454926"/>
                    <a:gd name="connsiteX5" fmla="*/ 200899 w 510189"/>
                    <a:gd name="connsiteY5" fmla="*/ 11609 h 454926"/>
                    <a:gd name="connsiteX6" fmla="*/ 312024 w 510189"/>
                    <a:gd name="connsiteY6" fmla="*/ 8434 h 454926"/>
                    <a:gd name="connsiteX7" fmla="*/ 312024 w 510189"/>
                    <a:gd name="connsiteY7" fmla="*/ 87809 h 454926"/>
                    <a:gd name="connsiteX8" fmla="*/ 334249 w 510189"/>
                    <a:gd name="connsiteY8" fmla="*/ 135434 h 454926"/>
                    <a:gd name="connsiteX9" fmla="*/ 445374 w 510189"/>
                    <a:gd name="connsiteY9" fmla="*/ 157659 h 454926"/>
                    <a:gd name="connsiteX10" fmla="*/ 508874 w 510189"/>
                    <a:gd name="connsiteY10" fmla="*/ 227509 h 454926"/>
                    <a:gd name="connsiteX11" fmla="*/ 505699 w 510189"/>
                    <a:gd name="connsiteY11" fmla="*/ 449759 h 454926"/>
                    <a:gd name="connsiteX12" fmla="*/ 4049 w 510189"/>
                    <a:gd name="connsiteY12" fmla="*/ 443409 h 454926"/>
                    <a:gd name="connsiteX0" fmla="*/ 4049 w 510189"/>
                    <a:gd name="connsiteY0" fmla="*/ 443409 h 454926"/>
                    <a:gd name="connsiteX1" fmla="*/ 7224 w 510189"/>
                    <a:gd name="connsiteY1" fmla="*/ 208459 h 454926"/>
                    <a:gd name="connsiteX2" fmla="*/ 70724 w 510189"/>
                    <a:gd name="connsiteY2" fmla="*/ 154484 h 454926"/>
                    <a:gd name="connsiteX3" fmla="*/ 172324 w 510189"/>
                    <a:gd name="connsiteY3" fmla="*/ 148134 h 454926"/>
                    <a:gd name="connsiteX4" fmla="*/ 188199 w 510189"/>
                    <a:gd name="connsiteY4" fmla="*/ 90984 h 454926"/>
                    <a:gd name="connsiteX5" fmla="*/ 200899 w 510189"/>
                    <a:gd name="connsiteY5" fmla="*/ 11609 h 454926"/>
                    <a:gd name="connsiteX6" fmla="*/ 312024 w 510189"/>
                    <a:gd name="connsiteY6" fmla="*/ 8434 h 454926"/>
                    <a:gd name="connsiteX7" fmla="*/ 312024 w 510189"/>
                    <a:gd name="connsiteY7" fmla="*/ 87809 h 454926"/>
                    <a:gd name="connsiteX8" fmla="*/ 334249 w 510189"/>
                    <a:gd name="connsiteY8" fmla="*/ 135434 h 454926"/>
                    <a:gd name="connsiteX9" fmla="*/ 445374 w 510189"/>
                    <a:gd name="connsiteY9" fmla="*/ 157659 h 454926"/>
                    <a:gd name="connsiteX10" fmla="*/ 508874 w 510189"/>
                    <a:gd name="connsiteY10" fmla="*/ 227509 h 454926"/>
                    <a:gd name="connsiteX11" fmla="*/ 505699 w 510189"/>
                    <a:gd name="connsiteY11" fmla="*/ 449759 h 454926"/>
                    <a:gd name="connsiteX12" fmla="*/ 4049 w 510189"/>
                    <a:gd name="connsiteY12" fmla="*/ 443409 h 454926"/>
                    <a:gd name="connsiteX0" fmla="*/ 5987 w 512127"/>
                    <a:gd name="connsiteY0" fmla="*/ 443409 h 454926"/>
                    <a:gd name="connsiteX1" fmla="*/ 2812 w 512127"/>
                    <a:gd name="connsiteY1" fmla="*/ 217984 h 454926"/>
                    <a:gd name="connsiteX2" fmla="*/ 72662 w 512127"/>
                    <a:gd name="connsiteY2" fmla="*/ 154484 h 454926"/>
                    <a:gd name="connsiteX3" fmla="*/ 174262 w 512127"/>
                    <a:gd name="connsiteY3" fmla="*/ 148134 h 454926"/>
                    <a:gd name="connsiteX4" fmla="*/ 190137 w 512127"/>
                    <a:gd name="connsiteY4" fmla="*/ 90984 h 454926"/>
                    <a:gd name="connsiteX5" fmla="*/ 202837 w 512127"/>
                    <a:gd name="connsiteY5" fmla="*/ 11609 h 454926"/>
                    <a:gd name="connsiteX6" fmla="*/ 313962 w 512127"/>
                    <a:gd name="connsiteY6" fmla="*/ 8434 h 454926"/>
                    <a:gd name="connsiteX7" fmla="*/ 313962 w 512127"/>
                    <a:gd name="connsiteY7" fmla="*/ 87809 h 454926"/>
                    <a:gd name="connsiteX8" fmla="*/ 336187 w 512127"/>
                    <a:gd name="connsiteY8" fmla="*/ 135434 h 454926"/>
                    <a:gd name="connsiteX9" fmla="*/ 447312 w 512127"/>
                    <a:gd name="connsiteY9" fmla="*/ 157659 h 454926"/>
                    <a:gd name="connsiteX10" fmla="*/ 510812 w 512127"/>
                    <a:gd name="connsiteY10" fmla="*/ 227509 h 454926"/>
                    <a:gd name="connsiteX11" fmla="*/ 507637 w 512127"/>
                    <a:gd name="connsiteY11" fmla="*/ 449759 h 454926"/>
                    <a:gd name="connsiteX12" fmla="*/ 5987 w 512127"/>
                    <a:gd name="connsiteY12" fmla="*/ 443409 h 454926"/>
                    <a:gd name="connsiteX0" fmla="*/ 9762 w 515902"/>
                    <a:gd name="connsiteY0" fmla="*/ 443409 h 454926"/>
                    <a:gd name="connsiteX1" fmla="*/ 6587 w 515902"/>
                    <a:gd name="connsiteY1" fmla="*/ 217984 h 454926"/>
                    <a:gd name="connsiteX2" fmla="*/ 76437 w 515902"/>
                    <a:gd name="connsiteY2" fmla="*/ 154484 h 454926"/>
                    <a:gd name="connsiteX3" fmla="*/ 178037 w 515902"/>
                    <a:gd name="connsiteY3" fmla="*/ 148134 h 454926"/>
                    <a:gd name="connsiteX4" fmla="*/ 193912 w 515902"/>
                    <a:gd name="connsiteY4" fmla="*/ 90984 h 454926"/>
                    <a:gd name="connsiteX5" fmla="*/ 206612 w 515902"/>
                    <a:gd name="connsiteY5" fmla="*/ 11609 h 454926"/>
                    <a:gd name="connsiteX6" fmla="*/ 317737 w 515902"/>
                    <a:gd name="connsiteY6" fmla="*/ 8434 h 454926"/>
                    <a:gd name="connsiteX7" fmla="*/ 317737 w 515902"/>
                    <a:gd name="connsiteY7" fmla="*/ 87809 h 454926"/>
                    <a:gd name="connsiteX8" fmla="*/ 339962 w 515902"/>
                    <a:gd name="connsiteY8" fmla="*/ 135434 h 454926"/>
                    <a:gd name="connsiteX9" fmla="*/ 451087 w 515902"/>
                    <a:gd name="connsiteY9" fmla="*/ 157659 h 454926"/>
                    <a:gd name="connsiteX10" fmla="*/ 514587 w 515902"/>
                    <a:gd name="connsiteY10" fmla="*/ 227509 h 454926"/>
                    <a:gd name="connsiteX11" fmla="*/ 511412 w 515902"/>
                    <a:gd name="connsiteY11" fmla="*/ 449759 h 454926"/>
                    <a:gd name="connsiteX12" fmla="*/ 9762 w 515902"/>
                    <a:gd name="connsiteY12" fmla="*/ 443409 h 454926"/>
                    <a:gd name="connsiteX0" fmla="*/ 9762 w 515902"/>
                    <a:gd name="connsiteY0" fmla="*/ 443409 h 454926"/>
                    <a:gd name="connsiteX1" fmla="*/ 6587 w 515902"/>
                    <a:gd name="connsiteY1" fmla="*/ 217984 h 454926"/>
                    <a:gd name="connsiteX2" fmla="*/ 76437 w 515902"/>
                    <a:gd name="connsiteY2" fmla="*/ 154484 h 454926"/>
                    <a:gd name="connsiteX3" fmla="*/ 178037 w 515902"/>
                    <a:gd name="connsiteY3" fmla="*/ 148134 h 454926"/>
                    <a:gd name="connsiteX4" fmla="*/ 193912 w 515902"/>
                    <a:gd name="connsiteY4" fmla="*/ 90984 h 454926"/>
                    <a:gd name="connsiteX5" fmla="*/ 206612 w 515902"/>
                    <a:gd name="connsiteY5" fmla="*/ 11609 h 454926"/>
                    <a:gd name="connsiteX6" fmla="*/ 317737 w 515902"/>
                    <a:gd name="connsiteY6" fmla="*/ 8434 h 454926"/>
                    <a:gd name="connsiteX7" fmla="*/ 317737 w 515902"/>
                    <a:gd name="connsiteY7" fmla="*/ 87809 h 454926"/>
                    <a:gd name="connsiteX8" fmla="*/ 339962 w 515902"/>
                    <a:gd name="connsiteY8" fmla="*/ 135434 h 454926"/>
                    <a:gd name="connsiteX9" fmla="*/ 451087 w 515902"/>
                    <a:gd name="connsiteY9" fmla="*/ 157659 h 454926"/>
                    <a:gd name="connsiteX10" fmla="*/ 514587 w 515902"/>
                    <a:gd name="connsiteY10" fmla="*/ 227509 h 454926"/>
                    <a:gd name="connsiteX11" fmla="*/ 511412 w 515902"/>
                    <a:gd name="connsiteY11" fmla="*/ 449759 h 454926"/>
                    <a:gd name="connsiteX12" fmla="*/ 9762 w 515902"/>
                    <a:gd name="connsiteY12" fmla="*/ 443409 h 454926"/>
                    <a:gd name="connsiteX0" fmla="*/ 9762 w 515902"/>
                    <a:gd name="connsiteY0" fmla="*/ 443409 h 454926"/>
                    <a:gd name="connsiteX1" fmla="*/ 6587 w 515902"/>
                    <a:gd name="connsiteY1" fmla="*/ 217984 h 454926"/>
                    <a:gd name="connsiteX2" fmla="*/ 76437 w 515902"/>
                    <a:gd name="connsiteY2" fmla="*/ 154484 h 454926"/>
                    <a:gd name="connsiteX3" fmla="*/ 193912 w 515902"/>
                    <a:gd name="connsiteY3" fmla="*/ 90984 h 454926"/>
                    <a:gd name="connsiteX4" fmla="*/ 206612 w 515902"/>
                    <a:gd name="connsiteY4" fmla="*/ 11609 h 454926"/>
                    <a:gd name="connsiteX5" fmla="*/ 317737 w 515902"/>
                    <a:gd name="connsiteY5" fmla="*/ 8434 h 454926"/>
                    <a:gd name="connsiteX6" fmla="*/ 317737 w 515902"/>
                    <a:gd name="connsiteY6" fmla="*/ 87809 h 454926"/>
                    <a:gd name="connsiteX7" fmla="*/ 339962 w 515902"/>
                    <a:gd name="connsiteY7" fmla="*/ 135434 h 454926"/>
                    <a:gd name="connsiteX8" fmla="*/ 451087 w 515902"/>
                    <a:gd name="connsiteY8" fmla="*/ 157659 h 454926"/>
                    <a:gd name="connsiteX9" fmla="*/ 514587 w 515902"/>
                    <a:gd name="connsiteY9" fmla="*/ 227509 h 454926"/>
                    <a:gd name="connsiteX10" fmla="*/ 511412 w 515902"/>
                    <a:gd name="connsiteY10" fmla="*/ 449759 h 454926"/>
                    <a:gd name="connsiteX11" fmla="*/ 9762 w 515902"/>
                    <a:gd name="connsiteY11" fmla="*/ 443409 h 454926"/>
                    <a:gd name="connsiteX0" fmla="*/ 9762 w 515902"/>
                    <a:gd name="connsiteY0" fmla="*/ 446099 h 457616"/>
                    <a:gd name="connsiteX1" fmla="*/ 6587 w 515902"/>
                    <a:gd name="connsiteY1" fmla="*/ 220674 h 457616"/>
                    <a:gd name="connsiteX2" fmla="*/ 76437 w 515902"/>
                    <a:gd name="connsiteY2" fmla="*/ 157174 h 457616"/>
                    <a:gd name="connsiteX3" fmla="*/ 190737 w 515902"/>
                    <a:gd name="connsiteY3" fmla="*/ 138124 h 457616"/>
                    <a:gd name="connsiteX4" fmla="*/ 206612 w 515902"/>
                    <a:gd name="connsiteY4" fmla="*/ 14299 h 457616"/>
                    <a:gd name="connsiteX5" fmla="*/ 317737 w 515902"/>
                    <a:gd name="connsiteY5" fmla="*/ 11124 h 457616"/>
                    <a:gd name="connsiteX6" fmla="*/ 317737 w 515902"/>
                    <a:gd name="connsiteY6" fmla="*/ 90499 h 457616"/>
                    <a:gd name="connsiteX7" fmla="*/ 339962 w 515902"/>
                    <a:gd name="connsiteY7" fmla="*/ 138124 h 457616"/>
                    <a:gd name="connsiteX8" fmla="*/ 451087 w 515902"/>
                    <a:gd name="connsiteY8" fmla="*/ 160349 h 457616"/>
                    <a:gd name="connsiteX9" fmla="*/ 514587 w 515902"/>
                    <a:gd name="connsiteY9" fmla="*/ 230199 h 457616"/>
                    <a:gd name="connsiteX10" fmla="*/ 511412 w 515902"/>
                    <a:gd name="connsiteY10" fmla="*/ 452449 h 457616"/>
                    <a:gd name="connsiteX11" fmla="*/ 9762 w 515902"/>
                    <a:gd name="connsiteY11" fmla="*/ 446099 h 457616"/>
                    <a:gd name="connsiteX0" fmla="*/ 9762 w 515902"/>
                    <a:gd name="connsiteY0" fmla="*/ 446099 h 457616"/>
                    <a:gd name="connsiteX1" fmla="*/ 6587 w 515902"/>
                    <a:gd name="connsiteY1" fmla="*/ 220674 h 457616"/>
                    <a:gd name="connsiteX2" fmla="*/ 76437 w 515902"/>
                    <a:gd name="connsiteY2" fmla="*/ 157174 h 457616"/>
                    <a:gd name="connsiteX3" fmla="*/ 190737 w 515902"/>
                    <a:gd name="connsiteY3" fmla="*/ 138124 h 457616"/>
                    <a:gd name="connsiteX4" fmla="*/ 206612 w 515902"/>
                    <a:gd name="connsiteY4" fmla="*/ 14299 h 457616"/>
                    <a:gd name="connsiteX5" fmla="*/ 317737 w 515902"/>
                    <a:gd name="connsiteY5" fmla="*/ 11124 h 457616"/>
                    <a:gd name="connsiteX6" fmla="*/ 317737 w 515902"/>
                    <a:gd name="connsiteY6" fmla="*/ 90499 h 457616"/>
                    <a:gd name="connsiteX7" fmla="*/ 451087 w 515902"/>
                    <a:gd name="connsiteY7" fmla="*/ 160349 h 457616"/>
                    <a:gd name="connsiteX8" fmla="*/ 514587 w 515902"/>
                    <a:gd name="connsiteY8" fmla="*/ 230199 h 457616"/>
                    <a:gd name="connsiteX9" fmla="*/ 511412 w 515902"/>
                    <a:gd name="connsiteY9" fmla="*/ 452449 h 457616"/>
                    <a:gd name="connsiteX10" fmla="*/ 9762 w 515902"/>
                    <a:gd name="connsiteY10" fmla="*/ 446099 h 457616"/>
                    <a:gd name="connsiteX0" fmla="*/ 9762 w 515902"/>
                    <a:gd name="connsiteY0" fmla="*/ 447482 h 458999"/>
                    <a:gd name="connsiteX1" fmla="*/ 6587 w 515902"/>
                    <a:gd name="connsiteY1" fmla="*/ 222057 h 458999"/>
                    <a:gd name="connsiteX2" fmla="*/ 76437 w 515902"/>
                    <a:gd name="connsiteY2" fmla="*/ 158557 h 458999"/>
                    <a:gd name="connsiteX3" fmla="*/ 190737 w 515902"/>
                    <a:gd name="connsiteY3" fmla="*/ 139507 h 458999"/>
                    <a:gd name="connsiteX4" fmla="*/ 206612 w 515902"/>
                    <a:gd name="connsiteY4" fmla="*/ 15682 h 458999"/>
                    <a:gd name="connsiteX5" fmla="*/ 317737 w 515902"/>
                    <a:gd name="connsiteY5" fmla="*/ 12507 h 458999"/>
                    <a:gd name="connsiteX6" fmla="*/ 330437 w 515902"/>
                    <a:gd name="connsiteY6" fmla="*/ 114107 h 458999"/>
                    <a:gd name="connsiteX7" fmla="*/ 451087 w 515902"/>
                    <a:gd name="connsiteY7" fmla="*/ 161732 h 458999"/>
                    <a:gd name="connsiteX8" fmla="*/ 514587 w 515902"/>
                    <a:gd name="connsiteY8" fmla="*/ 231582 h 458999"/>
                    <a:gd name="connsiteX9" fmla="*/ 511412 w 515902"/>
                    <a:gd name="connsiteY9" fmla="*/ 453832 h 458999"/>
                    <a:gd name="connsiteX10" fmla="*/ 9762 w 515902"/>
                    <a:gd name="connsiteY10" fmla="*/ 447482 h 458999"/>
                    <a:gd name="connsiteX0" fmla="*/ 9762 w 515902"/>
                    <a:gd name="connsiteY0" fmla="*/ 446348 h 457865"/>
                    <a:gd name="connsiteX1" fmla="*/ 6587 w 515902"/>
                    <a:gd name="connsiteY1" fmla="*/ 220923 h 457865"/>
                    <a:gd name="connsiteX2" fmla="*/ 76437 w 515902"/>
                    <a:gd name="connsiteY2" fmla="*/ 157423 h 457865"/>
                    <a:gd name="connsiteX3" fmla="*/ 200262 w 515902"/>
                    <a:gd name="connsiteY3" fmla="*/ 119323 h 457865"/>
                    <a:gd name="connsiteX4" fmla="*/ 206612 w 515902"/>
                    <a:gd name="connsiteY4" fmla="*/ 14548 h 457865"/>
                    <a:gd name="connsiteX5" fmla="*/ 317737 w 515902"/>
                    <a:gd name="connsiteY5" fmla="*/ 11373 h 457865"/>
                    <a:gd name="connsiteX6" fmla="*/ 330437 w 515902"/>
                    <a:gd name="connsiteY6" fmla="*/ 112973 h 457865"/>
                    <a:gd name="connsiteX7" fmla="*/ 451087 w 515902"/>
                    <a:gd name="connsiteY7" fmla="*/ 160598 h 457865"/>
                    <a:gd name="connsiteX8" fmla="*/ 514587 w 515902"/>
                    <a:gd name="connsiteY8" fmla="*/ 230448 h 457865"/>
                    <a:gd name="connsiteX9" fmla="*/ 511412 w 515902"/>
                    <a:gd name="connsiteY9" fmla="*/ 452698 h 457865"/>
                    <a:gd name="connsiteX10" fmla="*/ 9762 w 515902"/>
                    <a:gd name="connsiteY10" fmla="*/ 446348 h 457865"/>
                    <a:gd name="connsiteX0" fmla="*/ 8840 w 514980"/>
                    <a:gd name="connsiteY0" fmla="*/ 446348 h 457865"/>
                    <a:gd name="connsiteX1" fmla="*/ 5665 w 514980"/>
                    <a:gd name="connsiteY1" fmla="*/ 220923 h 457865"/>
                    <a:gd name="connsiteX2" fmla="*/ 62412 w 514980"/>
                    <a:gd name="connsiteY2" fmla="*/ 133367 h 457865"/>
                    <a:gd name="connsiteX3" fmla="*/ 199340 w 514980"/>
                    <a:gd name="connsiteY3" fmla="*/ 119323 h 457865"/>
                    <a:gd name="connsiteX4" fmla="*/ 205690 w 514980"/>
                    <a:gd name="connsiteY4" fmla="*/ 14548 h 457865"/>
                    <a:gd name="connsiteX5" fmla="*/ 316815 w 514980"/>
                    <a:gd name="connsiteY5" fmla="*/ 11373 h 457865"/>
                    <a:gd name="connsiteX6" fmla="*/ 329515 w 514980"/>
                    <a:gd name="connsiteY6" fmla="*/ 112973 h 457865"/>
                    <a:gd name="connsiteX7" fmla="*/ 450165 w 514980"/>
                    <a:gd name="connsiteY7" fmla="*/ 160598 h 457865"/>
                    <a:gd name="connsiteX8" fmla="*/ 513665 w 514980"/>
                    <a:gd name="connsiteY8" fmla="*/ 230448 h 457865"/>
                    <a:gd name="connsiteX9" fmla="*/ 510490 w 514980"/>
                    <a:gd name="connsiteY9" fmla="*/ 452698 h 457865"/>
                    <a:gd name="connsiteX10" fmla="*/ 8840 w 514980"/>
                    <a:gd name="connsiteY10" fmla="*/ 446348 h 457865"/>
                    <a:gd name="connsiteX0" fmla="*/ 8840 w 514980"/>
                    <a:gd name="connsiteY0" fmla="*/ 445015 h 456532"/>
                    <a:gd name="connsiteX1" fmla="*/ 5665 w 514980"/>
                    <a:gd name="connsiteY1" fmla="*/ 219590 h 456532"/>
                    <a:gd name="connsiteX2" fmla="*/ 62412 w 514980"/>
                    <a:gd name="connsiteY2" fmla="*/ 132034 h 456532"/>
                    <a:gd name="connsiteX3" fmla="*/ 186237 w 514980"/>
                    <a:gd name="connsiteY3" fmla="*/ 93934 h 456532"/>
                    <a:gd name="connsiteX4" fmla="*/ 205690 w 514980"/>
                    <a:gd name="connsiteY4" fmla="*/ 13215 h 456532"/>
                    <a:gd name="connsiteX5" fmla="*/ 316815 w 514980"/>
                    <a:gd name="connsiteY5" fmla="*/ 10040 h 456532"/>
                    <a:gd name="connsiteX6" fmla="*/ 329515 w 514980"/>
                    <a:gd name="connsiteY6" fmla="*/ 111640 h 456532"/>
                    <a:gd name="connsiteX7" fmla="*/ 450165 w 514980"/>
                    <a:gd name="connsiteY7" fmla="*/ 159265 h 456532"/>
                    <a:gd name="connsiteX8" fmla="*/ 513665 w 514980"/>
                    <a:gd name="connsiteY8" fmla="*/ 229115 h 456532"/>
                    <a:gd name="connsiteX9" fmla="*/ 510490 w 514980"/>
                    <a:gd name="connsiteY9" fmla="*/ 451365 h 456532"/>
                    <a:gd name="connsiteX10" fmla="*/ 8840 w 514980"/>
                    <a:gd name="connsiteY10" fmla="*/ 445015 h 456532"/>
                    <a:gd name="connsiteX0" fmla="*/ 8840 w 514980"/>
                    <a:gd name="connsiteY0" fmla="*/ 445015 h 456532"/>
                    <a:gd name="connsiteX1" fmla="*/ 5665 w 514980"/>
                    <a:gd name="connsiteY1" fmla="*/ 219590 h 456532"/>
                    <a:gd name="connsiteX2" fmla="*/ 62412 w 514980"/>
                    <a:gd name="connsiteY2" fmla="*/ 132034 h 456532"/>
                    <a:gd name="connsiteX3" fmla="*/ 186237 w 514980"/>
                    <a:gd name="connsiteY3" fmla="*/ 93934 h 456532"/>
                    <a:gd name="connsiteX4" fmla="*/ 205690 w 514980"/>
                    <a:gd name="connsiteY4" fmla="*/ 13215 h 456532"/>
                    <a:gd name="connsiteX5" fmla="*/ 316815 w 514980"/>
                    <a:gd name="connsiteY5" fmla="*/ 10040 h 456532"/>
                    <a:gd name="connsiteX6" fmla="*/ 329515 w 514980"/>
                    <a:gd name="connsiteY6" fmla="*/ 111640 h 456532"/>
                    <a:gd name="connsiteX7" fmla="*/ 461084 w 514980"/>
                    <a:gd name="connsiteY7" fmla="*/ 146143 h 456532"/>
                    <a:gd name="connsiteX8" fmla="*/ 513665 w 514980"/>
                    <a:gd name="connsiteY8" fmla="*/ 229115 h 456532"/>
                    <a:gd name="connsiteX9" fmla="*/ 510490 w 514980"/>
                    <a:gd name="connsiteY9" fmla="*/ 451365 h 456532"/>
                    <a:gd name="connsiteX10" fmla="*/ 8840 w 514980"/>
                    <a:gd name="connsiteY10" fmla="*/ 445015 h 456532"/>
                    <a:gd name="connsiteX0" fmla="*/ 8840 w 514980"/>
                    <a:gd name="connsiteY0" fmla="*/ 444105 h 455622"/>
                    <a:gd name="connsiteX1" fmla="*/ 5665 w 514980"/>
                    <a:gd name="connsiteY1" fmla="*/ 218680 h 455622"/>
                    <a:gd name="connsiteX2" fmla="*/ 62412 w 514980"/>
                    <a:gd name="connsiteY2" fmla="*/ 131124 h 455622"/>
                    <a:gd name="connsiteX3" fmla="*/ 186237 w 514980"/>
                    <a:gd name="connsiteY3" fmla="*/ 93024 h 455622"/>
                    <a:gd name="connsiteX4" fmla="*/ 205690 w 514980"/>
                    <a:gd name="connsiteY4" fmla="*/ 12305 h 455622"/>
                    <a:gd name="connsiteX5" fmla="*/ 316815 w 514980"/>
                    <a:gd name="connsiteY5" fmla="*/ 9130 h 455622"/>
                    <a:gd name="connsiteX6" fmla="*/ 351353 w 514980"/>
                    <a:gd name="connsiteY6" fmla="*/ 97608 h 455622"/>
                    <a:gd name="connsiteX7" fmla="*/ 461084 w 514980"/>
                    <a:gd name="connsiteY7" fmla="*/ 145233 h 455622"/>
                    <a:gd name="connsiteX8" fmla="*/ 513665 w 514980"/>
                    <a:gd name="connsiteY8" fmla="*/ 228205 h 455622"/>
                    <a:gd name="connsiteX9" fmla="*/ 510490 w 514980"/>
                    <a:gd name="connsiteY9" fmla="*/ 450455 h 455622"/>
                    <a:gd name="connsiteX10" fmla="*/ 8840 w 514980"/>
                    <a:gd name="connsiteY10" fmla="*/ 444105 h 455622"/>
                    <a:gd name="connsiteX0" fmla="*/ 8840 w 514980"/>
                    <a:gd name="connsiteY0" fmla="*/ 442755 h 454272"/>
                    <a:gd name="connsiteX1" fmla="*/ 5665 w 514980"/>
                    <a:gd name="connsiteY1" fmla="*/ 217330 h 454272"/>
                    <a:gd name="connsiteX2" fmla="*/ 62412 w 514980"/>
                    <a:gd name="connsiteY2" fmla="*/ 129774 h 454272"/>
                    <a:gd name="connsiteX3" fmla="*/ 186237 w 514980"/>
                    <a:gd name="connsiteY3" fmla="*/ 91674 h 454272"/>
                    <a:gd name="connsiteX4" fmla="*/ 205690 w 514980"/>
                    <a:gd name="connsiteY4" fmla="*/ 10955 h 454272"/>
                    <a:gd name="connsiteX5" fmla="*/ 325550 w 514980"/>
                    <a:gd name="connsiteY5" fmla="*/ 9967 h 454272"/>
                    <a:gd name="connsiteX6" fmla="*/ 351353 w 514980"/>
                    <a:gd name="connsiteY6" fmla="*/ 96258 h 454272"/>
                    <a:gd name="connsiteX7" fmla="*/ 461084 w 514980"/>
                    <a:gd name="connsiteY7" fmla="*/ 143883 h 454272"/>
                    <a:gd name="connsiteX8" fmla="*/ 513665 w 514980"/>
                    <a:gd name="connsiteY8" fmla="*/ 226855 h 454272"/>
                    <a:gd name="connsiteX9" fmla="*/ 510490 w 514980"/>
                    <a:gd name="connsiteY9" fmla="*/ 449105 h 454272"/>
                    <a:gd name="connsiteX10" fmla="*/ 8840 w 514980"/>
                    <a:gd name="connsiteY10" fmla="*/ 442755 h 454272"/>
                    <a:gd name="connsiteX0" fmla="*/ 8840 w 514980"/>
                    <a:gd name="connsiteY0" fmla="*/ 442755 h 454272"/>
                    <a:gd name="connsiteX1" fmla="*/ 5665 w 514980"/>
                    <a:gd name="connsiteY1" fmla="*/ 217330 h 454272"/>
                    <a:gd name="connsiteX2" fmla="*/ 62412 w 514980"/>
                    <a:gd name="connsiteY2" fmla="*/ 129774 h 454272"/>
                    <a:gd name="connsiteX3" fmla="*/ 186237 w 514980"/>
                    <a:gd name="connsiteY3" fmla="*/ 91674 h 454272"/>
                    <a:gd name="connsiteX4" fmla="*/ 205690 w 514980"/>
                    <a:gd name="connsiteY4" fmla="*/ 10955 h 454272"/>
                    <a:gd name="connsiteX5" fmla="*/ 325550 w 514980"/>
                    <a:gd name="connsiteY5" fmla="*/ 9967 h 454272"/>
                    <a:gd name="connsiteX6" fmla="*/ 351353 w 514980"/>
                    <a:gd name="connsiteY6" fmla="*/ 96258 h 454272"/>
                    <a:gd name="connsiteX7" fmla="*/ 461084 w 514980"/>
                    <a:gd name="connsiteY7" fmla="*/ 143883 h 454272"/>
                    <a:gd name="connsiteX8" fmla="*/ 513665 w 514980"/>
                    <a:gd name="connsiteY8" fmla="*/ 226855 h 454272"/>
                    <a:gd name="connsiteX9" fmla="*/ 510490 w 514980"/>
                    <a:gd name="connsiteY9" fmla="*/ 449105 h 454272"/>
                    <a:gd name="connsiteX10" fmla="*/ 8840 w 514980"/>
                    <a:gd name="connsiteY10" fmla="*/ 442755 h 454272"/>
                    <a:gd name="connsiteX0" fmla="*/ 8840 w 514980"/>
                    <a:gd name="connsiteY0" fmla="*/ 442755 h 454272"/>
                    <a:gd name="connsiteX1" fmla="*/ 5665 w 514980"/>
                    <a:gd name="connsiteY1" fmla="*/ 217330 h 454272"/>
                    <a:gd name="connsiteX2" fmla="*/ 62412 w 514980"/>
                    <a:gd name="connsiteY2" fmla="*/ 129774 h 454272"/>
                    <a:gd name="connsiteX3" fmla="*/ 186237 w 514980"/>
                    <a:gd name="connsiteY3" fmla="*/ 91674 h 454272"/>
                    <a:gd name="connsiteX4" fmla="*/ 205690 w 514980"/>
                    <a:gd name="connsiteY4" fmla="*/ 10955 h 454272"/>
                    <a:gd name="connsiteX5" fmla="*/ 325550 w 514980"/>
                    <a:gd name="connsiteY5" fmla="*/ 9967 h 454272"/>
                    <a:gd name="connsiteX6" fmla="*/ 351353 w 514980"/>
                    <a:gd name="connsiteY6" fmla="*/ 96258 h 454272"/>
                    <a:gd name="connsiteX7" fmla="*/ 461084 w 514980"/>
                    <a:gd name="connsiteY7" fmla="*/ 143883 h 454272"/>
                    <a:gd name="connsiteX8" fmla="*/ 513665 w 514980"/>
                    <a:gd name="connsiteY8" fmla="*/ 226855 h 454272"/>
                    <a:gd name="connsiteX9" fmla="*/ 510490 w 514980"/>
                    <a:gd name="connsiteY9" fmla="*/ 449105 h 454272"/>
                    <a:gd name="connsiteX10" fmla="*/ 8840 w 514980"/>
                    <a:gd name="connsiteY10" fmla="*/ 442755 h 454272"/>
                    <a:gd name="connsiteX0" fmla="*/ 8840 w 514980"/>
                    <a:gd name="connsiteY0" fmla="*/ 442755 h 454272"/>
                    <a:gd name="connsiteX1" fmla="*/ 5665 w 514980"/>
                    <a:gd name="connsiteY1" fmla="*/ 217330 h 454272"/>
                    <a:gd name="connsiteX2" fmla="*/ 62412 w 514980"/>
                    <a:gd name="connsiteY2" fmla="*/ 129774 h 454272"/>
                    <a:gd name="connsiteX3" fmla="*/ 186237 w 514980"/>
                    <a:gd name="connsiteY3" fmla="*/ 91674 h 454272"/>
                    <a:gd name="connsiteX4" fmla="*/ 205690 w 514980"/>
                    <a:gd name="connsiteY4" fmla="*/ 10955 h 454272"/>
                    <a:gd name="connsiteX5" fmla="*/ 325550 w 514980"/>
                    <a:gd name="connsiteY5" fmla="*/ 9967 h 454272"/>
                    <a:gd name="connsiteX6" fmla="*/ 351353 w 514980"/>
                    <a:gd name="connsiteY6" fmla="*/ 96258 h 454272"/>
                    <a:gd name="connsiteX7" fmla="*/ 461084 w 514980"/>
                    <a:gd name="connsiteY7" fmla="*/ 143883 h 454272"/>
                    <a:gd name="connsiteX8" fmla="*/ 513665 w 514980"/>
                    <a:gd name="connsiteY8" fmla="*/ 226855 h 454272"/>
                    <a:gd name="connsiteX9" fmla="*/ 510490 w 514980"/>
                    <a:gd name="connsiteY9" fmla="*/ 449105 h 454272"/>
                    <a:gd name="connsiteX10" fmla="*/ 8840 w 514980"/>
                    <a:gd name="connsiteY10" fmla="*/ 442755 h 454272"/>
                    <a:gd name="connsiteX0" fmla="*/ 8840 w 514980"/>
                    <a:gd name="connsiteY0" fmla="*/ 436996 h 448513"/>
                    <a:gd name="connsiteX1" fmla="*/ 5665 w 514980"/>
                    <a:gd name="connsiteY1" fmla="*/ 211571 h 448513"/>
                    <a:gd name="connsiteX2" fmla="*/ 62412 w 514980"/>
                    <a:gd name="connsiteY2" fmla="*/ 124015 h 448513"/>
                    <a:gd name="connsiteX3" fmla="*/ 186237 w 514980"/>
                    <a:gd name="connsiteY3" fmla="*/ 85915 h 448513"/>
                    <a:gd name="connsiteX4" fmla="*/ 205690 w 514980"/>
                    <a:gd name="connsiteY4" fmla="*/ 5196 h 448513"/>
                    <a:gd name="connsiteX5" fmla="*/ 325550 w 514980"/>
                    <a:gd name="connsiteY5" fmla="*/ 4208 h 448513"/>
                    <a:gd name="connsiteX6" fmla="*/ 351353 w 514980"/>
                    <a:gd name="connsiteY6" fmla="*/ 90499 h 448513"/>
                    <a:gd name="connsiteX7" fmla="*/ 461084 w 514980"/>
                    <a:gd name="connsiteY7" fmla="*/ 138124 h 448513"/>
                    <a:gd name="connsiteX8" fmla="*/ 513665 w 514980"/>
                    <a:gd name="connsiteY8" fmla="*/ 221096 h 448513"/>
                    <a:gd name="connsiteX9" fmla="*/ 510490 w 514980"/>
                    <a:gd name="connsiteY9" fmla="*/ 443346 h 448513"/>
                    <a:gd name="connsiteX10" fmla="*/ 8840 w 514980"/>
                    <a:gd name="connsiteY10" fmla="*/ 436996 h 448513"/>
                    <a:gd name="connsiteX0" fmla="*/ 8840 w 514980"/>
                    <a:gd name="connsiteY0" fmla="*/ 436996 h 448513"/>
                    <a:gd name="connsiteX1" fmla="*/ 5665 w 514980"/>
                    <a:gd name="connsiteY1" fmla="*/ 211571 h 448513"/>
                    <a:gd name="connsiteX2" fmla="*/ 62412 w 514980"/>
                    <a:gd name="connsiteY2" fmla="*/ 124015 h 448513"/>
                    <a:gd name="connsiteX3" fmla="*/ 186237 w 514980"/>
                    <a:gd name="connsiteY3" fmla="*/ 85915 h 448513"/>
                    <a:gd name="connsiteX4" fmla="*/ 205690 w 514980"/>
                    <a:gd name="connsiteY4" fmla="*/ 5196 h 448513"/>
                    <a:gd name="connsiteX5" fmla="*/ 325550 w 514980"/>
                    <a:gd name="connsiteY5" fmla="*/ 4208 h 448513"/>
                    <a:gd name="connsiteX6" fmla="*/ 351353 w 514980"/>
                    <a:gd name="connsiteY6" fmla="*/ 90499 h 448513"/>
                    <a:gd name="connsiteX7" fmla="*/ 461084 w 514980"/>
                    <a:gd name="connsiteY7" fmla="*/ 138124 h 448513"/>
                    <a:gd name="connsiteX8" fmla="*/ 513665 w 514980"/>
                    <a:gd name="connsiteY8" fmla="*/ 221096 h 448513"/>
                    <a:gd name="connsiteX9" fmla="*/ 510490 w 514980"/>
                    <a:gd name="connsiteY9" fmla="*/ 443346 h 448513"/>
                    <a:gd name="connsiteX10" fmla="*/ 8840 w 514980"/>
                    <a:gd name="connsiteY10" fmla="*/ 436996 h 448513"/>
                    <a:gd name="connsiteX0" fmla="*/ 8840 w 514980"/>
                    <a:gd name="connsiteY0" fmla="*/ 436996 h 448513"/>
                    <a:gd name="connsiteX1" fmla="*/ 5665 w 514980"/>
                    <a:gd name="connsiteY1" fmla="*/ 211571 h 448513"/>
                    <a:gd name="connsiteX2" fmla="*/ 62412 w 514980"/>
                    <a:gd name="connsiteY2" fmla="*/ 124015 h 448513"/>
                    <a:gd name="connsiteX3" fmla="*/ 186237 w 514980"/>
                    <a:gd name="connsiteY3" fmla="*/ 85915 h 448513"/>
                    <a:gd name="connsiteX4" fmla="*/ 205690 w 514980"/>
                    <a:gd name="connsiteY4" fmla="*/ 5196 h 448513"/>
                    <a:gd name="connsiteX5" fmla="*/ 325550 w 514980"/>
                    <a:gd name="connsiteY5" fmla="*/ 4208 h 448513"/>
                    <a:gd name="connsiteX6" fmla="*/ 351353 w 514980"/>
                    <a:gd name="connsiteY6" fmla="*/ 90499 h 448513"/>
                    <a:gd name="connsiteX7" fmla="*/ 461084 w 514980"/>
                    <a:gd name="connsiteY7" fmla="*/ 138124 h 448513"/>
                    <a:gd name="connsiteX8" fmla="*/ 513665 w 514980"/>
                    <a:gd name="connsiteY8" fmla="*/ 221096 h 448513"/>
                    <a:gd name="connsiteX9" fmla="*/ 510490 w 514980"/>
                    <a:gd name="connsiteY9" fmla="*/ 443346 h 448513"/>
                    <a:gd name="connsiteX10" fmla="*/ 8840 w 514980"/>
                    <a:gd name="connsiteY10" fmla="*/ 436996 h 448513"/>
                    <a:gd name="connsiteX0" fmla="*/ 8840 w 514980"/>
                    <a:gd name="connsiteY0" fmla="*/ 436996 h 448513"/>
                    <a:gd name="connsiteX1" fmla="*/ 5665 w 514980"/>
                    <a:gd name="connsiteY1" fmla="*/ 211571 h 448513"/>
                    <a:gd name="connsiteX2" fmla="*/ 62412 w 514980"/>
                    <a:gd name="connsiteY2" fmla="*/ 124015 h 448513"/>
                    <a:gd name="connsiteX3" fmla="*/ 168766 w 514980"/>
                    <a:gd name="connsiteY3" fmla="*/ 88102 h 448513"/>
                    <a:gd name="connsiteX4" fmla="*/ 205690 w 514980"/>
                    <a:gd name="connsiteY4" fmla="*/ 5196 h 448513"/>
                    <a:gd name="connsiteX5" fmla="*/ 325550 w 514980"/>
                    <a:gd name="connsiteY5" fmla="*/ 4208 h 448513"/>
                    <a:gd name="connsiteX6" fmla="*/ 351353 w 514980"/>
                    <a:gd name="connsiteY6" fmla="*/ 90499 h 448513"/>
                    <a:gd name="connsiteX7" fmla="*/ 461084 w 514980"/>
                    <a:gd name="connsiteY7" fmla="*/ 138124 h 448513"/>
                    <a:gd name="connsiteX8" fmla="*/ 513665 w 514980"/>
                    <a:gd name="connsiteY8" fmla="*/ 221096 h 448513"/>
                    <a:gd name="connsiteX9" fmla="*/ 510490 w 514980"/>
                    <a:gd name="connsiteY9" fmla="*/ 443346 h 448513"/>
                    <a:gd name="connsiteX10" fmla="*/ 8840 w 514980"/>
                    <a:gd name="connsiteY10" fmla="*/ 436996 h 448513"/>
                    <a:gd name="connsiteX0" fmla="*/ 8840 w 514980"/>
                    <a:gd name="connsiteY0" fmla="*/ 440628 h 452145"/>
                    <a:gd name="connsiteX1" fmla="*/ 5665 w 514980"/>
                    <a:gd name="connsiteY1" fmla="*/ 215203 h 452145"/>
                    <a:gd name="connsiteX2" fmla="*/ 62412 w 514980"/>
                    <a:gd name="connsiteY2" fmla="*/ 127647 h 452145"/>
                    <a:gd name="connsiteX3" fmla="*/ 168766 w 514980"/>
                    <a:gd name="connsiteY3" fmla="*/ 91734 h 452145"/>
                    <a:gd name="connsiteX4" fmla="*/ 179484 w 514980"/>
                    <a:gd name="connsiteY4" fmla="*/ 4454 h 452145"/>
                    <a:gd name="connsiteX5" fmla="*/ 325550 w 514980"/>
                    <a:gd name="connsiteY5" fmla="*/ 7840 h 452145"/>
                    <a:gd name="connsiteX6" fmla="*/ 351353 w 514980"/>
                    <a:gd name="connsiteY6" fmla="*/ 94131 h 452145"/>
                    <a:gd name="connsiteX7" fmla="*/ 461084 w 514980"/>
                    <a:gd name="connsiteY7" fmla="*/ 141756 h 452145"/>
                    <a:gd name="connsiteX8" fmla="*/ 513665 w 514980"/>
                    <a:gd name="connsiteY8" fmla="*/ 224728 h 452145"/>
                    <a:gd name="connsiteX9" fmla="*/ 510490 w 514980"/>
                    <a:gd name="connsiteY9" fmla="*/ 446978 h 452145"/>
                    <a:gd name="connsiteX10" fmla="*/ 8840 w 514980"/>
                    <a:gd name="connsiteY10" fmla="*/ 440628 h 452145"/>
                    <a:gd name="connsiteX0" fmla="*/ 8840 w 514980"/>
                    <a:gd name="connsiteY0" fmla="*/ 442422 h 453939"/>
                    <a:gd name="connsiteX1" fmla="*/ 5665 w 514980"/>
                    <a:gd name="connsiteY1" fmla="*/ 216997 h 453939"/>
                    <a:gd name="connsiteX2" fmla="*/ 62412 w 514980"/>
                    <a:gd name="connsiteY2" fmla="*/ 129441 h 453939"/>
                    <a:gd name="connsiteX3" fmla="*/ 168766 w 514980"/>
                    <a:gd name="connsiteY3" fmla="*/ 93528 h 453939"/>
                    <a:gd name="connsiteX4" fmla="*/ 179484 w 514980"/>
                    <a:gd name="connsiteY4" fmla="*/ 6248 h 453939"/>
                    <a:gd name="connsiteX5" fmla="*/ 351756 w 514980"/>
                    <a:gd name="connsiteY5" fmla="*/ 886 h 453939"/>
                    <a:gd name="connsiteX6" fmla="*/ 351353 w 514980"/>
                    <a:gd name="connsiteY6" fmla="*/ 95925 h 453939"/>
                    <a:gd name="connsiteX7" fmla="*/ 461084 w 514980"/>
                    <a:gd name="connsiteY7" fmla="*/ 143550 h 453939"/>
                    <a:gd name="connsiteX8" fmla="*/ 513665 w 514980"/>
                    <a:gd name="connsiteY8" fmla="*/ 226522 h 453939"/>
                    <a:gd name="connsiteX9" fmla="*/ 510490 w 514980"/>
                    <a:gd name="connsiteY9" fmla="*/ 448772 h 453939"/>
                    <a:gd name="connsiteX10" fmla="*/ 8840 w 514980"/>
                    <a:gd name="connsiteY10" fmla="*/ 442422 h 453939"/>
                    <a:gd name="connsiteX0" fmla="*/ 8840 w 514980"/>
                    <a:gd name="connsiteY0" fmla="*/ 442422 h 453939"/>
                    <a:gd name="connsiteX1" fmla="*/ 5665 w 514980"/>
                    <a:gd name="connsiteY1" fmla="*/ 216997 h 453939"/>
                    <a:gd name="connsiteX2" fmla="*/ 62412 w 514980"/>
                    <a:gd name="connsiteY2" fmla="*/ 129441 h 453939"/>
                    <a:gd name="connsiteX3" fmla="*/ 168766 w 514980"/>
                    <a:gd name="connsiteY3" fmla="*/ 93528 h 453939"/>
                    <a:gd name="connsiteX4" fmla="*/ 179484 w 514980"/>
                    <a:gd name="connsiteY4" fmla="*/ 6248 h 453939"/>
                    <a:gd name="connsiteX5" fmla="*/ 351756 w 514980"/>
                    <a:gd name="connsiteY5" fmla="*/ 886 h 453939"/>
                    <a:gd name="connsiteX6" fmla="*/ 366640 w 514980"/>
                    <a:gd name="connsiteY6" fmla="*/ 100299 h 453939"/>
                    <a:gd name="connsiteX7" fmla="*/ 461084 w 514980"/>
                    <a:gd name="connsiteY7" fmla="*/ 143550 h 453939"/>
                    <a:gd name="connsiteX8" fmla="*/ 513665 w 514980"/>
                    <a:gd name="connsiteY8" fmla="*/ 226522 h 453939"/>
                    <a:gd name="connsiteX9" fmla="*/ 510490 w 514980"/>
                    <a:gd name="connsiteY9" fmla="*/ 448772 h 453939"/>
                    <a:gd name="connsiteX10" fmla="*/ 8840 w 514980"/>
                    <a:gd name="connsiteY10" fmla="*/ 442422 h 453939"/>
                    <a:gd name="connsiteX0" fmla="*/ 8840 w 514980"/>
                    <a:gd name="connsiteY0" fmla="*/ 442422 h 450476"/>
                    <a:gd name="connsiteX1" fmla="*/ 5665 w 514980"/>
                    <a:gd name="connsiteY1" fmla="*/ 216997 h 450476"/>
                    <a:gd name="connsiteX2" fmla="*/ 62412 w 514980"/>
                    <a:gd name="connsiteY2" fmla="*/ 129441 h 450476"/>
                    <a:gd name="connsiteX3" fmla="*/ 168766 w 514980"/>
                    <a:gd name="connsiteY3" fmla="*/ 93528 h 450476"/>
                    <a:gd name="connsiteX4" fmla="*/ 179484 w 514980"/>
                    <a:gd name="connsiteY4" fmla="*/ 6248 h 450476"/>
                    <a:gd name="connsiteX5" fmla="*/ 351756 w 514980"/>
                    <a:gd name="connsiteY5" fmla="*/ 886 h 450476"/>
                    <a:gd name="connsiteX6" fmla="*/ 366640 w 514980"/>
                    <a:gd name="connsiteY6" fmla="*/ 100299 h 450476"/>
                    <a:gd name="connsiteX7" fmla="*/ 461084 w 514980"/>
                    <a:gd name="connsiteY7" fmla="*/ 143550 h 450476"/>
                    <a:gd name="connsiteX8" fmla="*/ 513665 w 514980"/>
                    <a:gd name="connsiteY8" fmla="*/ 226522 h 450476"/>
                    <a:gd name="connsiteX9" fmla="*/ 510490 w 514980"/>
                    <a:gd name="connsiteY9" fmla="*/ 448772 h 450476"/>
                    <a:gd name="connsiteX10" fmla="*/ 8840 w 514980"/>
                    <a:gd name="connsiteY10" fmla="*/ 442422 h 450476"/>
                    <a:gd name="connsiteX0" fmla="*/ 8840 w 514980"/>
                    <a:gd name="connsiteY0" fmla="*/ 442422 h 448772"/>
                    <a:gd name="connsiteX1" fmla="*/ 5665 w 514980"/>
                    <a:gd name="connsiteY1" fmla="*/ 216997 h 448772"/>
                    <a:gd name="connsiteX2" fmla="*/ 62412 w 514980"/>
                    <a:gd name="connsiteY2" fmla="*/ 129441 h 448772"/>
                    <a:gd name="connsiteX3" fmla="*/ 168766 w 514980"/>
                    <a:gd name="connsiteY3" fmla="*/ 93528 h 448772"/>
                    <a:gd name="connsiteX4" fmla="*/ 179484 w 514980"/>
                    <a:gd name="connsiteY4" fmla="*/ 6248 h 448772"/>
                    <a:gd name="connsiteX5" fmla="*/ 351756 w 514980"/>
                    <a:gd name="connsiteY5" fmla="*/ 886 h 448772"/>
                    <a:gd name="connsiteX6" fmla="*/ 366640 w 514980"/>
                    <a:gd name="connsiteY6" fmla="*/ 100299 h 448772"/>
                    <a:gd name="connsiteX7" fmla="*/ 461084 w 514980"/>
                    <a:gd name="connsiteY7" fmla="*/ 143550 h 448772"/>
                    <a:gd name="connsiteX8" fmla="*/ 513665 w 514980"/>
                    <a:gd name="connsiteY8" fmla="*/ 226522 h 448772"/>
                    <a:gd name="connsiteX9" fmla="*/ 510490 w 514980"/>
                    <a:gd name="connsiteY9" fmla="*/ 448772 h 448772"/>
                    <a:gd name="connsiteX10" fmla="*/ 8840 w 514980"/>
                    <a:gd name="connsiteY10" fmla="*/ 442422 h 448772"/>
                    <a:gd name="connsiteX0" fmla="*/ 8840 w 514980"/>
                    <a:gd name="connsiteY0" fmla="*/ 442422 h 448772"/>
                    <a:gd name="connsiteX1" fmla="*/ 5665 w 514980"/>
                    <a:gd name="connsiteY1" fmla="*/ 216997 h 448772"/>
                    <a:gd name="connsiteX2" fmla="*/ 62412 w 514980"/>
                    <a:gd name="connsiteY2" fmla="*/ 129441 h 448772"/>
                    <a:gd name="connsiteX3" fmla="*/ 168766 w 514980"/>
                    <a:gd name="connsiteY3" fmla="*/ 93528 h 448772"/>
                    <a:gd name="connsiteX4" fmla="*/ 179484 w 514980"/>
                    <a:gd name="connsiteY4" fmla="*/ 6248 h 448772"/>
                    <a:gd name="connsiteX5" fmla="*/ 351756 w 514980"/>
                    <a:gd name="connsiteY5" fmla="*/ 886 h 448772"/>
                    <a:gd name="connsiteX6" fmla="*/ 357905 w 514980"/>
                    <a:gd name="connsiteY6" fmla="*/ 98112 h 448772"/>
                    <a:gd name="connsiteX7" fmla="*/ 461084 w 514980"/>
                    <a:gd name="connsiteY7" fmla="*/ 143550 h 448772"/>
                    <a:gd name="connsiteX8" fmla="*/ 513665 w 514980"/>
                    <a:gd name="connsiteY8" fmla="*/ 226522 h 448772"/>
                    <a:gd name="connsiteX9" fmla="*/ 510490 w 514980"/>
                    <a:gd name="connsiteY9" fmla="*/ 448772 h 448772"/>
                    <a:gd name="connsiteX10" fmla="*/ 8840 w 514980"/>
                    <a:gd name="connsiteY10" fmla="*/ 442422 h 448772"/>
                    <a:gd name="connsiteX0" fmla="*/ 8840 w 514980"/>
                    <a:gd name="connsiteY0" fmla="*/ 442422 h 448772"/>
                    <a:gd name="connsiteX1" fmla="*/ 5665 w 514980"/>
                    <a:gd name="connsiteY1" fmla="*/ 216997 h 448772"/>
                    <a:gd name="connsiteX2" fmla="*/ 62412 w 514980"/>
                    <a:gd name="connsiteY2" fmla="*/ 129441 h 448772"/>
                    <a:gd name="connsiteX3" fmla="*/ 168766 w 514980"/>
                    <a:gd name="connsiteY3" fmla="*/ 93528 h 448772"/>
                    <a:gd name="connsiteX4" fmla="*/ 179484 w 514980"/>
                    <a:gd name="connsiteY4" fmla="*/ 6248 h 448772"/>
                    <a:gd name="connsiteX5" fmla="*/ 351756 w 514980"/>
                    <a:gd name="connsiteY5" fmla="*/ 886 h 448772"/>
                    <a:gd name="connsiteX6" fmla="*/ 357905 w 514980"/>
                    <a:gd name="connsiteY6" fmla="*/ 98112 h 448772"/>
                    <a:gd name="connsiteX7" fmla="*/ 454533 w 514980"/>
                    <a:gd name="connsiteY7" fmla="*/ 136989 h 448772"/>
                    <a:gd name="connsiteX8" fmla="*/ 513665 w 514980"/>
                    <a:gd name="connsiteY8" fmla="*/ 226522 h 448772"/>
                    <a:gd name="connsiteX9" fmla="*/ 510490 w 514980"/>
                    <a:gd name="connsiteY9" fmla="*/ 448772 h 448772"/>
                    <a:gd name="connsiteX10" fmla="*/ 8840 w 514980"/>
                    <a:gd name="connsiteY10" fmla="*/ 442422 h 448772"/>
                    <a:gd name="connsiteX0" fmla="*/ 8840 w 514980"/>
                    <a:gd name="connsiteY0" fmla="*/ 442422 h 448772"/>
                    <a:gd name="connsiteX1" fmla="*/ 5665 w 514980"/>
                    <a:gd name="connsiteY1" fmla="*/ 216997 h 448772"/>
                    <a:gd name="connsiteX2" fmla="*/ 62412 w 514980"/>
                    <a:gd name="connsiteY2" fmla="*/ 129441 h 448772"/>
                    <a:gd name="connsiteX3" fmla="*/ 168766 w 514980"/>
                    <a:gd name="connsiteY3" fmla="*/ 93528 h 448772"/>
                    <a:gd name="connsiteX4" fmla="*/ 179484 w 514980"/>
                    <a:gd name="connsiteY4" fmla="*/ 6248 h 448772"/>
                    <a:gd name="connsiteX5" fmla="*/ 351756 w 514980"/>
                    <a:gd name="connsiteY5" fmla="*/ 886 h 448772"/>
                    <a:gd name="connsiteX6" fmla="*/ 357905 w 514980"/>
                    <a:gd name="connsiteY6" fmla="*/ 98112 h 448772"/>
                    <a:gd name="connsiteX7" fmla="*/ 454533 w 514980"/>
                    <a:gd name="connsiteY7" fmla="*/ 136989 h 448772"/>
                    <a:gd name="connsiteX8" fmla="*/ 513665 w 514980"/>
                    <a:gd name="connsiteY8" fmla="*/ 226522 h 448772"/>
                    <a:gd name="connsiteX9" fmla="*/ 510490 w 514980"/>
                    <a:gd name="connsiteY9" fmla="*/ 448772 h 448772"/>
                    <a:gd name="connsiteX10" fmla="*/ 8840 w 514980"/>
                    <a:gd name="connsiteY10" fmla="*/ 442422 h 448772"/>
                    <a:gd name="connsiteX0" fmla="*/ 8840 w 514980"/>
                    <a:gd name="connsiteY0" fmla="*/ 442422 h 448772"/>
                    <a:gd name="connsiteX1" fmla="*/ 5665 w 514980"/>
                    <a:gd name="connsiteY1" fmla="*/ 216997 h 448772"/>
                    <a:gd name="connsiteX2" fmla="*/ 62412 w 514980"/>
                    <a:gd name="connsiteY2" fmla="*/ 129441 h 448772"/>
                    <a:gd name="connsiteX3" fmla="*/ 168766 w 514980"/>
                    <a:gd name="connsiteY3" fmla="*/ 93528 h 448772"/>
                    <a:gd name="connsiteX4" fmla="*/ 179484 w 514980"/>
                    <a:gd name="connsiteY4" fmla="*/ 6248 h 448772"/>
                    <a:gd name="connsiteX5" fmla="*/ 351756 w 514980"/>
                    <a:gd name="connsiteY5" fmla="*/ 886 h 448772"/>
                    <a:gd name="connsiteX6" fmla="*/ 357905 w 514980"/>
                    <a:gd name="connsiteY6" fmla="*/ 98112 h 448772"/>
                    <a:gd name="connsiteX7" fmla="*/ 454533 w 514980"/>
                    <a:gd name="connsiteY7" fmla="*/ 136989 h 448772"/>
                    <a:gd name="connsiteX8" fmla="*/ 513665 w 514980"/>
                    <a:gd name="connsiteY8" fmla="*/ 226522 h 448772"/>
                    <a:gd name="connsiteX9" fmla="*/ 510490 w 514980"/>
                    <a:gd name="connsiteY9" fmla="*/ 448772 h 448772"/>
                    <a:gd name="connsiteX10" fmla="*/ 8840 w 514980"/>
                    <a:gd name="connsiteY10" fmla="*/ 442422 h 448772"/>
                    <a:gd name="connsiteX0" fmla="*/ 8840 w 514980"/>
                    <a:gd name="connsiteY0" fmla="*/ 442422 h 448772"/>
                    <a:gd name="connsiteX1" fmla="*/ 5665 w 514980"/>
                    <a:gd name="connsiteY1" fmla="*/ 216997 h 448772"/>
                    <a:gd name="connsiteX2" fmla="*/ 62412 w 514980"/>
                    <a:gd name="connsiteY2" fmla="*/ 129441 h 448772"/>
                    <a:gd name="connsiteX3" fmla="*/ 168766 w 514980"/>
                    <a:gd name="connsiteY3" fmla="*/ 93528 h 448772"/>
                    <a:gd name="connsiteX4" fmla="*/ 179484 w 514980"/>
                    <a:gd name="connsiteY4" fmla="*/ 6248 h 448772"/>
                    <a:gd name="connsiteX5" fmla="*/ 351756 w 514980"/>
                    <a:gd name="connsiteY5" fmla="*/ 886 h 448772"/>
                    <a:gd name="connsiteX6" fmla="*/ 353538 w 514980"/>
                    <a:gd name="connsiteY6" fmla="*/ 98112 h 448772"/>
                    <a:gd name="connsiteX7" fmla="*/ 454533 w 514980"/>
                    <a:gd name="connsiteY7" fmla="*/ 136989 h 448772"/>
                    <a:gd name="connsiteX8" fmla="*/ 513665 w 514980"/>
                    <a:gd name="connsiteY8" fmla="*/ 226522 h 448772"/>
                    <a:gd name="connsiteX9" fmla="*/ 510490 w 514980"/>
                    <a:gd name="connsiteY9" fmla="*/ 448772 h 448772"/>
                    <a:gd name="connsiteX10" fmla="*/ 8840 w 514980"/>
                    <a:gd name="connsiteY10" fmla="*/ 442422 h 448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14980" h="448772">
                      <a:moveTo>
                        <a:pt x="8840" y="442422"/>
                      </a:moveTo>
                      <a:cubicBezTo>
                        <a:pt x="-1214" y="377864"/>
                        <a:pt x="-3264" y="269160"/>
                        <a:pt x="5665" y="216997"/>
                      </a:cubicBezTo>
                      <a:cubicBezTo>
                        <a:pt x="14594" y="164834"/>
                        <a:pt x="35229" y="150019"/>
                        <a:pt x="62412" y="129441"/>
                      </a:cubicBezTo>
                      <a:cubicBezTo>
                        <a:pt x="89595" y="108863"/>
                        <a:pt x="149254" y="114060"/>
                        <a:pt x="168766" y="93528"/>
                      </a:cubicBezTo>
                      <a:cubicBezTo>
                        <a:pt x="188278" y="72996"/>
                        <a:pt x="189023" y="43922"/>
                        <a:pt x="179484" y="6248"/>
                      </a:cubicBezTo>
                      <a:cubicBezTo>
                        <a:pt x="202703" y="-7370"/>
                        <a:pt x="323111" y="6352"/>
                        <a:pt x="351756" y="886"/>
                      </a:cubicBezTo>
                      <a:cubicBezTo>
                        <a:pt x="354195" y="39159"/>
                        <a:pt x="342961" y="75428"/>
                        <a:pt x="353538" y="98112"/>
                      </a:cubicBezTo>
                      <a:cubicBezTo>
                        <a:pt x="364115" y="120796"/>
                        <a:pt x="427845" y="115587"/>
                        <a:pt x="454533" y="136989"/>
                      </a:cubicBezTo>
                      <a:cubicBezTo>
                        <a:pt x="481221" y="158391"/>
                        <a:pt x="503611" y="177839"/>
                        <a:pt x="513665" y="226522"/>
                      </a:cubicBezTo>
                      <a:cubicBezTo>
                        <a:pt x="516840" y="276264"/>
                        <a:pt x="513665" y="323360"/>
                        <a:pt x="510490" y="448772"/>
                      </a:cubicBezTo>
                      <a:lnTo>
                        <a:pt x="8840" y="442422"/>
                      </a:lnTo>
                      <a:close/>
                    </a:path>
                  </a:pathLst>
                </a:custGeom>
                <a:grpFill/>
                <a:ln w="571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100" name="Oval 99">
                  <a:extLst>
                    <a:ext uri="{FF2B5EF4-FFF2-40B4-BE49-F238E27FC236}">
                      <a16:creationId xmlns:a16="http://schemas.microsoft.com/office/drawing/2014/main" id="{EEAE6A49-07E7-AC49-A95E-75EAAA35D39E}"/>
                    </a:ext>
                  </a:extLst>
                </p:cNvPr>
                <p:cNvSpPr/>
                <p:nvPr/>
              </p:nvSpPr>
              <p:spPr>
                <a:xfrm>
                  <a:off x="1971467" y="3508300"/>
                  <a:ext cx="282088" cy="336550"/>
                </a:xfrm>
                <a:prstGeom prst="ellipse">
                  <a:avLst/>
                </a:prstGeom>
                <a:grpFill/>
                <a:ln w="571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grpSp>
          <p:grpSp>
            <p:nvGrpSpPr>
              <p:cNvPr id="96" name="Group 95">
                <a:extLst>
                  <a:ext uri="{FF2B5EF4-FFF2-40B4-BE49-F238E27FC236}">
                    <a16:creationId xmlns:a16="http://schemas.microsoft.com/office/drawing/2014/main" id="{E7E70176-DC9A-054C-A613-581D737A12CA}"/>
                  </a:ext>
                </a:extLst>
              </p:cNvPr>
              <p:cNvGrpSpPr/>
              <p:nvPr/>
            </p:nvGrpSpPr>
            <p:grpSpPr>
              <a:xfrm>
                <a:off x="1553120" y="3388644"/>
                <a:ext cx="633802" cy="938165"/>
                <a:chOff x="1806977" y="3500843"/>
                <a:chExt cx="539989" cy="738018"/>
              </a:xfrm>
            </p:grpSpPr>
            <p:sp>
              <p:nvSpPr>
                <p:cNvPr id="97" name="Freeform 96">
                  <a:extLst>
                    <a:ext uri="{FF2B5EF4-FFF2-40B4-BE49-F238E27FC236}">
                      <a16:creationId xmlns:a16="http://schemas.microsoft.com/office/drawing/2014/main" id="{77BE9EF0-6B1C-854C-A711-CBCED0F45121}"/>
                    </a:ext>
                  </a:extLst>
                </p:cNvPr>
                <p:cNvSpPr/>
                <p:nvPr/>
              </p:nvSpPr>
              <p:spPr>
                <a:xfrm>
                  <a:off x="1806977" y="3782373"/>
                  <a:ext cx="539989" cy="456488"/>
                </a:xfrm>
                <a:custGeom>
                  <a:avLst/>
                  <a:gdLst>
                    <a:gd name="connsiteX0" fmla="*/ 36807 w 576731"/>
                    <a:gd name="connsiteY0" fmla="*/ 449906 h 505924"/>
                    <a:gd name="connsiteX1" fmla="*/ 39982 w 576731"/>
                    <a:gd name="connsiteY1" fmla="*/ 214956 h 505924"/>
                    <a:gd name="connsiteX2" fmla="*/ 55857 w 576731"/>
                    <a:gd name="connsiteY2" fmla="*/ 176856 h 505924"/>
                    <a:gd name="connsiteX3" fmla="*/ 103482 w 576731"/>
                    <a:gd name="connsiteY3" fmla="*/ 160981 h 505924"/>
                    <a:gd name="connsiteX4" fmla="*/ 205082 w 576731"/>
                    <a:gd name="connsiteY4" fmla="*/ 154631 h 505924"/>
                    <a:gd name="connsiteX5" fmla="*/ 230482 w 576731"/>
                    <a:gd name="connsiteY5" fmla="*/ 151456 h 505924"/>
                    <a:gd name="connsiteX6" fmla="*/ 233657 w 576731"/>
                    <a:gd name="connsiteY6" fmla="*/ 18106 h 505924"/>
                    <a:gd name="connsiteX7" fmla="*/ 344782 w 576731"/>
                    <a:gd name="connsiteY7" fmla="*/ 14931 h 505924"/>
                    <a:gd name="connsiteX8" fmla="*/ 344782 w 576731"/>
                    <a:gd name="connsiteY8" fmla="*/ 145106 h 505924"/>
                    <a:gd name="connsiteX9" fmla="*/ 386057 w 576731"/>
                    <a:gd name="connsiteY9" fmla="*/ 151456 h 505924"/>
                    <a:gd name="connsiteX10" fmla="*/ 478132 w 576731"/>
                    <a:gd name="connsiteY10" fmla="*/ 164156 h 505924"/>
                    <a:gd name="connsiteX11" fmla="*/ 519407 w 576731"/>
                    <a:gd name="connsiteY11" fmla="*/ 189556 h 505924"/>
                    <a:gd name="connsiteX12" fmla="*/ 541632 w 576731"/>
                    <a:gd name="connsiteY12" fmla="*/ 234006 h 505924"/>
                    <a:gd name="connsiteX13" fmla="*/ 538457 w 576731"/>
                    <a:gd name="connsiteY13" fmla="*/ 488006 h 505924"/>
                    <a:gd name="connsiteX14" fmla="*/ 36807 w 576731"/>
                    <a:gd name="connsiteY14" fmla="*/ 449906 h 505924"/>
                    <a:gd name="connsiteX0" fmla="*/ 5769 w 545693"/>
                    <a:gd name="connsiteY0" fmla="*/ 449906 h 505924"/>
                    <a:gd name="connsiteX1" fmla="*/ 8944 w 545693"/>
                    <a:gd name="connsiteY1" fmla="*/ 214956 h 505924"/>
                    <a:gd name="connsiteX2" fmla="*/ 24819 w 545693"/>
                    <a:gd name="connsiteY2" fmla="*/ 176856 h 505924"/>
                    <a:gd name="connsiteX3" fmla="*/ 72444 w 545693"/>
                    <a:gd name="connsiteY3" fmla="*/ 160981 h 505924"/>
                    <a:gd name="connsiteX4" fmla="*/ 174044 w 545693"/>
                    <a:gd name="connsiteY4" fmla="*/ 154631 h 505924"/>
                    <a:gd name="connsiteX5" fmla="*/ 199444 w 545693"/>
                    <a:gd name="connsiteY5" fmla="*/ 151456 h 505924"/>
                    <a:gd name="connsiteX6" fmla="*/ 202619 w 545693"/>
                    <a:gd name="connsiteY6" fmla="*/ 18106 h 505924"/>
                    <a:gd name="connsiteX7" fmla="*/ 313744 w 545693"/>
                    <a:gd name="connsiteY7" fmla="*/ 14931 h 505924"/>
                    <a:gd name="connsiteX8" fmla="*/ 313744 w 545693"/>
                    <a:gd name="connsiteY8" fmla="*/ 145106 h 505924"/>
                    <a:gd name="connsiteX9" fmla="*/ 355019 w 545693"/>
                    <a:gd name="connsiteY9" fmla="*/ 151456 h 505924"/>
                    <a:gd name="connsiteX10" fmla="*/ 447094 w 545693"/>
                    <a:gd name="connsiteY10" fmla="*/ 164156 h 505924"/>
                    <a:gd name="connsiteX11" fmla="*/ 488369 w 545693"/>
                    <a:gd name="connsiteY11" fmla="*/ 189556 h 505924"/>
                    <a:gd name="connsiteX12" fmla="*/ 510594 w 545693"/>
                    <a:gd name="connsiteY12" fmla="*/ 234006 h 505924"/>
                    <a:gd name="connsiteX13" fmla="*/ 507419 w 545693"/>
                    <a:gd name="connsiteY13" fmla="*/ 488006 h 505924"/>
                    <a:gd name="connsiteX14" fmla="*/ 5769 w 545693"/>
                    <a:gd name="connsiteY14" fmla="*/ 449906 h 505924"/>
                    <a:gd name="connsiteX0" fmla="*/ 21286 w 561210"/>
                    <a:gd name="connsiteY0" fmla="*/ 449906 h 508025"/>
                    <a:gd name="connsiteX1" fmla="*/ 24461 w 561210"/>
                    <a:gd name="connsiteY1" fmla="*/ 214956 h 508025"/>
                    <a:gd name="connsiteX2" fmla="*/ 40336 w 561210"/>
                    <a:gd name="connsiteY2" fmla="*/ 176856 h 508025"/>
                    <a:gd name="connsiteX3" fmla="*/ 87961 w 561210"/>
                    <a:gd name="connsiteY3" fmla="*/ 160981 h 508025"/>
                    <a:gd name="connsiteX4" fmla="*/ 189561 w 561210"/>
                    <a:gd name="connsiteY4" fmla="*/ 154631 h 508025"/>
                    <a:gd name="connsiteX5" fmla="*/ 214961 w 561210"/>
                    <a:gd name="connsiteY5" fmla="*/ 151456 h 508025"/>
                    <a:gd name="connsiteX6" fmla="*/ 218136 w 561210"/>
                    <a:gd name="connsiteY6" fmla="*/ 18106 h 508025"/>
                    <a:gd name="connsiteX7" fmla="*/ 329261 w 561210"/>
                    <a:gd name="connsiteY7" fmla="*/ 14931 h 508025"/>
                    <a:gd name="connsiteX8" fmla="*/ 329261 w 561210"/>
                    <a:gd name="connsiteY8" fmla="*/ 145106 h 508025"/>
                    <a:gd name="connsiteX9" fmla="*/ 370536 w 561210"/>
                    <a:gd name="connsiteY9" fmla="*/ 151456 h 508025"/>
                    <a:gd name="connsiteX10" fmla="*/ 462611 w 561210"/>
                    <a:gd name="connsiteY10" fmla="*/ 164156 h 508025"/>
                    <a:gd name="connsiteX11" fmla="*/ 503886 w 561210"/>
                    <a:gd name="connsiteY11" fmla="*/ 189556 h 508025"/>
                    <a:gd name="connsiteX12" fmla="*/ 526111 w 561210"/>
                    <a:gd name="connsiteY12" fmla="*/ 234006 h 508025"/>
                    <a:gd name="connsiteX13" fmla="*/ 522936 w 561210"/>
                    <a:gd name="connsiteY13" fmla="*/ 488006 h 508025"/>
                    <a:gd name="connsiteX14" fmla="*/ 21286 w 561210"/>
                    <a:gd name="connsiteY14" fmla="*/ 449906 h 508025"/>
                    <a:gd name="connsiteX0" fmla="*/ 21286 w 561210"/>
                    <a:gd name="connsiteY0" fmla="*/ 449906 h 508025"/>
                    <a:gd name="connsiteX1" fmla="*/ 24461 w 561210"/>
                    <a:gd name="connsiteY1" fmla="*/ 214956 h 508025"/>
                    <a:gd name="connsiteX2" fmla="*/ 40336 w 561210"/>
                    <a:gd name="connsiteY2" fmla="*/ 176856 h 508025"/>
                    <a:gd name="connsiteX3" fmla="*/ 87961 w 561210"/>
                    <a:gd name="connsiteY3" fmla="*/ 160981 h 508025"/>
                    <a:gd name="connsiteX4" fmla="*/ 189561 w 561210"/>
                    <a:gd name="connsiteY4" fmla="*/ 154631 h 508025"/>
                    <a:gd name="connsiteX5" fmla="*/ 214961 w 561210"/>
                    <a:gd name="connsiteY5" fmla="*/ 151456 h 508025"/>
                    <a:gd name="connsiteX6" fmla="*/ 218136 w 561210"/>
                    <a:gd name="connsiteY6" fmla="*/ 18106 h 508025"/>
                    <a:gd name="connsiteX7" fmla="*/ 329261 w 561210"/>
                    <a:gd name="connsiteY7" fmla="*/ 14931 h 508025"/>
                    <a:gd name="connsiteX8" fmla="*/ 329261 w 561210"/>
                    <a:gd name="connsiteY8" fmla="*/ 145106 h 508025"/>
                    <a:gd name="connsiteX9" fmla="*/ 370536 w 561210"/>
                    <a:gd name="connsiteY9" fmla="*/ 151456 h 508025"/>
                    <a:gd name="connsiteX10" fmla="*/ 462611 w 561210"/>
                    <a:gd name="connsiteY10" fmla="*/ 164156 h 508025"/>
                    <a:gd name="connsiteX11" fmla="*/ 503886 w 561210"/>
                    <a:gd name="connsiteY11" fmla="*/ 189556 h 508025"/>
                    <a:gd name="connsiteX12" fmla="*/ 526111 w 561210"/>
                    <a:gd name="connsiteY12" fmla="*/ 234006 h 508025"/>
                    <a:gd name="connsiteX13" fmla="*/ 522936 w 561210"/>
                    <a:gd name="connsiteY13" fmla="*/ 488006 h 508025"/>
                    <a:gd name="connsiteX14" fmla="*/ 21286 w 561210"/>
                    <a:gd name="connsiteY14" fmla="*/ 449906 h 508025"/>
                    <a:gd name="connsiteX0" fmla="*/ 4360 w 544284"/>
                    <a:gd name="connsiteY0" fmla="*/ 449906 h 508025"/>
                    <a:gd name="connsiteX1" fmla="*/ 7535 w 544284"/>
                    <a:gd name="connsiteY1" fmla="*/ 214956 h 508025"/>
                    <a:gd name="connsiteX2" fmla="*/ 23410 w 544284"/>
                    <a:gd name="connsiteY2" fmla="*/ 176856 h 508025"/>
                    <a:gd name="connsiteX3" fmla="*/ 71035 w 544284"/>
                    <a:gd name="connsiteY3" fmla="*/ 160981 h 508025"/>
                    <a:gd name="connsiteX4" fmla="*/ 172635 w 544284"/>
                    <a:gd name="connsiteY4" fmla="*/ 154631 h 508025"/>
                    <a:gd name="connsiteX5" fmla="*/ 198035 w 544284"/>
                    <a:gd name="connsiteY5" fmla="*/ 151456 h 508025"/>
                    <a:gd name="connsiteX6" fmla="*/ 201210 w 544284"/>
                    <a:gd name="connsiteY6" fmla="*/ 18106 h 508025"/>
                    <a:gd name="connsiteX7" fmla="*/ 312335 w 544284"/>
                    <a:gd name="connsiteY7" fmla="*/ 14931 h 508025"/>
                    <a:gd name="connsiteX8" fmla="*/ 312335 w 544284"/>
                    <a:gd name="connsiteY8" fmla="*/ 145106 h 508025"/>
                    <a:gd name="connsiteX9" fmla="*/ 353610 w 544284"/>
                    <a:gd name="connsiteY9" fmla="*/ 151456 h 508025"/>
                    <a:gd name="connsiteX10" fmla="*/ 445685 w 544284"/>
                    <a:gd name="connsiteY10" fmla="*/ 164156 h 508025"/>
                    <a:gd name="connsiteX11" fmla="*/ 486960 w 544284"/>
                    <a:gd name="connsiteY11" fmla="*/ 189556 h 508025"/>
                    <a:gd name="connsiteX12" fmla="*/ 509185 w 544284"/>
                    <a:gd name="connsiteY12" fmla="*/ 234006 h 508025"/>
                    <a:gd name="connsiteX13" fmla="*/ 506010 w 544284"/>
                    <a:gd name="connsiteY13" fmla="*/ 488006 h 508025"/>
                    <a:gd name="connsiteX14" fmla="*/ 4360 w 544284"/>
                    <a:gd name="connsiteY14" fmla="*/ 449906 h 508025"/>
                    <a:gd name="connsiteX0" fmla="*/ 4360 w 544284"/>
                    <a:gd name="connsiteY0" fmla="*/ 449906 h 500804"/>
                    <a:gd name="connsiteX1" fmla="*/ 7535 w 544284"/>
                    <a:gd name="connsiteY1" fmla="*/ 214956 h 500804"/>
                    <a:gd name="connsiteX2" fmla="*/ 23410 w 544284"/>
                    <a:gd name="connsiteY2" fmla="*/ 176856 h 500804"/>
                    <a:gd name="connsiteX3" fmla="*/ 71035 w 544284"/>
                    <a:gd name="connsiteY3" fmla="*/ 160981 h 500804"/>
                    <a:gd name="connsiteX4" fmla="*/ 172635 w 544284"/>
                    <a:gd name="connsiteY4" fmla="*/ 154631 h 500804"/>
                    <a:gd name="connsiteX5" fmla="*/ 198035 w 544284"/>
                    <a:gd name="connsiteY5" fmla="*/ 151456 h 500804"/>
                    <a:gd name="connsiteX6" fmla="*/ 201210 w 544284"/>
                    <a:gd name="connsiteY6" fmla="*/ 18106 h 500804"/>
                    <a:gd name="connsiteX7" fmla="*/ 312335 w 544284"/>
                    <a:gd name="connsiteY7" fmla="*/ 14931 h 500804"/>
                    <a:gd name="connsiteX8" fmla="*/ 312335 w 544284"/>
                    <a:gd name="connsiteY8" fmla="*/ 145106 h 500804"/>
                    <a:gd name="connsiteX9" fmla="*/ 353610 w 544284"/>
                    <a:gd name="connsiteY9" fmla="*/ 151456 h 500804"/>
                    <a:gd name="connsiteX10" fmla="*/ 445685 w 544284"/>
                    <a:gd name="connsiteY10" fmla="*/ 164156 h 500804"/>
                    <a:gd name="connsiteX11" fmla="*/ 486960 w 544284"/>
                    <a:gd name="connsiteY11" fmla="*/ 189556 h 500804"/>
                    <a:gd name="connsiteX12" fmla="*/ 509185 w 544284"/>
                    <a:gd name="connsiteY12" fmla="*/ 234006 h 500804"/>
                    <a:gd name="connsiteX13" fmla="*/ 506010 w 544284"/>
                    <a:gd name="connsiteY13" fmla="*/ 488006 h 500804"/>
                    <a:gd name="connsiteX14" fmla="*/ 4360 w 544284"/>
                    <a:gd name="connsiteY14" fmla="*/ 449906 h 500804"/>
                    <a:gd name="connsiteX0" fmla="*/ 4360 w 544284"/>
                    <a:gd name="connsiteY0" fmla="*/ 449906 h 500804"/>
                    <a:gd name="connsiteX1" fmla="*/ 7535 w 544284"/>
                    <a:gd name="connsiteY1" fmla="*/ 214956 h 500804"/>
                    <a:gd name="connsiteX2" fmla="*/ 23410 w 544284"/>
                    <a:gd name="connsiteY2" fmla="*/ 176856 h 500804"/>
                    <a:gd name="connsiteX3" fmla="*/ 71035 w 544284"/>
                    <a:gd name="connsiteY3" fmla="*/ 160981 h 500804"/>
                    <a:gd name="connsiteX4" fmla="*/ 172635 w 544284"/>
                    <a:gd name="connsiteY4" fmla="*/ 154631 h 500804"/>
                    <a:gd name="connsiteX5" fmla="*/ 198035 w 544284"/>
                    <a:gd name="connsiteY5" fmla="*/ 151456 h 500804"/>
                    <a:gd name="connsiteX6" fmla="*/ 201210 w 544284"/>
                    <a:gd name="connsiteY6" fmla="*/ 18106 h 500804"/>
                    <a:gd name="connsiteX7" fmla="*/ 312335 w 544284"/>
                    <a:gd name="connsiteY7" fmla="*/ 14931 h 500804"/>
                    <a:gd name="connsiteX8" fmla="*/ 312335 w 544284"/>
                    <a:gd name="connsiteY8" fmla="*/ 145106 h 500804"/>
                    <a:gd name="connsiteX9" fmla="*/ 353610 w 544284"/>
                    <a:gd name="connsiteY9" fmla="*/ 151456 h 500804"/>
                    <a:gd name="connsiteX10" fmla="*/ 445685 w 544284"/>
                    <a:gd name="connsiteY10" fmla="*/ 164156 h 500804"/>
                    <a:gd name="connsiteX11" fmla="*/ 486960 w 544284"/>
                    <a:gd name="connsiteY11" fmla="*/ 189556 h 500804"/>
                    <a:gd name="connsiteX12" fmla="*/ 509185 w 544284"/>
                    <a:gd name="connsiteY12" fmla="*/ 234006 h 500804"/>
                    <a:gd name="connsiteX13" fmla="*/ 506010 w 544284"/>
                    <a:gd name="connsiteY13" fmla="*/ 488006 h 500804"/>
                    <a:gd name="connsiteX14" fmla="*/ 4360 w 544284"/>
                    <a:gd name="connsiteY14" fmla="*/ 449906 h 500804"/>
                    <a:gd name="connsiteX0" fmla="*/ 4360 w 519024"/>
                    <a:gd name="connsiteY0" fmla="*/ 449906 h 500804"/>
                    <a:gd name="connsiteX1" fmla="*/ 7535 w 519024"/>
                    <a:gd name="connsiteY1" fmla="*/ 214956 h 500804"/>
                    <a:gd name="connsiteX2" fmla="*/ 23410 w 519024"/>
                    <a:gd name="connsiteY2" fmla="*/ 176856 h 500804"/>
                    <a:gd name="connsiteX3" fmla="*/ 71035 w 519024"/>
                    <a:gd name="connsiteY3" fmla="*/ 160981 h 500804"/>
                    <a:gd name="connsiteX4" fmla="*/ 172635 w 519024"/>
                    <a:gd name="connsiteY4" fmla="*/ 154631 h 500804"/>
                    <a:gd name="connsiteX5" fmla="*/ 198035 w 519024"/>
                    <a:gd name="connsiteY5" fmla="*/ 151456 h 500804"/>
                    <a:gd name="connsiteX6" fmla="*/ 201210 w 519024"/>
                    <a:gd name="connsiteY6" fmla="*/ 18106 h 500804"/>
                    <a:gd name="connsiteX7" fmla="*/ 312335 w 519024"/>
                    <a:gd name="connsiteY7" fmla="*/ 14931 h 500804"/>
                    <a:gd name="connsiteX8" fmla="*/ 312335 w 519024"/>
                    <a:gd name="connsiteY8" fmla="*/ 145106 h 500804"/>
                    <a:gd name="connsiteX9" fmla="*/ 353610 w 519024"/>
                    <a:gd name="connsiteY9" fmla="*/ 151456 h 500804"/>
                    <a:gd name="connsiteX10" fmla="*/ 445685 w 519024"/>
                    <a:gd name="connsiteY10" fmla="*/ 164156 h 500804"/>
                    <a:gd name="connsiteX11" fmla="*/ 486960 w 519024"/>
                    <a:gd name="connsiteY11" fmla="*/ 189556 h 500804"/>
                    <a:gd name="connsiteX12" fmla="*/ 509185 w 519024"/>
                    <a:gd name="connsiteY12" fmla="*/ 234006 h 500804"/>
                    <a:gd name="connsiteX13" fmla="*/ 506010 w 519024"/>
                    <a:gd name="connsiteY13" fmla="*/ 488006 h 500804"/>
                    <a:gd name="connsiteX14" fmla="*/ 4360 w 519024"/>
                    <a:gd name="connsiteY14" fmla="*/ 449906 h 500804"/>
                    <a:gd name="connsiteX0" fmla="*/ 4360 w 519024"/>
                    <a:gd name="connsiteY0" fmla="*/ 449906 h 488006"/>
                    <a:gd name="connsiteX1" fmla="*/ 7535 w 519024"/>
                    <a:gd name="connsiteY1" fmla="*/ 214956 h 488006"/>
                    <a:gd name="connsiteX2" fmla="*/ 23410 w 519024"/>
                    <a:gd name="connsiteY2" fmla="*/ 176856 h 488006"/>
                    <a:gd name="connsiteX3" fmla="*/ 71035 w 519024"/>
                    <a:gd name="connsiteY3" fmla="*/ 160981 h 488006"/>
                    <a:gd name="connsiteX4" fmla="*/ 172635 w 519024"/>
                    <a:gd name="connsiteY4" fmla="*/ 154631 h 488006"/>
                    <a:gd name="connsiteX5" fmla="*/ 198035 w 519024"/>
                    <a:gd name="connsiteY5" fmla="*/ 151456 h 488006"/>
                    <a:gd name="connsiteX6" fmla="*/ 201210 w 519024"/>
                    <a:gd name="connsiteY6" fmla="*/ 18106 h 488006"/>
                    <a:gd name="connsiteX7" fmla="*/ 312335 w 519024"/>
                    <a:gd name="connsiteY7" fmla="*/ 14931 h 488006"/>
                    <a:gd name="connsiteX8" fmla="*/ 312335 w 519024"/>
                    <a:gd name="connsiteY8" fmla="*/ 145106 h 488006"/>
                    <a:gd name="connsiteX9" fmla="*/ 353610 w 519024"/>
                    <a:gd name="connsiteY9" fmla="*/ 151456 h 488006"/>
                    <a:gd name="connsiteX10" fmla="*/ 445685 w 519024"/>
                    <a:gd name="connsiteY10" fmla="*/ 164156 h 488006"/>
                    <a:gd name="connsiteX11" fmla="*/ 486960 w 519024"/>
                    <a:gd name="connsiteY11" fmla="*/ 189556 h 488006"/>
                    <a:gd name="connsiteX12" fmla="*/ 509185 w 519024"/>
                    <a:gd name="connsiteY12" fmla="*/ 234006 h 488006"/>
                    <a:gd name="connsiteX13" fmla="*/ 506010 w 519024"/>
                    <a:gd name="connsiteY13" fmla="*/ 488006 h 488006"/>
                    <a:gd name="connsiteX14" fmla="*/ 4360 w 519024"/>
                    <a:gd name="connsiteY14" fmla="*/ 449906 h 488006"/>
                    <a:gd name="connsiteX0" fmla="*/ 4360 w 523534"/>
                    <a:gd name="connsiteY0" fmla="*/ 449906 h 472131"/>
                    <a:gd name="connsiteX1" fmla="*/ 7535 w 523534"/>
                    <a:gd name="connsiteY1" fmla="*/ 214956 h 472131"/>
                    <a:gd name="connsiteX2" fmla="*/ 23410 w 523534"/>
                    <a:gd name="connsiteY2" fmla="*/ 176856 h 472131"/>
                    <a:gd name="connsiteX3" fmla="*/ 71035 w 523534"/>
                    <a:gd name="connsiteY3" fmla="*/ 160981 h 472131"/>
                    <a:gd name="connsiteX4" fmla="*/ 172635 w 523534"/>
                    <a:gd name="connsiteY4" fmla="*/ 154631 h 472131"/>
                    <a:gd name="connsiteX5" fmla="*/ 198035 w 523534"/>
                    <a:gd name="connsiteY5" fmla="*/ 151456 h 472131"/>
                    <a:gd name="connsiteX6" fmla="*/ 201210 w 523534"/>
                    <a:gd name="connsiteY6" fmla="*/ 18106 h 472131"/>
                    <a:gd name="connsiteX7" fmla="*/ 312335 w 523534"/>
                    <a:gd name="connsiteY7" fmla="*/ 14931 h 472131"/>
                    <a:gd name="connsiteX8" fmla="*/ 312335 w 523534"/>
                    <a:gd name="connsiteY8" fmla="*/ 145106 h 472131"/>
                    <a:gd name="connsiteX9" fmla="*/ 353610 w 523534"/>
                    <a:gd name="connsiteY9" fmla="*/ 151456 h 472131"/>
                    <a:gd name="connsiteX10" fmla="*/ 445685 w 523534"/>
                    <a:gd name="connsiteY10" fmla="*/ 164156 h 472131"/>
                    <a:gd name="connsiteX11" fmla="*/ 486960 w 523534"/>
                    <a:gd name="connsiteY11" fmla="*/ 189556 h 472131"/>
                    <a:gd name="connsiteX12" fmla="*/ 509185 w 523534"/>
                    <a:gd name="connsiteY12" fmla="*/ 234006 h 472131"/>
                    <a:gd name="connsiteX13" fmla="*/ 512360 w 523534"/>
                    <a:gd name="connsiteY13" fmla="*/ 472131 h 472131"/>
                    <a:gd name="connsiteX14" fmla="*/ 4360 w 523534"/>
                    <a:gd name="connsiteY14" fmla="*/ 449906 h 472131"/>
                    <a:gd name="connsiteX0" fmla="*/ 4360 w 513675"/>
                    <a:gd name="connsiteY0" fmla="*/ 449906 h 472131"/>
                    <a:gd name="connsiteX1" fmla="*/ 7535 w 513675"/>
                    <a:gd name="connsiteY1" fmla="*/ 214956 h 472131"/>
                    <a:gd name="connsiteX2" fmla="*/ 23410 w 513675"/>
                    <a:gd name="connsiteY2" fmla="*/ 176856 h 472131"/>
                    <a:gd name="connsiteX3" fmla="*/ 71035 w 513675"/>
                    <a:gd name="connsiteY3" fmla="*/ 160981 h 472131"/>
                    <a:gd name="connsiteX4" fmla="*/ 172635 w 513675"/>
                    <a:gd name="connsiteY4" fmla="*/ 154631 h 472131"/>
                    <a:gd name="connsiteX5" fmla="*/ 198035 w 513675"/>
                    <a:gd name="connsiteY5" fmla="*/ 151456 h 472131"/>
                    <a:gd name="connsiteX6" fmla="*/ 201210 w 513675"/>
                    <a:gd name="connsiteY6" fmla="*/ 18106 h 472131"/>
                    <a:gd name="connsiteX7" fmla="*/ 312335 w 513675"/>
                    <a:gd name="connsiteY7" fmla="*/ 14931 h 472131"/>
                    <a:gd name="connsiteX8" fmla="*/ 312335 w 513675"/>
                    <a:gd name="connsiteY8" fmla="*/ 145106 h 472131"/>
                    <a:gd name="connsiteX9" fmla="*/ 353610 w 513675"/>
                    <a:gd name="connsiteY9" fmla="*/ 151456 h 472131"/>
                    <a:gd name="connsiteX10" fmla="*/ 445685 w 513675"/>
                    <a:gd name="connsiteY10" fmla="*/ 164156 h 472131"/>
                    <a:gd name="connsiteX11" fmla="*/ 486960 w 513675"/>
                    <a:gd name="connsiteY11" fmla="*/ 189556 h 472131"/>
                    <a:gd name="connsiteX12" fmla="*/ 509185 w 513675"/>
                    <a:gd name="connsiteY12" fmla="*/ 234006 h 472131"/>
                    <a:gd name="connsiteX13" fmla="*/ 512360 w 513675"/>
                    <a:gd name="connsiteY13" fmla="*/ 472131 h 472131"/>
                    <a:gd name="connsiteX14" fmla="*/ 4360 w 513675"/>
                    <a:gd name="connsiteY14" fmla="*/ 449906 h 472131"/>
                    <a:gd name="connsiteX0" fmla="*/ 4360 w 513675"/>
                    <a:gd name="connsiteY0" fmla="*/ 446969 h 469194"/>
                    <a:gd name="connsiteX1" fmla="*/ 7535 w 513675"/>
                    <a:gd name="connsiteY1" fmla="*/ 212019 h 469194"/>
                    <a:gd name="connsiteX2" fmla="*/ 23410 w 513675"/>
                    <a:gd name="connsiteY2" fmla="*/ 173919 h 469194"/>
                    <a:gd name="connsiteX3" fmla="*/ 71035 w 513675"/>
                    <a:gd name="connsiteY3" fmla="*/ 158044 h 469194"/>
                    <a:gd name="connsiteX4" fmla="*/ 172635 w 513675"/>
                    <a:gd name="connsiteY4" fmla="*/ 151694 h 469194"/>
                    <a:gd name="connsiteX5" fmla="*/ 188510 w 513675"/>
                    <a:gd name="connsiteY5" fmla="*/ 94544 h 469194"/>
                    <a:gd name="connsiteX6" fmla="*/ 201210 w 513675"/>
                    <a:gd name="connsiteY6" fmla="*/ 15169 h 469194"/>
                    <a:gd name="connsiteX7" fmla="*/ 312335 w 513675"/>
                    <a:gd name="connsiteY7" fmla="*/ 11994 h 469194"/>
                    <a:gd name="connsiteX8" fmla="*/ 312335 w 513675"/>
                    <a:gd name="connsiteY8" fmla="*/ 142169 h 469194"/>
                    <a:gd name="connsiteX9" fmla="*/ 353610 w 513675"/>
                    <a:gd name="connsiteY9" fmla="*/ 148519 h 469194"/>
                    <a:gd name="connsiteX10" fmla="*/ 445685 w 513675"/>
                    <a:gd name="connsiteY10" fmla="*/ 161219 h 469194"/>
                    <a:gd name="connsiteX11" fmla="*/ 486960 w 513675"/>
                    <a:gd name="connsiteY11" fmla="*/ 186619 h 469194"/>
                    <a:gd name="connsiteX12" fmla="*/ 509185 w 513675"/>
                    <a:gd name="connsiteY12" fmla="*/ 231069 h 469194"/>
                    <a:gd name="connsiteX13" fmla="*/ 512360 w 513675"/>
                    <a:gd name="connsiteY13" fmla="*/ 469194 h 469194"/>
                    <a:gd name="connsiteX14" fmla="*/ 4360 w 513675"/>
                    <a:gd name="connsiteY14" fmla="*/ 446969 h 469194"/>
                    <a:gd name="connsiteX0" fmla="*/ 4360 w 513675"/>
                    <a:gd name="connsiteY0" fmla="*/ 443409 h 465634"/>
                    <a:gd name="connsiteX1" fmla="*/ 7535 w 513675"/>
                    <a:gd name="connsiteY1" fmla="*/ 208459 h 465634"/>
                    <a:gd name="connsiteX2" fmla="*/ 23410 w 513675"/>
                    <a:gd name="connsiteY2" fmla="*/ 170359 h 465634"/>
                    <a:gd name="connsiteX3" fmla="*/ 71035 w 513675"/>
                    <a:gd name="connsiteY3" fmla="*/ 154484 h 465634"/>
                    <a:gd name="connsiteX4" fmla="*/ 172635 w 513675"/>
                    <a:gd name="connsiteY4" fmla="*/ 148134 h 465634"/>
                    <a:gd name="connsiteX5" fmla="*/ 188510 w 513675"/>
                    <a:gd name="connsiteY5" fmla="*/ 90984 h 465634"/>
                    <a:gd name="connsiteX6" fmla="*/ 201210 w 513675"/>
                    <a:gd name="connsiteY6" fmla="*/ 11609 h 465634"/>
                    <a:gd name="connsiteX7" fmla="*/ 312335 w 513675"/>
                    <a:gd name="connsiteY7" fmla="*/ 8434 h 465634"/>
                    <a:gd name="connsiteX8" fmla="*/ 312335 w 513675"/>
                    <a:gd name="connsiteY8" fmla="*/ 87809 h 465634"/>
                    <a:gd name="connsiteX9" fmla="*/ 353610 w 513675"/>
                    <a:gd name="connsiteY9" fmla="*/ 144959 h 465634"/>
                    <a:gd name="connsiteX10" fmla="*/ 445685 w 513675"/>
                    <a:gd name="connsiteY10" fmla="*/ 157659 h 465634"/>
                    <a:gd name="connsiteX11" fmla="*/ 486960 w 513675"/>
                    <a:gd name="connsiteY11" fmla="*/ 183059 h 465634"/>
                    <a:gd name="connsiteX12" fmla="*/ 509185 w 513675"/>
                    <a:gd name="connsiteY12" fmla="*/ 227509 h 465634"/>
                    <a:gd name="connsiteX13" fmla="*/ 512360 w 513675"/>
                    <a:gd name="connsiteY13" fmla="*/ 465634 h 465634"/>
                    <a:gd name="connsiteX14" fmla="*/ 4360 w 513675"/>
                    <a:gd name="connsiteY14" fmla="*/ 443409 h 465634"/>
                    <a:gd name="connsiteX0" fmla="*/ 4360 w 513675"/>
                    <a:gd name="connsiteY0" fmla="*/ 443409 h 465634"/>
                    <a:gd name="connsiteX1" fmla="*/ 7535 w 513675"/>
                    <a:gd name="connsiteY1" fmla="*/ 208459 h 465634"/>
                    <a:gd name="connsiteX2" fmla="*/ 23410 w 513675"/>
                    <a:gd name="connsiteY2" fmla="*/ 170359 h 465634"/>
                    <a:gd name="connsiteX3" fmla="*/ 71035 w 513675"/>
                    <a:gd name="connsiteY3" fmla="*/ 154484 h 465634"/>
                    <a:gd name="connsiteX4" fmla="*/ 172635 w 513675"/>
                    <a:gd name="connsiteY4" fmla="*/ 148134 h 465634"/>
                    <a:gd name="connsiteX5" fmla="*/ 188510 w 513675"/>
                    <a:gd name="connsiteY5" fmla="*/ 90984 h 465634"/>
                    <a:gd name="connsiteX6" fmla="*/ 201210 w 513675"/>
                    <a:gd name="connsiteY6" fmla="*/ 11609 h 465634"/>
                    <a:gd name="connsiteX7" fmla="*/ 312335 w 513675"/>
                    <a:gd name="connsiteY7" fmla="*/ 8434 h 465634"/>
                    <a:gd name="connsiteX8" fmla="*/ 312335 w 513675"/>
                    <a:gd name="connsiteY8" fmla="*/ 87809 h 465634"/>
                    <a:gd name="connsiteX9" fmla="*/ 334560 w 513675"/>
                    <a:gd name="connsiteY9" fmla="*/ 135434 h 465634"/>
                    <a:gd name="connsiteX10" fmla="*/ 445685 w 513675"/>
                    <a:gd name="connsiteY10" fmla="*/ 157659 h 465634"/>
                    <a:gd name="connsiteX11" fmla="*/ 486960 w 513675"/>
                    <a:gd name="connsiteY11" fmla="*/ 183059 h 465634"/>
                    <a:gd name="connsiteX12" fmla="*/ 509185 w 513675"/>
                    <a:gd name="connsiteY12" fmla="*/ 227509 h 465634"/>
                    <a:gd name="connsiteX13" fmla="*/ 512360 w 513675"/>
                    <a:gd name="connsiteY13" fmla="*/ 465634 h 465634"/>
                    <a:gd name="connsiteX14" fmla="*/ 4360 w 513675"/>
                    <a:gd name="connsiteY14" fmla="*/ 443409 h 465634"/>
                    <a:gd name="connsiteX0" fmla="*/ 4360 w 510500"/>
                    <a:gd name="connsiteY0" fmla="*/ 443409 h 449759"/>
                    <a:gd name="connsiteX1" fmla="*/ 7535 w 510500"/>
                    <a:gd name="connsiteY1" fmla="*/ 208459 h 449759"/>
                    <a:gd name="connsiteX2" fmla="*/ 23410 w 510500"/>
                    <a:gd name="connsiteY2" fmla="*/ 170359 h 449759"/>
                    <a:gd name="connsiteX3" fmla="*/ 71035 w 510500"/>
                    <a:gd name="connsiteY3" fmla="*/ 154484 h 449759"/>
                    <a:gd name="connsiteX4" fmla="*/ 172635 w 510500"/>
                    <a:gd name="connsiteY4" fmla="*/ 148134 h 449759"/>
                    <a:gd name="connsiteX5" fmla="*/ 188510 w 510500"/>
                    <a:gd name="connsiteY5" fmla="*/ 90984 h 449759"/>
                    <a:gd name="connsiteX6" fmla="*/ 201210 w 510500"/>
                    <a:gd name="connsiteY6" fmla="*/ 11609 h 449759"/>
                    <a:gd name="connsiteX7" fmla="*/ 312335 w 510500"/>
                    <a:gd name="connsiteY7" fmla="*/ 8434 h 449759"/>
                    <a:gd name="connsiteX8" fmla="*/ 312335 w 510500"/>
                    <a:gd name="connsiteY8" fmla="*/ 87809 h 449759"/>
                    <a:gd name="connsiteX9" fmla="*/ 334560 w 510500"/>
                    <a:gd name="connsiteY9" fmla="*/ 135434 h 449759"/>
                    <a:gd name="connsiteX10" fmla="*/ 445685 w 510500"/>
                    <a:gd name="connsiteY10" fmla="*/ 157659 h 449759"/>
                    <a:gd name="connsiteX11" fmla="*/ 486960 w 510500"/>
                    <a:gd name="connsiteY11" fmla="*/ 183059 h 449759"/>
                    <a:gd name="connsiteX12" fmla="*/ 509185 w 510500"/>
                    <a:gd name="connsiteY12" fmla="*/ 227509 h 449759"/>
                    <a:gd name="connsiteX13" fmla="*/ 506010 w 510500"/>
                    <a:gd name="connsiteY13" fmla="*/ 449759 h 449759"/>
                    <a:gd name="connsiteX14" fmla="*/ 4360 w 510500"/>
                    <a:gd name="connsiteY14" fmla="*/ 443409 h 449759"/>
                    <a:gd name="connsiteX0" fmla="*/ 4360 w 510500"/>
                    <a:gd name="connsiteY0" fmla="*/ 443409 h 454926"/>
                    <a:gd name="connsiteX1" fmla="*/ 7535 w 510500"/>
                    <a:gd name="connsiteY1" fmla="*/ 208459 h 454926"/>
                    <a:gd name="connsiteX2" fmla="*/ 23410 w 510500"/>
                    <a:gd name="connsiteY2" fmla="*/ 170359 h 454926"/>
                    <a:gd name="connsiteX3" fmla="*/ 71035 w 510500"/>
                    <a:gd name="connsiteY3" fmla="*/ 154484 h 454926"/>
                    <a:gd name="connsiteX4" fmla="*/ 172635 w 510500"/>
                    <a:gd name="connsiteY4" fmla="*/ 148134 h 454926"/>
                    <a:gd name="connsiteX5" fmla="*/ 188510 w 510500"/>
                    <a:gd name="connsiteY5" fmla="*/ 90984 h 454926"/>
                    <a:gd name="connsiteX6" fmla="*/ 201210 w 510500"/>
                    <a:gd name="connsiteY6" fmla="*/ 11609 h 454926"/>
                    <a:gd name="connsiteX7" fmla="*/ 312335 w 510500"/>
                    <a:gd name="connsiteY7" fmla="*/ 8434 h 454926"/>
                    <a:gd name="connsiteX8" fmla="*/ 312335 w 510500"/>
                    <a:gd name="connsiteY8" fmla="*/ 87809 h 454926"/>
                    <a:gd name="connsiteX9" fmla="*/ 334560 w 510500"/>
                    <a:gd name="connsiteY9" fmla="*/ 135434 h 454926"/>
                    <a:gd name="connsiteX10" fmla="*/ 445685 w 510500"/>
                    <a:gd name="connsiteY10" fmla="*/ 157659 h 454926"/>
                    <a:gd name="connsiteX11" fmla="*/ 486960 w 510500"/>
                    <a:gd name="connsiteY11" fmla="*/ 183059 h 454926"/>
                    <a:gd name="connsiteX12" fmla="*/ 509185 w 510500"/>
                    <a:gd name="connsiteY12" fmla="*/ 227509 h 454926"/>
                    <a:gd name="connsiteX13" fmla="*/ 506010 w 510500"/>
                    <a:gd name="connsiteY13" fmla="*/ 449759 h 454926"/>
                    <a:gd name="connsiteX14" fmla="*/ 4360 w 510500"/>
                    <a:gd name="connsiteY14" fmla="*/ 443409 h 454926"/>
                    <a:gd name="connsiteX0" fmla="*/ 6473 w 512613"/>
                    <a:gd name="connsiteY0" fmla="*/ 443409 h 454926"/>
                    <a:gd name="connsiteX1" fmla="*/ 9648 w 512613"/>
                    <a:gd name="connsiteY1" fmla="*/ 208459 h 454926"/>
                    <a:gd name="connsiteX2" fmla="*/ 73148 w 512613"/>
                    <a:gd name="connsiteY2" fmla="*/ 154484 h 454926"/>
                    <a:gd name="connsiteX3" fmla="*/ 174748 w 512613"/>
                    <a:gd name="connsiteY3" fmla="*/ 148134 h 454926"/>
                    <a:gd name="connsiteX4" fmla="*/ 190623 w 512613"/>
                    <a:gd name="connsiteY4" fmla="*/ 90984 h 454926"/>
                    <a:gd name="connsiteX5" fmla="*/ 203323 w 512613"/>
                    <a:gd name="connsiteY5" fmla="*/ 11609 h 454926"/>
                    <a:gd name="connsiteX6" fmla="*/ 314448 w 512613"/>
                    <a:gd name="connsiteY6" fmla="*/ 8434 h 454926"/>
                    <a:gd name="connsiteX7" fmla="*/ 314448 w 512613"/>
                    <a:gd name="connsiteY7" fmla="*/ 87809 h 454926"/>
                    <a:gd name="connsiteX8" fmla="*/ 336673 w 512613"/>
                    <a:gd name="connsiteY8" fmla="*/ 135434 h 454926"/>
                    <a:gd name="connsiteX9" fmla="*/ 447798 w 512613"/>
                    <a:gd name="connsiteY9" fmla="*/ 157659 h 454926"/>
                    <a:gd name="connsiteX10" fmla="*/ 489073 w 512613"/>
                    <a:gd name="connsiteY10" fmla="*/ 183059 h 454926"/>
                    <a:gd name="connsiteX11" fmla="*/ 511298 w 512613"/>
                    <a:gd name="connsiteY11" fmla="*/ 227509 h 454926"/>
                    <a:gd name="connsiteX12" fmla="*/ 508123 w 512613"/>
                    <a:gd name="connsiteY12" fmla="*/ 449759 h 454926"/>
                    <a:gd name="connsiteX13" fmla="*/ 6473 w 512613"/>
                    <a:gd name="connsiteY13" fmla="*/ 443409 h 454926"/>
                    <a:gd name="connsiteX0" fmla="*/ 4049 w 510189"/>
                    <a:gd name="connsiteY0" fmla="*/ 443409 h 454926"/>
                    <a:gd name="connsiteX1" fmla="*/ 7224 w 510189"/>
                    <a:gd name="connsiteY1" fmla="*/ 208459 h 454926"/>
                    <a:gd name="connsiteX2" fmla="*/ 70724 w 510189"/>
                    <a:gd name="connsiteY2" fmla="*/ 154484 h 454926"/>
                    <a:gd name="connsiteX3" fmla="*/ 172324 w 510189"/>
                    <a:gd name="connsiteY3" fmla="*/ 148134 h 454926"/>
                    <a:gd name="connsiteX4" fmla="*/ 188199 w 510189"/>
                    <a:gd name="connsiteY4" fmla="*/ 90984 h 454926"/>
                    <a:gd name="connsiteX5" fmla="*/ 200899 w 510189"/>
                    <a:gd name="connsiteY5" fmla="*/ 11609 h 454926"/>
                    <a:gd name="connsiteX6" fmla="*/ 312024 w 510189"/>
                    <a:gd name="connsiteY6" fmla="*/ 8434 h 454926"/>
                    <a:gd name="connsiteX7" fmla="*/ 312024 w 510189"/>
                    <a:gd name="connsiteY7" fmla="*/ 87809 h 454926"/>
                    <a:gd name="connsiteX8" fmla="*/ 334249 w 510189"/>
                    <a:gd name="connsiteY8" fmla="*/ 135434 h 454926"/>
                    <a:gd name="connsiteX9" fmla="*/ 445374 w 510189"/>
                    <a:gd name="connsiteY9" fmla="*/ 157659 h 454926"/>
                    <a:gd name="connsiteX10" fmla="*/ 486649 w 510189"/>
                    <a:gd name="connsiteY10" fmla="*/ 183059 h 454926"/>
                    <a:gd name="connsiteX11" fmla="*/ 508874 w 510189"/>
                    <a:gd name="connsiteY11" fmla="*/ 227509 h 454926"/>
                    <a:gd name="connsiteX12" fmla="*/ 505699 w 510189"/>
                    <a:gd name="connsiteY12" fmla="*/ 449759 h 454926"/>
                    <a:gd name="connsiteX13" fmla="*/ 4049 w 510189"/>
                    <a:gd name="connsiteY13" fmla="*/ 443409 h 454926"/>
                    <a:gd name="connsiteX0" fmla="*/ 4049 w 510189"/>
                    <a:gd name="connsiteY0" fmla="*/ 443409 h 454926"/>
                    <a:gd name="connsiteX1" fmla="*/ 7224 w 510189"/>
                    <a:gd name="connsiteY1" fmla="*/ 208459 h 454926"/>
                    <a:gd name="connsiteX2" fmla="*/ 70724 w 510189"/>
                    <a:gd name="connsiteY2" fmla="*/ 154484 h 454926"/>
                    <a:gd name="connsiteX3" fmla="*/ 172324 w 510189"/>
                    <a:gd name="connsiteY3" fmla="*/ 148134 h 454926"/>
                    <a:gd name="connsiteX4" fmla="*/ 188199 w 510189"/>
                    <a:gd name="connsiteY4" fmla="*/ 90984 h 454926"/>
                    <a:gd name="connsiteX5" fmla="*/ 200899 w 510189"/>
                    <a:gd name="connsiteY5" fmla="*/ 11609 h 454926"/>
                    <a:gd name="connsiteX6" fmla="*/ 312024 w 510189"/>
                    <a:gd name="connsiteY6" fmla="*/ 8434 h 454926"/>
                    <a:gd name="connsiteX7" fmla="*/ 312024 w 510189"/>
                    <a:gd name="connsiteY7" fmla="*/ 87809 h 454926"/>
                    <a:gd name="connsiteX8" fmla="*/ 334249 w 510189"/>
                    <a:gd name="connsiteY8" fmla="*/ 135434 h 454926"/>
                    <a:gd name="connsiteX9" fmla="*/ 445374 w 510189"/>
                    <a:gd name="connsiteY9" fmla="*/ 157659 h 454926"/>
                    <a:gd name="connsiteX10" fmla="*/ 508874 w 510189"/>
                    <a:gd name="connsiteY10" fmla="*/ 227509 h 454926"/>
                    <a:gd name="connsiteX11" fmla="*/ 505699 w 510189"/>
                    <a:gd name="connsiteY11" fmla="*/ 449759 h 454926"/>
                    <a:gd name="connsiteX12" fmla="*/ 4049 w 510189"/>
                    <a:gd name="connsiteY12" fmla="*/ 443409 h 454926"/>
                    <a:gd name="connsiteX0" fmla="*/ 4049 w 510189"/>
                    <a:gd name="connsiteY0" fmla="*/ 443409 h 454926"/>
                    <a:gd name="connsiteX1" fmla="*/ 7224 w 510189"/>
                    <a:gd name="connsiteY1" fmla="*/ 208459 h 454926"/>
                    <a:gd name="connsiteX2" fmla="*/ 70724 w 510189"/>
                    <a:gd name="connsiteY2" fmla="*/ 154484 h 454926"/>
                    <a:gd name="connsiteX3" fmla="*/ 172324 w 510189"/>
                    <a:gd name="connsiteY3" fmla="*/ 148134 h 454926"/>
                    <a:gd name="connsiteX4" fmla="*/ 188199 w 510189"/>
                    <a:gd name="connsiteY4" fmla="*/ 90984 h 454926"/>
                    <a:gd name="connsiteX5" fmla="*/ 200899 w 510189"/>
                    <a:gd name="connsiteY5" fmla="*/ 11609 h 454926"/>
                    <a:gd name="connsiteX6" fmla="*/ 312024 w 510189"/>
                    <a:gd name="connsiteY6" fmla="*/ 8434 h 454926"/>
                    <a:gd name="connsiteX7" fmla="*/ 312024 w 510189"/>
                    <a:gd name="connsiteY7" fmla="*/ 87809 h 454926"/>
                    <a:gd name="connsiteX8" fmla="*/ 334249 w 510189"/>
                    <a:gd name="connsiteY8" fmla="*/ 135434 h 454926"/>
                    <a:gd name="connsiteX9" fmla="*/ 445374 w 510189"/>
                    <a:gd name="connsiteY9" fmla="*/ 157659 h 454926"/>
                    <a:gd name="connsiteX10" fmla="*/ 508874 w 510189"/>
                    <a:gd name="connsiteY10" fmla="*/ 227509 h 454926"/>
                    <a:gd name="connsiteX11" fmla="*/ 505699 w 510189"/>
                    <a:gd name="connsiteY11" fmla="*/ 449759 h 454926"/>
                    <a:gd name="connsiteX12" fmla="*/ 4049 w 510189"/>
                    <a:gd name="connsiteY12" fmla="*/ 443409 h 454926"/>
                    <a:gd name="connsiteX0" fmla="*/ 5987 w 512127"/>
                    <a:gd name="connsiteY0" fmla="*/ 443409 h 454926"/>
                    <a:gd name="connsiteX1" fmla="*/ 2812 w 512127"/>
                    <a:gd name="connsiteY1" fmla="*/ 217984 h 454926"/>
                    <a:gd name="connsiteX2" fmla="*/ 72662 w 512127"/>
                    <a:gd name="connsiteY2" fmla="*/ 154484 h 454926"/>
                    <a:gd name="connsiteX3" fmla="*/ 174262 w 512127"/>
                    <a:gd name="connsiteY3" fmla="*/ 148134 h 454926"/>
                    <a:gd name="connsiteX4" fmla="*/ 190137 w 512127"/>
                    <a:gd name="connsiteY4" fmla="*/ 90984 h 454926"/>
                    <a:gd name="connsiteX5" fmla="*/ 202837 w 512127"/>
                    <a:gd name="connsiteY5" fmla="*/ 11609 h 454926"/>
                    <a:gd name="connsiteX6" fmla="*/ 313962 w 512127"/>
                    <a:gd name="connsiteY6" fmla="*/ 8434 h 454926"/>
                    <a:gd name="connsiteX7" fmla="*/ 313962 w 512127"/>
                    <a:gd name="connsiteY7" fmla="*/ 87809 h 454926"/>
                    <a:gd name="connsiteX8" fmla="*/ 336187 w 512127"/>
                    <a:gd name="connsiteY8" fmla="*/ 135434 h 454926"/>
                    <a:gd name="connsiteX9" fmla="*/ 447312 w 512127"/>
                    <a:gd name="connsiteY9" fmla="*/ 157659 h 454926"/>
                    <a:gd name="connsiteX10" fmla="*/ 510812 w 512127"/>
                    <a:gd name="connsiteY10" fmla="*/ 227509 h 454926"/>
                    <a:gd name="connsiteX11" fmla="*/ 507637 w 512127"/>
                    <a:gd name="connsiteY11" fmla="*/ 449759 h 454926"/>
                    <a:gd name="connsiteX12" fmla="*/ 5987 w 512127"/>
                    <a:gd name="connsiteY12" fmla="*/ 443409 h 454926"/>
                    <a:gd name="connsiteX0" fmla="*/ 9762 w 515902"/>
                    <a:gd name="connsiteY0" fmla="*/ 443409 h 454926"/>
                    <a:gd name="connsiteX1" fmla="*/ 6587 w 515902"/>
                    <a:gd name="connsiteY1" fmla="*/ 217984 h 454926"/>
                    <a:gd name="connsiteX2" fmla="*/ 76437 w 515902"/>
                    <a:gd name="connsiteY2" fmla="*/ 154484 h 454926"/>
                    <a:gd name="connsiteX3" fmla="*/ 178037 w 515902"/>
                    <a:gd name="connsiteY3" fmla="*/ 148134 h 454926"/>
                    <a:gd name="connsiteX4" fmla="*/ 193912 w 515902"/>
                    <a:gd name="connsiteY4" fmla="*/ 90984 h 454926"/>
                    <a:gd name="connsiteX5" fmla="*/ 206612 w 515902"/>
                    <a:gd name="connsiteY5" fmla="*/ 11609 h 454926"/>
                    <a:gd name="connsiteX6" fmla="*/ 317737 w 515902"/>
                    <a:gd name="connsiteY6" fmla="*/ 8434 h 454926"/>
                    <a:gd name="connsiteX7" fmla="*/ 317737 w 515902"/>
                    <a:gd name="connsiteY7" fmla="*/ 87809 h 454926"/>
                    <a:gd name="connsiteX8" fmla="*/ 339962 w 515902"/>
                    <a:gd name="connsiteY8" fmla="*/ 135434 h 454926"/>
                    <a:gd name="connsiteX9" fmla="*/ 451087 w 515902"/>
                    <a:gd name="connsiteY9" fmla="*/ 157659 h 454926"/>
                    <a:gd name="connsiteX10" fmla="*/ 514587 w 515902"/>
                    <a:gd name="connsiteY10" fmla="*/ 227509 h 454926"/>
                    <a:gd name="connsiteX11" fmla="*/ 511412 w 515902"/>
                    <a:gd name="connsiteY11" fmla="*/ 449759 h 454926"/>
                    <a:gd name="connsiteX12" fmla="*/ 9762 w 515902"/>
                    <a:gd name="connsiteY12" fmla="*/ 443409 h 454926"/>
                    <a:gd name="connsiteX0" fmla="*/ 9762 w 515902"/>
                    <a:gd name="connsiteY0" fmla="*/ 443409 h 454926"/>
                    <a:gd name="connsiteX1" fmla="*/ 6587 w 515902"/>
                    <a:gd name="connsiteY1" fmla="*/ 217984 h 454926"/>
                    <a:gd name="connsiteX2" fmla="*/ 76437 w 515902"/>
                    <a:gd name="connsiteY2" fmla="*/ 154484 h 454926"/>
                    <a:gd name="connsiteX3" fmla="*/ 178037 w 515902"/>
                    <a:gd name="connsiteY3" fmla="*/ 148134 h 454926"/>
                    <a:gd name="connsiteX4" fmla="*/ 193912 w 515902"/>
                    <a:gd name="connsiteY4" fmla="*/ 90984 h 454926"/>
                    <a:gd name="connsiteX5" fmla="*/ 206612 w 515902"/>
                    <a:gd name="connsiteY5" fmla="*/ 11609 h 454926"/>
                    <a:gd name="connsiteX6" fmla="*/ 317737 w 515902"/>
                    <a:gd name="connsiteY6" fmla="*/ 8434 h 454926"/>
                    <a:gd name="connsiteX7" fmla="*/ 317737 w 515902"/>
                    <a:gd name="connsiteY7" fmla="*/ 87809 h 454926"/>
                    <a:gd name="connsiteX8" fmla="*/ 339962 w 515902"/>
                    <a:gd name="connsiteY8" fmla="*/ 135434 h 454926"/>
                    <a:gd name="connsiteX9" fmla="*/ 451087 w 515902"/>
                    <a:gd name="connsiteY9" fmla="*/ 157659 h 454926"/>
                    <a:gd name="connsiteX10" fmla="*/ 514587 w 515902"/>
                    <a:gd name="connsiteY10" fmla="*/ 227509 h 454926"/>
                    <a:gd name="connsiteX11" fmla="*/ 511412 w 515902"/>
                    <a:gd name="connsiteY11" fmla="*/ 449759 h 454926"/>
                    <a:gd name="connsiteX12" fmla="*/ 9762 w 515902"/>
                    <a:gd name="connsiteY12" fmla="*/ 443409 h 454926"/>
                    <a:gd name="connsiteX0" fmla="*/ 9762 w 515902"/>
                    <a:gd name="connsiteY0" fmla="*/ 443409 h 454926"/>
                    <a:gd name="connsiteX1" fmla="*/ 6587 w 515902"/>
                    <a:gd name="connsiteY1" fmla="*/ 217984 h 454926"/>
                    <a:gd name="connsiteX2" fmla="*/ 76437 w 515902"/>
                    <a:gd name="connsiteY2" fmla="*/ 154484 h 454926"/>
                    <a:gd name="connsiteX3" fmla="*/ 193912 w 515902"/>
                    <a:gd name="connsiteY3" fmla="*/ 90984 h 454926"/>
                    <a:gd name="connsiteX4" fmla="*/ 206612 w 515902"/>
                    <a:gd name="connsiteY4" fmla="*/ 11609 h 454926"/>
                    <a:gd name="connsiteX5" fmla="*/ 317737 w 515902"/>
                    <a:gd name="connsiteY5" fmla="*/ 8434 h 454926"/>
                    <a:gd name="connsiteX6" fmla="*/ 317737 w 515902"/>
                    <a:gd name="connsiteY6" fmla="*/ 87809 h 454926"/>
                    <a:gd name="connsiteX7" fmla="*/ 339962 w 515902"/>
                    <a:gd name="connsiteY7" fmla="*/ 135434 h 454926"/>
                    <a:gd name="connsiteX8" fmla="*/ 451087 w 515902"/>
                    <a:gd name="connsiteY8" fmla="*/ 157659 h 454926"/>
                    <a:gd name="connsiteX9" fmla="*/ 514587 w 515902"/>
                    <a:gd name="connsiteY9" fmla="*/ 227509 h 454926"/>
                    <a:gd name="connsiteX10" fmla="*/ 511412 w 515902"/>
                    <a:gd name="connsiteY10" fmla="*/ 449759 h 454926"/>
                    <a:gd name="connsiteX11" fmla="*/ 9762 w 515902"/>
                    <a:gd name="connsiteY11" fmla="*/ 443409 h 454926"/>
                    <a:gd name="connsiteX0" fmla="*/ 9762 w 515902"/>
                    <a:gd name="connsiteY0" fmla="*/ 446099 h 457616"/>
                    <a:gd name="connsiteX1" fmla="*/ 6587 w 515902"/>
                    <a:gd name="connsiteY1" fmla="*/ 220674 h 457616"/>
                    <a:gd name="connsiteX2" fmla="*/ 76437 w 515902"/>
                    <a:gd name="connsiteY2" fmla="*/ 157174 h 457616"/>
                    <a:gd name="connsiteX3" fmla="*/ 190737 w 515902"/>
                    <a:gd name="connsiteY3" fmla="*/ 138124 h 457616"/>
                    <a:gd name="connsiteX4" fmla="*/ 206612 w 515902"/>
                    <a:gd name="connsiteY4" fmla="*/ 14299 h 457616"/>
                    <a:gd name="connsiteX5" fmla="*/ 317737 w 515902"/>
                    <a:gd name="connsiteY5" fmla="*/ 11124 h 457616"/>
                    <a:gd name="connsiteX6" fmla="*/ 317737 w 515902"/>
                    <a:gd name="connsiteY6" fmla="*/ 90499 h 457616"/>
                    <a:gd name="connsiteX7" fmla="*/ 339962 w 515902"/>
                    <a:gd name="connsiteY7" fmla="*/ 138124 h 457616"/>
                    <a:gd name="connsiteX8" fmla="*/ 451087 w 515902"/>
                    <a:gd name="connsiteY8" fmla="*/ 160349 h 457616"/>
                    <a:gd name="connsiteX9" fmla="*/ 514587 w 515902"/>
                    <a:gd name="connsiteY9" fmla="*/ 230199 h 457616"/>
                    <a:gd name="connsiteX10" fmla="*/ 511412 w 515902"/>
                    <a:gd name="connsiteY10" fmla="*/ 452449 h 457616"/>
                    <a:gd name="connsiteX11" fmla="*/ 9762 w 515902"/>
                    <a:gd name="connsiteY11" fmla="*/ 446099 h 457616"/>
                    <a:gd name="connsiteX0" fmla="*/ 9762 w 515902"/>
                    <a:gd name="connsiteY0" fmla="*/ 446099 h 457616"/>
                    <a:gd name="connsiteX1" fmla="*/ 6587 w 515902"/>
                    <a:gd name="connsiteY1" fmla="*/ 220674 h 457616"/>
                    <a:gd name="connsiteX2" fmla="*/ 76437 w 515902"/>
                    <a:gd name="connsiteY2" fmla="*/ 157174 h 457616"/>
                    <a:gd name="connsiteX3" fmla="*/ 190737 w 515902"/>
                    <a:gd name="connsiteY3" fmla="*/ 138124 h 457616"/>
                    <a:gd name="connsiteX4" fmla="*/ 206612 w 515902"/>
                    <a:gd name="connsiteY4" fmla="*/ 14299 h 457616"/>
                    <a:gd name="connsiteX5" fmla="*/ 317737 w 515902"/>
                    <a:gd name="connsiteY5" fmla="*/ 11124 h 457616"/>
                    <a:gd name="connsiteX6" fmla="*/ 317737 w 515902"/>
                    <a:gd name="connsiteY6" fmla="*/ 90499 h 457616"/>
                    <a:gd name="connsiteX7" fmla="*/ 451087 w 515902"/>
                    <a:gd name="connsiteY7" fmla="*/ 160349 h 457616"/>
                    <a:gd name="connsiteX8" fmla="*/ 514587 w 515902"/>
                    <a:gd name="connsiteY8" fmla="*/ 230199 h 457616"/>
                    <a:gd name="connsiteX9" fmla="*/ 511412 w 515902"/>
                    <a:gd name="connsiteY9" fmla="*/ 452449 h 457616"/>
                    <a:gd name="connsiteX10" fmla="*/ 9762 w 515902"/>
                    <a:gd name="connsiteY10" fmla="*/ 446099 h 457616"/>
                    <a:gd name="connsiteX0" fmla="*/ 9762 w 515902"/>
                    <a:gd name="connsiteY0" fmla="*/ 447482 h 458999"/>
                    <a:gd name="connsiteX1" fmla="*/ 6587 w 515902"/>
                    <a:gd name="connsiteY1" fmla="*/ 222057 h 458999"/>
                    <a:gd name="connsiteX2" fmla="*/ 76437 w 515902"/>
                    <a:gd name="connsiteY2" fmla="*/ 158557 h 458999"/>
                    <a:gd name="connsiteX3" fmla="*/ 190737 w 515902"/>
                    <a:gd name="connsiteY3" fmla="*/ 139507 h 458999"/>
                    <a:gd name="connsiteX4" fmla="*/ 206612 w 515902"/>
                    <a:gd name="connsiteY4" fmla="*/ 15682 h 458999"/>
                    <a:gd name="connsiteX5" fmla="*/ 317737 w 515902"/>
                    <a:gd name="connsiteY5" fmla="*/ 12507 h 458999"/>
                    <a:gd name="connsiteX6" fmla="*/ 330437 w 515902"/>
                    <a:gd name="connsiteY6" fmla="*/ 114107 h 458999"/>
                    <a:gd name="connsiteX7" fmla="*/ 451087 w 515902"/>
                    <a:gd name="connsiteY7" fmla="*/ 161732 h 458999"/>
                    <a:gd name="connsiteX8" fmla="*/ 514587 w 515902"/>
                    <a:gd name="connsiteY8" fmla="*/ 231582 h 458999"/>
                    <a:gd name="connsiteX9" fmla="*/ 511412 w 515902"/>
                    <a:gd name="connsiteY9" fmla="*/ 453832 h 458999"/>
                    <a:gd name="connsiteX10" fmla="*/ 9762 w 515902"/>
                    <a:gd name="connsiteY10" fmla="*/ 447482 h 458999"/>
                    <a:gd name="connsiteX0" fmla="*/ 9762 w 515902"/>
                    <a:gd name="connsiteY0" fmla="*/ 446348 h 457865"/>
                    <a:gd name="connsiteX1" fmla="*/ 6587 w 515902"/>
                    <a:gd name="connsiteY1" fmla="*/ 220923 h 457865"/>
                    <a:gd name="connsiteX2" fmla="*/ 76437 w 515902"/>
                    <a:gd name="connsiteY2" fmla="*/ 157423 h 457865"/>
                    <a:gd name="connsiteX3" fmla="*/ 200262 w 515902"/>
                    <a:gd name="connsiteY3" fmla="*/ 119323 h 457865"/>
                    <a:gd name="connsiteX4" fmla="*/ 206612 w 515902"/>
                    <a:gd name="connsiteY4" fmla="*/ 14548 h 457865"/>
                    <a:gd name="connsiteX5" fmla="*/ 317737 w 515902"/>
                    <a:gd name="connsiteY5" fmla="*/ 11373 h 457865"/>
                    <a:gd name="connsiteX6" fmla="*/ 330437 w 515902"/>
                    <a:gd name="connsiteY6" fmla="*/ 112973 h 457865"/>
                    <a:gd name="connsiteX7" fmla="*/ 451087 w 515902"/>
                    <a:gd name="connsiteY7" fmla="*/ 160598 h 457865"/>
                    <a:gd name="connsiteX8" fmla="*/ 514587 w 515902"/>
                    <a:gd name="connsiteY8" fmla="*/ 230448 h 457865"/>
                    <a:gd name="connsiteX9" fmla="*/ 511412 w 515902"/>
                    <a:gd name="connsiteY9" fmla="*/ 452698 h 457865"/>
                    <a:gd name="connsiteX10" fmla="*/ 9762 w 515902"/>
                    <a:gd name="connsiteY10" fmla="*/ 446348 h 457865"/>
                    <a:gd name="connsiteX0" fmla="*/ 9762 w 515902"/>
                    <a:gd name="connsiteY0" fmla="*/ 446681 h 458198"/>
                    <a:gd name="connsiteX1" fmla="*/ 6587 w 515902"/>
                    <a:gd name="connsiteY1" fmla="*/ 221256 h 458198"/>
                    <a:gd name="connsiteX2" fmla="*/ 76437 w 515902"/>
                    <a:gd name="connsiteY2" fmla="*/ 157756 h 458198"/>
                    <a:gd name="connsiteX3" fmla="*/ 200262 w 515902"/>
                    <a:gd name="connsiteY3" fmla="*/ 119656 h 458198"/>
                    <a:gd name="connsiteX4" fmla="*/ 206612 w 515902"/>
                    <a:gd name="connsiteY4" fmla="*/ 14881 h 458198"/>
                    <a:gd name="connsiteX5" fmla="*/ 317737 w 515902"/>
                    <a:gd name="connsiteY5" fmla="*/ 11706 h 458198"/>
                    <a:gd name="connsiteX6" fmla="*/ 311502 w 515902"/>
                    <a:gd name="connsiteY6" fmla="*/ 118302 h 458198"/>
                    <a:gd name="connsiteX7" fmla="*/ 451087 w 515902"/>
                    <a:gd name="connsiteY7" fmla="*/ 160931 h 458198"/>
                    <a:gd name="connsiteX8" fmla="*/ 514587 w 515902"/>
                    <a:gd name="connsiteY8" fmla="*/ 230781 h 458198"/>
                    <a:gd name="connsiteX9" fmla="*/ 511412 w 515902"/>
                    <a:gd name="connsiteY9" fmla="*/ 453031 h 458198"/>
                    <a:gd name="connsiteX10" fmla="*/ 9762 w 515902"/>
                    <a:gd name="connsiteY10" fmla="*/ 446681 h 458198"/>
                    <a:gd name="connsiteX0" fmla="*/ 9762 w 515902"/>
                    <a:gd name="connsiteY0" fmla="*/ 446681 h 458198"/>
                    <a:gd name="connsiteX1" fmla="*/ 6587 w 515902"/>
                    <a:gd name="connsiteY1" fmla="*/ 221256 h 458198"/>
                    <a:gd name="connsiteX2" fmla="*/ 76437 w 515902"/>
                    <a:gd name="connsiteY2" fmla="*/ 157756 h 458198"/>
                    <a:gd name="connsiteX3" fmla="*/ 200262 w 515902"/>
                    <a:gd name="connsiteY3" fmla="*/ 119656 h 458198"/>
                    <a:gd name="connsiteX4" fmla="*/ 206612 w 515902"/>
                    <a:gd name="connsiteY4" fmla="*/ 14881 h 458198"/>
                    <a:gd name="connsiteX5" fmla="*/ 301506 w 515902"/>
                    <a:gd name="connsiteY5" fmla="*/ 11706 h 458198"/>
                    <a:gd name="connsiteX6" fmla="*/ 311502 w 515902"/>
                    <a:gd name="connsiteY6" fmla="*/ 118302 h 458198"/>
                    <a:gd name="connsiteX7" fmla="*/ 451087 w 515902"/>
                    <a:gd name="connsiteY7" fmla="*/ 160931 h 458198"/>
                    <a:gd name="connsiteX8" fmla="*/ 514587 w 515902"/>
                    <a:gd name="connsiteY8" fmla="*/ 230781 h 458198"/>
                    <a:gd name="connsiteX9" fmla="*/ 511412 w 515902"/>
                    <a:gd name="connsiteY9" fmla="*/ 453031 h 458198"/>
                    <a:gd name="connsiteX10" fmla="*/ 9762 w 515902"/>
                    <a:gd name="connsiteY10" fmla="*/ 446681 h 458198"/>
                    <a:gd name="connsiteX0" fmla="*/ 9762 w 515902"/>
                    <a:gd name="connsiteY0" fmla="*/ 446681 h 458198"/>
                    <a:gd name="connsiteX1" fmla="*/ 6587 w 515902"/>
                    <a:gd name="connsiteY1" fmla="*/ 221256 h 458198"/>
                    <a:gd name="connsiteX2" fmla="*/ 76437 w 515902"/>
                    <a:gd name="connsiteY2" fmla="*/ 157756 h 458198"/>
                    <a:gd name="connsiteX3" fmla="*/ 200262 w 515902"/>
                    <a:gd name="connsiteY3" fmla="*/ 119656 h 458198"/>
                    <a:gd name="connsiteX4" fmla="*/ 206612 w 515902"/>
                    <a:gd name="connsiteY4" fmla="*/ 14881 h 458198"/>
                    <a:gd name="connsiteX5" fmla="*/ 301506 w 515902"/>
                    <a:gd name="connsiteY5" fmla="*/ 11706 h 458198"/>
                    <a:gd name="connsiteX6" fmla="*/ 311502 w 515902"/>
                    <a:gd name="connsiteY6" fmla="*/ 118302 h 458198"/>
                    <a:gd name="connsiteX7" fmla="*/ 442972 w 515902"/>
                    <a:gd name="connsiteY7" fmla="*/ 180912 h 458198"/>
                    <a:gd name="connsiteX8" fmla="*/ 514587 w 515902"/>
                    <a:gd name="connsiteY8" fmla="*/ 230781 h 458198"/>
                    <a:gd name="connsiteX9" fmla="*/ 511412 w 515902"/>
                    <a:gd name="connsiteY9" fmla="*/ 453031 h 458198"/>
                    <a:gd name="connsiteX10" fmla="*/ 9762 w 515902"/>
                    <a:gd name="connsiteY10" fmla="*/ 446681 h 458198"/>
                    <a:gd name="connsiteX0" fmla="*/ 9762 w 511905"/>
                    <a:gd name="connsiteY0" fmla="*/ 446681 h 458198"/>
                    <a:gd name="connsiteX1" fmla="*/ 6587 w 511905"/>
                    <a:gd name="connsiteY1" fmla="*/ 221256 h 458198"/>
                    <a:gd name="connsiteX2" fmla="*/ 76437 w 511905"/>
                    <a:gd name="connsiteY2" fmla="*/ 157756 h 458198"/>
                    <a:gd name="connsiteX3" fmla="*/ 200262 w 511905"/>
                    <a:gd name="connsiteY3" fmla="*/ 119656 h 458198"/>
                    <a:gd name="connsiteX4" fmla="*/ 206612 w 511905"/>
                    <a:gd name="connsiteY4" fmla="*/ 14881 h 458198"/>
                    <a:gd name="connsiteX5" fmla="*/ 301506 w 511905"/>
                    <a:gd name="connsiteY5" fmla="*/ 11706 h 458198"/>
                    <a:gd name="connsiteX6" fmla="*/ 311502 w 511905"/>
                    <a:gd name="connsiteY6" fmla="*/ 118302 h 458198"/>
                    <a:gd name="connsiteX7" fmla="*/ 442972 w 511905"/>
                    <a:gd name="connsiteY7" fmla="*/ 180912 h 458198"/>
                    <a:gd name="connsiteX8" fmla="*/ 498357 w 511905"/>
                    <a:gd name="connsiteY8" fmla="*/ 250762 h 458198"/>
                    <a:gd name="connsiteX9" fmla="*/ 511412 w 511905"/>
                    <a:gd name="connsiteY9" fmla="*/ 453031 h 458198"/>
                    <a:gd name="connsiteX10" fmla="*/ 9762 w 511905"/>
                    <a:gd name="connsiteY10" fmla="*/ 446681 h 458198"/>
                    <a:gd name="connsiteX0" fmla="*/ 9762 w 511905"/>
                    <a:gd name="connsiteY0" fmla="*/ 446681 h 458198"/>
                    <a:gd name="connsiteX1" fmla="*/ 6587 w 511905"/>
                    <a:gd name="connsiteY1" fmla="*/ 221256 h 458198"/>
                    <a:gd name="connsiteX2" fmla="*/ 76437 w 511905"/>
                    <a:gd name="connsiteY2" fmla="*/ 157756 h 458198"/>
                    <a:gd name="connsiteX3" fmla="*/ 200262 w 511905"/>
                    <a:gd name="connsiteY3" fmla="*/ 119656 h 458198"/>
                    <a:gd name="connsiteX4" fmla="*/ 206612 w 511905"/>
                    <a:gd name="connsiteY4" fmla="*/ 14881 h 458198"/>
                    <a:gd name="connsiteX5" fmla="*/ 301506 w 511905"/>
                    <a:gd name="connsiteY5" fmla="*/ 11706 h 458198"/>
                    <a:gd name="connsiteX6" fmla="*/ 311502 w 511905"/>
                    <a:gd name="connsiteY6" fmla="*/ 118302 h 458198"/>
                    <a:gd name="connsiteX7" fmla="*/ 437562 w 511905"/>
                    <a:gd name="connsiteY7" fmla="*/ 198396 h 458198"/>
                    <a:gd name="connsiteX8" fmla="*/ 498357 w 511905"/>
                    <a:gd name="connsiteY8" fmla="*/ 250762 h 458198"/>
                    <a:gd name="connsiteX9" fmla="*/ 511412 w 511905"/>
                    <a:gd name="connsiteY9" fmla="*/ 453031 h 458198"/>
                    <a:gd name="connsiteX10" fmla="*/ 9762 w 511905"/>
                    <a:gd name="connsiteY10" fmla="*/ 446681 h 458198"/>
                    <a:gd name="connsiteX0" fmla="*/ 9762 w 511905"/>
                    <a:gd name="connsiteY0" fmla="*/ 446681 h 458198"/>
                    <a:gd name="connsiteX1" fmla="*/ 6587 w 511905"/>
                    <a:gd name="connsiteY1" fmla="*/ 221256 h 458198"/>
                    <a:gd name="connsiteX2" fmla="*/ 76437 w 511905"/>
                    <a:gd name="connsiteY2" fmla="*/ 157756 h 458198"/>
                    <a:gd name="connsiteX3" fmla="*/ 200262 w 511905"/>
                    <a:gd name="connsiteY3" fmla="*/ 119656 h 458198"/>
                    <a:gd name="connsiteX4" fmla="*/ 206612 w 511905"/>
                    <a:gd name="connsiteY4" fmla="*/ 14881 h 458198"/>
                    <a:gd name="connsiteX5" fmla="*/ 301506 w 511905"/>
                    <a:gd name="connsiteY5" fmla="*/ 11706 h 458198"/>
                    <a:gd name="connsiteX6" fmla="*/ 311502 w 511905"/>
                    <a:gd name="connsiteY6" fmla="*/ 118302 h 458198"/>
                    <a:gd name="connsiteX7" fmla="*/ 451087 w 511905"/>
                    <a:gd name="connsiteY7" fmla="*/ 188406 h 458198"/>
                    <a:gd name="connsiteX8" fmla="*/ 498357 w 511905"/>
                    <a:gd name="connsiteY8" fmla="*/ 250762 h 458198"/>
                    <a:gd name="connsiteX9" fmla="*/ 511412 w 511905"/>
                    <a:gd name="connsiteY9" fmla="*/ 453031 h 458198"/>
                    <a:gd name="connsiteX10" fmla="*/ 9762 w 511905"/>
                    <a:gd name="connsiteY10" fmla="*/ 446681 h 458198"/>
                    <a:gd name="connsiteX0" fmla="*/ 9762 w 511905"/>
                    <a:gd name="connsiteY0" fmla="*/ 447695 h 459212"/>
                    <a:gd name="connsiteX1" fmla="*/ 6587 w 511905"/>
                    <a:gd name="connsiteY1" fmla="*/ 222270 h 459212"/>
                    <a:gd name="connsiteX2" fmla="*/ 76437 w 511905"/>
                    <a:gd name="connsiteY2" fmla="*/ 158770 h 459212"/>
                    <a:gd name="connsiteX3" fmla="*/ 200262 w 511905"/>
                    <a:gd name="connsiteY3" fmla="*/ 120670 h 459212"/>
                    <a:gd name="connsiteX4" fmla="*/ 206612 w 511905"/>
                    <a:gd name="connsiteY4" fmla="*/ 15895 h 459212"/>
                    <a:gd name="connsiteX5" fmla="*/ 301506 w 511905"/>
                    <a:gd name="connsiteY5" fmla="*/ 12720 h 459212"/>
                    <a:gd name="connsiteX6" fmla="*/ 311502 w 511905"/>
                    <a:gd name="connsiteY6" fmla="*/ 134302 h 459212"/>
                    <a:gd name="connsiteX7" fmla="*/ 451087 w 511905"/>
                    <a:gd name="connsiteY7" fmla="*/ 189420 h 459212"/>
                    <a:gd name="connsiteX8" fmla="*/ 498357 w 511905"/>
                    <a:gd name="connsiteY8" fmla="*/ 251776 h 459212"/>
                    <a:gd name="connsiteX9" fmla="*/ 511412 w 511905"/>
                    <a:gd name="connsiteY9" fmla="*/ 454045 h 459212"/>
                    <a:gd name="connsiteX10" fmla="*/ 9762 w 511905"/>
                    <a:gd name="connsiteY10" fmla="*/ 447695 h 459212"/>
                    <a:gd name="connsiteX0" fmla="*/ 4227 w 522600"/>
                    <a:gd name="connsiteY0" fmla="*/ 455188 h 463021"/>
                    <a:gd name="connsiteX1" fmla="*/ 17282 w 522600"/>
                    <a:gd name="connsiteY1" fmla="*/ 222270 h 463021"/>
                    <a:gd name="connsiteX2" fmla="*/ 87132 w 522600"/>
                    <a:gd name="connsiteY2" fmla="*/ 158770 h 463021"/>
                    <a:gd name="connsiteX3" fmla="*/ 210957 w 522600"/>
                    <a:gd name="connsiteY3" fmla="*/ 120670 h 463021"/>
                    <a:gd name="connsiteX4" fmla="*/ 217307 w 522600"/>
                    <a:gd name="connsiteY4" fmla="*/ 15895 h 463021"/>
                    <a:gd name="connsiteX5" fmla="*/ 312201 w 522600"/>
                    <a:gd name="connsiteY5" fmla="*/ 12720 h 463021"/>
                    <a:gd name="connsiteX6" fmla="*/ 322197 w 522600"/>
                    <a:gd name="connsiteY6" fmla="*/ 134302 h 463021"/>
                    <a:gd name="connsiteX7" fmla="*/ 461782 w 522600"/>
                    <a:gd name="connsiteY7" fmla="*/ 189420 h 463021"/>
                    <a:gd name="connsiteX8" fmla="*/ 509052 w 522600"/>
                    <a:gd name="connsiteY8" fmla="*/ 251776 h 463021"/>
                    <a:gd name="connsiteX9" fmla="*/ 522107 w 522600"/>
                    <a:gd name="connsiteY9" fmla="*/ 454045 h 463021"/>
                    <a:gd name="connsiteX10" fmla="*/ 4227 w 522600"/>
                    <a:gd name="connsiteY10" fmla="*/ 455188 h 463021"/>
                    <a:gd name="connsiteX0" fmla="*/ 4227 w 522600"/>
                    <a:gd name="connsiteY0" fmla="*/ 455188 h 457596"/>
                    <a:gd name="connsiteX1" fmla="*/ 17282 w 522600"/>
                    <a:gd name="connsiteY1" fmla="*/ 222270 h 457596"/>
                    <a:gd name="connsiteX2" fmla="*/ 87132 w 522600"/>
                    <a:gd name="connsiteY2" fmla="*/ 158770 h 457596"/>
                    <a:gd name="connsiteX3" fmla="*/ 210957 w 522600"/>
                    <a:gd name="connsiteY3" fmla="*/ 120670 h 457596"/>
                    <a:gd name="connsiteX4" fmla="*/ 217307 w 522600"/>
                    <a:gd name="connsiteY4" fmla="*/ 15895 h 457596"/>
                    <a:gd name="connsiteX5" fmla="*/ 312201 w 522600"/>
                    <a:gd name="connsiteY5" fmla="*/ 12720 h 457596"/>
                    <a:gd name="connsiteX6" fmla="*/ 322197 w 522600"/>
                    <a:gd name="connsiteY6" fmla="*/ 134302 h 457596"/>
                    <a:gd name="connsiteX7" fmla="*/ 461782 w 522600"/>
                    <a:gd name="connsiteY7" fmla="*/ 189420 h 457596"/>
                    <a:gd name="connsiteX8" fmla="*/ 509052 w 522600"/>
                    <a:gd name="connsiteY8" fmla="*/ 251776 h 457596"/>
                    <a:gd name="connsiteX9" fmla="*/ 522107 w 522600"/>
                    <a:gd name="connsiteY9" fmla="*/ 454045 h 457596"/>
                    <a:gd name="connsiteX10" fmla="*/ 4227 w 522600"/>
                    <a:gd name="connsiteY10" fmla="*/ 455188 h 457596"/>
                    <a:gd name="connsiteX0" fmla="*/ 12757 w 531130"/>
                    <a:gd name="connsiteY0" fmla="*/ 455188 h 457596"/>
                    <a:gd name="connsiteX1" fmla="*/ 6876 w 531130"/>
                    <a:gd name="connsiteY1" fmla="*/ 237256 h 457596"/>
                    <a:gd name="connsiteX2" fmla="*/ 95662 w 531130"/>
                    <a:gd name="connsiteY2" fmla="*/ 158770 h 457596"/>
                    <a:gd name="connsiteX3" fmla="*/ 219487 w 531130"/>
                    <a:gd name="connsiteY3" fmla="*/ 120670 h 457596"/>
                    <a:gd name="connsiteX4" fmla="*/ 225837 w 531130"/>
                    <a:gd name="connsiteY4" fmla="*/ 15895 h 457596"/>
                    <a:gd name="connsiteX5" fmla="*/ 320731 w 531130"/>
                    <a:gd name="connsiteY5" fmla="*/ 12720 h 457596"/>
                    <a:gd name="connsiteX6" fmla="*/ 330727 w 531130"/>
                    <a:gd name="connsiteY6" fmla="*/ 134302 h 457596"/>
                    <a:gd name="connsiteX7" fmla="*/ 470312 w 531130"/>
                    <a:gd name="connsiteY7" fmla="*/ 189420 h 457596"/>
                    <a:gd name="connsiteX8" fmla="*/ 517582 w 531130"/>
                    <a:gd name="connsiteY8" fmla="*/ 251776 h 457596"/>
                    <a:gd name="connsiteX9" fmla="*/ 530637 w 531130"/>
                    <a:gd name="connsiteY9" fmla="*/ 454045 h 457596"/>
                    <a:gd name="connsiteX10" fmla="*/ 12757 w 531130"/>
                    <a:gd name="connsiteY10" fmla="*/ 455188 h 457596"/>
                    <a:gd name="connsiteX0" fmla="*/ 7226 w 536419"/>
                    <a:gd name="connsiteY0" fmla="*/ 447695 h 456315"/>
                    <a:gd name="connsiteX1" fmla="*/ 12165 w 536419"/>
                    <a:gd name="connsiteY1" fmla="*/ 237256 h 456315"/>
                    <a:gd name="connsiteX2" fmla="*/ 100951 w 536419"/>
                    <a:gd name="connsiteY2" fmla="*/ 158770 h 456315"/>
                    <a:gd name="connsiteX3" fmla="*/ 224776 w 536419"/>
                    <a:gd name="connsiteY3" fmla="*/ 120670 h 456315"/>
                    <a:gd name="connsiteX4" fmla="*/ 231126 w 536419"/>
                    <a:gd name="connsiteY4" fmla="*/ 15895 h 456315"/>
                    <a:gd name="connsiteX5" fmla="*/ 326020 w 536419"/>
                    <a:gd name="connsiteY5" fmla="*/ 12720 h 456315"/>
                    <a:gd name="connsiteX6" fmla="*/ 336016 w 536419"/>
                    <a:gd name="connsiteY6" fmla="*/ 134302 h 456315"/>
                    <a:gd name="connsiteX7" fmla="*/ 475601 w 536419"/>
                    <a:gd name="connsiteY7" fmla="*/ 189420 h 456315"/>
                    <a:gd name="connsiteX8" fmla="*/ 522871 w 536419"/>
                    <a:gd name="connsiteY8" fmla="*/ 251776 h 456315"/>
                    <a:gd name="connsiteX9" fmla="*/ 535926 w 536419"/>
                    <a:gd name="connsiteY9" fmla="*/ 454045 h 456315"/>
                    <a:gd name="connsiteX10" fmla="*/ 7226 w 536419"/>
                    <a:gd name="connsiteY10" fmla="*/ 447695 h 456315"/>
                    <a:gd name="connsiteX0" fmla="*/ 7226 w 528834"/>
                    <a:gd name="connsiteY0" fmla="*/ 447695 h 456315"/>
                    <a:gd name="connsiteX1" fmla="*/ 12165 w 528834"/>
                    <a:gd name="connsiteY1" fmla="*/ 237256 h 456315"/>
                    <a:gd name="connsiteX2" fmla="*/ 100951 w 528834"/>
                    <a:gd name="connsiteY2" fmla="*/ 158770 h 456315"/>
                    <a:gd name="connsiteX3" fmla="*/ 224776 w 528834"/>
                    <a:gd name="connsiteY3" fmla="*/ 120670 h 456315"/>
                    <a:gd name="connsiteX4" fmla="*/ 231126 w 528834"/>
                    <a:gd name="connsiteY4" fmla="*/ 15895 h 456315"/>
                    <a:gd name="connsiteX5" fmla="*/ 326020 w 528834"/>
                    <a:gd name="connsiteY5" fmla="*/ 12720 h 456315"/>
                    <a:gd name="connsiteX6" fmla="*/ 336016 w 528834"/>
                    <a:gd name="connsiteY6" fmla="*/ 134302 h 456315"/>
                    <a:gd name="connsiteX7" fmla="*/ 475601 w 528834"/>
                    <a:gd name="connsiteY7" fmla="*/ 189420 h 456315"/>
                    <a:gd name="connsiteX8" fmla="*/ 522871 w 528834"/>
                    <a:gd name="connsiteY8" fmla="*/ 251776 h 456315"/>
                    <a:gd name="connsiteX9" fmla="*/ 527811 w 528834"/>
                    <a:gd name="connsiteY9" fmla="*/ 454045 h 456315"/>
                    <a:gd name="connsiteX10" fmla="*/ 7226 w 528834"/>
                    <a:gd name="connsiteY10" fmla="*/ 447695 h 456315"/>
                    <a:gd name="connsiteX0" fmla="*/ 7226 w 528834"/>
                    <a:gd name="connsiteY0" fmla="*/ 447695 h 456315"/>
                    <a:gd name="connsiteX1" fmla="*/ 12165 w 528834"/>
                    <a:gd name="connsiteY1" fmla="*/ 237256 h 456315"/>
                    <a:gd name="connsiteX2" fmla="*/ 100951 w 528834"/>
                    <a:gd name="connsiteY2" fmla="*/ 158770 h 456315"/>
                    <a:gd name="connsiteX3" fmla="*/ 224776 w 528834"/>
                    <a:gd name="connsiteY3" fmla="*/ 120670 h 456315"/>
                    <a:gd name="connsiteX4" fmla="*/ 231126 w 528834"/>
                    <a:gd name="connsiteY4" fmla="*/ 15895 h 456315"/>
                    <a:gd name="connsiteX5" fmla="*/ 326020 w 528834"/>
                    <a:gd name="connsiteY5" fmla="*/ 12720 h 456315"/>
                    <a:gd name="connsiteX6" fmla="*/ 336016 w 528834"/>
                    <a:gd name="connsiteY6" fmla="*/ 134302 h 456315"/>
                    <a:gd name="connsiteX7" fmla="*/ 462076 w 528834"/>
                    <a:gd name="connsiteY7" fmla="*/ 184425 h 456315"/>
                    <a:gd name="connsiteX8" fmla="*/ 522871 w 528834"/>
                    <a:gd name="connsiteY8" fmla="*/ 251776 h 456315"/>
                    <a:gd name="connsiteX9" fmla="*/ 527811 w 528834"/>
                    <a:gd name="connsiteY9" fmla="*/ 454045 h 456315"/>
                    <a:gd name="connsiteX10" fmla="*/ 7226 w 528834"/>
                    <a:gd name="connsiteY10" fmla="*/ 447695 h 456315"/>
                    <a:gd name="connsiteX0" fmla="*/ 8515 w 530123"/>
                    <a:gd name="connsiteY0" fmla="*/ 447695 h 456315"/>
                    <a:gd name="connsiteX1" fmla="*/ 10749 w 530123"/>
                    <a:gd name="connsiteY1" fmla="*/ 244749 h 456315"/>
                    <a:gd name="connsiteX2" fmla="*/ 102240 w 530123"/>
                    <a:gd name="connsiteY2" fmla="*/ 158770 h 456315"/>
                    <a:gd name="connsiteX3" fmla="*/ 226065 w 530123"/>
                    <a:gd name="connsiteY3" fmla="*/ 120670 h 456315"/>
                    <a:gd name="connsiteX4" fmla="*/ 232415 w 530123"/>
                    <a:gd name="connsiteY4" fmla="*/ 15895 h 456315"/>
                    <a:gd name="connsiteX5" fmla="*/ 327309 w 530123"/>
                    <a:gd name="connsiteY5" fmla="*/ 12720 h 456315"/>
                    <a:gd name="connsiteX6" fmla="*/ 337305 w 530123"/>
                    <a:gd name="connsiteY6" fmla="*/ 134302 h 456315"/>
                    <a:gd name="connsiteX7" fmla="*/ 463365 w 530123"/>
                    <a:gd name="connsiteY7" fmla="*/ 184425 h 456315"/>
                    <a:gd name="connsiteX8" fmla="*/ 524160 w 530123"/>
                    <a:gd name="connsiteY8" fmla="*/ 251776 h 456315"/>
                    <a:gd name="connsiteX9" fmla="*/ 529100 w 530123"/>
                    <a:gd name="connsiteY9" fmla="*/ 454045 h 456315"/>
                    <a:gd name="connsiteX10" fmla="*/ 8515 w 530123"/>
                    <a:gd name="connsiteY10" fmla="*/ 447695 h 456315"/>
                    <a:gd name="connsiteX0" fmla="*/ 7671 w 529279"/>
                    <a:gd name="connsiteY0" fmla="*/ 447695 h 456315"/>
                    <a:gd name="connsiteX1" fmla="*/ 9905 w 529279"/>
                    <a:gd name="connsiteY1" fmla="*/ 244749 h 456315"/>
                    <a:gd name="connsiteX2" fmla="*/ 87870 w 529279"/>
                    <a:gd name="connsiteY2" fmla="*/ 166263 h 456315"/>
                    <a:gd name="connsiteX3" fmla="*/ 225221 w 529279"/>
                    <a:gd name="connsiteY3" fmla="*/ 120670 h 456315"/>
                    <a:gd name="connsiteX4" fmla="*/ 231571 w 529279"/>
                    <a:gd name="connsiteY4" fmla="*/ 15895 h 456315"/>
                    <a:gd name="connsiteX5" fmla="*/ 326465 w 529279"/>
                    <a:gd name="connsiteY5" fmla="*/ 12720 h 456315"/>
                    <a:gd name="connsiteX6" fmla="*/ 336461 w 529279"/>
                    <a:gd name="connsiteY6" fmla="*/ 134302 h 456315"/>
                    <a:gd name="connsiteX7" fmla="*/ 462521 w 529279"/>
                    <a:gd name="connsiteY7" fmla="*/ 184425 h 456315"/>
                    <a:gd name="connsiteX8" fmla="*/ 523316 w 529279"/>
                    <a:gd name="connsiteY8" fmla="*/ 251776 h 456315"/>
                    <a:gd name="connsiteX9" fmla="*/ 528256 w 529279"/>
                    <a:gd name="connsiteY9" fmla="*/ 454045 h 456315"/>
                    <a:gd name="connsiteX10" fmla="*/ 7671 w 529279"/>
                    <a:gd name="connsiteY10" fmla="*/ 447695 h 456315"/>
                    <a:gd name="connsiteX0" fmla="*/ 7671 w 529279"/>
                    <a:gd name="connsiteY0" fmla="*/ 447558 h 456178"/>
                    <a:gd name="connsiteX1" fmla="*/ 9905 w 529279"/>
                    <a:gd name="connsiteY1" fmla="*/ 244612 h 456178"/>
                    <a:gd name="connsiteX2" fmla="*/ 87870 w 529279"/>
                    <a:gd name="connsiteY2" fmla="*/ 166126 h 456178"/>
                    <a:gd name="connsiteX3" fmla="*/ 206285 w 529279"/>
                    <a:gd name="connsiteY3" fmla="*/ 118035 h 456178"/>
                    <a:gd name="connsiteX4" fmla="*/ 231571 w 529279"/>
                    <a:gd name="connsiteY4" fmla="*/ 15758 h 456178"/>
                    <a:gd name="connsiteX5" fmla="*/ 326465 w 529279"/>
                    <a:gd name="connsiteY5" fmla="*/ 12583 h 456178"/>
                    <a:gd name="connsiteX6" fmla="*/ 336461 w 529279"/>
                    <a:gd name="connsiteY6" fmla="*/ 134165 h 456178"/>
                    <a:gd name="connsiteX7" fmla="*/ 462521 w 529279"/>
                    <a:gd name="connsiteY7" fmla="*/ 184288 h 456178"/>
                    <a:gd name="connsiteX8" fmla="*/ 523316 w 529279"/>
                    <a:gd name="connsiteY8" fmla="*/ 251639 h 456178"/>
                    <a:gd name="connsiteX9" fmla="*/ 528256 w 529279"/>
                    <a:gd name="connsiteY9" fmla="*/ 453908 h 456178"/>
                    <a:gd name="connsiteX10" fmla="*/ 7671 w 529279"/>
                    <a:gd name="connsiteY10" fmla="*/ 447558 h 456178"/>
                    <a:gd name="connsiteX0" fmla="*/ 14544 w 536152"/>
                    <a:gd name="connsiteY0" fmla="*/ 447558 h 456178"/>
                    <a:gd name="connsiteX1" fmla="*/ 5958 w 536152"/>
                    <a:gd name="connsiteY1" fmla="*/ 247109 h 456178"/>
                    <a:gd name="connsiteX2" fmla="*/ 94743 w 536152"/>
                    <a:gd name="connsiteY2" fmla="*/ 166126 h 456178"/>
                    <a:gd name="connsiteX3" fmla="*/ 213158 w 536152"/>
                    <a:gd name="connsiteY3" fmla="*/ 118035 h 456178"/>
                    <a:gd name="connsiteX4" fmla="*/ 238444 w 536152"/>
                    <a:gd name="connsiteY4" fmla="*/ 15758 h 456178"/>
                    <a:gd name="connsiteX5" fmla="*/ 333338 w 536152"/>
                    <a:gd name="connsiteY5" fmla="*/ 12583 h 456178"/>
                    <a:gd name="connsiteX6" fmla="*/ 343334 w 536152"/>
                    <a:gd name="connsiteY6" fmla="*/ 134165 h 456178"/>
                    <a:gd name="connsiteX7" fmla="*/ 469394 w 536152"/>
                    <a:gd name="connsiteY7" fmla="*/ 184288 h 456178"/>
                    <a:gd name="connsiteX8" fmla="*/ 530189 w 536152"/>
                    <a:gd name="connsiteY8" fmla="*/ 251639 h 456178"/>
                    <a:gd name="connsiteX9" fmla="*/ 535129 w 536152"/>
                    <a:gd name="connsiteY9" fmla="*/ 453908 h 456178"/>
                    <a:gd name="connsiteX10" fmla="*/ 14544 w 536152"/>
                    <a:gd name="connsiteY10" fmla="*/ 447558 h 456178"/>
                    <a:gd name="connsiteX0" fmla="*/ 7226 w 542359"/>
                    <a:gd name="connsiteY0" fmla="*/ 450055 h 456488"/>
                    <a:gd name="connsiteX1" fmla="*/ 12165 w 542359"/>
                    <a:gd name="connsiteY1" fmla="*/ 247109 h 456488"/>
                    <a:gd name="connsiteX2" fmla="*/ 100950 w 542359"/>
                    <a:gd name="connsiteY2" fmla="*/ 166126 h 456488"/>
                    <a:gd name="connsiteX3" fmla="*/ 219365 w 542359"/>
                    <a:gd name="connsiteY3" fmla="*/ 118035 h 456488"/>
                    <a:gd name="connsiteX4" fmla="*/ 244651 w 542359"/>
                    <a:gd name="connsiteY4" fmla="*/ 15758 h 456488"/>
                    <a:gd name="connsiteX5" fmla="*/ 339545 w 542359"/>
                    <a:gd name="connsiteY5" fmla="*/ 12583 h 456488"/>
                    <a:gd name="connsiteX6" fmla="*/ 349541 w 542359"/>
                    <a:gd name="connsiteY6" fmla="*/ 134165 h 456488"/>
                    <a:gd name="connsiteX7" fmla="*/ 475601 w 542359"/>
                    <a:gd name="connsiteY7" fmla="*/ 184288 h 456488"/>
                    <a:gd name="connsiteX8" fmla="*/ 536396 w 542359"/>
                    <a:gd name="connsiteY8" fmla="*/ 251639 h 456488"/>
                    <a:gd name="connsiteX9" fmla="*/ 541336 w 542359"/>
                    <a:gd name="connsiteY9" fmla="*/ 453908 h 456488"/>
                    <a:gd name="connsiteX10" fmla="*/ 7226 w 542359"/>
                    <a:gd name="connsiteY10" fmla="*/ 450055 h 456488"/>
                    <a:gd name="connsiteX0" fmla="*/ 7226 w 542359"/>
                    <a:gd name="connsiteY0" fmla="*/ 450055 h 456488"/>
                    <a:gd name="connsiteX1" fmla="*/ 12165 w 542359"/>
                    <a:gd name="connsiteY1" fmla="*/ 247109 h 456488"/>
                    <a:gd name="connsiteX2" fmla="*/ 100950 w 542359"/>
                    <a:gd name="connsiteY2" fmla="*/ 166126 h 456488"/>
                    <a:gd name="connsiteX3" fmla="*/ 219365 w 542359"/>
                    <a:gd name="connsiteY3" fmla="*/ 118035 h 456488"/>
                    <a:gd name="connsiteX4" fmla="*/ 244651 w 542359"/>
                    <a:gd name="connsiteY4" fmla="*/ 15758 h 456488"/>
                    <a:gd name="connsiteX5" fmla="*/ 331430 w 542359"/>
                    <a:gd name="connsiteY5" fmla="*/ 12583 h 456488"/>
                    <a:gd name="connsiteX6" fmla="*/ 349541 w 542359"/>
                    <a:gd name="connsiteY6" fmla="*/ 134165 h 456488"/>
                    <a:gd name="connsiteX7" fmla="*/ 475601 w 542359"/>
                    <a:gd name="connsiteY7" fmla="*/ 184288 h 456488"/>
                    <a:gd name="connsiteX8" fmla="*/ 536396 w 542359"/>
                    <a:gd name="connsiteY8" fmla="*/ 251639 h 456488"/>
                    <a:gd name="connsiteX9" fmla="*/ 541336 w 542359"/>
                    <a:gd name="connsiteY9" fmla="*/ 453908 h 456488"/>
                    <a:gd name="connsiteX10" fmla="*/ 7226 w 542359"/>
                    <a:gd name="connsiteY10" fmla="*/ 450055 h 456488"/>
                    <a:gd name="connsiteX0" fmla="*/ 7226 w 542359"/>
                    <a:gd name="connsiteY0" fmla="*/ 450055 h 456488"/>
                    <a:gd name="connsiteX1" fmla="*/ 12165 w 542359"/>
                    <a:gd name="connsiteY1" fmla="*/ 247109 h 456488"/>
                    <a:gd name="connsiteX2" fmla="*/ 100950 w 542359"/>
                    <a:gd name="connsiteY2" fmla="*/ 166126 h 456488"/>
                    <a:gd name="connsiteX3" fmla="*/ 219365 w 542359"/>
                    <a:gd name="connsiteY3" fmla="*/ 118035 h 456488"/>
                    <a:gd name="connsiteX4" fmla="*/ 244651 w 542359"/>
                    <a:gd name="connsiteY4" fmla="*/ 15758 h 456488"/>
                    <a:gd name="connsiteX5" fmla="*/ 331430 w 542359"/>
                    <a:gd name="connsiteY5" fmla="*/ 12583 h 456488"/>
                    <a:gd name="connsiteX6" fmla="*/ 349541 w 542359"/>
                    <a:gd name="connsiteY6" fmla="*/ 134165 h 456488"/>
                    <a:gd name="connsiteX7" fmla="*/ 483716 w 542359"/>
                    <a:gd name="connsiteY7" fmla="*/ 179293 h 456488"/>
                    <a:gd name="connsiteX8" fmla="*/ 536396 w 542359"/>
                    <a:gd name="connsiteY8" fmla="*/ 251639 h 456488"/>
                    <a:gd name="connsiteX9" fmla="*/ 541336 w 542359"/>
                    <a:gd name="connsiteY9" fmla="*/ 453908 h 456488"/>
                    <a:gd name="connsiteX10" fmla="*/ 7226 w 542359"/>
                    <a:gd name="connsiteY10" fmla="*/ 450055 h 456488"/>
                    <a:gd name="connsiteX0" fmla="*/ 6630 w 541763"/>
                    <a:gd name="connsiteY0" fmla="*/ 450055 h 456488"/>
                    <a:gd name="connsiteX1" fmla="*/ 11569 w 541763"/>
                    <a:gd name="connsiteY1" fmla="*/ 247109 h 456488"/>
                    <a:gd name="connsiteX2" fmla="*/ 89534 w 541763"/>
                    <a:gd name="connsiteY2" fmla="*/ 166126 h 456488"/>
                    <a:gd name="connsiteX3" fmla="*/ 218769 w 541763"/>
                    <a:gd name="connsiteY3" fmla="*/ 118035 h 456488"/>
                    <a:gd name="connsiteX4" fmla="*/ 244055 w 541763"/>
                    <a:gd name="connsiteY4" fmla="*/ 15758 h 456488"/>
                    <a:gd name="connsiteX5" fmla="*/ 330834 w 541763"/>
                    <a:gd name="connsiteY5" fmla="*/ 12583 h 456488"/>
                    <a:gd name="connsiteX6" fmla="*/ 348945 w 541763"/>
                    <a:gd name="connsiteY6" fmla="*/ 134165 h 456488"/>
                    <a:gd name="connsiteX7" fmla="*/ 483120 w 541763"/>
                    <a:gd name="connsiteY7" fmla="*/ 179293 h 456488"/>
                    <a:gd name="connsiteX8" fmla="*/ 535800 w 541763"/>
                    <a:gd name="connsiteY8" fmla="*/ 251639 h 456488"/>
                    <a:gd name="connsiteX9" fmla="*/ 540740 w 541763"/>
                    <a:gd name="connsiteY9" fmla="*/ 453908 h 456488"/>
                    <a:gd name="connsiteX10" fmla="*/ 6630 w 541763"/>
                    <a:gd name="connsiteY10" fmla="*/ 450055 h 456488"/>
                    <a:gd name="connsiteX0" fmla="*/ 4856 w 539989"/>
                    <a:gd name="connsiteY0" fmla="*/ 450055 h 456488"/>
                    <a:gd name="connsiteX1" fmla="*/ 15205 w 539989"/>
                    <a:gd name="connsiteY1" fmla="*/ 227128 h 456488"/>
                    <a:gd name="connsiteX2" fmla="*/ 87760 w 539989"/>
                    <a:gd name="connsiteY2" fmla="*/ 166126 h 456488"/>
                    <a:gd name="connsiteX3" fmla="*/ 216995 w 539989"/>
                    <a:gd name="connsiteY3" fmla="*/ 118035 h 456488"/>
                    <a:gd name="connsiteX4" fmla="*/ 242281 w 539989"/>
                    <a:gd name="connsiteY4" fmla="*/ 15758 h 456488"/>
                    <a:gd name="connsiteX5" fmla="*/ 329060 w 539989"/>
                    <a:gd name="connsiteY5" fmla="*/ 12583 h 456488"/>
                    <a:gd name="connsiteX6" fmla="*/ 347171 w 539989"/>
                    <a:gd name="connsiteY6" fmla="*/ 134165 h 456488"/>
                    <a:gd name="connsiteX7" fmla="*/ 481346 w 539989"/>
                    <a:gd name="connsiteY7" fmla="*/ 179293 h 456488"/>
                    <a:gd name="connsiteX8" fmla="*/ 534026 w 539989"/>
                    <a:gd name="connsiteY8" fmla="*/ 251639 h 456488"/>
                    <a:gd name="connsiteX9" fmla="*/ 538966 w 539989"/>
                    <a:gd name="connsiteY9" fmla="*/ 453908 h 456488"/>
                    <a:gd name="connsiteX10" fmla="*/ 4856 w 539989"/>
                    <a:gd name="connsiteY10" fmla="*/ 450055 h 4564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39989" h="456488">
                      <a:moveTo>
                        <a:pt x="4856" y="450055"/>
                      </a:moveTo>
                      <a:cubicBezTo>
                        <a:pt x="-5198" y="385497"/>
                        <a:pt x="1388" y="274449"/>
                        <a:pt x="15205" y="227128"/>
                      </a:cubicBezTo>
                      <a:cubicBezTo>
                        <a:pt x="29022" y="179807"/>
                        <a:pt x="54128" y="184308"/>
                        <a:pt x="87760" y="166126"/>
                      </a:cubicBezTo>
                      <a:cubicBezTo>
                        <a:pt x="121392" y="147944"/>
                        <a:pt x="191242" y="143096"/>
                        <a:pt x="216995" y="118035"/>
                      </a:cubicBezTo>
                      <a:cubicBezTo>
                        <a:pt x="242748" y="92974"/>
                        <a:pt x="223604" y="33333"/>
                        <a:pt x="242281" y="15758"/>
                      </a:cubicBezTo>
                      <a:cubicBezTo>
                        <a:pt x="260958" y="-1817"/>
                        <a:pt x="311578" y="-7151"/>
                        <a:pt x="329060" y="12583"/>
                      </a:cubicBezTo>
                      <a:cubicBezTo>
                        <a:pt x="346542" y="32317"/>
                        <a:pt x="321790" y="106380"/>
                        <a:pt x="347171" y="134165"/>
                      </a:cubicBezTo>
                      <a:cubicBezTo>
                        <a:pt x="372552" y="161950"/>
                        <a:pt x="450204" y="159714"/>
                        <a:pt x="481346" y="179293"/>
                      </a:cubicBezTo>
                      <a:cubicBezTo>
                        <a:pt x="512489" y="198872"/>
                        <a:pt x="523972" y="202956"/>
                        <a:pt x="534026" y="251639"/>
                      </a:cubicBezTo>
                      <a:cubicBezTo>
                        <a:pt x="537201" y="301381"/>
                        <a:pt x="542141" y="328496"/>
                        <a:pt x="538966" y="453908"/>
                      </a:cubicBezTo>
                      <a:cubicBezTo>
                        <a:pt x="307191" y="461845"/>
                        <a:pt x="250800" y="448827"/>
                        <a:pt x="4856" y="450055"/>
                      </a:cubicBezTo>
                      <a:close/>
                    </a:path>
                  </a:pathLst>
                </a:custGeom>
                <a:solidFill>
                  <a:schemeClr val="bg1"/>
                </a:solidFill>
                <a:ln w="57150">
                  <a:solidFill>
                    <a:schemeClr val="tx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98" name="Oval 97">
                  <a:extLst>
                    <a:ext uri="{FF2B5EF4-FFF2-40B4-BE49-F238E27FC236}">
                      <a16:creationId xmlns:a16="http://schemas.microsoft.com/office/drawing/2014/main" id="{2B6676E5-12EC-5A48-AADA-21C67B336460}"/>
                    </a:ext>
                  </a:extLst>
                </p:cNvPr>
                <p:cNvSpPr/>
                <p:nvPr/>
              </p:nvSpPr>
              <p:spPr>
                <a:xfrm>
                  <a:off x="1964431" y="3500843"/>
                  <a:ext cx="259337" cy="299858"/>
                </a:xfrm>
                <a:prstGeom prst="ellipse">
                  <a:avLst/>
                </a:prstGeom>
                <a:solidFill>
                  <a:schemeClr val="bg1"/>
                </a:solidFill>
                <a:ln w="57150">
                  <a:solidFill>
                    <a:schemeClr val="tx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grpSp>
        </p:grpSp>
        <p:grpSp>
          <p:nvGrpSpPr>
            <p:cNvPr id="89" name="Group 88">
              <a:extLst>
                <a:ext uri="{FF2B5EF4-FFF2-40B4-BE49-F238E27FC236}">
                  <a16:creationId xmlns:a16="http://schemas.microsoft.com/office/drawing/2014/main" id="{B7293541-9DF4-6948-945F-6620C036BA12}"/>
                </a:ext>
              </a:extLst>
            </p:cNvPr>
            <p:cNvGrpSpPr/>
            <p:nvPr/>
          </p:nvGrpSpPr>
          <p:grpSpPr>
            <a:xfrm>
              <a:off x="2495712" y="4589934"/>
              <a:ext cx="1256698" cy="510604"/>
              <a:chOff x="2495712" y="4589934"/>
              <a:chExt cx="1256698" cy="510604"/>
            </a:xfrm>
            <a:solidFill>
              <a:schemeClr val="tx1">
                <a:lumMod val="50000"/>
              </a:schemeClr>
            </a:solidFill>
          </p:grpSpPr>
          <p:sp>
            <p:nvSpPr>
              <p:cNvPr id="91" name="Rounded Rectangle 90">
                <a:extLst>
                  <a:ext uri="{FF2B5EF4-FFF2-40B4-BE49-F238E27FC236}">
                    <a16:creationId xmlns:a16="http://schemas.microsoft.com/office/drawing/2014/main" id="{848548F6-ABD7-2A42-8755-CFD5079A4E6C}"/>
                  </a:ext>
                </a:extLst>
              </p:cNvPr>
              <p:cNvSpPr/>
              <p:nvPr/>
            </p:nvSpPr>
            <p:spPr>
              <a:xfrm>
                <a:off x="2495712" y="4589934"/>
                <a:ext cx="1256697" cy="251941"/>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92" name="Rectangle 91">
                <a:extLst>
                  <a:ext uri="{FF2B5EF4-FFF2-40B4-BE49-F238E27FC236}">
                    <a16:creationId xmlns:a16="http://schemas.microsoft.com/office/drawing/2014/main" id="{058F4319-33F8-1C48-B81A-AD934A584371}"/>
                  </a:ext>
                </a:extLst>
              </p:cNvPr>
              <p:cNvSpPr/>
              <p:nvPr/>
            </p:nvSpPr>
            <p:spPr>
              <a:xfrm>
                <a:off x="2498725" y="4797790"/>
                <a:ext cx="1253685" cy="13315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93" name="Rectangle 92">
                <a:extLst>
                  <a:ext uri="{FF2B5EF4-FFF2-40B4-BE49-F238E27FC236}">
                    <a16:creationId xmlns:a16="http://schemas.microsoft.com/office/drawing/2014/main" id="{55DFAFA2-68B5-2D41-816C-B31204028800}"/>
                  </a:ext>
                </a:extLst>
              </p:cNvPr>
              <p:cNvSpPr/>
              <p:nvPr/>
            </p:nvSpPr>
            <p:spPr>
              <a:xfrm>
                <a:off x="2546350" y="4923041"/>
                <a:ext cx="109152" cy="17749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94" name="Rectangle 93">
                <a:extLst>
                  <a:ext uri="{FF2B5EF4-FFF2-40B4-BE49-F238E27FC236}">
                    <a16:creationId xmlns:a16="http://schemas.microsoft.com/office/drawing/2014/main" id="{580C79DA-C793-864D-9303-9FD1A2155700}"/>
                  </a:ext>
                </a:extLst>
              </p:cNvPr>
              <p:cNvSpPr/>
              <p:nvPr/>
            </p:nvSpPr>
            <p:spPr>
              <a:xfrm>
                <a:off x="3610945" y="4923041"/>
                <a:ext cx="109152" cy="17749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grpSp>
        <p:sp>
          <p:nvSpPr>
            <p:cNvPr id="90" name="Trapezoid 89">
              <a:extLst>
                <a:ext uri="{FF2B5EF4-FFF2-40B4-BE49-F238E27FC236}">
                  <a16:creationId xmlns:a16="http://schemas.microsoft.com/office/drawing/2014/main" id="{4788C89A-223B-EC4D-8BE8-E374E1C69D95}"/>
                </a:ext>
              </a:extLst>
            </p:cNvPr>
            <p:cNvSpPr/>
            <p:nvPr/>
          </p:nvSpPr>
          <p:spPr>
            <a:xfrm>
              <a:off x="2655502" y="4181475"/>
              <a:ext cx="958850" cy="363303"/>
            </a:xfrm>
            <a:prstGeom prst="trapezoid">
              <a:avLst/>
            </a:prstGeom>
            <a:solidFill>
              <a:schemeClr val="tx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grpSp>
      <p:grpSp>
        <p:nvGrpSpPr>
          <p:cNvPr id="101" name="Group 100">
            <a:extLst>
              <a:ext uri="{FF2B5EF4-FFF2-40B4-BE49-F238E27FC236}">
                <a16:creationId xmlns:a16="http://schemas.microsoft.com/office/drawing/2014/main" id="{69F0B2E4-8AF2-CC40-95E8-E9159AEDF6BD}"/>
              </a:ext>
            </a:extLst>
          </p:cNvPr>
          <p:cNvGrpSpPr/>
          <p:nvPr/>
        </p:nvGrpSpPr>
        <p:grpSpPr>
          <a:xfrm>
            <a:off x="11648342" y="2683659"/>
            <a:ext cx="1025213" cy="1261037"/>
            <a:chOff x="2441771" y="3385414"/>
            <a:chExt cx="1325481" cy="1781019"/>
          </a:xfrm>
        </p:grpSpPr>
        <p:pic>
          <p:nvPicPr>
            <p:cNvPr id="102" name="Picture 101">
              <a:extLst>
                <a:ext uri="{FF2B5EF4-FFF2-40B4-BE49-F238E27FC236}">
                  <a16:creationId xmlns:a16="http://schemas.microsoft.com/office/drawing/2014/main" id="{16D8AA6E-1AB4-FB4A-B7E2-E33B448D0316}"/>
                </a:ext>
              </a:extLst>
            </p:cNvPr>
            <p:cNvPicPr>
              <a:picLocks noChangeAspect="1"/>
            </p:cNvPicPr>
            <p:nvPr/>
          </p:nvPicPr>
          <p:blipFill rotWithShape="1">
            <a:blip r:embed="rId2"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a:xfrm>
              <a:off x="2441771" y="3385414"/>
              <a:ext cx="1325481" cy="1781019"/>
            </a:xfrm>
            <a:prstGeom prst="rect">
              <a:avLst/>
            </a:prstGeom>
          </p:spPr>
        </p:pic>
        <p:sp>
          <p:nvSpPr>
            <p:cNvPr id="103" name="Rounded Rectangle 102">
              <a:extLst>
                <a:ext uri="{FF2B5EF4-FFF2-40B4-BE49-F238E27FC236}">
                  <a16:creationId xmlns:a16="http://schemas.microsoft.com/office/drawing/2014/main" id="{4C8296AB-8B4F-A247-92F2-5844E73B63D5}"/>
                </a:ext>
              </a:extLst>
            </p:cNvPr>
            <p:cNvSpPr/>
            <p:nvPr/>
          </p:nvSpPr>
          <p:spPr>
            <a:xfrm>
              <a:off x="2655502" y="3670300"/>
              <a:ext cx="958850" cy="436656"/>
            </a:xfrm>
            <a:prstGeom prst="roundRect">
              <a:avLst/>
            </a:prstGeom>
            <a:solidFill>
              <a:schemeClr val="tx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grpSp>
          <p:nvGrpSpPr>
            <p:cNvPr id="104" name="Group 103">
              <a:extLst>
                <a:ext uri="{FF2B5EF4-FFF2-40B4-BE49-F238E27FC236}">
                  <a16:creationId xmlns:a16="http://schemas.microsoft.com/office/drawing/2014/main" id="{06C8C480-D88F-3D4E-BB3E-11B0CF444C7A}"/>
                </a:ext>
              </a:extLst>
            </p:cNvPr>
            <p:cNvGrpSpPr/>
            <p:nvPr/>
          </p:nvGrpSpPr>
          <p:grpSpPr>
            <a:xfrm>
              <a:off x="2776471" y="3456093"/>
              <a:ext cx="748710" cy="1056883"/>
              <a:chOff x="1496718" y="3334932"/>
              <a:chExt cx="748710" cy="1056883"/>
            </a:xfrm>
          </p:grpSpPr>
          <p:grpSp>
            <p:nvGrpSpPr>
              <p:cNvPr id="111" name="Group 110">
                <a:extLst>
                  <a:ext uri="{FF2B5EF4-FFF2-40B4-BE49-F238E27FC236}">
                    <a16:creationId xmlns:a16="http://schemas.microsoft.com/office/drawing/2014/main" id="{8A997402-D71C-0C4F-86D3-91829FDBB220}"/>
                  </a:ext>
                </a:extLst>
              </p:cNvPr>
              <p:cNvGrpSpPr/>
              <p:nvPr/>
            </p:nvGrpSpPr>
            <p:grpSpPr>
              <a:xfrm>
                <a:off x="1496718" y="3334932"/>
                <a:ext cx="748710" cy="1056883"/>
                <a:chOff x="1843570" y="3508300"/>
                <a:chExt cx="514980" cy="727982"/>
              </a:xfrm>
              <a:solidFill>
                <a:schemeClr val="bg1"/>
              </a:solidFill>
            </p:grpSpPr>
            <p:sp>
              <p:nvSpPr>
                <p:cNvPr id="115" name="Freeform 114">
                  <a:extLst>
                    <a:ext uri="{FF2B5EF4-FFF2-40B4-BE49-F238E27FC236}">
                      <a16:creationId xmlns:a16="http://schemas.microsoft.com/office/drawing/2014/main" id="{89CE2BFB-642F-A24D-85DE-F9D55747C0D9}"/>
                    </a:ext>
                  </a:extLst>
                </p:cNvPr>
                <p:cNvSpPr/>
                <p:nvPr/>
              </p:nvSpPr>
              <p:spPr>
                <a:xfrm>
                  <a:off x="1843570" y="3787509"/>
                  <a:ext cx="514980" cy="448773"/>
                </a:xfrm>
                <a:custGeom>
                  <a:avLst/>
                  <a:gdLst>
                    <a:gd name="connsiteX0" fmla="*/ 36807 w 576731"/>
                    <a:gd name="connsiteY0" fmla="*/ 449906 h 505924"/>
                    <a:gd name="connsiteX1" fmla="*/ 39982 w 576731"/>
                    <a:gd name="connsiteY1" fmla="*/ 214956 h 505924"/>
                    <a:gd name="connsiteX2" fmla="*/ 55857 w 576731"/>
                    <a:gd name="connsiteY2" fmla="*/ 176856 h 505924"/>
                    <a:gd name="connsiteX3" fmla="*/ 103482 w 576731"/>
                    <a:gd name="connsiteY3" fmla="*/ 160981 h 505924"/>
                    <a:gd name="connsiteX4" fmla="*/ 205082 w 576731"/>
                    <a:gd name="connsiteY4" fmla="*/ 154631 h 505924"/>
                    <a:gd name="connsiteX5" fmla="*/ 230482 w 576731"/>
                    <a:gd name="connsiteY5" fmla="*/ 151456 h 505924"/>
                    <a:gd name="connsiteX6" fmla="*/ 233657 w 576731"/>
                    <a:gd name="connsiteY6" fmla="*/ 18106 h 505924"/>
                    <a:gd name="connsiteX7" fmla="*/ 344782 w 576731"/>
                    <a:gd name="connsiteY7" fmla="*/ 14931 h 505924"/>
                    <a:gd name="connsiteX8" fmla="*/ 344782 w 576731"/>
                    <a:gd name="connsiteY8" fmla="*/ 145106 h 505924"/>
                    <a:gd name="connsiteX9" fmla="*/ 386057 w 576731"/>
                    <a:gd name="connsiteY9" fmla="*/ 151456 h 505924"/>
                    <a:gd name="connsiteX10" fmla="*/ 478132 w 576731"/>
                    <a:gd name="connsiteY10" fmla="*/ 164156 h 505924"/>
                    <a:gd name="connsiteX11" fmla="*/ 519407 w 576731"/>
                    <a:gd name="connsiteY11" fmla="*/ 189556 h 505924"/>
                    <a:gd name="connsiteX12" fmla="*/ 541632 w 576731"/>
                    <a:gd name="connsiteY12" fmla="*/ 234006 h 505924"/>
                    <a:gd name="connsiteX13" fmla="*/ 538457 w 576731"/>
                    <a:gd name="connsiteY13" fmla="*/ 488006 h 505924"/>
                    <a:gd name="connsiteX14" fmla="*/ 36807 w 576731"/>
                    <a:gd name="connsiteY14" fmla="*/ 449906 h 505924"/>
                    <a:gd name="connsiteX0" fmla="*/ 5769 w 545693"/>
                    <a:gd name="connsiteY0" fmla="*/ 449906 h 505924"/>
                    <a:gd name="connsiteX1" fmla="*/ 8944 w 545693"/>
                    <a:gd name="connsiteY1" fmla="*/ 214956 h 505924"/>
                    <a:gd name="connsiteX2" fmla="*/ 24819 w 545693"/>
                    <a:gd name="connsiteY2" fmla="*/ 176856 h 505924"/>
                    <a:gd name="connsiteX3" fmla="*/ 72444 w 545693"/>
                    <a:gd name="connsiteY3" fmla="*/ 160981 h 505924"/>
                    <a:gd name="connsiteX4" fmla="*/ 174044 w 545693"/>
                    <a:gd name="connsiteY4" fmla="*/ 154631 h 505924"/>
                    <a:gd name="connsiteX5" fmla="*/ 199444 w 545693"/>
                    <a:gd name="connsiteY5" fmla="*/ 151456 h 505924"/>
                    <a:gd name="connsiteX6" fmla="*/ 202619 w 545693"/>
                    <a:gd name="connsiteY6" fmla="*/ 18106 h 505924"/>
                    <a:gd name="connsiteX7" fmla="*/ 313744 w 545693"/>
                    <a:gd name="connsiteY7" fmla="*/ 14931 h 505924"/>
                    <a:gd name="connsiteX8" fmla="*/ 313744 w 545693"/>
                    <a:gd name="connsiteY8" fmla="*/ 145106 h 505924"/>
                    <a:gd name="connsiteX9" fmla="*/ 355019 w 545693"/>
                    <a:gd name="connsiteY9" fmla="*/ 151456 h 505924"/>
                    <a:gd name="connsiteX10" fmla="*/ 447094 w 545693"/>
                    <a:gd name="connsiteY10" fmla="*/ 164156 h 505924"/>
                    <a:gd name="connsiteX11" fmla="*/ 488369 w 545693"/>
                    <a:gd name="connsiteY11" fmla="*/ 189556 h 505924"/>
                    <a:gd name="connsiteX12" fmla="*/ 510594 w 545693"/>
                    <a:gd name="connsiteY12" fmla="*/ 234006 h 505924"/>
                    <a:gd name="connsiteX13" fmla="*/ 507419 w 545693"/>
                    <a:gd name="connsiteY13" fmla="*/ 488006 h 505924"/>
                    <a:gd name="connsiteX14" fmla="*/ 5769 w 545693"/>
                    <a:gd name="connsiteY14" fmla="*/ 449906 h 505924"/>
                    <a:gd name="connsiteX0" fmla="*/ 21286 w 561210"/>
                    <a:gd name="connsiteY0" fmla="*/ 449906 h 508025"/>
                    <a:gd name="connsiteX1" fmla="*/ 24461 w 561210"/>
                    <a:gd name="connsiteY1" fmla="*/ 214956 h 508025"/>
                    <a:gd name="connsiteX2" fmla="*/ 40336 w 561210"/>
                    <a:gd name="connsiteY2" fmla="*/ 176856 h 508025"/>
                    <a:gd name="connsiteX3" fmla="*/ 87961 w 561210"/>
                    <a:gd name="connsiteY3" fmla="*/ 160981 h 508025"/>
                    <a:gd name="connsiteX4" fmla="*/ 189561 w 561210"/>
                    <a:gd name="connsiteY4" fmla="*/ 154631 h 508025"/>
                    <a:gd name="connsiteX5" fmla="*/ 214961 w 561210"/>
                    <a:gd name="connsiteY5" fmla="*/ 151456 h 508025"/>
                    <a:gd name="connsiteX6" fmla="*/ 218136 w 561210"/>
                    <a:gd name="connsiteY6" fmla="*/ 18106 h 508025"/>
                    <a:gd name="connsiteX7" fmla="*/ 329261 w 561210"/>
                    <a:gd name="connsiteY7" fmla="*/ 14931 h 508025"/>
                    <a:gd name="connsiteX8" fmla="*/ 329261 w 561210"/>
                    <a:gd name="connsiteY8" fmla="*/ 145106 h 508025"/>
                    <a:gd name="connsiteX9" fmla="*/ 370536 w 561210"/>
                    <a:gd name="connsiteY9" fmla="*/ 151456 h 508025"/>
                    <a:gd name="connsiteX10" fmla="*/ 462611 w 561210"/>
                    <a:gd name="connsiteY10" fmla="*/ 164156 h 508025"/>
                    <a:gd name="connsiteX11" fmla="*/ 503886 w 561210"/>
                    <a:gd name="connsiteY11" fmla="*/ 189556 h 508025"/>
                    <a:gd name="connsiteX12" fmla="*/ 526111 w 561210"/>
                    <a:gd name="connsiteY12" fmla="*/ 234006 h 508025"/>
                    <a:gd name="connsiteX13" fmla="*/ 522936 w 561210"/>
                    <a:gd name="connsiteY13" fmla="*/ 488006 h 508025"/>
                    <a:gd name="connsiteX14" fmla="*/ 21286 w 561210"/>
                    <a:gd name="connsiteY14" fmla="*/ 449906 h 508025"/>
                    <a:gd name="connsiteX0" fmla="*/ 21286 w 561210"/>
                    <a:gd name="connsiteY0" fmla="*/ 449906 h 508025"/>
                    <a:gd name="connsiteX1" fmla="*/ 24461 w 561210"/>
                    <a:gd name="connsiteY1" fmla="*/ 214956 h 508025"/>
                    <a:gd name="connsiteX2" fmla="*/ 40336 w 561210"/>
                    <a:gd name="connsiteY2" fmla="*/ 176856 h 508025"/>
                    <a:gd name="connsiteX3" fmla="*/ 87961 w 561210"/>
                    <a:gd name="connsiteY3" fmla="*/ 160981 h 508025"/>
                    <a:gd name="connsiteX4" fmla="*/ 189561 w 561210"/>
                    <a:gd name="connsiteY4" fmla="*/ 154631 h 508025"/>
                    <a:gd name="connsiteX5" fmla="*/ 214961 w 561210"/>
                    <a:gd name="connsiteY5" fmla="*/ 151456 h 508025"/>
                    <a:gd name="connsiteX6" fmla="*/ 218136 w 561210"/>
                    <a:gd name="connsiteY6" fmla="*/ 18106 h 508025"/>
                    <a:gd name="connsiteX7" fmla="*/ 329261 w 561210"/>
                    <a:gd name="connsiteY7" fmla="*/ 14931 h 508025"/>
                    <a:gd name="connsiteX8" fmla="*/ 329261 w 561210"/>
                    <a:gd name="connsiteY8" fmla="*/ 145106 h 508025"/>
                    <a:gd name="connsiteX9" fmla="*/ 370536 w 561210"/>
                    <a:gd name="connsiteY9" fmla="*/ 151456 h 508025"/>
                    <a:gd name="connsiteX10" fmla="*/ 462611 w 561210"/>
                    <a:gd name="connsiteY10" fmla="*/ 164156 h 508025"/>
                    <a:gd name="connsiteX11" fmla="*/ 503886 w 561210"/>
                    <a:gd name="connsiteY11" fmla="*/ 189556 h 508025"/>
                    <a:gd name="connsiteX12" fmla="*/ 526111 w 561210"/>
                    <a:gd name="connsiteY12" fmla="*/ 234006 h 508025"/>
                    <a:gd name="connsiteX13" fmla="*/ 522936 w 561210"/>
                    <a:gd name="connsiteY13" fmla="*/ 488006 h 508025"/>
                    <a:gd name="connsiteX14" fmla="*/ 21286 w 561210"/>
                    <a:gd name="connsiteY14" fmla="*/ 449906 h 508025"/>
                    <a:gd name="connsiteX0" fmla="*/ 4360 w 544284"/>
                    <a:gd name="connsiteY0" fmla="*/ 449906 h 508025"/>
                    <a:gd name="connsiteX1" fmla="*/ 7535 w 544284"/>
                    <a:gd name="connsiteY1" fmla="*/ 214956 h 508025"/>
                    <a:gd name="connsiteX2" fmla="*/ 23410 w 544284"/>
                    <a:gd name="connsiteY2" fmla="*/ 176856 h 508025"/>
                    <a:gd name="connsiteX3" fmla="*/ 71035 w 544284"/>
                    <a:gd name="connsiteY3" fmla="*/ 160981 h 508025"/>
                    <a:gd name="connsiteX4" fmla="*/ 172635 w 544284"/>
                    <a:gd name="connsiteY4" fmla="*/ 154631 h 508025"/>
                    <a:gd name="connsiteX5" fmla="*/ 198035 w 544284"/>
                    <a:gd name="connsiteY5" fmla="*/ 151456 h 508025"/>
                    <a:gd name="connsiteX6" fmla="*/ 201210 w 544284"/>
                    <a:gd name="connsiteY6" fmla="*/ 18106 h 508025"/>
                    <a:gd name="connsiteX7" fmla="*/ 312335 w 544284"/>
                    <a:gd name="connsiteY7" fmla="*/ 14931 h 508025"/>
                    <a:gd name="connsiteX8" fmla="*/ 312335 w 544284"/>
                    <a:gd name="connsiteY8" fmla="*/ 145106 h 508025"/>
                    <a:gd name="connsiteX9" fmla="*/ 353610 w 544284"/>
                    <a:gd name="connsiteY9" fmla="*/ 151456 h 508025"/>
                    <a:gd name="connsiteX10" fmla="*/ 445685 w 544284"/>
                    <a:gd name="connsiteY10" fmla="*/ 164156 h 508025"/>
                    <a:gd name="connsiteX11" fmla="*/ 486960 w 544284"/>
                    <a:gd name="connsiteY11" fmla="*/ 189556 h 508025"/>
                    <a:gd name="connsiteX12" fmla="*/ 509185 w 544284"/>
                    <a:gd name="connsiteY12" fmla="*/ 234006 h 508025"/>
                    <a:gd name="connsiteX13" fmla="*/ 506010 w 544284"/>
                    <a:gd name="connsiteY13" fmla="*/ 488006 h 508025"/>
                    <a:gd name="connsiteX14" fmla="*/ 4360 w 544284"/>
                    <a:gd name="connsiteY14" fmla="*/ 449906 h 508025"/>
                    <a:gd name="connsiteX0" fmla="*/ 4360 w 544284"/>
                    <a:gd name="connsiteY0" fmla="*/ 449906 h 500804"/>
                    <a:gd name="connsiteX1" fmla="*/ 7535 w 544284"/>
                    <a:gd name="connsiteY1" fmla="*/ 214956 h 500804"/>
                    <a:gd name="connsiteX2" fmla="*/ 23410 w 544284"/>
                    <a:gd name="connsiteY2" fmla="*/ 176856 h 500804"/>
                    <a:gd name="connsiteX3" fmla="*/ 71035 w 544284"/>
                    <a:gd name="connsiteY3" fmla="*/ 160981 h 500804"/>
                    <a:gd name="connsiteX4" fmla="*/ 172635 w 544284"/>
                    <a:gd name="connsiteY4" fmla="*/ 154631 h 500804"/>
                    <a:gd name="connsiteX5" fmla="*/ 198035 w 544284"/>
                    <a:gd name="connsiteY5" fmla="*/ 151456 h 500804"/>
                    <a:gd name="connsiteX6" fmla="*/ 201210 w 544284"/>
                    <a:gd name="connsiteY6" fmla="*/ 18106 h 500804"/>
                    <a:gd name="connsiteX7" fmla="*/ 312335 w 544284"/>
                    <a:gd name="connsiteY7" fmla="*/ 14931 h 500804"/>
                    <a:gd name="connsiteX8" fmla="*/ 312335 w 544284"/>
                    <a:gd name="connsiteY8" fmla="*/ 145106 h 500804"/>
                    <a:gd name="connsiteX9" fmla="*/ 353610 w 544284"/>
                    <a:gd name="connsiteY9" fmla="*/ 151456 h 500804"/>
                    <a:gd name="connsiteX10" fmla="*/ 445685 w 544284"/>
                    <a:gd name="connsiteY10" fmla="*/ 164156 h 500804"/>
                    <a:gd name="connsiteX11" fmla="*/ 486960 w 544284"/>
                    <a:gd name="connsiteY11" fmla="*/ 189556 h 500804"/>
                    <a:gd name="connsiteX12" fmla="*/ 509185 w 544284"/>
                    <a:gd name="connsiteY12" fmla="*/ 234006 h 500804"/>
                    <a:gd name="connsiteX13" fmla="*/ 506010 w 544284"/>
                    <a:gd name="connsiteY13" fmla="*/ 488006 h 500804"/>
                    <a:gd name="connsiteX14" fmla="*/ 4360 w 544284"/>
                    <a:gd name="connsiteY14" fmla="*/ 449906 h 500804"/>
                    <a:gd name="connsiteX0" fmla="*/ 4360 w 544284"/>
                    <a:gd name="connsiteY0" fmla="*/ 449906 h 500804"/>
                    <a:gd name="connsiteX1" fmla="*/ 7535 w 544284"/>
                    <a:gd name="connsiteY1" fmla="*/ 214956 h 500804"/>
                    <a:gd name="connsiteX2" fmla="*/ 23410 w 544284"/>
                    <a:gd name="connsiteY2" fmla="*/ 176856 h 500804"/>
                    <a:gd name="connsiteX3" fmla="*/ 71035 w 544284"/>
                    <a:gd name="connsiteY3" fmla="*/ 160981 h 500804"/>
                    <a:gd name="connsiteX4" fmla="*/ 172635 w 544284"/>
                    <a:gd name="connsiteY4" fmla="*/ 154631 h 500804"/>
                    <a:gd name="connsiteX5" fmla="*/ 198035 w 544284"/>
                    <a:gd name="connsiteY5" fmla="*/ 151456 h 500804"/>
                    <a:gd name="connsiteX6" fmla="*/ 201210 w 544284"/>
                    <a:gd name="connsiteY6" fmla="*/ 18106 h 500804"/>
                    <a:gd name="connsiteX7" fmla="*/ 312335 w 544284"/>
                    <a:gd name="connsiteY7" fmla="*/ 14931 h 500804"/>
                    <a:gd name="connsiteX8" fmla="*/ 312335 w 544284"/>
                    <a:gd name="connsiteY8" fmla="*/ 145106 h 500804"/>
                    <a:gd name="connsiteX9" fmla="*/ 353610 w 544284"/>
                    <a:gd name="connsiteY9" fmla="*/ 151456 h 500804"/>
                    <a:gd name="connsiteX10" fmla="*/ 445685 w 544284"/>
                    <a:gd name="connsiteY10" fmla="*/ 164156 h 500804"/>
                    <a:gd name="connsiteX11" fmla="*/ 486960 w 544284"/>
                    <a:gd name="connsiteY11" fmla="*/ 189556 h 500804"/>
                    <a:gd name="connsiteX12" fmla="*/ 509185 w 544284"/>
                    <a:gd name="connsiteY12" fmla="*/ 234006 h 500804"/>
                    <a:gd name="connsiteX13" fmla="*/ 506010 w 544284"/>
                    <a:gd name="connsiteY13" fmla="*/ 488006 h 500804"/>
                    <a:gd name="connsiteX14" fmla="*/ 4360 w 544284"/>
                    <a:gd name="connsiteY14" fmla="*/ 449906 h 500804"/>
                    <a:gd name="connsiteX0" fmla="*/ 4360 w 519024"/>
                    <a:gd name="connsiteY0" fmla="*/ 449906 h 500804"/>
                    <a:gd name="connsiteX1" fmla="*/ 7535 w 519024"/>
                    <a:gd name="connsiteY1" fmla="*/ 214956 h 500804"/>
                    <a:gd name="connsiteX2" fmla="*/ 23410 w 519024"/>
                    <a:gd name="connsiteY2" fmla="*/ 176856 h 500804"/>
                    <a:gd name="connsiteX3" fmla="*/ 71035 w 519024"/>
                    <a:gd name="connsiteY3" fmla="*/ 160981 h 500804"/>
                    <a:gd name="connsiteX4" fmla="*/ 172635 w 519024"/>
                    <a:gd name="connsiteY4" fmla="*/ 154631 h 500804"/>
                    <a:gd name="connsiteX5" fmla="*/ 198035 w 519024"/>
                    <a:gd name="connsiteY5" fmla="*/ 151456 h 500804"/>
                    <a:gd name="connsiteX6" fmla="*/ 201210 w 519024"/>
                    <a:gd name="connsiteY6" fmla="*/ 18106 h 500804"/>
                    <a:gd name="connsiteX7" fmla="*/ 312335 w 519024"/>
                    <a:gd name="connsiteY7" fmla="*/ 14931 h 500804"/>
                    <a:gd name="connsiteX8" fmla="*/ 312335 w 519024"/>
                    <a:gd name="connsiteY8" fmla="*/ 145106 h 500804"/>
                    <a:gd name="connsiteX9" fmla="*/ 353610 w 519024"/>
                    <a:gd name="connsiteY9" fmla="*/ 151456 h 500804"/>
                    <a:gd name="connsiteX10" fmla="*/ 445685 w 519024"/>
                    <a:gd name="connsiteY10" fmla="*/ 164156 h 500804"/>
                    <a:gd name="connsiteX11" fmla="*/ 486960 w 519024"/>
                    <a:gd name="connsiteY11" fmla="*/ 189556 h 500804"/>
                    <a:gd name="connsiteX12" fmla="*/ 509185 w 519024"/>
                    <a:gd name="connsiteY12" fmla="*/ 234006 h 500804"/>
                    <a:gd name="connsiteX13" fmla="*/ 506010 w 519024"/>
                    <a:gd name="connsiteY13" fmla="*/ 488006 h 500804"/>
                    <a:gd name="connsiteX14" fmla="*/ 4360 w 519024"/>
                    <a:gd name="connsiteY14" fmla="*/ 449906 h 500804"/>
                    <a:gd name="connsiteX0" fmla="*/ 4360 w 519024"/>
                    <a:gd name="connsiteY0" fmla="*/ 449906 h 488006"/>
                    <a:gd name="connsiteX1" fmla="*/ 7535 w 519024"/>
                    <a:gd name="connsiteY1" fmla="*/ 214956 h 488006"/>
                    <a:gd name="connsiteX2" fmla="*/ 23410 w 519024"/>
                    <a:gd name="connsiteY2" fmla="*/ 176856 h 488006"/>
                    <a:gd name="connsiteX3" fmla="*/ 71035 w 519024"/>
                    <a:gd name="connsiteY3" fmla="*/ 160981 h 488006"/>
                    <a:gd name="connsiteX4" fmla="*/ 172635 w 519024"/>
                    <a:gd name="connsiteY4" fmla="*/ 154631 h 488006"/>
                    <a:gd name="connsiteX5" fmla="*/ 198035 w 519024"/>
                    <a:gd name="connsiteY5" fmla="*/ 151456 h 488006"/>
                    <a:gd name="connsiteX6" fmla="*/ 201210 w 519024"/>
                    <a:gd name="connsiteY6" fmla="*/ 18106 h 488006"/>
                    <a:gd name="connsiteX7" fmla="*/ 312335 w 519024"/>
                    <a:gd name="connsiteY7" fmla="*/ 14931 h 488006"/>
                    <a:gd name="connsiteX8" fmla="*/ 312335 w 519024"/>
                    <a:gd name="connsiteY8" fmla="*/ 145106 h 488006"/>
                    <a:gd name="connsiteX9" fmla="*/ 353610 w 519024"/>
                    <a:gd name="connsiteY9" fmla="*/ 151456 h 488006"/>
                    <a:gd name="connsiteX10" fmla="*/ 445685 w 519024"/>
                    <a:gd name="connsiteY10" fmla="*/ 164156 h 488006"/>
                    <a:gd name="connsiteX11" fmla="*/ 486960 w 519024"/>
                    <a:gd name="connsiteY11" fmla="*/ 189556 h 488006"/>
                    <a:gd name="connsiteX12" fmla="*/ 509185 w 519024"/>
                    <a:gd name="connsiteY12" fmla="*/ 234006 h 488006"/>
                    <a:gd name="connsiteX13" fmla="*/ 506010 w 519024"/>
                    <a:gd name="connsiteY13" fmla="*/ 488006 h 488006"/>
                    <a:gd name="connsiteX14" fmla="*/ 4360 w 519024"/>
                    <a:gd name="connsiteY14" fmla="*/ 449906 h 488006"/>
                    <a:gd name="connsiteX0" fmla="*/ 4360 w 523534"/>
                    <a:gd name="connsiteY0" fmla="*/ 449906 h 472131"/>
                    <a:gd name="connsiteX1" fmla="*/ 7535 w 523534"/>
                    <a:gd name="connsiteY1" fmla="*/ 214956 h 472131"/>
                    <a:gd name="connsiteX2" fmla="*/ 23410 w 523534"/>
                    <a:gd name="connsiteY2" fmla="*/ 176856 h 472131"/>
                    <a:gd name="connsiteX3" fmla="*/ 71035 w 523534"/>
                    <a:gd name="connsiteY3" fmla="*/ 160981 h 472131"/>
                    <a:gd name="connsiteX4" fmla="*/ 172635 w 523534"/>
                    <a:gd name="connsiteY4" fmla="*/ 154631 h 472131"/>
                    <a:gd name="connsiteX5" fmla="*/ 198035 w 523534"/>
                    <a:gd name="connsiteY5" fmla="*/ 151456 h 472131"/>
                    <a:gd name="connsiteX6" fmla="*/ 201210 w 523534"/>
                    <a:gd name="connsiteY6" fmla="*/ 18106 h 472131"/>
                    <a:gd name="connsiteX7" fmla="*/ 312335 w 523534"/>
                    <a:gd name="connsiteY7" fmla="*/ 14931 h 472131"/>
                    <a:gd name="connsiteX8" fmla="*/ 312335 w 523534"/>
                    <a:gd name="connsiteY8" fmla="*/ 145106 h 472131"/>
                    <a:gd name="connsiteX9" fmla="*/ 353610 w 523534"/>
                    <a:gd name="connsiteY9" fmla="*/ 151456 h 472131"/>
                    <a:gd name="connsiteX10" fmla="*/ 445685 w 523534"/>
                    <a:gd name="connsiteY10" fmla="*/ 164156 h 472131"/>
                    <a:gd name="connsiteX11" fmla="*/ 486960 w 523534"/>
                    <a:gd name="connsiteY11" fmla="*/ 189556 h 472131"/>
                    <a:gd name="connsiteX12" fmla="*/ 509185 w 523534"/>
                    <a:gd name="connsiteY12" fmla="*/ 234006 h 472131"/>
                    <a:gd name="connsiteX13" fmla="*/ 512360 w 523534"/>
                    <a:gd name="connsiteY13" fmla="*/ 472131 h 472131"/>
                    <a:gd name="connsiteX14" fmla="*/ 4360 w 523534"/>
                    <a:gd name="connsiteY14" fmla="*/ 449906 h 472131"/>
                    <a:gd name="connsiteX0" fmla="*/ 4360 w 513675"/>
                    <a:gd name="connsiteY0" fmla="*/ 449906 h 472131"/>
                    <a:gd name="connsiteX1" fmla="*/ 7535 w 513675"/>
                    <a:gd name="connsiteY1" fmla="*/ 214956 h 472131"/>
                    <a:gd name="connsiteX2" fmla="*/ 23410 w 513675"/>
                    <a:gd name="connsiteY2" fmla="*/ 176856 h 472131"/>
                    <a:gd name="connsiteX3" fmla="*/ 71035 w 513675"/>
                    <a:gd name="connsiteY3" fmla="*/ 160981 h 472131"/>
                    <a:gd name="connsiteX4" fmla="*/ 172635 w 513675"/>
                    <a:gd name="connsiteY4" fmla="*/ 154631 h 472131"/>
                    <a:gd name="connsiteX5" fmla="*/ 198035 w 513675"/>
                    <a:gd name="connsiteY5" fmla="*/ 151456 h 472131"/>
                    <a:gd name="connsiteX6" fmla="*/ 201210 w 513675"/>
                    <a:gd name="connsiteY6" fmla="*/ 18106 h 472131"/>
                    <a:gd name="connsiteX7" fmla="*/ 312335 w 513675"/>
                    <a:gd name="connsiteY7" fmla="*/ 14931 h 472131"/>
                    <a:gd name="connsiteX8" fmla="*/ 312335 w 513675"/>
                    <a:gd name="connsiteY8" fmla="*/ 145106 h 472131"/>
                    <a:gd name="connsiteX9" fmla="*/ 353610 w 513675"/>
                    <a:gd name="connsiteY9" fmla="*/ 151456 h 472131"/>
                    <a:gd name="connsiteX10" fmla="*/ 445685 w 513675"/>
                    <a:gd name="connsiteY10" fmla="*/ 164156 h 472131"/>
                    <a:gd name="connsiteX11" fmla="*/ 486960 w 513675"/>
                    <a:gd name="connsiteY11" fmla="*/ 189556 h 472131"/>
                    <a:gd name="connsiteX12" fmla="*/ 509185 w 513675"/>
                    <a:gd name="connsiteY12" fmla="*/ 234006 h 472131"/>
                    <a:gd name="connsiteX13" fmla="*/ 512360 w 513675"/>
                    <a:gd name="connsiteY13" fmla="*/ 472131 h 472131"/>
                    <a:gd name="connsiteX14" fmla="*/ 4360 w 513675"/>
                    <a:gd name="connsiteY14" fmla="*/ 449906 h 472131"/>
                    <a:gd name="connsiteX0" fmla="*/ 4360 w 513675"/>
                    <a:gd name="connsiteY0" fmla="*/ 446969 h 469194"/>
                    <a:gd name="connsiteX1" fmla="*/ 7535 w 513675"/>
                    <a:gd name="connsiteY1" fmla="*/ 212019 h 469194"/>
                    <a:gd name="connsiteX2" fmla="*/ 23410 w 513675"/>
                    <a:gd name="connsiteY2" fmla="*/ 173919 h 469194"/>
                    <a:gd name="connsiteX3" fmla="*/ 71035 w 513675"/>
                    <a:gd name="connsiteY3" fmla="*/ 158044 h 469194"/>
                    <a:gd name="connsiteX4" fmla="*/ 172635 w 513675"/>
                    <a:gd name="connsiteY4" fmla="*/ 151694 h 469194"/>
                    <a:gd name="connsiteX5" fmla="*/ 188510 w 513675"/>
                    <a:gd name="connsiteY5" fmla="*/ 94544 h 469194"/>
                    <a:gd name="connsiteX6" fmla="*/ 201210 w 513675"/>
                    <a:gd name="connsiteY6" fmla="*/ 15169 h 469194"/>
                    <a:gd name="connsiteX7" fmla="*/ 312335 w 513675"/>
                    <a:gd name="connsiteY7" fmla="*/ 11994 h 469194"/>
                    <a:gd name="connsiteX8" fmla="*/ 312335 w 513675"/>
                    <a:gd name="connsiteY8" fmla="*/ 142169 h 469194"/>
                    <a:gd name="connsiteX9" fmla="*/ 353610 w 513675"/>
                    <a:gd name="connsiteY9" fmla="*/ 148519 h 469194"/>
                    <a:gd name="connsiteX10" fmla="*/ 445685 w 513675"/>
                    <a:gd name="connsiteY10" fmla="*/ 161219 h 469194"/>
                    <a:gd name="connsiteX11" fmla="*/ 486960 w 513675"/>
                    <a:gd name="connsiteY11" fmla="*/ 186619 h 469194"/>
                    <a:gd name="connsiteX12" fmla="*/ 509185 w 513675"/>
                    <a:gd name="connsiteY12" fmla="*/ 231069 h 469194"/>
                    <a:gd name="connsiteX13" fmla="*/ 512360 w 513675"/>
                    <a:gd name="connsiteY13" fmla="*/ 469194 h 469194"/>
                    <a:gd name="connsiteX14" fmla="*/ 4360 w 513675"/>
                    <a:gd name="connsiteY14" fmla="*/ 446969 h 469194"/>
                    <a:gd name="connsiteX0" fmla="*/ 4360 w 513675"/>
                    <a:gd name="connsiteY0" fmla="*/ 443409 h 465634"/>
                    <a:gd name="connsiteX1" fmla="*/ 7535 w 513675"/>
                    <a:gd name="connsiteY1" fmla="*/ 208459 h 465634"/>
                    <a:gd name="connsiteX2" fmla="*/ 23410 w 513675"/>
                    <a:gd name="connsiteY2" fmla="*/ 170359 h 465634"/>
                    <a:gd name="connsiteX3" fmla="*/ 71035 w 513675"/>
                    <a:gd name="connsiteY3" fmla="*/ 154484 h 465634"/>
                    <a:gd name="connsiteX4" fmla="*/ 172635 w 513675"/>
                    <a:gd name="connsiteY4" fmla="*/ 148134 h 465634"/>
                    <a:gd name="connsiteX5" fmla="*/ 188510 w 513675"/>
                    <a:gd name="connsiteY5" fmla="*/ 90984 h 465634"/>
                    <a:gd name="connsiteX6" fmla="*/ 201210 w 513675"/>
                    <a:gd name="connsiteY6" fmla="*/ 11609 h 465634"/>
                    <a:gd name="connsiteX7" fmla="*/ 312335 w 513675"/>
                    <a:gd name="connsiteY7" fmla="*/ 8434 h 465634"/>
                    <a:gd name="connsiteX8" fmla="*/ 312335 w 513675"/>
                    <a:gd name="connsiteY8" fmla="*/ 87809 h 465634"/>
                    <a:gd name="connsiteX9" fmla="*/ 353610 w 513675"/>
                    <a:gd name="connsiteY9" fmla="*/ 144959 h 465634"/>
                    <a:gd name="connsiteX10" fmla="*/ 445685 w 513675"/>
                    <a:gd name="connsiteY10" fmla="*/ 157659 h 465634"/>
                    <a:gd name="connsiteX11" fmla="*/ 486960 w 513675"/>
                    <a:gd name="connsiteY11" fmla="*/ 183059 h 465634"/>
                    <a:gd name="connsiteX12" fmla="*/ 509185 w 513675"/>
                    <a:gd name="connsiteY12" fmla="*/ 227509 h 465634"/>
                    <a:gd name="connsiteX13" fmla="*/ 512360 w 513675"/>
                    <a:gd name="connsiteY13" fmla="*/ 465634 h 465634"/>
                    <a:gd name="connsiteX14" fmla="*/ 4360 w 513675"/>
                    <a:gd name="connsiteY14" fmla="*/ 443409 h 465634"/>
                    <a:gd name="connsiteX0" fmla="*/ 4360 w 513675"/>
                    <a:gd name="connsiteY0" fmla="*/ 443409 h 465634"/>
                    <a:gd name="connsiteX1" fmla="*/ 7535 w 513675"/>
                    <a:gd name="connsiteY1" fmla="*/ 208459 h 465634"/>
                    <a:gd name="connsiteX2" fmla="*/ 23410 w 513675"/>
                    <a:gd name="connsiteY2" fmla="*/ 170359 h 465634"/>
                    <a:gd name="connsiteX3" fmla="*/ 71035 w 513675"/>
                    <a:gd name="connsiteY3" fmla="*/ 154484 h 465634"/>
                    <a:gd name="connsiteX4" fmla="*/ 172635 w 513675"/>
                    <a:gd name="connsiteY4" fmla="*/ 148134 h 465634"/>
                    <a:gd name="connsiteX5" fmla="*/ 188510 w 513675"/>
                    <a:gd name="connsiteY5" fmla="*/ 90984 h 465634"/>
                    <a:gd name="connsiteX6" fmla="*/ 201210 w 513675"/>
                    <a:gd name="connsiteY6" fmla="*/ 11609 h 465634"/>
                    <a:gd name="connsiteX7" fmla="*/ 312335 w 513675"/>
                    <a:gd name="connsiteY7" fmla="*/ 8434 h 465634"/>
                    <a:gd name="connsiteX8" fmla="*/ 312335 w 513675"/>
                    <a:gd name="connsiteY8" fmla="*/ 87809 h 465634"/>
                    <a:gd name="connsiteX9" fmla="*/ 334560 w 513675"/>
                    <a:gd name="connsiteY9" fmla="*/ 135434 h 465634"/>
                    <a:gd name="connsiteX10" fmla="*/ 445685 w 513675"/>
                    <a:gd name="connsiteY10" fmla="*/ 157659 h 465634"/>
                    <a:gd name="connsiteX11" fmla="*/ 486960 w 513675"/>
                    <a:gd name="connsiteY11" fmla="*/ 183059 h 465634"/>
                    <a:gd name="connsiteX12" fmla="*/ 509185 w 513675"/>
                    <a:gd name="connsiteY12" fmla="*/ 227509 h 465634"/>
                    <a:gd name="connsiteX13" fmla="*/ 512360 w 513675"/>
                    <a:gd name="connsiteY13" fmla="*/ 465634 h 465634"/>
                    <a:gd name="connsiteX14" fmla="*/ 4360 w 513675"/>
                    <a:gd name="connsiteY14" fmla="*/ 443409 h 465634"/>
                    <a:gd name="connsiteX0" fmla="*/ 4360 w 510500"/>
                    <a:gd name="connsiteY0" fmla="*/ 443409 h 449759"/>
                    <a:gd name="connsiteX1" fmla="*/ 7535 w 510500"/>
                    <a:gd name="connsiteY1" fmla="*/ 208459 h 449759"/>
                    <a:gd name="connsiteX2" fmla="*/ 23410 w 510500"/>
                    <a:gd name="connsiteY2" fmla="*/ 170359 h 449759"/>
                    <a:gd name="connsiteX3" fmla="*/ 71035 w 510500"/>
                    <a:gd name="connsiteY3" fmla="*/ 154484 h 449759"/>
                    <a:gd name="connsiteX4" fmla="*/ 172635 w 510500"/>
                    <a:gd name="connsiteY4" fmla="*/ 148134 h 449759"/>
                    <a:gd name="connsiteX5" fmla="*/ 188510 w 510500"/>
                    <a:gd name="connsiteY5" fmla="*/ 90984 h 449759"/>
                    <a:gd name="connsiteX6" fmla="*/ 201210 w 510500"/>
                    <a:gd name="connsiteY6" fmla="*/ 11609 h 449759"/>
                    <a:gd name="connsiteX7" fmla="*/ 312335 w 510500"/>
                    <a:gd name="connsiteY7" fmla="*/ 8434 h 449759"/>
                    <a:gd name="connsiteX8" fmla="*/ 312335 w 510500"/>
                    <a:gd name="connsiteY8" fmla="*/ 87809 h 449759"/>
                    <a:gd name="connsiteX9" fmla="*/ 334560 w 510500"/>
                    <a:gd name="connsiteY9" fmla="*/ 135434 h 449759"/>
                    <a:gd name="connsiteX10" fmla="*/ 445685 w 510500"/>
                    <a:gd name="connsiteY10" fmla="*/ 157659 h 449759"/>
                    <a:gd name="connsiteX11" fmla="*/ 486960 w 510500"/>
                    <a:gd name="connsiteY11" fmla="*/ 183059 h 449759"/>
                    <a:gd name="connsiteX12" fmla="*/ 509185 w 510500"/>
                    <a:gd name="connsiteY12" fmla="*/ 227509 h 449759"/>
                    <a:gd name="connsiteX13" fmla="*/ 506010 w 510500"/>
                    <a:gd name="connsiteY13" fmla="*/ 449759 h 449759"/>
                    <a:gd name="connsiteX14" fmla="*/ 4360 w 510500"/>
                    <a:gd name="connsiteY14" fmla="*/ 443409 h 449759"/>
                    <a:gd name="connsiteX0" fmla="*/ 4360 w 510500"/>
                    <a:gd name="connsiteY0" fmla="*/ 443409 h 454926"/>
                    <a:gd name="connsiteX1" fmla="*/ 7535 w 510500"/>
                    <a:gd name="connsiteY1" fmla="*/ 208459 h 454926"/>
                    <a:gd name="connsiteX2" fmla="*/ 23410 w 510500"/>
                    <a:gd name="connsiteY2" fmla="*/ 170359 h 454926"/>
                    <a:gd name="connsiteX3" fmla="*/ 71035 w 510500"/>
                    <a:gd name="connsiteY3" fmla="*/ 154484 h 454926"/>
                    <a:gd name="connsiteX4" fmla="*/ 172635 w 510500"/>
                    <a:gd name="connsiteY4" fmla="*/ 148134 h 454926"/>
                    <a:gd name="connsiteX5" fmla="*/ 188510 w 510500"/>
                    <a:gd name="connsiteY5" fmla="*/ 90984 h 454926"/>
                    <a:gd name="connsiteX6" fmla="*/ 201210 w 510500"/>
                    <a:gd name="connsiteY6" fmla="*/ 11609 h 454926"/>
                    <a:gd name="connsiteX7" fmla="*/ 312335 w 510500"/>
                    <a:gd name="connsiteY7" fmla="*/ 8434 h 454926"/>
                    <a:gd name="connsiteX8" fmla="*/ 312335 w 510500"/>
                    <a:gd name="connsiteY8" fmla="*/ 87809 h 454926"/>
                    <a:gd name="connsiteX9" fmla="*/ 334560 w 510500"/>
                    <a:gd name="connsiteY9" fmla="*/ 135434 h 454926"/>
                    <a:gd name="connsiteX10" fmla="*/ 445685 w 510500"/>
                    <a:gd name="connsiteY10" fmla="*/ 157659 h 454926"/>
                    <a:gd name="connsiteX11" fmla="*/ 486960 w 510500"/>
                    <a:gd name="connsiteY11" fmla="*/ 183059 h 454926"/>
                    <a:gd name="connsiteX12" fmla="*/ 509185 w 510500"/>
                    <a:gd name="connsiteY12" fmla="*/ 227509 h 454926"/>
                    <a:gd name="connsiteX13" fmla="*/ 506010 w 510500"/>
                    <a:gd name="connsiteY13" fmla="*/ 449759 h 454926"/>
                    <a:gd name="connsiteX14" fmla="*/ 4360 w 510500"/>
                    <a:gd name="connsiteY14" fmla="*/ 443409 h 454926"/>
                    <a:gd name="connsiteX0" fmla="*/ 6473 w 512613"/>
                    <a:gd name="connsiteY0" fmla="*/ 443409 h 454926"/>
                    <a:gd name="connsiteX1" fmla="*/ 9648 w 512613"/>
                    <a:gd name="connsiteY1" fmla="*/ 208459 h 454926"/>
                    <a:gd name="connsiteX2" fmla="*/ 73148 w 512613"/>
                    <a:gd name="connsiteY2" fmla="*/ 154484 h 454926"/>
                    <a:gd name="connsiteX3" fmla="*/ 174748 w 512613"/>
                    <a:gd name="connsiteY3" fmla="*/ 148134 h 454926"/>
                    <a:gd name="connsiteX4" fmla="*/ 190623 w 512613"/>
                    <a:gd name="connsiteY4" fmla="*/ 90984 h 454926"/>
                    <a:gd name="connsiteX5" fmla="*/ 203323 w 512613"/>
                    <a:gd name="connsiteY5" fmla="*/ 11609 h 454926"/>
                    <a:gd name="connsiteX6" fmla="*/ 314448 w 512613"/>
                    <a:gd name="connsiteY6" fmla="*/ 8434 h 454926"/>
                    <a:gd name="connsiteX7" fmla="*/ 314448 w 512613"/>
                    <a:gd name="connsiteY7" fmla="*/ 87809 h 454926"/>
                    <a:gd name="connsiteX8" fmla="*/ 336673 w 512613"/>
                    <a:gd name="connsiteY8" fmla="*/ 135434 h 454926"/>
                    <a:gd name="connsiteX9" fmla="*/ 447798 w 512613"/>
                    <a:gd name="connsiteY9" fmla="*/ 157659 h 454926"/>
                    <a:gd name="connsiteX10" fmla="*/ 489073 w 512613"/>
                    <a:gd name="connsiteY10" fmla="*/ 183059 h 454926"/>
                    <a:gd name="connsiteX11" fmla="*/ 511298 w 512613"/>
                    <a:gd name="connsiteY11" fmla="*/ 227509 h 454926"/>
                    <a:gd name="connsiteX12" fmla="*/ 508123 w 512613"/>
                    <a:gd name="connsiteY12" fmla="*/ 449759 h 454926"/>
                    <a:gd name="connsiteX13" fmla="*/ 6473 w 512613"/>
                    <a:gd name="connsiteY13" fmla="*/ 443409 h 454926"/>
                    <a:gd name="connsiteX0" fmla="*/ 4049 w 510189"/>
                    <a:gd name="connsiteY0" fmla="*/ 443409 h 454926"/>
                    <a:gd name="connsiteX1" fmla="*/ 7224 w 510189"/>
                    <a:gd name="connsiteY1" fmla="*/ 208459 h 454926"/>
                    <a:gd name="connsiteX2" fmla="*/ 70724 w 510189"/>
                    <a:gd name="connsiteY2" fmla="*/ 154484 h 454926"/>
                    <a:gd name="connsiteX3" fmla="*/ 172324 w 510189"/>
                    <a:gd name="connsiteY3" fmla="*/ 148134 h 454926"/>
                    <a:gd name="connsiteX4" fmla="*/ 188199 w 510189"/>
                    <a:gd name="connsiteY4" fmla="*/ 90984 h 454926"/>
                    <a:gd name="connsiteX5" fmla="*/ 200899 w 510189"/>
                    <a:gd name="connsiteY5" fmla="*/ 11609 h 454926"/>
                    <a:gd name="connsiteX6" fmla="*/ 312024 w 510189"/>
                    <a:gd name="connsiteY6" fmla="*/ 8434 h 454926"/>
                    <a:gd name="connsiteX7" fmla="*/ 312024 w 510189"/>
                    <a:gd name="connsiteY7" fmla="*/ 87809 h 454926"/>
                    <a:gd name="connsiteX8" fmla="*/ 334249 w 510189"/>
                    <a:gd name="connsiteY8" fmla="*/ 135434 h 454926"/>
                    <a:gd name="connsiteX9" fmla="*/ 445374 w 510189"/>
                    <a:gd name="connsiteY9" fmla="*/ 157659 h 454926"/>
                    <a:gd name="connsiteX10" fmla="*/ 486649 w 510189"/>
                    <a:gd name="connsiteY10" fmla="*/ 183059 h 454926"/>
                    <a:gd name="connsiteX11" fmla="*/ 508874 w 510189"/>
                    <a:gd name="connsiteY11" fmla="*/ 227509 h 454926"/>
                    <a:gd name="connsiteX12" fmla="*/ 505699 w 510189"/>
                    <a:gd name="connsiteY12" fmla="*/ 449759 h 454926"/>
                    <a:gd name="connsiteX13" fmla="*/ 4049 w 510189"/>
                    <a:gd name="connsiteY13" fmla="*/ 443409 h 454926"/>
                    <a:gd name="connsiteX0" fmla="*/ 4049 w 510189"/>
                    <a:gd name="connsiteY0" fmla="*/ 443409 h 454926"/>
                    <a:gd name="connsiteX1" fmla="*/ 7224 w 510189"/>
                    <a:gd name="connsiteY1" fmla="*/ 208459 h 454926"/>
                    <a:gd name="connsiteX2" fmla="*/ 70724 w 510189"/>
                    <a:gd name="connsiteY2" fmla="*/ 154484 h 454926"/>
                    <a:gd name="connsiteX3" fmla="*/ 172324 w 510189"/>
                    <a:gd name="connsiteY3" fmla="*/ 148134 h 454926"/>
                    <a:gd name="connsiteX4" fmla="*/ 188199 w 510189"/>
                    <a:gd name="connsiteY4" fmla="*/ 90984 h 454926"/>
                    <a:gd name="connsiteX5" fmla="*/ 200899 w 510189"/>
                    <a:gd name="connsiteY5" fmla="*/ 11609 h 454926"/>
                    <a:gd name="connsiteX6" fmla="*/ 312024 w 510189"/>
                    <a:gd name="connsiteY6" fmla="*/ 8434 h 454926"/>
                    <a:gd name="connsiteX7" fmla="*/ 312024 w 510189"/>
                    <a:gd name="connsiteY7" fmla="*/ 87809 h 454926"/>
                    <a:gd name="connsiteX8" fmla="*/ 334249 w 510189"/>
                    <a:gd name="connsiteY8" fmla="*/ 135434 h 454926"/>
                    <a:gd name="connsiteX9" fmla="*/ 445374 w 510189"/>
                    <a:gd name="connsiteY9" fmla="*/ 157659 h 454926"/>
                    <a:gd name="connsiteX10" fmla="*/ 508874 w 510189"/>
                    <a:gd name="connsiteY10" fmla="*/ 227509 h 454926"/>
                    <a:gd name="connsiteX11" fmla="*/ 505699 w 510189"/>
                    <a:gd name="connsiteY11" fmla="*/ 449759 h 454926"/>
                    <a:gd name="connsiteX12" fmla="*/ 4049 w 510189"/>
                    <a:gd name="connsiteY12" fmla="*/ 443409 h 454926"/>
                    <a:gd name="connsiteX0" fmla="*/ 4049 w 510189"/>
                    <a:gd name="connsiteY0" fmla="*/ 443409 h 454926"/>
                    <a:gd name="connsiteX1" fmla="*/ 7224 w 510189"/>
                    <a:gd name="connsiteY1" fmla="*/ 208459 h 454926"/>
                    <a:gd name="connsiteX2" fmla="*/ 70724 w 510189"/>
                    <a:gd name="connsiteY2" fmla="*/ 154484 h 454926"/>
                    <a:gd name="connsiteX3" fmla="*/ 172324 w 510189"/>
                    <a:gd name="connsiteY3" fmla="*/ 148134 h 454926"/>
                    <a:gd name="connsiteX4" fmla="*/ 188199 w 510189"/>
                    <a:gd name="connsiteY4" fmla="*/ 90984 h 454926"/>
                    <a:gd name="connsiteX5" fmla="*/ 200899 w 510189"/>
                    <a:gd name="connsiteY5" fmla="*/ 11609 h 454926"/>
                    <a:gd name="connsiteX6" fmla="*/ 312024 w 510189"/>
                    <a:gd name="connsiteY6" fmla="*/ 8434 h 454926"/>
                    <a:gd name="connsiteX7" fmla="*/ 312024 w 510189"/>
                    <a:gd name="connsiteY7" fmla="*/ 87809 h 454926"/>
                    <a:gd name="connsiteX8" fmla="*/ 334249 w 510189"/>
                    <a:gd name="connsiteY8" fmla="*/ 135434 h 454926"/>
                    <a:gd name="connsiteX9" fmla="*/ 445374 w 510189"/>
                    <a:gd name="connsiteY9" fmla="*/ 157659 h 454926"/>
                    <a:gd name="connsiteX10" fmla="*/ 508874 w 510189"/>
                    <a:gd name="connsiteY10" fmla="*/ 227509 h 454926"/>
                    <a:gd name="connsiteX11" fmla="*/ 505699 w 510189"/>
                    <a:gd name="connsiteY11" fmla="*/ 449759 h 454926"/>
                    <a:gd name="connsiteX12" fmla="*/ 4049 w 510189"/>
                    <a:gd name="connsiteY12" fmla="*/ 443409 h 454926"/>
                    <a:gd name="connsiteX0" fmla="*/ 5987 w 512127"/>
                    <a:gd name="connsiteY0" fmla="*/ 443409 h 454926"/>
                    <a:gd name="connsiteX1" fmla="*/ 2812 w 512127"/>
                    <a:gd name="connsiteY1" fmla="*/ 217984 h 454926"/>
                    <a:gd name="connsiteX2" fmla="*/ 72662 w 512127"/>
                    <a:gd name="connsiteY2" fmla="*/ 154484 h 454926"/>
                    <a:gd name="connsiteX3" fmla="*/ 174262 w 512127"/>
                    <a:gd name="connsiteY3" fmla="*/ 148134 h 454926"/>
                    <a:gd name="connsiteX4" fmla="*/ 190137 w 512127"/>
                    <a:gd name="connsiteY4" fmla="*/ 90984 h 454926"/>
                    <a:gd name="connsiteX5" fmla="*/ 202837 w 512127"/>
                    <a:gd name="connsiteY5" fmla="*/ 11609 h 454926"/>
                    <a:gd name="connsiteX6" fmla="*/ 313962 w 512127"/>
                    <a:gd name="connsiteY6" fmla="*/ 8434 h 454926"/>
                    <a:gd name="connsiteX7" fmla="*/ 313962 w 512127"/>
                    <a:gd name="connsiteY7" fmla="*/ 87809 h 454926"/>
                    <a:gd name="connsiteX8" fmla="*/ 336187 w 512127"/>
                    <a:gd name="connsiteY8" fmla="*/ 135434 h 454926"/>
                    <a:gd name="connsiteX9" fmla="*/ 447312 w 512127"/>
                    <a:gd name="connsiteY9" fmla="*/ 157659 h 454926"/>
                    <a:gd name="connsiteX10" fmla="*/ 510812 w 512127"/>
                    <a:gd name="connsiteY10" fmla="*/ 227509 h 454926"/>
                    <a:gd name="connsiteX11" fmla="*/ 507637 w 512127"/>
                    <a:gd name="connsiteY11" fmla="*/ 449759 h 454926"/>
                    <a:gd name="connsiteX12" fmla="*/ 5987 w 512127"/>
                    <a:gd name="connsiteY12" fmla="*/ 443409 h 454926"/>
                    <a:gd name="connsiteX0" fmla="*/ 9762 w 515902"/>
                    <a:gd name="connsiteY0" fmla="*/ 443409 h 454926"/>
                    <a:gd name="connsiteX1" fmla="*/ 6587 w 515902"/>
                    <a:gd name="connsiteY1" fmla="*/ 217984 h 454926"/>
                    <a:gd name="connsiteX2" fmla="*/ 76437 w 515902"/>
                    <a:gd name="connsiteY2" fmla="*/ 154484 h 454926"/>
                    <a:gd name="connsiteX3" fmla="*/ 178037 w 515902"/>
                    <a:gd name="connsiteY3" fmla="*/ 148134 h 454926"/>
                    <a:gd name="connsiteX4" fmla="*/ 193912 w 515902"/>
                    <a:gd name="connsiteY4" fmla="*/ 90984 h 454926"/>
                    <a:gd name="connsiteX5" fmla="*/ 206612 w 515902"/>
                    <a:gd name="connsiteY5" fmla="*/ 11609 h 454926"/>
                    <a:gd name="connsiteX6" fmla="*/ 317737 w 515902"/>
                    <a:gd name="connsiteY6" fmla="*/ 8434 h 454926"/>
                    <a:gd name="connsiteX7" fmla="*/ 317737 w 515902"/>
                    <a:gd name="connsiteY7" fmla="*/ 87809 h 454926"/>
                    <a:gd name="connsiteX8" fmla="*/ 339962 w 515902"/>
                    <a:gd name="connsiteY8" fmla="*/ 135434 h 454926"/>
                    <a:gd name="connsiteX9" fmla="*/ 451087 w 515902"/>
                    <a:gd name="connsiteY9" fmla="*/ 157659 h 454926"/>
                    <a:gd name="connsiteX10" fmla="*/ 514587 w 515902"/>
                    <a:gd name="connsiteY10" fmla="*/ 227509 h 454926"/>
                    <a:gd name="connsiteX11" fmla="*/ 511412 w 515902"/>
                    <a:gd name="connsiteY11" fmla="*/ 449759 h 454926"/>
                    <a:gd name="connsiteX12" fmla="*/ 9762 w 515902"/>
                    <a:gd name="connsiteY12" fmla="*/ 443409 h 454926"/>
                    <a:gd name="connsiteX0" fmla="*/ 9762 w 515902"/>
                    <a:gd name="connsiteY0" fmla="*/ 443409 h 454926"/>
                    <a:gd name="connsiteX1" fmla="*/ 6587 w 515902"/>
                    <a:gd name="connsiteY1" fmla="*/ 217984 h 454926"/>
                    <a:gd name="connsiteX2" fmla="*/ 76437 w 515902"/>
                    <a:gd name="connsiteY2" fmla="*/ 154484 h 454926"/>
                    <a:gd name="connsiteX3" fmla="*/ 178037 w 515902"/>
                    <a:gd name="connsiteY3" fmla="*/ 148134 h 454926"/>
                    <a:gd name="connsiteX4" fmla="*/ 193912 w 515902"/>
                    <a:gd name="connsiteY4" fmla="*/ 90984 h 454926"/>
                    <a:gd name="connsiteX5" fmla="*/ 206612 w 515902"/>
                    <a:gd name="connsiteY5" fmla="*/ 11609 h 454926"/>
                    <a:gd name="connsiteX6" fmla="*/ 317737 w 515902"/>
                    <a:gd name="connsiteY6" fmla="*/ 8434 h 454926"/>
                    <a:gd name="connsiteX7" fmla="*/ 317737 w 515902"/>
                    <a:gd name="connsiteY7" fmla="*/ 87809 h 454926"/>
                    <a:gd name="connsiteX8" fmla="*/ 339962 w 515902"/>
                    <a:gd name="connsiteY8" fmla="*/ 135434 h 454926"/>
                    <a:gd name="connsiteX9" fmla="*/ 451087 w 515902"/>
                    <a:gd name="connsiteY9" fmla="*/ 157659 h 454926"/>
                    <a:gd name="connsiteX10" fmla="*/ 514587 w 515902"/>
                    <a:gd name="connsiteY10" fmla="*/ 227509 h 454926"/>
                    <a:gd name="connsiteX11" fmla="*/ 511412 w 515902"/>
                    <a:gd name="connsiteY11" fmla="*/ 449759 h 454926"/>
                    <a:gd name="connsiteX12" fmla="*/ 9762 w 515902"/>
                    <a:gd name="connsiteY12" fmla="*/ 443409 h 454926"/>
                    <a:gd name="connsiteX0" fmla="*/ 9762 w 515902"/>
                    <a:gd name="connsiteY0" fmla="*/ 443409 h 454926"/>
                    <a:gd name="connsiteX1" fmla="*/ 6587 w 515902"/>
                    <a:gd name="connsiteY1" fmla="*/ 217984 h 454926"/>
                    <a:gd name="connsiteX2" fmla="*/ 76437 w 515902"/>
                    <a:gd name="connsiteY2" fmla="*/ 154484 h 454926"/>
                    <a:gd name="connsiteX3" fmla="*/ 193912 w 515902"/>
                    <a:gd name="connsiteY3" fmla="*/ 90984 h 454926"/>
                    <a:gd name="connsiteX4" fmla="*/ 206612 w 515902"/>
                    <a:gd name="connsiteY4" fmla="*/ 11609 h 454926"/>
                    <a:gd name="connsiteX5" fmla="*/ 317737 w 515902"/>
                    <a:gd name="connsiteY5" fmla="*/ 8434 h 454926"/>
                    <a:gd name="connsiteX6" fmla="*/ 317737 w 515902"/>
                    <a:gd name="connsiteY6" fmla="*/ 87809 h 454926"/>
                    <a:gd name="connsiteX7" fmla="*/ 339962 w 515902"/>
                    <a:gd name="connsiteY7" fmla="*/ 135434 h 454926"/>
                    <a:gd name="connsiteX8" fmla="*/ 451087 w 515902"/>
                    <a:gd name="connsiteY8" fmla="*/ 157659 h 454926"/>
                    <a:gd name="connsiteX9" fmla="*/ 514587 w 515902"/>
                    <a:gd name="connsiteY9" fmla="*/ 227509 h 454926"/>
                    <a:gd name="connsiteX10" fmla="*/ 511412 w 515902"/>
                    <a:gd name="connsiteY10" fmla="*/ 449759 h 454926"/>
                    <a:gd name="connsiteX11" fmla="*/ 9762 w 515902"/>
                    <a:gd name="connsiteY11" fmla="*/ 443409 h 454926"/>
                    <a:gd name="connsiteX0" fmla="*/ 9762 w 515902"/>
                    <a:gd name="connsiteY0" fmla="*/ 446099 h 457616"/>
                    <a:gd name="connsiteX1" fmla="*/ 6587 w 515902"/>
                    <a:gd name="connsiteY1" fmla="*/ 220674 h 457616"/>
                    <a:gd name="connsiteX2" fmla="*/ 76437 w 515902"/>
                    <a:gd name="connsiteY2" fmla="*/ 157174 h 457616"/>
                    <a:gd name="connsiteX3" fmla="*/ 190737 w 515902"/>
                    <a:gd name="connsiteY3" fmla="*/ 138124 h 457616"/>
                    <a:gd name="connsiteX4" fmla="*/ 206612 w 515902"/>
                    <a:gd name="connsiteY4" fmla="*/ 14299 h 457616"/>
                    <a:gd name="connsiteX5" fmla="*/ 317737 w 515902"/>
                    <a:gd name="connsiteY5" fmla="*/ 11124 h 457616"/>
                    <a:gd name="connsiteX6" fmla="*/ 317737 w 515902"/>
                    <a:gd name="connsiteY6" fmla="*/ 90499 h 457616"/>
                    <a:gd name="connsiteX7" fmla="*/ 339962 w 515902"/>
                    <a:gd name="connsiteY7" fmla="*/ 138124 h 457616"/>
                    <a:gd name="connsiteX8" fmla="*/ 451087 w 515902"/>
                    <a:gd name="connsiteY8" fmla="*/ 160349 h 457616"/>
                    <a:gd name="connsiteX9" fmla="*/ 514587 w 515902"/>
                    <a:gd name="connsiteY9" fmla="*/ 230199 h 457616"/>
                    <a:gd name="connsiteX10" fmla="*/ 511412 w 515902"/>
                    <a:gd name="connsiteY10" fmla="*/ 452449 h 457616"/>
                    <a:gd name="connsiteX11" fmla="*/ 9762 w 515902"/>
                    <a:gd name="connsiteY11" fmla="*/ 446099 h 457616"/>
                    <a:gd name="connsiteX0" fmla="*/ 9762 w 515902"/>
                    <a:gd name="connsiteY0" fmla="*/ 446099 h 457616"/>
                    <a:gd name="connsiteX1" fmla="*/ 6587 w 515902"/>
                    <a:gd name="connsiteY1" fmla="*/ 220674 h 457616"/>
                    <a:gd name="connsiteX2" fmla="*/ 76437 w 515902"/>
                    <a:gd name="connsiteY2" fmla="*/ 157174 h 457616"/>
                    <a:gd name="connsiteX3" fmla="*/ 190737 w 515902"/>
                    <a:gd name="connsiteY3" fmla="*/ 138124 h 457616"/>
                    <a:gd name="connsiteX4" fmla="*/ 206612 w 515902"/>
                    <a:gd name="connsiteY4" fmla="*/ 14299 h 457616"/>
                    <a:gd name="connsiteX5" fmla="*/ 317737 w 515902"/>
                    <a:gd name="connsiteY5" fmla="*/ 11124 h 457616"/>
                    <a:gd name="connsiteX6" fmla="*/ 317737 w 515902"/>
                    <a:gd name="connsiteY6" fmla="*/ 90499 h 457616"/>
                    <a:gd name="connsiteX7" fmla="*/ 451087 w 515902"/>
                    <a:gd name="connsiteY7" fmla="*/ 160349 h 457616"/>
                    <a:gd name="connsiteX8" fmla="*/ 514587 w 515902"/>
                    <a:gd name="connsiteY8" fmla="*/ 230199 h 457616"/>
                    <a:gd name="connsiteX9" fmla="*/ 511412 w 515902"/>
                    <a:gd name="connsiteY9" fmla="*/ 452449 h 457616"/>
                    <a:gd name="connsiteX10" fmla="*/ 9762 w 515902"/>
                    <a:gd name="connsiteY10" fmla="*/ 446099 h 457616"/>
                    <a:gd name="connsiteX0" fmla="*/ 9762 w 515902"/>
                    <a:gd name="connsiteY0" fmla="*/ 447482 h 458999"/>
                    <a:gd name="connsiteX1" fmla="*/ 6587 w 515902"/>
                    <a:gd name="connsiteY1" fmla="*/ 222057 h 458999"/>
                    <a:gd name="connsiteX2" fmla="*/ 76437 w 515902"/>
                    <a:gd name="connsiteY2" fmla="*/ 158557 h 458999"/>
                    <a:gd name="connsiteX3" fmla="*/ 190737 w 515902"/>
                    <a:gd name="connsiteY3" fmla="*/ 139507 h 458999"/>
                    <a:gd name="connsiteX4" fmla="*/ 206612 w 515902"/>
                    <a:gd name="connsiteY4" fmla="*/ 15682 h 458999"/>
                    <a:gd name="connsiteX5" fmla="*/ 317737 w 515902"/>
                    <a:gd name="connsiteY5" fmla="*/ 12507 h 458999"/>
                    <a:gd name="connsiteX6" fmla="*/ 330437 w 515902"/>
                    <a:gd name="connsiteY6" fmla="*/ 114107 h 458999"/>
                    <a:gd name="connsiteX7" fmla="*/ 451087 w 515902"/>
                    <a:gd name="connsiteY7" fmla="*/ 161732 h 458999"/>
                    <a:gd name="connsiteX8" fmla="*/ 514587 w 515902"/>
                    <a:gd name="connsiteY8" fmla="*/ 231582 h 458999"/>
                    <a:gd name="connsiteX9" fmla="*/ 511412 w 515902"/>
                    <a:gd name="connsiteY9" fmla="*/ 453832 h 458999"/>
                    <a:gd name="connsiteX10" fmla="*/ 9762 w 515902"/>
                    <a:gd name="connsiteY10" fmla="*/ 447482 h 458999"/>
                    <a:gd name="connsiteX0" fmla="*/ 9762 w 515902"/>
                    <a:gd name="connsiteY0" fmla="*/ 446348 h 457865"/>
                    <a:gd name="connsiteX1" fmla="*/ 6587 w 515902"/>
                    <a:gd name="connsiteY1" fmla="*/ 220923 h 457865"/>
                    <a:gd name="connsiteX2" fmla="*/ 76437 w 515902"/>
                    <a:gd name="connsiteY2" fmla="*/ 157423 h 457865"/>
                    <a:gd name="connsiteX3" fmla="*/ 200262 w 515902"/>
                    <a:gd name="connsiteY3" fmla="*/ 119323 h 457865"/>
                    <a:gd name="connsiteX4" fmla="*/ 206612 w 515902"/>
                    <a:gd name="connsiteY4" fmla="*/ 14548 h 457865"/>
                    <a:gd name="connsiteX5" fmla="*/ 317737 w 515902"/>
                    <a:gd name="connsiteY5" fmla="*/ 11373 h 457865"/>
                    <a:gd name="connsiteX6" fmla="*/ 330437 w 515902"/>
                    <a:gd name="connsiteY6" fmla="*/ 112973 h 457865"/>
                    <a:gd name="connsiteX7" fmla="*/ 451087 w 515902"/>
                    <a:gd name="connsiteY7" fmla="*/ 160598 h 457865"/>
                    <a:gd name="connsiteX8" fmla="*/ 514587 w 515902"/>
                    <a:gd name="connsiteY8" fmla="*/ 230448 h 457865"/>
                    <a:gd name="connsiteX9" fmla="*/ 511412 w 515902"/>
                    <a:gd name="connsiteY9" fmla="*/ 452698 h 457865"/>
                    <a:gd name="connsiteX10" fmla="*/ 9762 w 515902"/>
                    <a:gd name="connsiteY10" fmla="*/ 446348 h 457865"/>
                    <a:gd name="connsiteX0" fmla="*/ 8840 w 514980"/>
                    <a:gd name="connsiteY0" fmla="*/ 446348 h 457865"/>
                    <a:gd name="connsiteX1" fmla="*/ 5665 w 514980"/>
                    <a:gd name="connsiteY1" fmla="*/ 220923 h 457865"/>
                    <a:gd name="connsiteX2" fmla="*/ 62412 w 514980"/>
                    <a:gd name="connsiteY2" fmla="*/ 133367 h 457865"/>
                    <a:gd name="connsiteX3" fmla="*/ 199340 w 514980"/>
                    <a:gd name="connsiteY3" fmla="*/ 119323 h 457865"/>
                    <a:gd name="connsiteX4" fmla="*/ 205690 w 514980"/>
                    <a:gd name="connsiteY4" fmla="*/ 14548 h 457865"/>
                    <a:gd name="connsiteX5" fmla="*/ 316815 w 514980"/>
                    <a:gd name="connsiteY5" fmla="*/ 11373 h 457865"/>
                    <a:gd name="connsiteX6" fmla="*/ 329515 w 514980"/>
                    <a:gd name="connsiteY6" fmla="*/ 112973 h 457865"/>
                    <a:gd name="connsiteX7" fmla="*/ 450165 w 514980"/>
                    <a:gd name="connsiteY7" fmla="*/ 160598 h 457865"/>
                    <a:gd name="connsiteX8" fmla="*/ 513665 w 514980"/>
                    <a:gd name="connsiteY8" fmla="*/ 230448 h 457865"/>
                    <a:gd name="connsiteX9" fmla="*/ 510490 w 514980"/>
                    <a:gd name="connsiteY9" fmla="*/ 452698 h 457865"/>
                    <a:gd name="connsiteX10" fmla="*/ 8840 w 514980"/>
                    <a:gd name="connsiteY10" fmla="*/ 446348 h 457865"/>
                    <a:gd name="connsiteX0" fmla="*/ 8840 w 514980"/>
                    <a:gd name="connsiteY0" fmla="*/ 445015 h 456532"/>
                    <a:gd name="connsiteX1" fmla="*/ 5665 w 514980"/>
                    <a:gd name="connsiteY1" fmla="*/ 219590 h 456532"/>
                    <a:gd name="connsiteX2" fmla="*/ 62412 w 514980"/>
                    <a:gd name="connsiteY2" fmla="*/ 132034 h 456532"/>
                    <a:gd name="connsiteX3" fmla="*/ 186237 w 514980"/>
                    <a:gd name="connsiteY3" fmla="*/ 93934 h 456532"/>
                    <a:gd name="connsiteX4" fmla="*/ 205690 w 514980"/>
                    <a:gd name="connsiteY4" fmla="*/ 13215 h 456532"/>
                    <a:gd name="connsiteX5" fmla="*/ 316815 w 514980"/>
                    <a:gd name="connsiteY5" fmla="*/ 10040 h 456532"/>
                    <a:gd name="connsiteX6" fmla="*/ 329515 w 514980"/>
                    <a:gd name="connsiteY6" fmla="*/ 111640 h 456532"/>
                    <a:gd name="connsiteX7" fmla="*/ 450165 w 514980"/>
                    <a:gd name="connsiteY7" fmla="*/ 159265 h 456532"/>
                    <a:gd name="connsiteX8" fmla="*/ 513665 w 514980"/>
                    <a:gd name="connsiteY8" fmla="*/ 229115 h 456532"/>
                    <a:gd name="connsiteX9" fmla="*/ 510490 w 514980"/>
                    <a:gd name="connsiteY9" fmla="*/ 451365 h 456532"/>
                    <a:gd name="connsiteX10" fmla="*/ 8840 w 514980"/>
                    <a:gd name="connsiteY10" fmla="*/ 445015 h 456532"/>
                    <a:gd name="connsiteX0" fmla="*/ 8840 w 514980"/>
                    <a:gd name="connsiteY0" fmla="*/ 445015 h 456532"/>
                    <a:gd name="connsiteX1" fmla="*/ 5665 w 514980"/>
                    <a:gd name="connsiteY1" fmla="*/ 219590 h 456532"/>
                    <a:gd name="connsiteX2" fmla="*/ 62412 w 514980"/>
                    <a:gd name="connsiteY2" fmla="*/ 132034 h 456532"/>
                    <a:gd name="connsiteX3" fmla="*/ 186237 w 514980"/>
                    <a:gd name="connsiteY3" fmla="*/ 93934 h 456532"/>
                    <a:gd name="connsiteX4" fmla="*/ 205690 w 514980"/>
                    <a:gd name="connsiteY4" fmla="*/ 13215 h 456532"/>
                    <a:gd name="connsiteX5" fmla="*/ 316815 w 514980"/>
                    <a:gd name="connsiteY5" fmla="*/ 10040 h 456532"/>
                    <a:gd name="connsiteX6" fmla="*/ 329515 w 514980"/>
                    <a:gd name="connsiteY6" fmla="*/ 111640 h 456532"/>
                    <a:gd name="connsiteX7" fmla="*/ 461084 w 514980"/>
                    <a:gd name="connsiteY7" fmla="*/ 146143 h 456532"/>
                    <a:gd name="connsiteX8" fmla="*/ 513665 w 514980"/>
                    <a:gd name="connsiteY8" fmla="*/ 229115 h 456532"/>
                    <a:gd name="connsiteX9" fmla="*/ 510490 w 514980"/>
                    <a:gd name="connsiteY9" fmla="*/ 451365 h 456532"/>
                    <a:gd name="connsiteX10" fmla="*/ 8840 w 514980"/>
                    <a:gd name="connsiteY10" fmla="*/ 445015 h 456532"/>
                    <a:gd name="connsiteX0" fmla="*/ 8840 w 514980"/>
                    <a:gd name="connsiteY0" fmla="*/ 444105 h 455622"/>
                    <a:gd name="connsiteX1" fmla="*/ 5665 w 514980"/>
                    <a:gd name="connsiteY1" fmla="*/ 218680 h 455622"/>
                    <a:gd name="connsiteX2" fmla="*/ 62412 w 514980"/>
                    <a:gd name="connsiteY2" fmla="*/ 131124 h 455622"/>
                    <a:gd name="connsiteX3" fmla="*/ 186237 w 514980"/>
                    <a:gd name="connsiteY3" fmla="*/ 93024 h 455622"/>
                    <a:gd name="connsiteX4" fmla="*/ 205690 w 514980"/>
                    <a:gd name="connsiteY4" fmla="*/ 12305 h 455622"/>
                    <a:gd name="connsiteX5" fmla="*/ 316815 w 514980"/>
                    <a:gd name="connsiteY5" fmla="*/ 9130 h 455622"/>
                    <a:gd name="connsiteX6" fmla="*/ 351353 w 514980"/>
                    <a:gd name="connsiteY6" fmla="*/ 97608 h 455622"/>
                    <a:gd name="connsiteX7" fmla="*/ 461084 w 514980"/>
                    <a:gd name="connsiteY7" fmla="*/ 145233 h 455622"/>
                    <a:gd name="connsiteX8" fmla="*/ 513665 w 514980"/>
                    <a:gd name="connsiteY8" fmla="*/ 228205 h 455622"/>
                    <a:gd name="connsiteX9" fmla="*/ 510490 w 514980"/>
                    <a:gd name="connsiteY9" fmla="*/ 450455 h 455622"/>
                    <a:gd name="connsiteX10" fmla="*/ 8840 w 514980"/>
                    <a:gd name="connsiteY10" fmla="*/ 444105 h 455622"/>
                    <a:gd name="connsiteX0" fmla="*/ 8840 w 514980"/>
                    <a:gd name="connsiteY0" fmla="*/ 442755 h 454272"/>
                    <a:gd name="connsiteX1" fmla="*/ 5665 w 514980"/>
                    <a:gd name="connsiteY1" fmla="*/ 217330 h 454272"/>
                    <a:gd name="connsiteX2" fmla="*/ 62412 w 514980"/>
                    <a:gd name="connsiteY2" fmla="*/ 129774 h 454272"/>
                    <a:gd name="connsiteX3" fmla="*/ 186237 w 514980"/>
                    <a:gd name="connsiteY3" fmla="*/ 91674 h 454272"/>
                    <a:gd name="connsiteX4" fmla="*/ 205690 w 514980"/>
                    <a:gd name="connsiteY4" fmla="*/ 10955 h 454272"/>
                    <a:gd name="connsiteX5" fmla="*/ 325550 w 514980"/>
                    <a:gd name="connsiteY5" fmla="*/ 9967 h 454272"/>
                    <a:gd name="connsiteX6" fmla="*/ 351353 w 514980"/>
                    <a:gd name="connsiteY6" fmla="*/ 96258 h 454272"/>
                    <a:gd name="connsiteX7" fmla="*/ 461084 w 514980"/>
                    <a:gd name="connsiteY7" fmla="*/ 143883 h 454272"/>
                    <a:gd name="connsiteX8" fmla="*/ 513665 w 514980"/>
                    <a:gd name="connsiteY8" fmla="*/ 226855 h 454272"/>
                    <a:gd name="connsiteX9" fmla="*/ 510490 w 514980"/>
                    <a:gd name="connsiteY9" fmla="*/ 449105 h 454272"/>
                    <a:gd name="connsiteX10" fmla="*/ 8840 w 514980"/>
                    <a:gd name="connsiteY10" fmla="*/ 442755 h 454272"/>
                    <a:gd name="connsiteX0" fmla="*/ 8840 w 514980"/>
                    <a:gd name="connsiteY0" fmla="*/ 442755 h 454272"/>
                    <a:gd name="connsiteX1" fmla="*/ 5665 w 514980"/>
                    <a:gd name="connsiteY1" fmla="*/ 217330 h 454272"/>
                    <a:gd name="connsiteX2" fmla="*/ 62412 w 514980"/>
                    <a:gd name="connsiteY2" fmla="*/ 129774 h 454272"/>
                    <a:gd name="connsiteX3" fmla="*/ 186237 w 514980"/>
                    <a:gd name="connsiteY3" fmla="*/ 91674 h 454272"/>
                    <a:gd name="connsiteX4" fmla="*/ 205690 w 514980"/>
                    <a:gd name="connsiteY4" fmla="*/ 10955 h 454272"/>
                    <a:gd name="connsiteX5" fmla="*/ 325550 w 514980"/>
                    <a:gd name="connsiteY5" fmla="*/ 9967 h 454272"/>
                    <a:gd name="connsiteX6" fmla="*/ 351353 w 514980"/>
                    <a:gd name="connsiteY6" fmla="*/ 96258 h 454272"/>
                    <a:gd name="connsiteX7" fmla="*/ 461084 w 514980"/>
                    <a:gd name="connsiteY7" fmla="*/ 143883 h 454272"/>
                    <a:gd name="connsiteX8" fmla="*/ 513665 w 514980"/>
                    <a:gd name="connsiteY8" fmla="*/ 226855 h 454272"/>
                    <a:gd name="connsiteX9" fmla="*/ 510490 w 514980"/>
                    <a:gd name="connsiteY9" fmla="*/ 449105 h 454272"/>
                    <a:gd name="connsiteX10" fmla="*/ 8840 w 514980"/>
                    <a:gd name="connsiteY10" fmla="*/ 442755 h 454272"/>
                    <a:gd name="connsiteX0" fmla="*/ 8840 w 514980"/>
                    <a:gd name="connsiteY0" fmla="*/ 442755 h 454272"/>
                    <a:gd name="connsiteX1" fmla="*/ 5665 w 514980"/>
                    <a:gd name="connsiteY1" fmla="*/ 217330 h 454272"/>
                    <a:gd name="connsiteX2" fmla="*/ 62412 w 514980"/>
                    <a:gd name="connsiteY2" fmla="*/ 129774 h 454272"/>
                    <a:gd name="connsiteX3" fmla="*/ 186237 w 514980"/>
                    <a:gd name="connsiteY3" fmla="*/ 91674 h 454272"/>
                    <a:gd name="connsiteX4" fmla="*/ 205690 w 514980"/>
                    <a:gd name="connsiteY4" fmla="*/ 10955 h 454272"/>
                    <a:gd name="connsiteX5" fmla="*/ 325550 w 514980"/>
                    <a:gd name="connsiteY5" fmla="*/ 9967 h 454272"/>
                    <a:gd name="connsiteX6" fmla="*/ 351353 w 514980"/>
                    <a:gd name="connsiteY6" fmla="*/ 96258 h 454272"/>
                    <a:gd name="connsiteX7" fmla="*/ 461084 w 514980"/>
                    <a:gd name="connsiteY7" fmla="*/ 143883 h 454272"/>
                    <a:gd name="connsiteX8" fmla="*/ 513665 w 514980"/>
                    <a:gd name="connsiteY8" fmla="*/ 226855 h 454272"/>
                    <a:gd name="connsiteX9" fmla="*/ 510490 w 514980"/>
                    <a:gd name="connsiteY9" fmla="*/ 449105 h 454272"/>
                    <a:gd name="connsiteX10" fmla="*/ 8840 w 514980"/>
                    <a:gd name="connsiteY10" fmla="*/ 442755 h 454272"/>
                    <a:gd name="connsiteX0" fmla="*/ 8840 w 514980"/>
                    <a:gd name="connsiteY0" fmla="*/ 442755 h 454272"/>
                    <a:gd name="connsiteX1" fmla="*/ 5665 w 514980"/>
                    <a:gd name="connsiteY1" fmla="*/ 217330 h 454272"/>
                    <a:gd name="connsiteX2" fmla="*/ 62412 w 514980"/>
                    <a:gd name="connsiteY2" fmla="*/ 129774 h 454272"/>
                    <a:gd name="connsiteX3" fmla="*/ 186237 w 514980"/>
                    <a:gd name="connsiteY3" fmla="*/ 91674 h 454272"/>
                    <a:gd name="connsiteX4" fmla="*/ 205690 w 514980"/>
                    <a:gd name="connsiteY4" fmla="*/ 10955 h 454272"/>
                    <a:gd name="connsiteX5" fmla="*/ 325550 w 514980"/>
                    <a:gd name="connsiteY5" fmla="*/ 9967 h 454272"/>
                    <a:gd name="connsiteX6" fmla="*/ 351353 w 514980"/>
                    <a:gd name="connsiteY6" fmla="*/ 96258 h 454272"/>
                    <a:gd name="connsiteX7" fmla="*/ 461084 w 514980"/>
                    <a:gd name="connsiteY7" fmla="*/ 143883 h 454272"/>
                    <a:gd name="connsiteX8" fmla="*/ 513665 w 514980"/>
                    <a:gd name="connsiteY8" fmla="*/ 226855 h 454272"/>
                    <a:gd name="connsiteX9" fmla="*/ 510490 w 514980"/>
                    <a:gd name="connsiteY9" fmla="*/ 449105 h 454272"/>
                    <a:gd name="connsiteX10" fmla="*/ 8840 w 514980"/>
                    <a:gd name="connsiteY10" fmla="*/ 442755 h 454272"/>
                    <a:gd name="connsiteX0" fmla="*/ 8840 w 514980"/>
                    <a:gd name="connsiteY0" fmla="*/ 436996 h 448513"/>
                    <a:gd name="connsiteX1" fmla="*/ 5665 w 514980"/>
                    <a:gd name="connsiteY1" fmla="*/ 211571 h 448513"/>
                    <a:gd name="connsiteX2" fmla="*/ 62412 w 514980"/>
                    <a:gd name="connsiteY2" fmla="*/ 124015 h 448513"/>
                    <a:gd name="connsiteX3" fmla="*/ 186237 w 514980"/>
                    <a:gd name="connsiteY3" fmla="*/ 85915 h 448513"/>
                    <a:gd name="connsiteX4" fmla="*/ 205690 w 514980"/>
                    <a:gd name="connsiteY4" fmla="*/ 5196 h 448513"/>
                    <a:gd name="connsiteX5" fmla="*/ 325550 w 514980"/>
                    <a:gd name="connsiteY5" fmla="*/ 4208 h 448513"/>
                    <a:gd name="connsiteX6" fmla="*/ 351353 w 514980"/>
                    <a:gd name="connsiteY6" fmla="*/ 90499 h 448513"/>
                    <a:gd name="connsiteX7" fmla="*/ 461084 w 514980"/>
                    <a:gd name="connsiteY7" fmla="*/ 138124 h 448513"/>
                    <a:gd name="connsiteX8" fmla="*/ 513665 w 514980"/>
                    <a:gd name="connsiteY8" fmla="*/ 221096 h 448513"/>
                    <a:gd name="connsiteX9" fmla="*/ 510490 w 514980"/>
                    <a:gd name="connsiteY9" fmla="*/ 443346 h 448513"/>
                    <a:gd name="connsiteX10" fmla="*/ 8840 w 514980"/>
                    <a:gd name="connsiteY10" fmla="*/ 436996 h 448513"/>
                    <a:gd name="connsiteX0" fmla="*/ 8840 w 514980"/>
                    <a:gd name="connsiteY0" fmla="*/ 436996 h 448513"/>
                    <a:gd name="connsiteX1" fmla="*/ 5665 w 514980"/>
                    <a:gd name="connsiteY1" fmla="*/ 211571 h 448513"/>
                    <a:gd name="connsiteX2" fmla="*/ 62412 w 514980"/>
                    <a:gd name="connsiteY2" fmla="*/ 124015 h 448513"/>
                    <a:gd name="connsiteX3" fmla="*/ 186237 w 514980"/>
                    <a:gd name="connsiteY3" fmla="*/ 85915 h 448513"/>
                    <a:gd name="connsiteX4" fmla="*/ 205690 w 514980"/>
                    <a:gd name="connsiteY4" fmla="*/ 5196 h 448513"/>
                    <a:gd name="connsiteX5" fmla="*/ 325550 w 514980"/>
                    <a:gd name="connsiteY5" fmla="*/ 4208 h 448513"/>
                    <a:gd name="connsiteX6" fmla="*/ 351353 w 514980"/>
                    <a:gd name="connsiteY6" fmla="*/ 90499 h 448513"/>
                    <a:gd name="connsiteX7" fmla="*/ 461084 w 514980"/>
                    <a:gd name="connsiteY7" fmla="*/ 138124 h 448513"/>
                    <a:gd name="connsiteX8" fmla="*/ 513665 w 514980"/>
                    <a:gd name="connsiteY8" fmla="*/ 221096 h 448513"/>
                    <a:gd name="connsiteX9" fmla="*/ 510490 w 514980"/>
                    <a:gd name="connsiteY9" fmla="*/ 443346 h 448513"/>
                    <a:gd name="connsiteX10" fmla="*/ 8840 w 514980"/>
                    <a:gd name="connsiteY10" fmla="*/ 436996 h 448513"/>
                    <a:gd name="connsiteX0" fmla="*/ 8840 w 514980"/>
                    <a:gd name="connsiteY0" fmla="*/ 436996 h 448513"/>
                    <a:gd name="connsiteX1" fmla="*/ 5665 w 514980"/>
                    <a:gd name="connsiteY1" fmla="*/ 211571 h 448513"/>
                    <a:gd name="connsiteX2" fmla="*/ 62412 w 514980"/>
                    <a:gd name="connsiteY2" fmla="*/ 124015 h 448513"/>
                    <a:gd name="connsiteX3" fmla="*/ 186237 w 514980"/>
                    <a:gd name="connsiteY3" fmla="*/ 85915 h 448513"/>
                    <a:gd name="connsiteX4" fmla="*/ 205690 w 514980"/>
                    <a:gd name="connsiteY4" fmla="*/ 5196 h 448513"/>
                    <a:gd name="connsiteX5" fmla="*/ 325550 w 514980"/>
                    <a:gd name="connsiteY5" fmla="*/ 4208 h 448513"/>
                    <a:gd name="connsiteX6" fmla="*/ 351353 w 514980"/>
                    <a:gd name="connsiteY6" fmla="*/ 90499 h 448513"/>
                    <a:gd name="connsiteX7" fmla="*/ 461084 w 514980"/>
                    <a:gd name="connsiteY7" fmla="*/ 138124 h 448513"/>
                    <a:gd name="connsiteX8" fmla="*/ 513665 w 514980"/>
                    <a:gd name="connsiteY8" fmla="*/ 221096 h 448513"/>
                    <a:gd name="connsiteX9" fmla="*/ 510490 w 514980"/>
                    <a:gd name="connsiteY9" fmla="*/ 443346 h 448513"/>
                    <a:gd name="connsiteX10" fmla="*/ 8840 w 514980"/>
                    <a:gd name="connsiteY10" fmla="*/ 436996 h 448513"/>
                    <a:gd name="connsiteX0" fmla="*/ 8840 w 514980"/>
                    <a:gd name="connsiteY0" fmla="*/ 436996 h 448513"/>
                    <a:gd name="connsiteX1" fmla="*/ 5665 w 514980"/>
                    <a:gd name="connsiteY1" fmla="*/ 211571 h 448513"/>
                    <a:gd name="connsiteX2" fmla="*/ 62412 w 514980"/>
                    <a:gd name="connsiteY2" fmla="*/ 124015 h 448513"/>
                    <a:gd name="connsiteX3" fmla="*/ 168766 w 514980"/>
                    <a:gd name="connsiteY3" fmla="*/ 88102 h 448513"/>
                    <a:gd name="connsiteX4" fmla="*/ 205690 w 514980"/>
                    <a:gd name="connsiteY4" fmla="*/ 5196 h 448513"/>
                    <a:gd name="connsiteX5" fmla="*/ 325550 w 514980"/>
                    <a:gd name="connsiteY5" fmla="*/ 4208 h 448513"/>
                    <a:gd name="connsiteX6" fmla="*/ 351353 w 514980"/>
                    <a:gd name="connsiteY6" fmla="*/ 90499 h 448513"/>
                    <a:gd name="connsiteX7" fmla="*/ 461084 w 514980"/>
                    <a:gd name="connsiteY7" fmla="*/ 138124 h 448513"/>
                    <a:gd name="connsiteX8" fmla="*/ 513665 w 514980"/>
                    <a:gd name="connsiteY8" fmla="*/ 221096 h 448513"/>
                    <a:gd name="connsiteX9" fmla="*/ 510490 w 514980"/>
                    <a:gd name="connsiteY9" fmla="*/ 443346 h 448513"/>
                    <a:gd name="connsiteX10" fmla="*/ 8840 w 514980"/>
                    <a:gd name="connsiteY10" fmla="*/ 436996 h 448513"/>
                    <a:gd name="connsiteX0" fmla="*/ 8840 w 514980"/>
                    <a:gd name="connsiteY0" fmla="*/ 440628 h 452145"/>
                    <a:gd name="connsiteX1" fmla="*/ 5665 w 514980"/>
                    <a:gd name="connsiteY1" fmla="*/ 215203 h 452145"/>
                    <a:gd name="connsiteX2" fmla="*/ 62412 w 514980"/>
                    <a:gd name="connsiteY2" fmla="*/ 127647 h 452145"/>
                    <a:gd name="connsiteX3" fmla="*/ 168766 w 514980"/>
                    <a:gd name="connsiteY3" fmla="*/ 91734 h 452145"/>
                    <a:gd name="connsiteX4" fmla="*/ 179484 w 514980"/>
                    <a:gd name="connsiteY4" fmla="*/ 4454 h 452145"/>
                    <a:gd name="connsiteX5" fmla="*/ 325550 w 514980"/>
                    <a:gd name="connsiteY5" fmla="*/ 7840 h 452145"/>
                    <a:gd name="connsiteX6" fmla="*/ 351353 w 514980"/>
                    <a:gd name="connsiteY6" fmla="*/ 94131 h 452145"/>
                    <a:gd name="connsiteX7" fmla="*/ 461084 w 514980"/>
                    <a:gd name="connsiteY7" fmla="*/ 141756 h 452145"/>
                    <a:gd name="connsiteX8" fmla="*/ 513665 w 514980"/>
                    <a:gd name="connsiteY8" fmla="*/ 224728 h 452145"/>
                    <a:gd name="connsiteX9" fmla="*/ 510490 w 514980"/>
                    <a:gd name="connsiteY9" fmla="*/ 446978 h 452145"/>
                    <a:gd name="connsiteX10" fmla="*/ 8840 w 514980"/>
                    <a:gd name="connsiteY10" fmla="*/ 440628 h 452145"/>
                    <a:gd name="connsiteX0" fmla="*/ 8840 w 514980"/>
                    <a:gd name="connsiteY0" fmla="*/ 442422 h 453939"/>
                    <a:gd name="connsiteX1" fmla="*/ 5665 w 514980"/>
                    <a:gd name="connsiteY1" fmla="*/ 216997 h 453939"/>
                    <a:gd name="connsiteX2" fmla="*/ 62412 w 514980"/>
                    <a:gd name="connsiteY2" fmla="*/ 129441 h 453939"/>
                    <a:gd name="connsiteX3" fmla="*/ 168766 w 514980"/>
                    <a:gd name="connsiteY3" fmla="*/ 93528 h 453939"/>
                    <a:gd name="connsiteX4" fmla="*/ 179484 w 514980"/>
                    <a:gd name="connsiteY4" fmla="*/ 6248 h 453939"/>
                    <a:gd name="connsiteX5" fmla="*/ 351756 w 514980"/>
                    <a:gd name="connsiteY5" fmla="*/ 886 h 453939"/>
                    <a:gd name="connsiteX6" fmla="*/ 351353 w 514980"/>
                    <a:gd name="connsiteY6" fmla="*/ 95925 h 453939"/>
                    <a:gd name="connsiteX7" fmla="*/ 461084 w 514980"/>
                    <a:gd name="connsiteY7" fmla="*/ 143550 h 453939"/>
                    <a:gd name="connsiteX8" fmla="*/ 513665 w 514980"/>
                    <a:gd name="connsiteY8" fmla="*/ 226522 h 453939"/>
                    <a:gd name="connsiteX9" fmla="*/ 510490 w 514980"/>
                    <a:gd name="connsiteY9" fmla="*/ 448772 h 453939"/>
                    <a:gd name="connsiteX10" fmla="*/ 8840 w 514980"/>
                    <a:gd name="connsiteY10" fmla="*/ 442422 h 453939"/>
                    <a:gd name="connsiteX0" fmla="*/ 8840 w 514980"/>
                    <a:gd name="connsiteY0" fmla="*/ 442422 h 453939"/>
                    <a:gd name="connsiteX1" fmla="*/ 5665 w 514980"/>
                    <a:gd name="connsiteY1" fmla="*/ 216997 h 453939"/>
                    <a:gd name="connsiteX2" fmla="*/ 62412 w 514980"/>
                    <a:gd name="connsiteY2" fmla="*/ 129441 h 453939"/>
                    <a:gd name="connsiteX3" fmla="*/ 168766 w 514980"/>
                    <a:gd name="connsiteY3" fmla="*/ 93528 h 453939"/>
                    <a:gd name="connsiteX4" fmla="*/ 179484 w 514980"/>
                    <a:gd name="connsiteY4" fmla="*/ 6248 h 453939"/>
                    <a:gd name="connsiteX5" fmla="*/ 351756 w 514980"/>
                    <a:gd name="connsiteY5" fmla="*/ 886 h 453939"/>
                    <a:gd name="connsiteX6" fmla="*/ 366640 w 514980"/>
                    <a:gd name="connsiteY6" fmla="*/ 100299 h 453939"/>
                    <a:gd name="connsiteX7" fmla="*/ 461084 w 514980"/>
                    <a:gd name="connsiteY7" fmla="*/ 143550 h 453939"/>
                    <a:gd name="connsiteX8" fmla="*/ 513665 w 514980"/>
                    <a:gd name="connsiteY8" fmla="*/ 226522 h 453939"/>
                    <a:gd name="connsiteX9" fmla="*/ 510490 w 514980"/>
                    <a:gd name="connsiteY9" fmla="*/ 448772 h 453939"/>
                    <a:gd name="connsiteX10" fmla="*/ 8840 w 514980"/>
                    <a:gd name="connsiteY10" fmla="*/ 442422 h 453939"/>
                    <a:gd name="connsiteX0" fmla="*/ 8840 w 514980"/>
                    <a:gd name="connsiteY0" fmla="*/ 442422 h 450476"/>
                    <a:gd name="connsiteX1" fmla="*/ 5665 w 514980"/>
                    <a:gd name="connsiteY1" fmla="*/ 216997 h 450476"/>
                    <a:gd name="connsiteX2" fmla="*/ 62412 w 514980"/>
                    <a:gd name="connsiteY2" fmla="*/ 129441 h 450476"/>
                    <a:gd name="connsiteX3" fmla="*/ 168766 w 514980"/>
                    <a:gd name="connsiteY3" fmla="*/ 93528 h 450476"/>
                    <a:gd name="connsiteX4" fmla="*/ 179484 w 514980"/>
                    <a:gd name="connsiteY4" fmla="*/ 6248 h 450476"/>
                    <a:gd name="connsiteX5" fmla="*/ 351756 w 514980"/>
                    <a:gd name="connsiteY5" fmla="*/ 886 h 450476"/>
                    <a:gd name="connsiteX6" fmla="*/ 366640 w 514980"/>
                    <a:gd name="connsiteY6" fmla="*/ 100299 h 450476"/>
                    <a:gd name="connsiteX7" fmla="*/ 461084 w 514980"/>
                    <a:gd name="connsiteY7" fmla="*/ 143550 h 450476"/>
                    <a:gd name="connsiteX8" fmla="*/ 513665 w 514980"/>
                    <a:gd name="connsiteY8" fmla="*/ 226522 h 450476"/>
                    <a:gd name="connsiteX9" fmla="*/ 510490 w 514980"/>
                    <a:gd name="connsiteY9" fmla="*/ 448772 h 450476"/>
                    <a:gd name="connsiteX10" fmla="*/ 8840 w 514980"/>
                    <a:gd name="connsiteY10" fmla="*/ 442422 h 450476"/>
                    <a:gd name="connsiteX0" fmla="*/ 8840 w 514980"/>
                    <a:gd name="connsiteY0" fmla="*/ 442422 h 448772"/>
                    <a:gd name="connsiteX1" fmla="*/ 5665 w 514980"/>
                    <a:gd name="connsiteY1" fmla="*/ 216997 h 448772"/>
                    <a:gd name="connsiteX2" fmla="*/ 62412 w 514980"/>
                    <a:gd name="connsiteY2" fmla="*/ 129441 h 448772"/>
                    <a:gd name="connsiteX3" fmla="*/ 168766 w 514980"/>
                    <a:gd name="connsiteY3" fmla="*/ 93528 h 448772"/>
                    <a:gd name="connsiteX4" fmla="*/ 179484 w 514980"/>
                    <a:gd name="connsiteY4" fmla="*/ 6248 h 448772"/>
                    <a:gd name="connsiteX5" fmla="*/ 351756 w 514980"/>
                    <a:gd name="connsiteY5" fmla="*/ 886 h 448772"/>
                    <a:gd name="connsiteX6" fmla="*/ 366640 w 514980"/>
                    <a:gd name="connsiteY6" fmla="*/ 100299 h 448772"/>
                    <a:gd name="connsiteX7" fmla="*/ 461084 w 514980"/>
                    <a:gd name="connsiteY7" fmla="*/ 143550 h 448772"/>
                    <a:gd name="connsiteX8" fmla="*/ 513665 w 514980"/>
                    <a:gd name="connsiteY8" fmla="*/ 226522 h 448772"/>
                    <a:gd name="connsiteX9" fmla="*/ 510490 w 514980"/>
                    <a:gd name="connsiteY9" fmla="*/ 448772 h 448772"/>
                    <a:gd name="connsiteX10" fmla="*/ 8840 w 514980"/>
                    <a:gd name="connsiteY10" fmla="*/ 442422 h 448772"/>
                    <a:gd name="connsiteX0" fmla="*/ 8840 w 514980"/>
                    <a:gd name="connsiteY0" fmla="*/ 442422 h 448772"/>
                    <a:gd name="connsiteX1" fmla="*/ 5665 w 514980"/>
                    <a:gd name="connsiteY1" fmla="*/ 216997 h 448772"/>
                    <a:gd name="connsiteX2" fmla="*/ 62412 w 514980"/>
                    <a:gd name="connsiteY2" fmla="*/ 129441 h 448772"/>
                    <a:gd name="connsiteX3" fmla="*/ 168766 w 514980"/>
                    <a:gd name="connsiteY3" fmla="*/ 93528 h 448772"/>
                    <a:gd name="connsiteX4" fmla="*/ 179484 w 514980"/>
                    <a:gd name="connsiteY4" fmla="*/ 6248 h 448772"/>
                    <a:gd name="connsiteX5" fmla="*/ 351756 w 514980"/>
                    <a:gd name="connsiteY5" fmla="*/ 886 h 448772"/>
                    <a:gd name="connsiteX6" fmla="*/ 357905 w 514980"/>
                    <a:gd name="connsiteY6" fmla="*/ 98112 h 448772"/>
                    <a:gd name="connsiteX7" fmla="*/ 461084 w 514980"/>
                    <a:gd name="connsiteY7" fmla="*/ 143550 h 448772"/>
                    <a:gd name="connsiteX8" fmla="*/ 513665 w 514980"/>
                    <a:gd name="connsiteY8" fmla="*/ 226522 h 448772"/>
                    <a:gd name="connsiteX9" fmla="*/ 510490 w 514980"/>
                    <a:gd name="connsiteY9" fmla="*/ 448772 h 448772"/>
                    <a:gd name="connsiteX10" fmla="*/ 8840 w 514980"/>
                    <a:gd name="connsiteY10" fmla="*/ 442422 h 448772"/>
                    <a:gd name="connsiteX0" fmla="*/ 8840 w 514980"/>
                    <a:gd name="connsiteY0" fmla="*/ 442422 h 448772"/>
                    <a:gd name="connsiteX1" fmla="*/ 5665 w 514980"/>
                    <a:gd name="connsiteY1" fmla="*/ 216997 h 448772"/>
                    <a:gd name="connsiteX2" fmla="*/ 62412 w 514980"/>
                    <a:gd name="connsiteY2" fmla="*/ 129441 h 448772"/>
                    <a:gd name="connsiteX3" fmla="*/ 168766 w 514980"/>
                    <a:gd name="connsiteY3" fmla="*/ 93528 h 448772"/>
                    <a:gd name="connsiteX4" fmla="*/ 179484 w 514980"/>
                    <a:gd name="connsiteY4" fmla="*/ 6248 h 448772"/>
                    <a:gd name="connsiteX5" fmla="*/ 351756 w 514980"/>
                    <a:gd name="connsiteY5" fmla="*/ 886 h 448772"/>
                    <a:gd name="connsiteX6" fmla="*/ 357905 w 514980"/>
                    <a:gd name="connsiteY6" fmla="*/ 98112 h 448772"/>
                    <a:gd name="connsiteX7" fmla="*/ 454533 w 514980"/>
                    <a:gd name="connsiteY7" fmla="*/ 136989 h 448772"/>
                    <a:gd name="connsiteX8" fmla="*/ 513665 w 514980"/>
                    <a:gd name="connsiteY8" fmla="*/ 226522 h 448772"/>
                    <a:gd name="connsiteX9" fmla="*/ 510490 w 514980"/>
                    <a:gd name="connsiteY9" fmla="*/ 448772 h 448772"/>
                    <a:gd name="connsiteX10" fmla="*/ 8840 w 514980"/>
                    <a:gd name="connsiteY10" fmla="*/ 442422 h 448772"/>
                    <a:gd name="connsiteX0" fmla="*/ 8840 w 514980"/>
                    <a:gd name="connsiteY0" fmla="*/ 442422 h 448772"/>
                    <a:gd name="connsiteX1" fmla="*/ 5665 w 514980"/>
                    <a:gd name="connsiteY1" fmla="*/ 216997 h 448772"/>
                    <a:gd name="connsiteX2" fmla="*/ 62412 w 514980"/>
                    <a:gd name="connsiteY2" fmla="*/ 129441 h 448772"/>
                    <a:gd name="connsiteX3" fmla="*/ 168766 w 514980"/>
                    <a:gd name="connsiteY3" fmla="*/ 93528 h 448772"/>
                    <a:gd name="connsiteX4" fmla="*/ 179484 w 514980"/>
                    <a:gd name="connsiteY4" fmla="*/ 6248 h 448772"/>
                    <a:gd name="connsiteX5" fmla="*/ 351756 w 514980"/>
                    <a:gd name="connsiteY5" fmla="*/ 886 h 448772"/>
                    <a:gd name="connsiteX6" fmla="*/ 357905 w 514980"/>
                    <a:gd name="connsiteY6" fmla="*/ 98112 h 448772"/>
                    <a:gd name="connsiteX7" fmla="*/ 454533 w 514980"/>
                    <a:gd name="connsiteY7" fmla="*/ 136989 h 448772"/>
                    <a:gd name="connsiteX8" fmla="*/ 513665 w 514980"/>
                    <a:gd name="connsiteY8" fmla="*/ 226522 h 448772"/>
                    <a:gd name="connsiteX9" fmla="*/ 510490 w 514980"/>
                    <a:gd name="connsiteY9" fmla="*/ 448772 h 448772"/>
                    <a:gd name="connsiteX10" fmla="*/ 8840 w 514980"/>
                    <a:gd name="connsiteY10" fmla="*/ 442422 h 448772"/>
                    <a:gd name="connsiteX0" fmla="*/ 8840 w 514980"/>
                    <a:gd name="connsiteY0" fmla="*/ 442422 h 448772"/>
                    <a:gd name="connsiteX1" fmla="*/ 5665 w 514980"/>
                    <a:gd name="connsiteY1" fmla="*/ 216997 h 448772"/>
                    <a:gd name="connsiteX2" fmla="*/ 62412 w 514980"/>
                    <a:gd name="connsiteY2" fmla="*/ 129441 h 448772"/>
                    <a:gd name="connsiteX3" fmla="*/ 168766 w 514980"/>
                    <a:gd name="connsiteY3" fmla="*/ 93528 h 448772"/>
                    <a:gd name="connsiteX4" fmla="*/ 179484 w 514980"/>
                    <a:gd name="connsiteY4" fmla="*/ 6248 h 448772"/>
                    <a:gd name="connsiteX5" fmla="*/ 351756 w 514980"/>
                    <a:gd name="connsiteY5" fmla="*/ 886 h 448772"/>
                    <a:gd name="connsiteX6" fmla="*/ 357905 w 514980"/>
                    <a:gd name="connsiteY6" fmla="*/ 98112 h 448772"/>
                    <a:gd name="connsiteX7" fmla="*/ 454533 w 514980"/>
                    <a:gd name="connsiteY7" fmla="*/ 136989 h 448772"/>
                    <a:gd name="connsiteX8" fmla="*/ 513665 w 514980"/>
                    <a:gd name="connsiteY8" fmla="*/ 226522 h 448772"/>
                    <a:gd name="connsiteX9" fmla="*/ 510490 w 514980"/>
                    <a:gd name="connsiteY9" fmla="*/ 448772 h 448772"/>
                    <a:gd name="connsiteX10" fmla="*/ 8840 w 514980"/>
                    <a:gd name="connsiteY10" fmla="*/ 442422 h 448772"/>
                    <a:gd name="connsiteX0" fmla="*/ 8840 w 514980"/>
                    <a:gd name="connsiteY0" fmla="*/ 442422 h 448772"/>
                    <a:gd name="connsiteX1" fmla="*/ 5665 w 514980"/>
                    <a:gd name="connsiteY1" fmla="*/ 216997 h 448772"/>
                    <a:gd name="connsiteX2" fmla="*/ 62412 w 514980"/>
                    <a:gd name="connsiteY2" fmla="*/ 129441 h 448772"/>
                    <a:gd name="connsiteX3" fmla="*/ 168766 w 514980"/>
                    <a:gd name="connsiteY3" fmla="*/ 93528 h 448772"/>
                    <a:gd name="connsiteX4" fmla="*/ 179484 w 514980"/>
                    <a:gd name="connsiteY4" fmla="*/ 6248 h 448772"/>
                    <a:gd name="connsiteX5" fmla="*/ 351756 w 514980"/>
                    <a:gd name="connsiteY5" fmla="*/ 886 h 448772"/>
                    <a:gd name="connsiteX6" fmla="*/ 353538 w 514980"/>
                    <a:gd name="connsiteY6" fmla="*/ 98112 h 448772"/>
                    <a:gd name="connsiteX7" fmla="*/ 454533 w 514980"/>
                    <a:gd name="connsiteY7" fmla="*/ 136989 h 448772"/>
                    <a:gd name="connsiteX8" fmla="*/ 513665 w 514980"/>
                    <a:gd name="connsiteY8" fmla="*/ 226522 h 448772"/>
                    <a:gd name="connsiteX9" fmla="*/ 510490 w 514980"/>
                    <a:gd name="connsiteY9" fmla="*/ 448772 h 448772"/>
                    <a:gd name="connsiteX10" fmla="*/ 8840 w 514980"/>
                    <a:gd name="connsiteY10" fmla="*/ 442422 h 448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14980" h="448772">
                      <a:moveTo>
                        <a:pt x="8840" y="442422"/>
                      </a:moveTo>
                      <a:cubicBezTo>
                        <a:pt x="-1214" y="377864"/>
                        <a:pt x="-3264" y="269160"/>
                        <a:pt x="5665" y="216997"/>
                      </a:cubicBezTo>
                      <a:cubicBezTo>
                        <a:pt x="14594" y="164834"/>
                        <a:pt x="35229" y="150019"/>
                        <a:pt x="62412" y="129441"/>
                      </a:cubicBezTo>
                      <a:cubicBezTo>
                        <a:pt x="89595" y="108863"/>
                        <a:pt x="149254" y="114060"/>
                        <a:pt x="168766" y="93528"/>
                      </a:cubicBezTo>
                      <a:cubicBezTo>
                        <a:pt x="188278" y="72996"/>
                        <a:pt x="189023" y="43922"/>
                        <a:pt x="179484" y="6248"/>
                      </a:cubicBezTo>
                      <a:cubicBezTo>
                        <a:pt x="202703" y="-7370"/>
                        <a:pt x="323111" y="6352"/>
                        <a:pt x="351756" y="886"/>
                      </a:cubicBezTo>
                      <a:cubicBezTo>
                        <a:pt x="354195" y="39159"/>
                        <a:pt x="342961" y="75428"/>
                        <a:pt x="353538" y="98112"/>
                      </a:cubicBezTo>
                      <a:cubicBezTo>
                        <a:pt x="364115" y="120796"/>
                        <a:pt x="427845" y="115587"/>
                        <a:pt x="454533" y="136989"/>
                      </a:cubicBezTo>
                      <a:cubicBezTo>
                        <a:pt x="481221" y="158391"/>
                        <a:pt x="503611" y="177839"/>
                        <a:pt x="513665" y="226522"/>
                      </a:cubicBezTo>
                      <a:cubicBezTo>
                        <a:pt x="516840" y="276264"/>
                        <a:pt x="513665" y="323360"/>
                        <a:pt x="510490" y="448772"/>
                      </a:cubicBezTo>
                      <a:lnTo>
                        <a:pt x="8840" y="442422"/>
                      </a:lnTo>
                      <a:close/>
                    </a:path>
                  </a:pathLst>
                </a:custGeom>
                <a:grpFill/>
                <a:ln w="571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116" name="Oval 115">
                  <a:extLst>
                    <a:ext uri="{FF2B5EF4-FFF2-40B4-BE49-F238E27FC236}">
                      <a16:creationId xmlns:a16="http://schemas.microsoft.com/office/drawing/2014/main" id="{1FB1BDD2-1906-9E47-BD55-5E0DFEFC4AE3}"/>
                    </a:ext>
                  </a:extLst>
                </p:cNvPr>
                <p:cNvSpPr/>
                <p:nvPr/>
              </p:nvSpPr>
              <p:spPr>
                <a:xfrm>
                  <a:off x="1971467" y="3508300"/>
                  <a:ext cx="282088" cy="336550"/>
                </a:xfrm>
                <a:prstGeom prst="ellipse">
                  <a:avLst/>
                </a:prstGeom>
                <a:grpFill/>
                <a:ln w="571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grpSp>
          <p:grpSp>
            <p:nvGrpSpPr>
              <p:cNvPr id="112" name="Group 111">
                <a:extLst>
                  <a:ext uri="{FF2B5EF4-FFF2-40B4-BE49-F238E27FC236}">
                    <a16:creationId xmlns:a16="http://schemas.microsoft.com/office/drawing/2014/main" id="{34DA0904-E664-4B49-ADC1-211966C57A3A}"/>
                  </a:ext>
                </a:extLst>
              </p:cNvPr>
              <p:cNvGrpSpPr/>
              <p:nvPr/>
            </p:nvGrpSpPr>
            <p:grpSpPr>
              <a:xfrm>
                <a:off x="1553120" y="3388644"/>
                <a:ext cx="633802" cy="938165"/>
                <a:chOff x="1806977" y="3500843"/>
                <a:chExt cx="539989" cy="738018"/>
              </a:xfrm>
            </p:grpSpPr>
            <p:sp>
              <p:nvSpPr>
                <p:cNvPr id="113" name="Freeform 112">
                  <a:extLst>
                    <a:ext uri="{FF2B5EF4-FFF2-40B4-BE49-F238E27FC236}">
                      <a16:creationId xmlns:a16="http://schemas.microsoft.com/office/drawing/2014/main" id="{7FD3A11E-4DCB-B045-BA99-04555C36D750}"/>
                    </a:ext>
                  </a:extLst>
                </p:cNvPr>
                <p:cNvSpPr/>
                <p:nvPr/>
              </p:nvSpPr>
              <p:spPr>
                <a:xfrm>
                  <a:off x="1806977" y="3782373"/>
                  <a:ext cx="539989" cy="456488"/>
                </a:xfrm>
                <a:custGeom>
                  <a:avLst/>
                  <a:gdLst>
                    <a:gd name="connsiteX0" fmla="*/ 36807 w 576731"/>
                    <a:gd name="connsiteY0" fmla="*/ 449906 h 505924"/>
                    <a:gd name="connsiteX1" fmla="*/ 39982 w 576731"/>
                    <a:gd name="connsiteY1" fmla="*/ 214956 h 505924"/>
                    <a:gd name="connsiteX2" fmla="*/ 55857 w 576731"/>
                    <a:gd name="connsiteY2" fmla="*/ 176856 h 505924"/>
                    <a:gd name="connsiteX3" fmla="*/ 103482 w 576731"/>
                    <a:gd name="connsiteY3" fmla="*/ 160981 h 505924"/>
                    <a:gd name="connsiteX4" fmla="*/ 205082 w 576731"/>
                    <a:gd name="connsiteY4" fmla="*/ 154631 h 505924"/>
                    <a:gd name="connsiteX5" fmla="*/ 230482 w 576731"/>
                    <a:gd name="connsiteY5" fmla="*/ 151456 h 505924"/>
                    <a:gd name="connsiteX6" fmla="*/ 233657 w 576731"/>
                    <a:gd name="connsiteY6" fmla="*/ 18106 h 505924"/>
                    <a:gd name="connsiteX7" fmla="*/ 344782 w 576731"/>
                    <a:gd name="connsiteY7" fmla="*/ 14931 h 505924"/>
                    <a:gd name="connsiteX8" fmla="*/ 344782 w 576731"/>
                    <a:gd name="connsiteY8" fmla="*/ 145106 h 505924"/>
                    <a:gd name="connsiteX9" fmla="*/ 386057 w 576731"/>
                    <a:gd name="connsiteY9" fmla="*/ 151456 h 505924"/>
                    <a:gd name="connsiteX10" fmla="*/ 478132 w 576731"/>
                    <a:gd name="connsiteY10" fmla="*/ 164156 h 505924"/>
                    <a:gd name="connsiteX11" fmla="*/ 519407 w 576731"/>
                    <a:gd name="connsiteY11" fmla="*/ 189556 h 505924"/>
                    <a:gd name="connsiteX12" fmla="*/ 541632 w 576731"/>
                    <a:gd name="connsiteY12" fmla="*/ 234006 h 505924"/>
                    <a:gd name="connsiteX13" fmla="*/ 538457 w 576731"/>
                    <a:gd name="connsiteY13" fmla="*/ 488006 h 505924"/>
                    <a:gd name="connsiteX14" fmla="*/ 36807 w 576731"/>
                    <a:gd name="connsiteY14" fmla="*/ 449906 h 505924"/>
                    <a:gd name="connsiteX0" fmla="*/ 5769 w 545693"/>
                    <a:gd name="connsiteY0" fmla="*/ 449906 h 505924"/>
                    <a:gd name="connsiteX1" fmla="*/ 8944 w 545693"/>
                    <a:gd name="connsiteY1" fmla="*/ 214956 h 505924"/>
                    <a:gd name="connsiteX2" fmla="*/ 24819 w 545693"/>
                    <a:gd name="connsiteY2" fmla="*/ 176856 h 505924"/>
                    <a:gd name="connsiteX3" fmla="*/ 72444 w 545693"/>
                    <a:gd name="connsiteY3" fmla="*/ 160981 h 505924"/>
                    <a:gd name="connsiteX4" fmla="*/ 174044 w 545693"/>
                    <a:gd name="connsiteY4" fmla="*/ 154631 h 505924"/>
                    <a:gd name="connsiteX5" fmla="*/ 199444 w 545693"/>
                    <a:gd name="connsiteY5" fmla="*/ 151456 h 505924"/>
                    <a:gd name="connsiteX6" fmla="*/ 202619 w 545693"/>
                    <a:gd name="connsiteY6" fmla="*/ 18106 h 505924"/>
                    <a:gd name="connsiteX7" fmla="*/ 313744 w 545693"/>
                    <a:gd name="connsiteY7" fmla="*/ 14931 h 505924"/>
                    <a:gd name="connsiteX8" fmla="*/ 313744 w 545693"/>
                    <a:gd name="connsiteY8" fmla="*/ 145106 h 505924"/>
                    <a:gd name="connsiteX9" fmla="*/ 355019 w 545693"/>
                    <a:gd name="connsiteY9" fmla="*/ 151456 h 505924"/>
                    <a:gd name="connsiteX10" fmla="*/ 447094 w 545693"/>
                    <a:gd name="connsiteY10" fmla="*/ 164156 h 505924"/>
                    <a:gd name="connsiteX11" fmla="*/ 488369 w 545693"/>
                    <a:gd name="connsiteY11" fmla="*/ 189556 h 505924"/>
                    <a:gd name="connsiteX12" fmla="*/ 510594 w 545693"/>
                    <a:gd name="connsiteY12" fmla="*/ 234006 h 505924"/>
                    <a:gd name="connsiteX13" fmla="*/ 507419 w 545693"/>
                    <a:gd name="connsiteY13" fmla="*/ 488006 h 505924"/>
                    <a:gd name="connsiteX14" fmla="*/ 5769 w 545693"/>
                    <a:gd name="connsiteY14" fmla="*/ 449906 h 505924"/>
                    <a:gd name="connsiteX0" fmla="*/ 21286 w 561210"/>
                    <a:gd name="connsiteY0" fmla="*/ 449906 h 508025"/>
                    <a:gd name="connsiteX1" fmla="*/ 24461 w 561210"/>
                    <a:gd name="connsiteY1" fmla="*/ 214956 h 508025"/>
                    <a:gd name="connsiteX2" fmla="*/ 40336 w 561210"/>
                    <a:gd name="connsiteY2" fmla="*/ 176856 h 508025"/>
                    <a:gd name="connsiteX3" fmla="*/ 87961 w 561210"/>
                    <a:gd name="connsiteY3" fmla="*/ 160981 h 508025"/>
                    <a:gd name="connsiteX4" fmla="*/ 189561 w 561210"/>
                    <a:gd name="connsiteY4" fmla="*/ 154631 h 508025"/>
                    <a:gd name="connsiteX5" fmla="*/ 214961 w 561210"/>
                    <a:gd name="connsiteY5" fmla="*/ 151456 h 508025"/>
                    <a:gd name="connsiteX6" fmla="*/ 218136 w 561210"/>
                    <a:gd name="connsiteY6" fmla="*/ 18106 h 508025"/>
                    <a:gd name="connsiteX7" fmla="*/ 329261 w 561210"/>
                    <a:gd name="connsiteY7" fmla="*/ 14931 h 508025"/>
                    <a:gd name="connsiteX8" fmla="*/ 329261 w 561210"/>
                    <a:gd name="connsiteY8" fmla="*/ 145106 h 508025"/>
                    <a:gd name="connsiteX9" fmla="*/ 370536 w 561210"/>
                    <a:gd name="connsiteY9" fmla="*/ 151456 h 508025"/>
                    <a:gd name="connsiteX10" fmla="*/ 462611 w 561210"/>
                    <a:gd name="connsiteY10" fmla="*/ 164156 h 508025"/>
                    <a:gd name="connsiteX11" fmla="*/ 503886 w 561210"/>
                    <a:gd name="connsiteY11" fmla="*/ 189556 h 508025"/>
                    <a:gd name="connsiteX12" fmla="*/ 526111 w 561210"/>
                    <a:gd name="connsiteY12" fmla="*/ 234006 h 508025"/>
                    <a:gd name="connsiteX13" fmla="*/ 522936 w 561210"/>
                    <a:gd name="connsiteY13" fmla="*/ 488006 h 508025"/>
                    <a:gd name="connsiteX14" fmla="*/ 21286 w 561210"/>
                    <a:gd name="connsiteY14" fmla="*/ 449906 h 508025"/>
                    <a:gd name="connsiteX0" fmla="*/ 21286 w 561210"/>
                    <a:gd name="connsiteY0" fmla="*/ 449906 h 508025"/>
                    <a:gd name="connsiteX1" fmla="*/ 24461 w 561210"/>
                    <a:gd name="connsiteY1" fmla="*/ 214956 h 508025"/>
                    <a:gd name="connsiteX2" fmla="*/ 40336 w 561210"/>
                    <a:gd name="connsiteY2" fmla="*/ 176856 h 508025"/>
                    <a:gd name="connsiteX3" fmla="*/ 87961 w 561210"/>
                    <a:gd name="connsiteY3" fmla="*/ 160981 h 508025"/>
                    <a:gd name="connsiteX4" fmla="*/ 189561 w 561210"/>
                    <a:gd name="connsiteY4" fmla="*/ 154631 h 508025"/>
                    <a:gd name="connsiteX5" fmla="*/ 214961 w 561210"/>
                    <a:gd name="connsiteY5" fmla="*/ 151456 h 508025"/>
                    <a:gd name="connsiteX6" fmla="*/ 218136 w 561210"/>
                    <a:gd name="connsiteY6" fmla="*/ 18106 h 508025"/>
                    <a:gd name="connsiteX7" fmla="*/ 329261 w 561210"/>
                    <a:gd name="connsiteY7" fmla="*/ 14931 h 508025"/>
                    <a:gd name="connsiteX8" fmla="*/ 329261 w 561210"/>
                    <a:gd name="connsiteY8" fmla="*/ 145106 h 508025"/>
                    <a:gd name="connsiteX9" fmla="*/ 370536 w 561210"/>
                    <a:gd name="connsiteY9" fmla="*/ 151456 h 508025"/>
                    <a:gd name="connsiteX10" fmla="*/ 462611 w 561210"/>
                    <a:gd name="connsiteY10" fmla="*/ 164156 h 508025"/>
                    <a:gd name="connsiteX11" fmla="*/ 503886 w 561210"/>
                    <a:gd name="connsiteY11" fmla="*/ 189556 h 508025"/>
                    <a:gd name="connsiteX12" fmla="*/ 526111 w 561210"/>
                    <a:gd name="connsiteY12" fmla="*/ 234006 h 508025"/>
                    <a:gd name="connsiteX13" fmla="*/ 522936 w 561210"/>
                    <a:gd name="connsiteY13" fmla="*/ 488006 h 508025"/>
                    <a:gd name="connsiteX14" fmla="*/ 21286 w 561210"/>
                    <a:gd name="connsiteY14" fmla="*/ 449906 h 508025"/>
                    <a:gd name="connsiteX0" fmla="*/ 4360 w 544284"/>
                    <a:gd name="connsiteY0" fmla="*/ 449906 h 508025"/>
                    <a:gd name="connsiteX1" fmla="*/ 7535 w 544284"/>
                    <a:gd name="connsiteY1" fmla="*/ 214956 h 508025"/>
                    <a:gd name="connsiteX2" fmla="*/ 23410 w 544284"/>
                    <a:gd name="connsiteY2" fmla="*/ 176856 h 508025"/>
                    <a:gd name="connsiteX3" fmla="*/ 71035 w 544284"/>
                    <a:gd name="connsiteY3" fmla="*/ 160981 h 508025"/>
                    <a:gd name="connsiteX4" fmla="*/ 172635 w 544284"/>
                    <a:gd name="connsiteY4" fmla="*/ 154631 h 508025"/>
                    <a:gd name="connsiteX5" fmla="*/ 198035 w 544284"/>
                    <a:gd name="connsiteY5" fmla="*/ 151456 h 508025"/>
                    <a:gd name="connsiteX6" fmla="*/ 201210 w 544284"/>
                    <a:gd name="connsiteY6" fmla="*/ 18106 h 508025"/>
                    <a:gd name="connsiteX7" fmla="*/ 312335 w 544284"/>
                    <a:gd name="connsiteY7" fmla="*/ 14931 h 508025"/>
                    <a:gd name="connsiteX8" fmla="*/ 312335 w 544284"/>
                    <a:gd name="connsiteY8" fmla="*/ 145106 h 508025"/>
                    <a:gd name="connsiteX9" fmla="*/ 353610 w 544284"/>
                    <a:gd name="connsiteY9" fmla="*/ 151456 h 508025"/>
                    <a:gd name="connsiteX10" fmla="*/ 445685 w 544284"/>
                    <a:gd name="connsiteY10" fmla="*/ 164156 h 508025"/>
                    <a:gd name="connsiteX11" fmla="*/ 486960 w 544284"/>
                    <a:gd name="connsiteY11" fmla="*/ 189556 h 508025"/>
                    <a:gd name="connsiteX12" fmla="*/ 509185 w 544284"/>
                    <a:gd name="connsiteY12" fmla="*/ 234006 h 508025"/>
                    <a:gd name="connsiteX13" fmla="*/ 506010 w 544284"/>
                    <a:gd name="connsiteY13" fmla="*/ 488006 h 508025"/>
                    <a:gd name="connsiteX14" fmla="*/ 4360 w 544284"/>
                    <a:gd name="connsiteY14" fmla="*/ 449906 h 508025"/>
                    <a:gd name="connsiteX0" fmla="*/ 4360 w 544284"/>
                    <a:gd name="connsiteY0" fmla="*/ 449906 h 500804"/>
                    <a:gd name="connsiteX1" fmla="*/ 7535 w 544284"/>
                    <a:gd name="connsiteY1" fmla="*/ 214956 h 500804"/>
                    <a:gd name="connsiteX2" fmla="*/ 23410 w 544284"/>
                    <a:gd name="connsiteY2" fmla="*/ 176856 h 500804"/>
                    <a:gd name="connsiteX3" fmla="*/ 71035 w 544284"/>
                    <a:gd name="connsiteY3" fmla="*/ 160981 h 500804"/>
                    <a:gd name="connsiteX4" fmla="*/ 172635 w 544284"/>
                    <a:gd name="connsiteY4" fmla="*/ 154631 h 500804"/>
                    <a:gd name="connsiteX5" fmla="*/ 198035 w 544284"/>
                    <a:gd name="connsiteY5" fmla="*/ 151456 h 500804"/>
                    <a:gd name="connsiteX6" fmla="*/ 201210 w 544284"/>
                    <a:gd name="connsiteY6" fmla="*/ 18106 h 500804"/>
                    <a:gd name="connsiteX7" fmla="*/ 312335 w 544284"/>
                    <a:gd name="connsiteY7" fmla="*/ 14931 h 500804"/>
                    <a:gd name="connsiteX8" fmla="*/ 312335 w 544284"/>
                    <a:gd name="connsiteY8" fmla="*/ 145106 h 500804"/>
                    <a:gd name="connsiteX9" fmla="*/ 353610 w 544284"/>
                    <a:gd name="connsiteY9" fmla="*/ 151456 h 500804"/>
                    <a:gd name="connsiteX10" fmla="*/ 445685 w 544284"/>
                    <a:gd name="connsiteY10" fmla="*/ 164156 h 500804"/>
                    <a:gd name="connsiteX11" fmla="*/ 486960 w 544284"/>
                    <a:gd name="connsiteY11" fmla="*/ 189556 h 500804"/>
                    <a:gd name="connsiteX12" fmla="*/ 509185 w 544284"/>
                    <a:gd name="connsiteY12" fmla="*/ 234006 h 500804"/>
                    <a:gd name="connsiteX13" fmla="*/ 506010 w 544284"/>
                    <a:gd name="connsiteY13" fmla="*/ 488006 h 500804"/>
                    <a:gd name="connsiteX14" fmla="*/ 4360 w 544284"/>
                    <a:gd name="connsiteY14" fmla="*/ 449906 h 500804"/>
                    <a:gd name="connsiteX0" fmla="*/ 4360 w 544284"/>
                    <a:gd name="connsiteY0" fmla="*/ 449906 h 500804"/>
                    <a:gd name="connsiteX1" fmla="*/ 7535 w 544284"/>
                    <a:gd name="connsiteY1" fmla="*/ 214956 h 500804"/>
                    <a:gd name="connsiteX2" fmla="*/ 23410 w 544284"/>
                    <a:gd name="connsiteY2" fmla="*/ 176856 h 500804"/>
                    <a:gd name="connsiteX3" fmla="*/ 71035 w 544284"/>
                    <a:gd name="connsiteY3" fmla="*/ 160981 h 500804"/>
                    <a:gd name="connsiteX4" fmla="*/ 172635 w 544284"/>
                    <a:gd name="connsiteY4" fmla="*/ 154631 h 500804"/>
                    <a:gd name="connsiteX5" fmla="*/ 198035 w 544284"/>
                    <a:gd name="connsiteY5" fmla="*/ 151456 h 500804"/>
                    <a:gd name="connsiteX6" fmla="*/ 201210 w 544284"/>
                    <a:gd name="connsiteY6" fmla="*/ 18106 h 500804"/>
                    <a:gd name="connsiteX7" fmla="*/ 312335 w 544284"/>
                    <a:gd name="connsiteY7" fmla="*/ 14931 h 500804"/>
                    <a:gd name="connsiteX8" fmla="*/ 312335 w 544284"/>
                    <a:gd name="connsiteY8" fmla="*/ 145106 h 500804"/>
                    <a:gd name="connsiteX9" fmla="*/ 353610 w 544284"/>
                    <a:gd name="connsiteY9" fmla="*/ 151456 h 500804"/>
                    <a:gd name="connsiteX10" fmla="*/ 445685 w 544284"/>
                    <a:gd name="connsiteY10" fmla="*/ 164156 h 500804"/>
                    <a:gd name="connsiteX11" fmla="*/ 486960 w 544284"/>
                    <a:gd name="connsiteY11" fmla="*/ 189556 h 500804"/>
                    <a:gd name="connsiteX12" fmla="*/ 509185 w 544284"/>
                    <a:gd name="connsiteY12" fmla="*/ 234006 h 500804"/>
                    <a:gd name="connsiteX13" fmla="*/ 506010 w 544284"/>
                    <a:gd name="connsiteY13" fmla="*/ 488006 h 500804"/>
                    <a:gd name="connsiteX14" fmla="*/ 4360 w 544284"/>
                    <a:gd name="connsiteY14" fmla="*/ 449906 h 500804"/>
                    <a:gd name="connsiteX0" fmla="*/ 4360 w 519024"/>
                    <a:gd name="connsiteY0" fmla="*/ 449906 h 500804"/>
                    <a:gd name="connsiteX1" fmla="*/ 7535 w 519024"/>
                    <a:gd name="connsiteY1" fmla="*/ 214956 h 500804"/>
                    <a:gd name="connsiteX2" fmla="*/ 23410 w 519024"/>
                    <a:gd name="connsiteY2" fmla="*/ 176856 h 500804"/>
                    <a:gd name="connsiteX3" fmla="*/ 71035 w 519024"/>
                    <a:gd name="connsiteY3" fmla="*/ 160981 h 500804"/>
                    <a:gd name="connsiteX4" fmla="*/ 172635 w 519024"/>
                    <a:gd name="connsiteY4" fmla="*/ 154631 h 500804"/>
                    <a:gd name="connsiteX5" fmla="*/ 198035 w 519024"/>
                    <a:gd name="connsiteY5" fmla="*/ 151456 h 500804"/>
                    <a:gd name="connsiteX6" fmla="*/ 201210 w 519024"/>
                    <a:gd name="connsiteY6" fmla="*/ 18106 h 500804"/>
                    <a:gd name="connsiteX7" fmla="*/ 312335 w 519024"/>
                    <a:gd name="connsiteY7" fmla="*/ 14931 h 500804"/>
                    <a:gd name="connsiteX8" fmla="*/ 312335 w 519024"/>
                    <a:gd name="connsiteY8" fmla="*/ 145106 h 500804"/>
                    <a:gd name="connsiteX9" fmla="*/ 353610 w 519024"/>
                    <a:gd name="connsiteY9" fmla="*/ 151456 h 500804"/>
                    <a:gd name="connsiteX10" fmla="*/ 445685 w 519024"/>
                    <a:gd name="connsiteY10" fmla="*/ 164156 h 500804"/>
                    <a:gd name="connsiteX11" fmla="*/ 486960 w 519024"/>
                    <a:gd name="connsiteY11" fmla="*/ 189556 h 500804"/>
                    <a:gd name="connsiteX12" fmla="*/ 509185 w 519024"/>
                    <a:gd name="connsiteY12" fmla="*/ 234006 h 500804"/>
                    <a:gd name="connsiteX13" fmla="*/ 506010 w 519024"/>
                    <a:gd name="connsiteY13" fmla="*/ 488006 h 500804"/>
                    <a:gd name="connsiteX14" fmla="*/ 4360 w 519024"/>
                    <a:gd name="connsiteY14" fmla="*/ 449906 h 500804"/>
                    <a:gd name="connsiteX0" fmla="*/ 4360 w 519024"/>
                    <a:gd name="connsiteY0" fmla="*/ 449906 h 488006"/>
                    <a:gd name="connsiteX1" fmla="*/ 7535 w 519024"/>
                    <a:gd name="connsiteY1" fmla="*/ 214956 h 488006"/>
                    <a:gd name="connsiteX2" fmla="*/ 23410 w 519024"/>
                    <a:gd name="connsiteY2" fmla="*/ 176856 h 488006"/>
                    <a:gd name="connsiteX3" fmla="*/ 71035 w 519024"/>
                    <a:gd name="connsiteY3" fmla="*/ 160981 h 488006"/>
                    <a:gd name="connsiteX4" fmla="*/ 172635 w 519024"/>
                    <a:gd name="connsiteY4" fmla="*/ 154631 h 488006"/>
                    <a:gd name="connsiteX5" fmla="*/ 198035 w 519024"/>
                    <a:gd name="connsiteY5" fmla="*/ 151456 h 488006"/>
                    <a:gd name="connsiteX6" fmla="*/ 201210 w 519024"/>
                    <a:gd name="connsiteY6" fmla="*/ 18106 h 488006"/>
                    <a:gd name="connsiteX7" fmla="*/ 312335 w 519024"/>
                    <a:gd name="connsiteY7" fmla="*/ 14931 h 488006"/>
                    <a:gd name="connsiteX8" fmla="*/ 312335 w 519024"/>
                    <a:gd name="connsiteY8" fmla="*/ 145106 h 488006"/>
                    <a:gd name="connsiteX9" fmla="*/ 353610 w 519024"/>
                    <a:gd name="connsiteY9" fmla="*/ 151456 h 488006"/>
                    <a:gd name="connsiteX10" fmla="*/ 445685 w 519024"/>
                    <a:gd name="connsiteY10" fmla="*/ 164156 h 488006"/>
                    <a:gd name="connsiteX11" fmla="*/ 486960 w 519024"/>
                    <a:gd name="connsiteY11" fmla="*/ 189556 h 488006"/>
                    <a:gd name="connsiteX12" fmla="*/ 509185 w 519024"/>
                    <a:gd name="connsiteY12" fmla="*/ 234006 h 488006"/>
                    <a:gd name="connsiteX13" fmla="*/ 506010 w 519024"/>
                    <a:gd name="connsiteY13" fmla="*/ 488006 h 488006"/>
                    <a:gd name="connsiteX14" fmla="*/ 4360 w 519024"/>
                    <a:gd name="connsiteY14" fmla="*/ 449906 h 488006"/>
                    <a:gd name="connsiteX0" fmla="*/ 4360 w 523534"/>
                    <a:gd name="connsiteY0" fmla="*/ 449906 h 472131"/>
                    <a:gd name="connsiteX1" fmla="*/ 7535 w 523534"/>
                    <a:gd name="connsiteY1" fmla="*/ 214956 h 472131"/>
                    <a:gd name="connsiteX2" fmla="*/ 23410 w 523534"/>
                    <a:gd name="connsiteY2" fmla="*/ 176856 h 472131"/>
                    <a:gd name="connsiteX3" fmla="*/ 71035 w 523534"/>
                    <a:gd name="connsiteY3" fmla="*/ 160981 h 472131"/>
                    <a:gd name="connsiteX4" fmla="*/ 172635 w 523534"/>
                    <a:gd name="connsiteY4" fmla="*/ 154631 h 472131"/>
                    <a:gd name="connsiteX5" fmla="*/ 198035 w 523534"/>
                    <a:gd name="connsiteY5" fmla="*/ 151456 h 472131"/>
                    <a:gd name="connsiteX6" fmla="*/ 201210 w 523534"/>
                    <a:gd name="connsiteY6" fmla="*/ 18106 h 472131"/>
                    <a:gd name="connsiteX7" fmla="*/ 312335 w 523534"/>
                    <a:gd name="connsiteY7" fmla="*/ 14931 h 472131"/>
                    <a:gd name="connsiteX8" fmla="*/ 312335 w 523534"/>
                    <a:gd name="connsiteY8" fmla="*/ 145106 h 472131"/>
                    <a:gd name="connsiteX9" fmla="*/ 353610 w 523534"/>
                    <a:gd name="connsiteY9" fmla="*/ 151456 h 472131"/>
                    <a:gd name="connsiteX10" fmla="*/ 445685 w 523534"/>
                    <a:gd name="connsiteY10" fmla="*/ 164156 h 472131"/>
                    <a:gd name="connsiteX11" fmla="*/ 486960 w 523534"/>
                    <a:gd name="connsiteY11" fmla="*/ 189556 h 472131"/>
                    <a:gd name="connsiteX12" fmla="*/ 509185 w 523534"/>
                    <a:gd name="connsiteY12" fmla="*/ 234006 h 472131"/>
                    <a:gd name="connsiteX13" fmla="*/ 512360 w 523534"/>
                    <a:gd name="connsiteY13" fmla="*/ 472131 h 472131"/>
                    <a:gd name="connsiteX14" fmla="*/ 4360 w 523534"/>
                    <a:gd name="connsiteY14" fmla="*/ 449906 h 472131"/>
                    <a:gd name="connsiteX0" fmla="*/ 4360 w 513675"/>
                    <a:gd name="connsiteY0" fmla="*/ 449906 h 472131"/>
                    <a:gd name="connsiteX1" fmla="*/ 7535 w 513675"/>
                    <a:gd name="connsiteY1" fmla="*/ 214956 h 472131"/>
                    <a:gd name="connsiteX2" fmla="*/ 23410 w 513675"/>
                    <a:gd name="connsiteY2" fmla="*/ 176856 h 472131"/>
                    <a:gd name="connsiteX3" fmla="*/ 71035 w 513675"/>
                    <a:gd name="connsiteY3" fmla="*/ 160981 h 472131"/>
                    <a:gd name="connsiteX4" fmla="*/ 172635 w 513675"/>
                    <a:gd name="connsiteY4" fmla="*/ 154631 h 472131"/>
                    <a:gd name="connsiteX5" fmla="*/ 198035 w 513675"/>
                    <a:gd name="connsiteY5" fmla="*/ 151456 h 472131"/>
                    <a:gd name="connsiteX6" fmla="*/ 201210 w 513675"/>
                    <a:gd name="connsiteY6" fmla="*/ 18106 h 472131"/>
                    <a:gd name="connsiteX7" fmla="*/ 312335 w 513675"/>
                    <a:gd name="connsiteY7" fmla="*/ 14931 h 472131"/>
                    <a:gd name="connsiteX8" fmla="*/ 312335 w 513675"/>
                    <a:gd name="connsiteY8" fmla="*/ 145106 h 472131"/>
                    <a:gd name="connsiteX9" fmla="*/ 353610 w 513675"/>
                    <a:gd name="connsiteY9" fmla="*/ 151456 h 472131"/>
                    <a:gd name="connsiteX10" fmla="*/ 445685 w 513675"/>
                    <a:gd name="connsiteY10" fmla="*/ 164156 h 472131"/>
                    <a:gd name="connsiteX11" fmla="*/ 486960 w 513675"/>
                    <a:gd name="connsiteY11" fmla="*/ 189556 h 472131"/>
                    <a:gd name="connsiteX12" fmla="*/ 509185 w 513675"/>
                    <a:gd name="connsiteY12" fmla="*/ 234006 h 472131"/>
                    <a:gd name="connsiteX13" fmla="*/ 512360 w 513675"/>
                    <a:gd name="connsiteY13" fmla="*/ 472131 h 472131"/>
                    <a:gd name="connsiteX14" fmla="*/ 4360 w 513675"/>
                    <a:gd name="connsiteY14" fmla="*/ 449906 h 472131"/>
                    <a:gd name="connsiteX0" fmla="*/ 4360 w 513675"/>
                    <a:gd name="connsiteY0" fmla="*/ 446969 h 469194"/>
                    <a:gd name="connsiteX1" fmla="*/ 7535 w 513675"/>
                    <a:gd name="connsiteY1" fmla="*/ 212019 h 469194"/>
                    <a:gd name="connsiteX2" fmla="*/ 23410 w 513675"/>
                    <a:gd name="connsiteY2" fmla="*/ 173919 h 469194"/>
                    <a:gd name="connsiteX3" fmla="*/ 71035 w 513675"/>
                    <a:gd name="connsiteY3" fmla="*/ 158044 h 469194"/>
                    <a:gd name="connsiteX4" fmla="*/ 172635 w 513675"/>
                    <a:gd name="connsiteY4" fmla="*/ 151694 h 469194"/>
                    <a:gd name="connsiteX5" fmla="*/ 188510 w 513675"/>
                    <a:gd name="connsiteY5" fmla="*/ 94544 h 469194"/>
                    <a:gd name="connsiteX6" fmla="*/ 201210 w 513675"/>
                    <a:gd name="connsiteY6" fmla="*/ 15169 h 469194"/>
                    <a:gd name="connsiteX7" fmla="*/ 312335 w 513675"/>
                    <a:gd name="connsiteY7" fmla="*/ 11994 h 469194"/>
                    <a:gd name="connsiteX8" fmla="*/ 312335 w 513675"/>
                    <a:gd name="connsiteY8" fmla="*/ 142169 h 469194"/>
                    <a:gd name="connsiteX9" fmla="*/ 353610 w 513675"/>
                    <a:gd name="connsiteY9" fmla="*/ 148519 h 469194"/>
                    <a:gd name="connsiteX10" fmla="*/ 445685 w 513675"/>
                    <a:gd name="connsiteY10" fmla="*/ 161219 h 469194"/>
                    <a:gd name="connsiteX11" fmla="*/ 486960 w 513675"/>
                    <a:gd name="connsiteY11" fmla="*/ 186619 h 469194"/>
                    <a:gd name="connsiteX12" fmla="*/ 509185 w 513675"/>
                    <a:gd name="connsiteY12" fmla="*/ 231069 h 469194"/>
                    <a:gd name="connsiteX13" fmla="*/ 512360 w 513675"/>
                    <a:gd name="connsiteY13" fmla="*/ 469194 h 469194"/>
                    <a:gd name="connsiteX14" fmla="*/ 4360 w 513675"/>
                    <a:gd name="connsiteY14" fmla="*/ 446969 h 469194"/>
                    <a:gd name="connsiteX0" fmla="*/ 4360 w 513675"/>
                    <a:gd name="connsiteY0" fmla="*/ 443409 h 465634"/>
                    <a:gd name="connsiteX1" fmla="*/ 7535 w 513675"/>
                    <a:gd name="connsiteY1" fmla="*/ 208459 h 465634"/>
                    <a:gd name="connsiteX2" fmla="*/ 23410 w 513675"/>
                    <a:gd name="connsiteY2" fmla="*/ 170359 h 465634"/>
                    <a:gd name="connsiteX3" fmla="*/ 71035 w 513675"/>
                    <a:gd name="connsiteY3" fmla="*/ 154484 h 465634"/>
                    <a:gd name="connsiteX4" fmla="*/ 172635 w 513675"/>
                    <a:gd name="connsiteY4" fmla="*/ 148134 h 465634"/>
                    <a:gd name="connsiteX5" fmla="*/ 188510 w 513675"/>
                    <a:gd name="connsiteY5" fmla="*/ 90984 h 465634"/>
                    <a:gd name="connsiteX6" fmla="*/ 201210 w 513675"/>
                    <a:gd name="connsiteY6" fmla="*/ 11609 h 465634"/>
                    <a:gd name="connsiteX7" fmla="*/ 312335 w 513675"/>
                    <a:gd name="connsiteY7" fmla="*/ 8434 h 465634"/>
                    <a:gd name="connsiteX8" fmla="*/ 312335 w 513675"/>
                    <a:gd name="connsiteY8" fmla="*/ 87809 h 465634"/>
                    <a:gd name="connsiteX9" fmla="*/ 353610 w 513675"/>
                    <a:gd name="connsiteY9" fmla="*/ 144959 h 465634"/>
                    <a:gd name="connsiteX10" fmla="*/ 445685 w 513675"/>
                    <a:gd name="connsiteY10" fmla="*/ 157659 h 465634"/>
                    <a:gd name="connsiteX11" fmla="*/ 486960 w 513675"/>
                    <a:gd name="connsiteY11" fmla="*/ 183059 h 465634"/>
                    <a:gd name="connsiteX12" fmla="*/ 509185 w 513675"/>
                    <a:gd name="connsiteY12" fmla="*/ 227509 h 465634"/>
                    <a:gd name="connsiteX13" fmla="*/ 512360 w 513675"/>
                    <a:gd name="connsiteY13" fmla="*/ 465634 h 465634"/>
                    <a:gd name="connsiteX14" fmla="*/ 4360 w 513675"/>
                    <a:gd name="connsiteY14" fmla="*/ 443409 h 465634"/>
                    <a:gd name="connsiteX0" fmla="*/ 4360 w 513675"/>
                    <a:gd name="connsiteY0" fmla="*/ 443409 h 465634"/>
                    <a:gd name="connsiteX1" fmla="*/ 7535 w 513675"/>
                    <a:gd name="connsiteY1" fmla="*/ 208459 h 465634"/>
                    <a:gd name="connsiteX2" fmla="*/ 23410 w 513675"/>
                    <a:gd name="connsiteY2" fmla="*/ 170359 h 465634"/>
                    <a:gd name="connsiteX3" fmla="*/ 71035 w 513675"/>
                    <a:gd name="connsiteY3" fmla="*/ 154484 h 465634"/>
                    <a:gd name="connsiteX4" fmla="*/ 172635 w 513675"/>
                    <a:gd name="connsiteY4" fmla="*/ 148134 h 465634"/>
                    <a:gd name="connsiteX5" fmla="*/ 188510 w 513675"/>
                    <a:gd name="connsiteY5" fmla="*/ 90984 h 465634"/>
                    <a:gd name="connsiteX6" fmla="*/ 201210 w 513675"/>
                    <a:gd name="connsiteY6" fmla="*/ 11609 h 465634"/>
                    <a:gd name="connsiteX7" fmla="*/ 312335 w 513675"/>
                    <a:gd name="connsiteY7" fmla="*/ 8434 h 465634"/>
                    <a:gd name="connsiteX8" fmla="*/ 312335 w 513675"/>
                    <a:gd name="connsiteY8" fmla="*/ 87809 h 465634"/>
                    <a:gd name="connsiteX9" fmla="*/ 334560 w 513675"/>
                    <a:gd name="connsiteY9" fmla="*/ 135434 h 465634"/>
                    <a:gd name="connsiteX10" fmla="*/ 445685 w 513675"/>
                    <a:gd name="connsiteY10" fmla="*/ 157659 h 465634"/>
                    <a:gd name="connsiteX11" fmla="*/ 486960 w 513675"/>
                    <a:gd name="connsiteY11" fmla="*/ 183059 h 465634"/>
                    <a:gd name="connsiteX12" fmla="*/ 509185 w 513675"/>
                    <a:gd name="connsiteY12" fmla="*/ 227509 h 465634"/>
                    <a:gd name="connsiteX13" fmla="*/ 512360 w 513675"/>
                    <a:gd name="connsiteY13" fmla="*/ 465634 h 465634"/>
                    <a:gd name="connsiteX14" fmla="*/ 4360 w 513675"/>
                    <a:gd name="connsiteY14" fmla="*/ 443409 h 465634"/>
                    <a:gd name="connsiteX0" fmla="*/ 4360 w 510500"/>
                    <a:gd name="connsiteY0" fmla="*/ 443409 h 449759"/>
                    <a:gd name="connsiteX1" fmla="*/ 7535 w 510500"/>
                    <a:gd name="connsiteY1" fmla="*/ 208459 h 449759"/>
                    <a:gd name="connsiteX2" fmla="*/ 23410 w 510500"/>
                    <a:gd name="connsiteY2" fmla="*/ 170359 h 449759"/>
                    <a:gd name="connsiteX3" fmla="*/ 71035 w 510500"/>
                    <a:gd name="connsiteY3" fmla="*/ 154484 h 449759"/>
                    <a:gd name="connsiteX4" fmla="*/ 172635 w 510500"/>
                    <a:gd name="connsiteY4" fmla="*/ 148134 h 449759"/>
                    <a:gd name="connsiteX5" fmla="*/ 188510 w 510500"/>
                    <a:gd name="connsiteY5" fmla="*/ 90984 h 449759"/>
                    <a:gd name="connsiteX6" fmla="*/ 201210 w 510500"/>
                    <a:gd name="connsiteY6" fmla="*/ 11609 h 449759"/>
                    <a:gd name="connsiteX7" fmla="*/ 312335 w 510500"/>
                    <a:gd name="connsiteY7" fmla="*/ 8434 h 449759"/>
                    <a:gd name="connsiteX8" fmla="*/ 312335 w 510500"/>
                    <a:gd name="connsiteY8" fmla="*/ 87809 h 449759"/>
                    <a:gd name="connsiteX9" fmla="*/ 334560 w 510500"/>
                    <a:gd name="connsiteY9" fmla="*/ 135434 h 449759"/>
                    <a:gd name="connsiteX10" fmla="*/ 445685 w 510500"/>
                    <a:gd name="connsiteY10" fmla="*/ 157659 h 449759"/>
                    <a:gd name="connsiteX11" fmla="*/ 486960 w 510500"/>
                    <a:gd name="connsiteY11" fmla="*/ 183059 h 449759"/>
                    <a:gd name="connsiteX12" fmla="*/ 509185 w 510500"/>
                    <a:gd name="connsiteY12" fmla="*/ 227509 h 449759"/>
                    <a:gd name="connsiteX13" fmla="*/ 506010 w 510500"/>
                    <a:gd name="connsiteY13" fmla="*/ 449759 h 449759"/>
                    <a:gd name="connsiteX14" fmla="*/ 4360 w 510500"/>
                    <a:gd name="connsiteY14" fmla="*/ 443409 h 449759"/>
                    <a:gd name="connsiteX0" fmla="*/ 4360 w 510500"/>
                    <a:gd name="connsiteY0" fmla="*/ 443409 h 454926"/>
                    <a:gd name="connsiteX1" fmla="*/ 7535 w 510500"/>
                    <a:gd name="connsiteY1" fmla="*/ 208459 h 454926"/>
                    <a:gd name="connsiteX2" fmla="*/ 23410 w 510500"/>
                    <a:gd name="connsiteY2" fmla="*/ 170359 h 454926"/>
                    <a:gd name="connsiteX3" fmla="*/ 71035 w 510500"/>
                    <a:gd name="connsiteY3" fmla="*/ 154484 h 454926"/>
                    <a:gd name="connsiteX4" fmla="*/ 172635 w 510500"/>
                    <a:gd name="connsiteY4" fmla="*/ 148134 h 454926"/>
                    <a:gd name="connsiteX5" fmla="*/ 188510 w 510500"/>
                    <a:gd name="connsiteY5" fmla="*/ 90984 h 454926"/>
                    <a:gd name="connsiteX6" fmla="*/ 201210 w 510500"/>
                    <a:gd name="connsiteY6" fmla="*/ 11609 h 454926"/>
                    <a:gd name="connsiteX7" fmla="*/ 312335 w 510500"/>
                    <a:gd name="connsiteY7" fmla="*/ 8434 h 454926"/>
                    <a:gd name="connsiteX8" fmla="*/ 312335 w 510500"/>
                    <a:gd name="connsiteY8" fmla="*/ 87809 h 454926"/>
                    <a:gd name="connsiteX9" fmla="*/ 334560 w 510500"/>
                    <a:gd name="connsiteY9" fmla="*/ 135434 h 454926"/>
                    <a:gd name="connsiteX10" fmla="*/ 445685 w 510500"/>
                    <a:gd name="connsiteY10" fmla="*/ 157659 h 454926"/>
                    <a:gd name="connsiteX11" fmla="*/ 486960 w 510500"/>
                    <a:gd name="connsiteY11" fmla="*/ 183059 h 454926"/>
                    <a:gd name="connsiteX12" fmla="*/ 509185 w 510500"/>
                    <a:gd name="connsiteY12" fmla="*/ 227509 h 454926"/>
                    <a:gd name="connsiteX13" fmla="*/ 506010 w 510500"/>
                    <a:gd name="connsiteY13" fmla="*/ 449759 h 454926"/>
                    <a:gd name="connsiteX14" fmla="*/ 4360 w 510500"/>
                    <a:gd name="connsiteY14" fmla="*/ 443409 h 454926"/>
                    <a:gd name="connsiteX0" fmla="*/ 6473 w 512613"/>
                    <a:gd name="connsiteY0" fmla="*/ 443409 h 454926"/>
                    <a:gd name="connsiteX1" fmla="*/ 9648 w 512613"/>
                    <a:gd name="connsiteY1" fmla="*/ 208459 h 454926"/>
                    <a:gd name="connsiteX2" fmla="*/ 73148 w 512613"/>
                    <a:gd name="connsiteY2" fmla="*/ 154484 h 454926"/>
                    <a:gd name="connsiteX3" fmla="*/ 174748 w 512613"/>
                    <a:gd name="connsiteY3" fmla="*/ 148134 h 454926"/>
                    <a:gd name="connsiteX4" fmla="*/ 190623 w 512613"/>
                    <a:gd name="connsiteY4" fmla="*/ 90984 h 454926"/>
                    <a:gd name="connsiteX5" fmla="*/ 203323 w 512613"/>
                    <a:gd name="connsiteY5" fmla="*/ 11609 h 454926"/>
                    <a:gd name="connsiteX6" fmla="*/ 314448 w 512613"/>
                    <a:gd name="connsiteY6" fmla="*/ 8434 h 454926"/>
                    <a:gd name="connsiteX7" fmla="*/ 314448 w 512613"/>
                    <a:gd name="connsiteY7" fmla="*/ 87809 h 454926"/>
                    <a:gd name="connsiteX8" fmla="*/ 336673 w 512613"/>
                    <a:gd name="connsiteY8" fmla="*/ 135434 h 454926"/>
                    <a:gd name="connsiteX9" fmla="*/ 447798 w 512613"/>
                    <a:gd name="connsiteY9" fmla="*/ 157659 h 454926"/>
                    <a:gd name="connsiteX10" fmla="*/ 489073 w 512613"/>
                    <a:gd name="connsiteY10" fmla="*/ 183059 h 454926"/>
                    <a:gd name="connsiteX11" fmla="*/ 511298 w 512613"/>
                    <a:gd name="connsiteY11" fmla="*/ 227509 h 454926"/>
                    <a:gd name="connsiteX12" fmla="*/ 508123 w 512613"/>
                    <a:gd name="connsiteY12" fmla="*/ 449759 h 454926"/>
                    <a:gd name="connsiteX13" fmla="*/ 6473 w 512613"/>
                    <a:gd name="connsiteY13" fmla="*/ 443409 h 454926"/>
                    <a:gd name="connsiteX0" fmla="*/ 4049 w 510189"/>
                    <a:gd name="connsiteY0" fmla="*/ 443409 h 454926"/>
                    <a:gd name="connsiteX1" fmla="*/ 7224 w 510189"/>
                    <a:gd name="connsiteY1" fmla="*/ 208459 h 454926"/>
                    <a:gd name="connsiteX2" fmla="*/ 70724 w 510189"/>
                    <a:gd name="connsiteY2" fmla="*/ 154484 h 454926"/>
                    <a:gd name="connsiteX3" fmla="*/ 172324 w 510189"/>
                    <a:gd name="connsiteY3" fmla="*/ 148134 h 454926"/>
                    <a:gd name="connsiteX4" fmla="*/ 188199 w 510189"/>
                    <a:gd name="connsiteY4" fmla="*/ 90984 h 454926"/>
                    <a:gd name="connsiteX5" fmla="*/ 200899 w 510189"/>
                    <a:gd name="connsiteY5" fmla="*/ 11609 h 454926"/>
                    <a:gd name="connsiteX6" fmla="*/ 312024 w 510189"/>
                    <a:gd name="connsiteY6" fmla="*/ 8434 h 454926"/>
                    <a:gd name="connsiteX7" fmla="*/ 312024 w 510189"/>
                    <a:gd name="connsiteY7" fmla="*/ 87809 h 454926"/>
                    <a:gd name="connsiteX8" fmla="*/ 334249 w 510189"/>
                    <a:gd name="connsiteY8" fmla="*/ 135434 h 454926"/>
                    <a:gd name="connsiteX9" fmla="*/ 445374 w 510189"/>
                    <a:gd name="connsiteY9" fmla="*/ 157659 h 454926"/>
                    <a:gd name="connsiteX10" fmla="*/ 486649 w 510189"/>
                    <a:gd name="connsiteY10" fmla="*/ 183059 h 454926"/>
                    <a:gd name="connsiteX11" fmla="*/ 508874 w 510189"/>
                    <a:gd name="connsiteY11" fmla="*/ 227509 h 454926"/>
                    <a:gd name="connsiteX12" fmla="*/ 505699 w 510189"/>
                    <a:gd name="connsiteY12" fmla="*/ 449759 h 454926"/>
                    <a:gd name="connsiteX13" fmla="*/ 4049 w 510189"/>
                    <a:gd name="connsiteY13" fmla="*/ 443409 h 454926"/>
                    <a:gd name="connsiteX0" fmla="*/ 4049 w 510189"/>
                    <a:gd name="connsiteY0" fmla="*/ 443409 h 454926"/>
                    <a:gd name="connsiteX1" fmla="*/ 7224 w 510189"/>
                    <a:gd name="connsiteY1" fmla="*/ 208459 h 454926"/>
                    <a:gd name="connsiteX2" fmla="*/ 70724 w 510189"/>
                    <a:gd name="connsiteY2" fmla="*/ 154484 h 454926"/>
                    <a:gd name="connsiteX3" fmla="*/ 172324 w 510189"/>
                    <a:gd name="connsiteY3" fmla="*/ 148134 h 454926"/>
                    <a:gd name="connsiteX4" fmla="*/ 188199 w 510189"/>
                    <a:gd name="connsiteY4" fmla="*/ 90984 h 454926"/>
                    <a:gd name="connsiteX5" fmla="*/ 200899 w 510189"/>
                    <a:gd name="connsiteY5" fmla="*/ 11609 h 454926"/>
                    <a:gd name="connsiteX6" fmla="*/ 312024 w 510189"/>
                    <a:gd name="connsiteY6" fmla="*/ 8434 h 454926"/>
                    <a:gd name="connsiteX7" fmla="*/ 312024 w 510189"/>
                    <a:gd name="connsiteY7" fmla="*/ 87809 h 454926"/>
                    <a:gd name="connsiteX8" fmla="*/ 334249 w 510189"/>
                    <a:gd name="connsiteY8" fmla="*/ 135434 h 454926"/>
                    <a:gd name="connsiteX9" fmla="*/ 445374 w 510189"/>
                    <a:gd name="connsiteY9" fmla="*/ 157659 h 454926"/>
                    <a:gd name="connsiteX10" fmla="*/ 508874 w 510189"/>
                    <a:gd name="connsiteY10" fmla="*/ 227509 h 454926"/>
                    <a:gd name="connsiteX11" fmla="*/ 505699 w 510189"/>
                    <a:gd name="connsiteY11" fmla="*/ 449759 h 454926"/>
                    <a:gd name="connsiteX12" fmla="*/ 4049 w 510189"/>
                    <a:gd name="connsiteY12" fmla="*/ 443409 h 454926"/>
                    <a:gd name="connsiteX0" fmla="*/ 4049 w 510189"/>
                    <a:gd name="connsiteY0" fmla="*/ 443409 h 454926"/>
                    <a:gd name="connsiteX1" fmla="*/ 7224 w 510189"/>
                    <a:gd name="connsiteY1" fmla="*/ 208459 h 454926"/>
                    <a:gd name="connsiteX2" fmla="*/ 70724 w 510189"/>
                    <a:gd name="connsiteY2" fmla="*/ 154484 h 454926"/>
                    <a:gd name="connsiteX3" fmla="*/ 172324 w 510189"/>
                    <a:gd name="connsiteY3" fmla="*/ 148134 h 454926"/>
                    <a:gd name="connsiteX4" fmla="*/ 188199 w 510189"/>
                    <a:gd name="connsiteY4" fmla="*/ 90984 h 454926"/>
                    <a:gd name="connsiteX5" fmla="*/ 200899 w 510189"/>
                    <a:gd name="connsiteY5" fmla="*/ 11609 h 454926"/>
                    <a:gd name="connsiteX6" fmla="*/ 312024 w 510189"/>
                    <a:gd name="connsiteY6" fmla="*/ 8434 h 454926"/>
                    <a:gd name="connsiteX7" fmla="*/ 312024 w 510189"/>
                    <a:gd name="connsiteY7" fmla="*/ 87809 h 454926"/>
                    <a:gd name="connsiteX8" fmla="*/ 334249 w 510189"/>
                    <a:gd name="connsiteY8" fmla="*/ 135434 h 454926"/>
                    <a:gd name="connsiteX9" fmla="*/ 445374 w 510189"/>
                    <a:gd name="connsiteY9" fmla="*/ 157659 h 454926"/>
                    <a:gd name="connsiteX10" fmla="*/ 508874 w 510189"/>
                    <a:gd name="connsiteY10" fmla="*/ 227509 h 454926"/>
                    <a:gd name="connsiteX11" fmla="*/ 505699 w 510189"/>
                    <a:gd name="connsiteY11" fmla="*/ 449759 h 454926"/>
                    <a:gd name="connsiteX12" fmla="*/ 4049 w 510189"/>
                    <a:gd name="connsiteY12" fmla="*/ 443409 h 454926"/>
                    <a:gd name="connsiteX0" fmla="*/ 5987 w 512127"/>
                    <a:gd name="connsiteY0" fmla="*/ 443409 h 454926"/>
                    <a:gd name="connsiteX1" fmla="*/ 2812 w 512127"/>
                    <a:gd name="connsiteY1" fmla="*/ 217984 h 454926"/>
                    <a:gd name="connsiteX2" fmla="*/ 72662 w 512127"/>
                    <a:gd name="connsiteY2" fmla="*/ 154484 h 454926"/>
                    <a:gd name="connsiteX3" fmla="*/ 174262 w 512127"/>
                    <a:gd name="connsiteY3" fmla="*/ 148134 h 454926"/>
                    <a:gd name="connsiteX4" fmla="*/ 190137 w 512127"/>
                    <a:gd name="connsiteY4" fmla="*/ 90984 h 454926"/>
                    <a:gd name="connsiteX5" fmla="*/ 202837 w 512127"/>
                    <a:gd name="connsiteY5" fmla="*/ 11609 h 454926"/>
                    <a:gd name="connsiteX6" fmla="*/ 313962 w 512127"/>
                    <a:gd name="connsiteY6" fmla="*/ 8434 h 454926"/>
                    <a:gd name="connsiteX7" fmla="*/ 313962 w 512127"/>
                    <a:gd name="connsiteY7" fmla="*/ 87809 h 454926"/>
                    <a:gd name="connsiteX8" fmla="*/ 336187 w 512127"/>
                    <a:gd name="connsiteY8" fmla="*/ 135434 h 454926"/>
                    <a:gd name="connsiteX9" fmla="*/ 447312 w 512127"/>
                    <a:gd name="connsiteY9" fmla="*/ 157659 h 454926"/>
                    <a:gd name="connsiteX10" fmla="*/ 510812 w 512127"/>
                    <a:gd name="connsiteY10" fmla="*/ 227509 h 454926"/>
                    <a:gd name="connsiteX11" fmla="*/ 507637 w 512127"/>
                    <a:gd name="connsiteY11" fmla="*/ 449759 h 454926"/>
                    <a:gd name="connsiteX12" fmla="*/ 5987 w 512127"/>
                    <a:gd name="connsiteY12" fmla="*/ 443409 h 454926"/>
                    <a:gd name="connsiteX0" fmla="*/ 9762 w 515902"/>
                    <a:gd name="connsiteY0" fmla="*/ 443409 h 454926"/>
                    <a:gd name="connsiteX1" fmla="*/ 6587 w 515902"/>
                    <a:gd name="connsiteY1" fmla="*/ 217984 h 454926"/>
                    <a:gd name="connsiteX2" fmla="*/ 76437 w 515902"/>
                    <a:gd name="connsiteY2" fmla="*/ 154484 h 454926"/>
                    <a:gd name="connsiteX3" fmla="*/ 178037 w 515902"/>
                    <a:gd name="connsiteY3" fmla="*/ 148134 h 454926"/>
                    <a:gd name="connsiteX4" fmla="*/ 193912 w 515902"/>
                    <a:gd name="connsiteY4" fmla="*/ 90984 h 454926"/>
                    <a:gd name="connsiteX5" fmla="*/ 206612 w 515902"/>
                    <a:gd name="connsiteY5" fmla="*/ 11609 h 454926"/>
                    <a:gd name="connsiteX6" fmla="*/ 317737 w 515902"/>
                    <a:gd name="connsiteY6" fmla="*/ 8434 h 454926"/>
                    <a:gd name="connsiteX7" fmla="*/ 317737 w 515902"/>
                    <a:gd name="connsiteY7" fmla="*/ 87809 h 454926"/>
                    <a:gd name="connsiteX8" fmla="*/ 339962 w 515902"/>
                    <a:gd name="connsiteY8" fmla="*/ 135434 h 454926"/>
                    <a:gd name="connsiteX9" fmla="*/ 451087 w 515902"/>
                    <a:gd name="connsiteY9" fmla="*/ 157659 h 454926"/>
                    <a:gd name="connsiteX10" fmla="*/ 514587 w 515902"/>
                    <a:gd name="connsiteY10" fmla="*/ 227509 h 454926"/>
                    <a:gd name="connsiteX11" fmla="*/ 511412 w 515902"/>
                    <a:gd name="connsiteY11" fmla="*/ 449759 h 454926"/>
                    <a:gd name="connsiteX12" fmla="*/ 9762 w 515902"/>
                    <a:gd name="connsiteY12" fmla="*/ 443409 h 454926"/>
                    <a:gd name="connsiteX0" fmla="*/ 9762 w 515902"/>
                    <a:gd name="connsiteY0" fmla="*/ 443409 h 454926"/>
                    <a:gd name="connsiteX1" fmla="*/ 6587 w 515902"/>
                    <a:gd name="connsiteY1" fmla="*/ 217984 h 454926"/>
                    <a:gd name="connsiteX2" fmla="*/ 76437 w 515902"/>
                    <a:gd name="connsiteY2" fmla="*/ 154484 h 454926"/>
                    <a:gd name="connsiteX3" fmla="*/ 178037 w 515902"/>
                    <a:gd name="connsiteY3" fmla="*/ 148134 h 454926"/>
                    <a:gd name="connsiteX4" fmla="*/ 193912 w 515902"/>
                    <a:gd name="connsiteY4" fmla="*/ 90984 h 454926"/>
                    <a:gd name="connsiteX5" fmla="*/ 206612 w 515902"/>
                    <a:gd name="connsiteY5" fmla="*/ 11609 h 454926"/>
                    <a:gd name="connsiteX6" fmla="*/ 317737 w 515902"/>
                    <a:gd name="connsiteY6" fmla="*/ 8434 h 454926"/>
                    <a:gd name="connsiteX7" fmla="*/ 317737 w 515902"/>
                    <a:gd name="connsiteY7" fmla="*/ 87809 h 454926"/>
                    <a:gd name="connsiteX8" fmla="*/ 339962 w 515902"/>
                    <a:gd name="connsiteY8" fmla="*/ 135434 h 454926"/>
                    <a:gd name="connsiteX9" fmla="*/ 451087 w 515902"/>
                    <a:gd name="connsiteY9" fmla="*/ 157659 h 454926"/>
                    <a:gd name="connsiteX10" fmla="*/ 514587 w 515902"/>
                    <a:gd name="connsiteY10" fmla="*/ 227509 h 454926"/>
                    <a:gd name="connsiteX11" fmla="*/ 511412 w 515902"/>
                    <a:gd name="connsiteY11" fmla="*/ 449759 h 454926"/>
                    <a:gd name="connsiteX12" fmla="*/ 9762 w 515902"/>
                    <a:gd name="connsiteY12" fmla="*/ 443409 h 454926"/>
                    <a:gd name="connsiteX0" fmla="*/ 9762 w 515902"/>
                    <a:gd name="connsiteY0" fmla="*/ 443409 h 454926"/>
                    <a:gd name="connsiteX1" fmla="*/ 6587 w 515902"/>
                    <a:gd name="connsiteY1" fmla="*/ 217984 h 454926"/>
                    <a:gd name="connsiteX2" fmla="*/ 76437 w 515902"/>
                    <a:gd name="connsiteY2" fmla="*/ 154484 h 454926"/>
                    <a:gd name="connsiteX3" fmla="*/ 193912 w 515902"/>
                    <a:gd name="connsiteY3" fmla="*/ 90984 h 454926"/>
                    <a:gd name="connsiteX4" fmla="*/ 206612 w 515902"/>
                    <a:gd name="connsiteY4" fmla="*/ 11609 h 454926"/>
                    <a:gd name="connsiteX5" fmla="*/ 317737 w 515902"/>
                    <a:gd name="connsiteY5" fmla="*/ 8434 h 454926"/>
                    <a:gd name="connsiteX6" fmla="*/ 317737 w 515902"/>
                    <a:gd name="connsiteY6" fmla="*/ 87809 h 454926"/>
                    <a:gd name="connsiteX7" fmla="*/ 339962 w 515902"/>
                    <a:gd name="connsiteY7" fmla="*/ 135434 h 454926"/>
                    <a:gd name="connsiteX8" fmla="*/ 451087 w 515902"/>
                    <a:gd name="connsiteY8" fmla="*/ 157659 h 454926"/>
                    <a:gd name="connsiteX9" fmla="*/ 514587 w 515902"/>
                    <a:gd name="connsiteY9" fmla="*/ 227509 h 454926"/>
                    <a:gd name="connsiteX10" fmla="*/ 511412 w 515902"/>
                    <a:gd name="connsiteY10" fmla="*/ 449759 h 454926"/>
                    <a:gd name="connsiteX11" fmla="*/ 9762 w 515902"/>
                    <a:gd name="connsiteY11" fmla="*/ 443409 h 454926"/>
                    <a:gd name="connsiteX0" fmla="*/ 9762 w 515902"/>
                    <a:gd name="connsiteY0" fmla="*/ 446099 h 457616"/>
                    <a:gd name="connsiteX1" fmla="*/ 6587 w 515902"/>
                    <a:gd name="connsiteY1" fmla="*/ 220674 h 457616"/>
                    <a:gd name="connsiteX2" fmla="*/ 76437 w 515902"/>
                    <a:gd name="connsiteY2" fmla="*/ 157174 h 457616"/>
                    <a:gd name="connsiteX3" fmla="*/ 190737 w 515902"/>
                    <a:gd name="connsiteY3" fmla="*/ 138124 h 457616"/>
                    <a:gd name="connsiteX4" fmla="*/ 206612 w 515902"/>
                    <a:gd name="connsiteY4" fmla="*/ 14299 h 457616"/>
                    <a:gd name="connsiteX5" fmla="*/ 317737 w 515902"/>
                    <a:gd name="connsiteY5" fmla="*/ 11124 h 457616"/>
                    <a:gd name="connsiteX6" fmla="*/ 317737 w 515902"/>
                    <a:gd name="connsiteY6" fmla="*/ 90499 h 457616"/>
                    <a:gd name="connsiteX7" fmla="*/ 339962 w 515902"/>
                    <a:gd name="connsiteY7" fmla="*/ 138124 h 457616"/>
                    <a:gd name="connsiteX8" fmla="*/ 451087 w 515902"/>
                    <a:gd name="connsiteY8" fmla="*/ 160349 h 457616"/>
                    <a:gd name="connsiteX9" fmla="*/ 514587 w 515902"/>
                    <a:gd name="connsiteY9" fmla="*/ 230199 h 457616"/>
                    <a:gd name="connsiteX10" fmla="*/ 511412 w 515902"/>
                    <a:gd name="connsiteY10" fmla="*/ 452449 h 457616"/>
                    <a:gd name="connsiteX11" fmla="*/ 9762 w 515902"/>
                    <a:gd name="connsiteY11" fmla="*/ 446099 h 457616"/>
                    <a:gd name="connsiteX0" fmla="*/ 9762 w 515902"/>
                    <a:gd name="connsiteY0" fmla="*/ 446099 h 457616"/>
                    <a:gd name="connsiteX1" fmla="*/ 6587 w 515902"/>
                    <a:gd name="connsiteY1" fmla="*/ 220674 h 457616"/>
                    <a:gd name="connsiteX2" fmla="*/ 76437 w 515902"/>
                    <a:gd name="connsiteY2" fmla="*/ 157174 h 457616"/>
                    <a:gd name="connsiteX3" fmla="*/ 190737 w 515902"/>
                    <a:gd name="connsiteY3" fmla="*/ 138124 h 457616"/>
                    <a:gd name="connsiteX4" fmla="*/ 206612 w 515902"/>
                    <a:gd name="connsiteY4" fmla="*/ 14299 h 457616"/>
                    <a:gd name="connsiteX5" fmla="*/ 317737 w 515902"/>
                    <a:gd name="connsiteY5" fmla="*/ 11124 h 457616"/>
                    <a:gd name="connsiteX6" fmla="*/ 317737 w 515902"/>
                    <a:gd name="connsiteY6" fmla="*/ 90499 h 457616"/>
                    <a:gd name="connsiteX7" fmla="*/ 451087 w 515902"/>
                    <a:gd name="connsiteY7" fmla="*/ 160349 h 457616"/>
                    <a:gd name="connsiteX8" fmla="*/ 514587 w 515902"/>
                    <a:gd name="connsiteY8" fmla="*/ 230199 h 457616"/>
                    <a:gd name="connsiteX9" fmla="*/ 511412 w 515902"/>
                    <a:gd name="connsiteY9" fmla="*/ 452449 h 457616"/>
                    <a:gd name="connsiteX10" fmla="*/ 9762 w 515902"/>
                    <a:gd name="connsiteY10" fmla="*/ 446099 h 457616"/>
                    <a:gd name="connsiteX0" fmla="*/ 9762 w 515902"/>
                    <a:gd name="connsiteY0" fmla="*/ 447482 h 458999"/>
                    <a:gd name="connsiteX1" fmla="*/ 6587 w 515902"/>
                    <a:gd name="connsiteY1" fmla="*/ 222057 h 458999"/>
                    <a:gd name="connsiteX2" fmla="*/ 76437 w 515902"/>
                    <a:gd name="connsiteY2" fmla="*/ 158557 h 458999"/>
                    <a:gd name="connsiteX3" fmla="*/ 190737 w 515902"/>
                    <a:gd name="connsiteY3" fmla="*/ 139507 h 458999"/>
                    <a:gd name="connsiteX4" fmla="*/ 206612 w 515902"/>
                    <a:gd name="connsiteY4" fmla="*/ 15682 h 458999"/>
                    <a:gd name="connsiteX5" fmla="*/ 317737 w 515902"/>
                    <a:gd name="connsiteY5" fmla="*/ 12507 h 458999"/>
                    <a:gd name="connsiteX6" fmla="*/ 330437 w 515902"/>
                    <a:gd name="connsiteY6" fmla="*/ 114107 h 458999"/>
                    <a:gd name="connsiteX7" fmla="*/ 451087 w 515902"/>
                    <a:gd name="connsiteY7" fmla="*/ 161732 h 458999"/>
                    <a:gd name="connsiteX8" fmla="*/ 514587 w 515902"/>
                    <a:gd name="connsiteY8" fmla="*/ 231582 h 458999"/>
                    <a:gd name="connsiteX9" fmla="*/ 511412 w 515902"/>
                    <a:gd name="connsiteY9" fmla="*/ 453832 h 458999"/>
                    <a:gd name="connsiteX10" fmla="*/ 9762 w 515902"/>
                    <a:gd name="connsiteY10" fmla="*/ 447482 h 458999"/>
                    <a:gd name="connsiteX0" fmla="*/ 9762 w 515902"/>
                    <a:gd name="connsiteY0" fmla="*/ 446348 h 457865"/>
                    <a:gd name="connsiteX1" fmla="*/ 6587 w 515902"/>
                    <a:gd name="connsiteY1" fmla="*/ 220923 h 457865"/>
                    <a:gd name="connsiteX2" fmla="*/ 76437 w 515902"/>
                    <a:gd name="connsiteY2" fmla="*/ 157423 h 457865"/>
                    <a:gd name="connsiteX3" fmla="*/ 200262 w 515902"/>
                    <a:gd name="connsiteY3" fmla="*/ 119323 h 457865"/>
                    <a:gd name="connsiteX4" fmla="*/ 206612 w 515902"/>
                    <a:gd name="connsiteY4" fmla="*/ 14548 h 457865"/>
                    <a:gd name="connsiteX5" fmla="*/ 317737 w 515902"/>
                    <a:gd name="connsiteY5" fmla="*/ 11373 h 457865"/>
                    <a:gd name="connsiteX6" fmla="*/ 330437 w 515902"/>
                    <a:gd name="connsiteY6" fmla="*/ 112973 h 457865"/>
                    <a:gd name="connsiteX7" fmla="*/ 451087 w 515902"/>
                    <a:gd name="connsiteY7" fmla="*/ 160598 h 457865"/>
                    <a:gd name="connsiteX8" fmla="*/ 514587 w 515902"/>
                    <a:gd name="connsiteY8" fmla="*/ 230448 h 457865"/>
                    <a:gd name="connsiteX9" fmla="*/ 511412 w 515902"/>
                    <a:gd name="connsiteY9" fmla="*/ 452698 h 457865"/>
                    <a:gd name="connsiteX10" fmla="*/ 9762 w 515902"/>
                    <a:gd name="connsiteY10" fmla="*/ 446348 h 457865"/>
                    <a:gd name="connsiteX0" fmla="*/ 9762 w 515902"/>
                    <a:gd name="connsiteY0" fmla="*/ 446681 h 458198"/>
                    <a:gd name="connsiteX1" fmla="*/ 6587 w 515902"/>
                    <a:gd name="connsiteY1" fmla="*/ 221256 h 458198"/>
                    <a:gd name="connsiteX2" fmla="*/ 76437 w 515902"/>
                    <a:gd name="connsiteY2" fmla="*/ 157756 h 458198"/>
                    <a:gd name="connsiteX3" fmla="*/ 200262 w 515902"/>
                    <a:gd name="connsiteY3" fmla="*/ 119656 h 458198"/>
                    <a:gd name="connsiteX4" fmla="*/ 206612 w 515902"/>
                    <a:gd name="connsiteY4" fmla="*/ 14881 h 458198"/>
                    <a:gd name="connsiteX5" fmla="*/ 317737 w 515902"/>
                    <a:gd name="connsiteY5" fmla="*/ 11706 h 458198"/>
                    <a:gd name="connsiteX6" fmla="*/ 311502 w 515902"/>
                    <a:gd name="connsiteY6" fmla="*/ 118302 h 458198"/>
                    <a:gd name="connsiteX7" fmla="*/ 451087 w 515902"/>
                    <a:gd name="connsiteY7" fmla="*/ 160931 h 458198"/>
                    <a:gd name="connsiteX8" fmla="*/ 514587 w 515902"/>
                    <a:gd name="connsiteY8" fmla="*/ 230781 h 458198"/>
                    <a:gd name="connsiteX9" fmla="*/ 511412 w 515902"/>
                    <a:gd name="connsiteY9" fmla="*/ 453031 h 458198"/>
                    <a:gd name="connsiteX10" fmla="*/ 9762 w 515902"/>
                    <a:gd name="connsiteY10" fmla="*/ 446681 h 458198"/>
                    <a:gd name="connsiteX0" fmla="*/ 9762 w 515902"/>
                    <a:gd name="connsiteY0" fmla="*/ 446681 h 458198"/>
                    <a:gd name="connsiteX1" fmla="*/ 6587 w 515902"/>
                    <a:gd name="connsiteY1" fmla="*/ 221256 h 458198"/>
                    <a:gd name="connsiteX2" fmla="*/ 76437 w 515902"/>
                    <a:gd name="connsiteY2" fmla="*/ 157756 h 458198"/>
                    <a:gd name="connsiteX3" fmla="*/ 200262 w 515902"/>
                    <a:gd name="connsiteY3" fmla="*/ 119656 h 458198"/>
                    <a:gd name="connsiteX4" fmla="*/ 206612 w 515902"/>
                    <a:gd name="connsiteY4" fmla="*/ 14881 h 458198"/>
                    <a:gd name="connsiteX5" fmla="*/ 301506 w 515902"/>
                    <a:gd name="connsiteY5" fmla="*/ 11706 h 458198"/>
                    <a:gd name="connsiteX6" fmla="*/ 311502 w 515902"/>
                    <a:gd name="connsiteY6" fmla="*/ 118302 h 458198"/>
                    <a:gd name="connsiteX7" fmla="*/ 451087 w 515902"/>
                    <a:gd name="connsiteY7" fmla="*/ 160931 h 458198"/>
                    <a:gd name="connsiteX8" fmla="*/ 514587 w 515902"/>
                    <a:gd name="connsiteY8" fmla="*/ 230781 h 458198"/>
                    <a:gd name="connsiteX9" fmla="*/ 511412 w 515902"/>
                    <a:gd name="connsiteY9" fmla="*/ 453031 h 458198"/>
                    <a:gd name="connsiteX10" fmla="*/ 9762 w 515902"/>
                    <a:gd name="connsiteY10" fmla="*/ 446681 h 458198"/>
                    <a:gd name="connsiteX0" fmla="*/ 9762 w 515902"/>
                    <a:gd name="connsiteY0" fmla="*/ 446681 h 458198"/>
                    <a:gd name="connsiteX1" fmla="*/ 6587 w 515902"/>
                    <a:gd name="connsiteY1" fmla="*/ 221256 h 458198"/>
                    <a:gd name="connsiteX2" fmla="*/ 76437 w 515902"/>
                    <a:gd name="connsiteY2" fmla="*/ 157756 h 458198"/>
                    <a:gd name="connsiteX3" fmla="*/ 200262 w 515902"/>
                    <a:gd name="connsiteY3" fmla="*/ 119656 h 458198"/>
                    <a:gd name="connsiteX4" fmla="*/ 206612 w 515902"/>
                    <a:gd name="connsiteY4" fmla="*/ 14881 h 458198"/>
                    <a:gd name="connsiteX5" fmla="*/ 301506 w 515902"/>
                    <a:gd name="connsiteY5" fmla="*/ 11706 h 458198"/>
                    <a:gd name="connsiteX6" fmla="*/ 311502 w 515902"/>
                    <a:gd name="connsiteY6" fmla="*/ 118302 h 458198"/>
                    <a:gd name="connsiteX7" fmla="*/ 442972 w 515902"/>
                    <a:gd name="connsiteY7" fmla="*/ 180912 h 458198"/>
                    <a:gd name="connsiteX8" fmla="*/ 514587 w 515902"/>
                    <a:gd name="connsiteY8" fmla="*/ 230781 h 458198"/>
                    <a:gd name="connsiteX9" fmla="*/ 511412 w 515902"/>
                    <a:gd name="connsiteY9" fmla="*/ 453031 h 458198"/>
                    <a:gd name="connsiteX10" fmla="*/ 9762 w 515902"/>
                    <a:gd name="connsiteY10" fmla="*/ 446681 h 458198"/>
                    <a:gd name="connsiteX0" fmla="*/ 9762 w 511905"/>
                    <a:gd name="connsiteY0" fmla="*/ 446681 h 458198"/>
                    <a:gd name="connsiteX1" fmla="*/ 6587 w 511905"/>
                    <a:gd name="connsiteY1" fmla="*/ 221256 h 458198"/>
                    <a:gd name="connsiteX2" fmla="*/ 76437 w 511905"/>
                    <a:gd name="connsiteY2" fmla="*/ 157756 h 458198"/>
                    <a:gd name="connsiteX3" fmla="*/ 200262 w 511905"/>
                    <a:gd name="connsiteY3" fmla="*/ 119656 h 458198"/>
                    <a:gd name="connsiteX4" fmla="*/ 206612 w 511905"/>
                    <a:gd name="connsiteY4" fmla="*/ 14881 h 458198"/>
                    <a:gd name="connsiteX5" fmla="*/ 301506 w 511905"/>
                    <a:gd name="connsiteY5" fmla="*/ 11706 h 458198"/>
                    <a:gd name="connsiteX6" fmla="*/ 311502 w 511905"/>
                    <a:gd name="connsiteY6" fmla="*/ 118302 h 458198"/>
                    <a:gd name="connsiteX7" fmla="*/ 442972 w 511905"/>
                    <a:gd name="connsiteY7" fmla="*/ 180912 h 458198"/>
                    <a:gd name="connsiteX8" fmla="*/ 498357 w 511905"/>
                    <a:gd name="connsiteY8" fmla="*/ 250762 h 458198"/>
                    <a:gd name="connsiteX9" fmla="*/ 511412 w 511905"/>
                    <a:gd name="connsiteY9" fmla="*/ 453031 h 458198"/>
                    <a:gd name="connsiteX10" fmla="*/ 9762 w 511905"/>
                    <a:gd name="connsiteY10" fmla="*/ 446681 h 458198"/>
                    <a:gd name="connsiteX0" fmla="*/ 9762 w 511905"/>
                    <a:gd name="connsiteY0" fmla="*/ 446681 h 458198"/>
                    <a:gd name="connsiteX1" fmla="*/ 6587 w 511905"/>
                    <a:gd name="connsiteY1" fmla="*/ 221256 h 458198"/>
                    <a:gd name="connsiteX2" fmla="*/ 76437 w 511905"/>
                    <a:gd name="connsiteY2" fmla="*/ 157756 h 458198"/>
                    <a:gd name="connsiteX3" fmla="*/ 200262 w 511905"/>
                    <a:gd name="connsiteY3" fmla="*/ 119656 h 458198"/>
                    <a:gd name="connsiteX4" fmla="*/ 206612 w 511905"/>
                    <a:gd name="connsiteY4" fmla="*/ 14881 h 458198"/>
                    <a:gd name="connsiteX5" fmla="*/ 301506 w 511905"/>
                    <a:gd name="connsiteY5" fmla="*/ 11706 h 458198"/>
                    <a:gd name="connsiteX6" fmla="*/ 311502 w 511905"/>
                    <a:gd name="connsiteY6" fmla="*/ 118302 h 458198"/>
                    <a:gd name="connsiteX7" fmla="*/ 437562 w 511905"/>
                    <a:gd name="connsiteY7" fmla="*/ 198396 h 458198"/>
                    <a:gd name="connsiteX8" fmla="*/ 498357 w 511905"/>
                    <a:gd name="connsiteY8" fmla="*/ 250762 h 458198"/>
                    <a:gd name="connsiteX9" fmla="*/ 511412 w 511905"/>
                    <a:gd name="connsiteY9" fmla="*/ 453031 h 458198"/>
                    <a:gd name="connsiteX10" fmla="*/ 9762 w 511905"/>
                    <a:gd name="connsiteY10" fmla="*/ 446681 h 458198"/>
                    <a:gd name="connsiteX0" fmla="*/ 9762 w 511905"/>
                    <a:gd name="connsiteY0" fmla="*/ 446681 h 458198"/>
                    <a:gd name="connsiteX1" fmla="*/ 6587 w 511905"/>
                    <a:gd name="connsiteY1" fmla="*/ 221256 h 458198"/>
                    <a:gd name="connsiteX2" fmla="*/ 76437 w 511905"/>
                    <a:gd name="connsiteY2" fmla="*/ 157756 h 458198"/>
                    <a:gd name="connsiteX3" fmla="*/ 200262 w 511905"/>
                    <a:gd name="connsiteY3" fmla="*/ 119656 h 458198"/>
                    <a:gd name="connsiteX4" fmla="*/ 206612 w 511905"/>
                    <a:gd name="connsiteY4" fmla="*/ 14881 h 458198"/>
                    <a:gd name="connsiteX5" fmla="*/ 301506 w 511905"/>
                    <a:gd name="connsiteY5" fmla="*/ 11706 h 458198"/>
                    <a:gd name="connsiteX6" fmla="*/ 311502 w 511905"/>
                    <a:gd name="connsiteY6" fmla="*/ 118302 h 458198"/>
                    <a:gd name="connsiteX7" fmla="*/ 451087 w 511905"/>
                    <a:gd name="connsiteY7" fmla="*/ 188406 h 458198"/>
                    <a:gd name="connsiteX8" fmla="*/ 498357 w 511905"/>
                    <a:gd name="connsiteY8" fmla="*/ 250762 h 458198"/>
                    <a:gd name="connsiteX9" fmla="*/ 511412 w 511905"/>
                    <a:gd name="connsiteY9" fmla="*/ 453031 h 458198"/>
                    <a:gd name="connsiteX10" fmla="*/ 9762 w 511905"/>
                    <a:gd name="connsiteY10" fmla="*/ 446681 h 458198"/>
                    <a:gd name="connsiteX0" fmla="*/ 9762 w 511905"/>
                    <a:gd name="connsiteY0" fmla="*/ 447695 h 459212"/>
                    <a:gd name="connsiteX1" fmla="*/ 6587 w 511905"/>
                    <a:gd name="connsiteY1" fmla="*/ 222270 h 459212"/>
                    <a:gd name="connsiteX2" fmla="*/ 76437 w 511905"/>
                    <a:gd name="connsiteY2" fmla="*/ 158770 h 459212"/>
                    <a:gd name="connsiteX3" fmla="*/ 200262 w 511905"/>
                    <a:gd name="connsiteY3" fmla="*/ 120670 h 459212"/>
                    <a:gd name="connsiteX4" fmla="*/ 206612 w 511905"/>
                    <a:gd name="connsiteY4" fmla="*/ 15895 h 459212"/>
                    <a:gd name="connsiteX5" fmla="*/ 301506 w 511905"/>
                    <a:gd name="connsiteY5" fmla="*/ 12720 h 459212"/>
                    <a:gd name="connsiteX6" fmla="*/ 311502 w 511905"/>
                    <a:gd name="connsiteY6" fmla="*/ 134302 h 459212"/>
                    <a:gd name="connsiteX7" fmla="*/ 451087 w 511905"/>
                    <a:gd name="connsiteY7" fmla="*/ 189420 h 459212"/>
                    <a:gd name="connsiteX8" fmla="*/ 498357 w 511905"/>
                    <a:gd name="connsiteY8" fmla="*/ 251776 h 459212"/>
                    <a:gd name="connsiteX9" fmla="*/ 511412 w 511905"/>
                    <a:gd name="connsiteY9" fmla="*/ 454045 h 459212"/>
                    <a:gd name="connsiteX10" fmla="*/ 9762 w 511905"/>
                    <a:gd name="connsiteY10" fmla="*/ 447695 h 459212"/>
                    <a:gd name="connsiteX0" fmla="*/ 4227 w 522600"/>
                    <a:gd name="connsiteY0" fmla="*/ 455188 h 463021"/>
                    <a:gd name="connsiteX1" fmla="*/ 17282 w 522600"/>
                    <a:gd name="connsiteY1" fmla="*/ 222270 h 463021"/>
                    <a:gd name="connsiteX2" fmla="*/ 87132 w 522600"/>
                    <a:gd name="connsiteY2" fmla="*/ 158770 h 463021"/>
                    <a:gd name="connsiteX3" fmla="*/ 210957 w 522600"/>
                    <a:gd name="connsiteY3" fmla="*/ 120670 h 463021"/>
                    <a:gd name="connsiteX4" fmla="*/ 217307 w 522600"/>
                    <a:gd name="connsiteY4" fmla="*/ 15895 h 463021"/>
                    <a:gd name="connsiteX5" fmla="*/ 312201 w 522600"/>
                    <a:gd name="connsiteY5" fmla="*/ 12720 h 463021"/>
                    <a:gd name="connsiteX6" fmla="*/ 322197 w 522600"/>
                    <a:gd name="connsiteY6" fmla="*/ 134302 h 463021"/>
                    <a:gd name="connsiteX7" fmla="*/ 461782 w 522600"/>
                    <a:gd name="connsiteY7" fmla="*/ 189420 h 463021"/>
                    <a:gd name="connsiteX8" fmla="*/ 509052 w 522600"/>
                    <a:gd name="connsiteY8" fmla="*/ 251776 h 463021"/>
                    <a:gd name="connsiteX9" fmla="*/ 522107 w 522600"/>
                    <a:gd name="connsiteY9" fmla="*/ 454045 h 463021"/>
                    <a:gd name="connsiteX10" fmla="*/ 4227 w 522600"/>
                    <a:gd name="connsiteY10" fmla="*/ 455188 h 463021"/>
                    <a:gd name="connsiteX0" fmla="*/ 4227 w 522600"/>
                    <a:gd name="connsiteY0" fmla="*/ 455188 h 457596"/>
                    <a:gd name="connsiteX1" fmla="*/ 17282 w 522600"/>
                    <a:gd name="connsiteY1" fmla="*/ 222270 h 457596"/>
                    <a:gd name="connsiteX2" fmla="*/ 87132 w 522600"/>
                    <a:gd name="connsiteY2" fmla="*/ 158770 h 457596"/>
                    <a:gd name="connsiteX3" fmla="*/ 210957 w 522600"/>
                    <a:gd name="connsiteY3" fmla="*/ 120670 h 457596"/>
                    <a:gd name="connsiteX4" fmla="*/ 217307 w 522600"/>
                    <a:gd name="connsiteY4" fmla="*/ 15895 h 457596"/>
                    <a:gd name="connsiteX5" fmla="*/ 312201 w 522600"/>
                    <a:gd name="connsiteY5" fmla="*/ 12720 h 457596"/>
                    <a:gd name="connsiteX6" fmla="*/ 322197 w 522600"/>
                    <a:gd name="connsiteY6" fmla="*/ 134302 h 457596"/>
                    <a:gd name="connsiteX7" fmla="*/ 461782 w 522600"/>
                    <a:gd name="connsiteY7" fmla="*/ 189420 h 457596"/>
                    <a:gd name="connsiteX8" fmla="*/ 509052 w 522600"/>
                    <a:gd name="connsiteY8" fmla="*/ 251776 h 457596"/>
                    <a:gd name="connsiteX9" fmla="*/ 522107 w 522600"/>
                    <a:gd name="connsiteY9" fmla="*/ 454045 h 457596"/>
                    <a:gd name="connsiteX10" fmla="*/ 4227 w 522600"/>
                    <a:gd name="connsiteY10" fmla="*/ 455188 h 457596"/>
                    <a:gd name="connsiteX0" fmla="*/ 12757 w 531130"/>
                    <a:gd name="connsiteY0" fmla="*/ 455188 h 457596"/>
                    <a:gd name="connsiteX1" fmla="*/ 6876 w 531130"/>
                    <a:gd name="connsiteY1" fmla="*/ 237256 h 457596"/>
                    <a:gd name="connsiteX2" fmla="*/ 95662 w 531130"/>
                    <a:gd name="connsiteY2" fmla="*/ 158770 h 457596"/>
                    <a:gd name="connsiteX3" fmla="*/ 219487 w 531130"/>
                    <a:gd name="connsiteY3" fmla="*/ 120670 h 457596"/>
                    <a:gd name="connsiteX4" fmla="*/ 225837 w 531130"/>
                    <a:gd name="connsiteY4" fmla="*/ 15895 h 457596"/>
                    <a:gd name="connsiteX5" fmla="*/ 320731 w 531130"/>
                    <a:gd name="connsiteY5" fmla="*/ 12720 h 457596"/>
                    <a:gd name="connsiteX6" fmla="*/ 330727 w 531130"/>
                    <a:gd name="connsiteY6" fmla="*/ 134302 h 457596"/>
                    <a:gd name="connsiteX7" fmla="*/ 470312 w 531130"/>
                    <a:gd name="connsiteY7" fmla="*/ 189420 h 457596"/>
                    <a:gd name="connsiteX8" fmla="*/ 517582 w 531130"/>
                    <a:gd name="connsiteY8" fmla="*/ 251776 h 457596"/>
                    <a:gd name="connsiteX9" fmla="*/ 530637 w 531130"/>
                    <a:gd name="connsiteY9" fmla="*/ 454045 h 457596"/>
                    <a:gd name="connsiteX10" fmla="*/ 12757 w 531130"/>
                    <a:gd name="connsiteY10" fmla="*/ 455188 h 457596"/>
                    <a:gd name="connsiteX0" fmla="*/ 7226 w 536419"/>
                    <a:gd name="connsiteY0" fmla="*/ 447695 h 456315"/>
                    <a:gd name="connsiteX1" fmla="*/ 12165 w 536419"/>
                    <a:gd name="connsiteY1" fmla="*/ 237256 h 456315"/>
                    <a:gd name="connsiteX2" fmla="*/ 100951 w 536419"/>
                    <a:gd name="connsiteY2" fmla="*/ 158770 h 456315"/>
                    <a:gd name="connsiteX3" fmla="*/ 224776 w 536419"/>
                    <a:gd name="connsiteY3" fmla="*/ 120670 h 456315"/>
                    <a:gd name="connsiteX4" fmla="*/ 231126 w 536419"/>
                    <a:gd name="connsiteY4" fmla="*/ 15895 h 456315"/>
                    <a:gd name="connsiteX5" fmla="*/ 326020 w 536419"/>
                    <a:gd name="connsiteY5" fmla="*/ 12720 h 456315"/>
                    <a:gd name="connsiteX6" fmla="*/ 336016 w 536419"/>
                    <a:gd name="connsiteY6" fmla="*/ 134302 h 456315"/>
                    <a:gd name="connsiteX7" fmla="*/ 475601 w 536419"/>
                    <a:gd name="connsiteY7" fmla="*/ 189420 h 456315"/>
                    <a:gd name="connsiteX8" fmla="*/ 522871 w 536419"/>
                    <a:gd name="connsiteY8" fmla="*/ 251776 h 456315"/>
                    <a:gd name="connsiteX9" fmla="*/ 535926 w 536419"/>
                    <a:gd name="connsiteY9" fmla="*/ 454045 h 456315"/>
                    <a:gd name="connsiteX10" fmla="*/ 7226 w 536419"/>
                    <a:gd name="connsiteY10" fmla="*/ 447695 h 456315"/>
                    <a:gd name="connsiteX0" fmla="*/ 7226 w 528834"/>
                    <a:gd name="connsiteY0" fmla="*/ 447695 h 456315"/>
                    <a:gd name="connsiteX1" fmla="*/ 12165 w 528834"/>
                    <a:gd name="connsiteY1" fmla="*/ 237256 h 456315"/>
                    <a:gd name="connsiteX2" fmla="*/ 100951 w 528834"/>
                    <a:gd name="connsiteY2" fmla="*/ 158770 h 456315"/>
                    <a:gd name="connsiteX3" fmla="*/ 224776 w 528834"/>
                    <a:gd name="connsiteY3" fmla="*/ 120670 h 456315"/>
                    <a:gd name="connsiteX4" fmla="*/ 231126 w 528834"/>
                    <a:gd name="connsiteY4" fmla="*/ 15895 h 456315"/>
                    <a:gd name="connsiteX5" fmla="*/ 326020 w 528834"/>
                    <a:gd name="connsiteY5" fmla="*/ 12720 h 456315"/>
                    <a:gd name="connsiteX6" fmla="*/ 336016 w 528834"/>
                    <a:gd name="connsiteY6" fmla="*/ 134302 h 456315"/>
                    <a:gd name="connsiteX7" fmla="*/ 475601 w 528834"/>
                    <a:gd name="connsiteY7" fmla="*/ 189420 h 456315"/>
                    <a:gd name="connsiteX8" fmla="*/ 522871 w 528834"/>
                    <a:gd name="connsiteY8" fmla="*/ 251776 h 456315"/>
                    <a:gd name="connsiteX9" fmla="*/ 527811 w 528834"/>
                    <a:gd name="connsiteY9" fmla="*/ 454045 h 456315"/>
                    <a:gd name="connsiteX10" fmla="*/ 7226 w 528834"/>
                    <a:gd name="connsiteY10" fmla="*/ 447695 h 456315"/>
                    <a:gd name="connsiteX0" fmla="*/ 7226 w 528834"/>
                    <a:gd name="connsiteY0" fmla="*/ 447695 h 456315"/>
                    <a:gd name="connsiteX1" fmla="*/ 12165 w 528834"/>
                    <a:gd name="connsiteY1" fmla="*/ 237256 h 456315"/>
                    <a:gd name="connsiteX2" fmla="*/ 100951 w 528834"/>
                    <a:gd name="connsiteY2" fmla="*/ 158770 h 456315"/>
                    <a:gd name="connsiteX3" fmla="*/ 224776 w 528834"/>
                    <a:gd name="connsiteY3" fmla="*/ 120670 h 456315"/>
                    <a:gd name="connsiteX4" fmla="*/ 231126 w 528834"/>
                    <a:gd name="connsiteY4" fmla="*/ 15895 h 456315"/>
                    <a:gd name="connsiteX5" fmla="*/ 326020 w 528834"/>
                    <a:gd name="connsiteY5" fmla="*/ 12720 h 456315"/>
                    <a:gd name="connsiteX6" fmla="*/ 336016 w 528834"/>
                    <a:gd name="connsiteY6" fmla="*/ 134302 h 456315"/>
                    <a:gd name="connsiteX7" fmla="*/ 462076 w 528834"/>
                    <a:gd name="connsiteY7" fmla="*/ 184425 h 456315"/>
                    <a:gd name="connsiteX8" fmla="*/ 522871 w 528834"/>
                    <a:gd name="connsiteY8" fmla="*/ 251776 h 456315"/>
                    <a:gd name="connsiteX9" fmla="*/ 527811 w 528834"/>
                    <a:gd name="connsiteY9" fmla="*/ 454045 h 456315"/>
                    <a:gd name="connsiteX10" fmla="*/ 7226 w 528834"/>
                    <a:gd name="connsiteY10" fmla="*/ 447695 h 456315"/>
                    <a:gd name="connsiteX0" fmla="*/ 8515 w 530123"/>
                    <a:gd name="connsiteY0" fmla="*/ 447695 h 456315"/>
                    <a:gd name="connsiteX1" fmla="*/ 10749 w 530123"/>
                    <a:gd name="connsiteY1" fmla="*/ 244749 h 456315"/>
                    <a:gd name="connsiteX2" fmla="*/ 102240 w 530123"/>
                    <a:gd name="connsiteY2" fmla="*/ 158770 h 456315"/>
                    <a:gd name="connsiteX3" fmla="*/ 226065 w 530123"/>
                    <a:gd name="connsiteY3" fmla="*/ 120670 h 456315"/>
                    <a:gd name="connsiteX4" fmla="*/ 232415 w 530123"/>
                    <a:gd name="connsiteY4" fmla="*/ 15895 h 456315"/>
                    <a:gd name="connsiteX5" fmla="*/ 327309 w 530123"/>
                    <a:gd name="connsiteY5" fmla="*/ 12720 h 456315"/>
                    <a:gd name="connsiteX6" fmla="*/ 337305 w 530123"/>
                    <a:gd name="connsiteY6" fmla="*/ 134302 h 456315"/>
                    <a:gd name="connsiteX7" fmla="*/ 463365 w 530123"/>
                    <a:gd name="connsiteY7" fmla="*/ 184425 h 456315"/>
                    <a:gd name="connsiteX8" fmla="*/ 524160 w 530123"/>
                    <a:gd name="connsiteY8" fmla="*/ 251776 h 456315"/>
                    <a:gd name="connsiteX9" fmla="*/ 529100 w 530123"/>
                    <a:gd name="connsiteY9" fmla="*/ 454045 h 456315"/>
                    <a:gd name="connsiteX10" fmla="*/ 8515 w 530123"/>
                    <a:gd name="connsiteY10" fmla="*/ 447695 h 456315"/>
                    <a:gd name="connsiteX0" fmla="*/ 7671 w 529279"/>
                    <a:gd name="connsiteY0" fmla="*/ 447695 h 456315"/>
                    <a:gd name="connsiteX1" fmla="*/ 9905 w 529279"/>
                    <a:gd name="connsiteY1" fmla="*/ 244749 h 456315"/>
                    <a:gd name="connsiteX2" fmla="*/ 87870 w 529279"/>
                    <a:gd name="connsiteY2" fmla="*/ 166263 h 456315"/>
                    <a:gd name="connsiteX3" fmla="*/ 225221 w 529279"/>
                    <a:gd name="connsiteY3" fmla="*/ 120670 h 456315"/>
                    <a:gd name="connsiteX4" fmla="*/ 231571 w 529279"/>
                    <a:gd name="connsiteY4" fmla="*/ 15895 h 456315"/>
                    <a:gd name="connsiteX5" fmla="*/ 326465 w 529279"/>
                    <a:gd name="connsiteY5" fmla="*/ 12720 h 456315"/>
                    <a:gd name="connsiteX6" fmla="*/ 336461 w 529279"/>
                    <a:gd name="connsiteY6" fmla="*/ 134302 h 456315"/>
                    <a:gd name="connsiteX7" fmla="*/ 462521 w 529279"/>
                    <a:gd name="connsiteY7" fmla="*/ 184425 h 456315"/>
                    <a:gd name="connsiteX8" fmla="*/ 523316 w 529279"/>
                    <a:gd name="connsiteY8" fmla="*/ 251776 h 456315"/>
                    <a:gd name="connsiteX9" fmla="*/ 528256 w 529279"/>
                    <a:gd name="connsiteY9" fmla="*/ 454045 h 456315"/>
                    <a:gd name="connsiteX10" fmla="*/ 7671 w 529279"/>
                    <a:gd name="connsiteY10" fmla="*/ 447695 h 456315"/>
                    <a:gd name="connsiteX0" fmla="*/ 7671 w 529279"/>
                    <a:gd name="connsiteY0" fmla="*/ 447558 h 456178"/>
                    <a:gd name="connsiteX1" fmla="*/ 9905 w 529279"/>
                    <a:gd name="connsiteY1" fmla="*/ 244612 h 456178"/>
                    <a:gd name="connsiteX2" fmla="*/ 87870 w 529279"/>
                    <a:gd name="connsiteY2" fmla="*/ 166126 h 456178"/>
                    <a:gd name="connsiteX3" fmla="*/ 206285 w 529279"/>
                    <a:gd name="connsiteY3" fmla="*/ 118035 h 456178"/>
                    <a:gd name="connsiteX4" fmla="*/ 231571 w 529279"/>
                    <a:gd name="connsiteY4" fmla="*/ 15758 h 456178"/>
                    <a:gd name="connsiteX5" fmla="*/ 326465 w 529279"/>
                    <a:gd name="connsiteY5" fmla="*/ 12583 h 456178"/>
                    <a:gd name="connsiteX6" fmla="*/ 336461 w 529279"/>
                    <a:gd name="connsiteY6" fmla="*/ 134165 h 456178"/>
                    <a:gd name="connsiteX7" fmla="*/ 462521 w 529279"/>
                    <a:gd name="connsiteY7" fmla="*/ 184288 h 456178"/>
                    <a:gd name="connsiteX8" fmla="*/ 523316 w 529279"/>
                    <a:gd name="connsiteY8" fmla="*/ 251639 h 456178"/>
                    <a:gd name="connsiteX9" fmla="*/ 528256 w 529279"/>
                    <a:gd name="connsiteY9" fmla="*/ 453908 h 456178"/>
                    <a:gd name="connsiteX10" fmla="*/ 7671 w 529279"/>
                    <a:gd name="connsiteY10" fmla="*/ 447558 h 456178"/>
                    <a:gd name="connsiteX0" fmla="*/ 14544 w 536152"/>
                    <a:gd name="connsiteY0" fmla="*/ 447558 h 456178"/>
                    <a:gd name="connsiteX1" fmla="*/ 5958 w 536152"/>
                    <a:gd name="connsiteY1" fmla="*/ 247109 h 456178"/>
                    <a:gd name="connsiteX2" fmla="*/ 94743 w 536152"/>
                    <a:gd name="connsiteY2" fmla="*/ 166126 h 456178"/>
                    <a:gd name="connsiteX3" fmla="*/ 213158 w 536152"/>
                    <a:gd name="connsiteY3" fmla="*/ 118035 h 456178"/>
                    <a:gd name="connsiteX4" fmla="*/ 238444 w 536152"/>
                    <a:gd name="connsiteY4" fmla="*/ 15758 h 456178"/>
                    <a:gd name="connsiteX5" fmla="*/ 333338 w 536152"/>
                    <a:gd name="connsiteY5" fmla="*/ 12583 h 456178"/>
                    <a:gd name="connsiteX6" fmla="*/ 343334 w 536152"/>
                    <a:gd name="connsiteY6" fmla="*/ 134165 h 456178"/>
                    <a:gd name="connsiteX7" fmla="*/ 469394 w 536152"/>
                    <a:gd name="connsiteY7" fmla="*/ 184288 h 456178"/>
                    <a:gd name="connsiteX8" fmla="*/ 530189 w 536152"/>
                    <a:gd name="connsiteY8" fmla="*/ 251639 h 456178"/>
                    <a:gd name="connsiteX9" fmla="*/ 535129 w 536152"/>
                    <a:gd name="connsiteY9" fmla="*/ 453908 h 456178"/>
                    <a:gd name="connsiteX10" fmla="*/ 14544 w 536152"/>
                    <a:gd name="connsiteY10" fmla="*/ 447558 h 456178"/>
                    <a:gd name="connsiteX0" fmla="*/ 7226 w 542359"/>
                    <a:gd name="connsiteY0" fmla="*/ 450055 h 456488"/>
                    <a:gd name="connsiteX1" fmla="*/ 12165 w 542359"/>
                    <a:gd name="connsiteY1" fmla="*/ 247109 h 456488"/>
                    <a:gd name="connsiteX2" fmla="*/ 100950 w 542359"/>
                    <a:gd name="connsiteY2" fmla="*/ 166126 h 456488"/>
                    <a:gd name="connsiteX3" fmla="*/ 219365 w 542359"/>
                    <a:gd name="connsiteY3" fmla="*/ 118035 h 456488"/>
                    <a:gd name="connsiteX4" fmla="*/ 244651 w 542359"/>
                    <a:gd name="connsiteY4" fmla="*/ 15758 h 456488"/>
                    <a:gd name="connsiteX5" fmla="*/ 339545 w 542359"/>
                    <a:gd name="connsiteY5" fmla="*/ 12583 h 456488"/>
                    <a:gd name="connsiteX6" fmla="*/ 349541 w 542359"/>
                    <a:gd name="connsiteY6" fmla="*/ 134165 h 456488"/>
                    <a:gd name="connsiteX7" fmla="*/ 475601 w 542359"/>
                    <a:gd name="connsiteY7" fmla="*/ 184288 h 456488"/>
                    <a:gd name="connsiteX8" fmla="*/ 536396 w 542359"/>
                    <a:gd name="connsiteY8" fmla="*/ 251639 h 456488"/>
                    <a:gd name="connsiteX9" fmla="*/ 541336 w 542359"/>
                    <a:gd name="connsiteY9" fmla="*/ 453908 h 456488"/>
                    <a:gd name="connsiteX10" fmla="*/ 7226 w 542359"/>
                    <a:gd name="connsiteY10" fmla="*/ 450055 h 456488"/>
                    <a:gd name="connsiteX0" fmla="*/ 7226 w 542359"/>
                    <a:gd name="connsiteY0" fmla="*/ 450055 h 456488"/>
                    <a:gd name="connsiteX1" fmla="*/ 12165 w 542359"/>
                    <a:gd name="connsiteY1" fmla="*/ 247109 h 456488"/>
                    <a:gd name="connsiteX2" fmla="*/ 100950 w 542359"/>
                    <a:gd name="connsiteY2" fmla="*/ 166126 h 456488"/>
                    <a:gd name="connsiteX3" fmla="*/ 219365 w 542359"/>
                    <a:gd name="connsiteY3" fmla="*/ 118035 h 456488"/>
                    <a:gd name="connsiteX4" fmla="*/ 244651 w 542359"/>
                    <a:gd name="connsiteY4" fmla="*/ 15758 h 456488"/>
                    <a:gd name="connsiteX5" fmla="*/ 331430 w 542359"/>
                    <a:gd name="connsiteY5" fmla="*/ 12583 h 456488"/>
                    <a:gd name="connsiteX6" fmla="*/ 349541 w 542359"/>
                    <a:gd name="connsiteY6" fmla="*/ 134165 h 456488"/>
                    <a:gd name="connsiteX7" fmla="*/ 475601 w 542359"/>
                    <a:gd name="connsiteY7" fmla="*/ 184288 h 456488"/>
                    <a:gd name="connsiteX8" fmla="*/ 536396 w 542359"/>
                    <a:gd name="connsiteY8" fmla="*/ 251639 h 456488"/>
                    <a:gd name="connsiteX9" fmla="*/ 541336 w 542359"/>
                    <a:gd name="connsiteY9" fmla="*/ 453908 h 456488"/>
                    <a:gd name="connsiteX10" fmla="*/ 7226 w 542359"/>
                    <a:gd name="connsiteY10" fmla="*/ 450055 h 456488"/>
                    <a:gd name="connsiteX0" fmla="*/ 7226 w 542359"/>
                    <a:gd name="connsiteY0" fmla="*/ 450055 h 456488"/>
                    <a:gd name="connsiteX1" fmla="*/ 12165 w 542359"/>
                    <a:gd name="connsiteY1" fmla="*/ 247109 h 456488"/>
                    <a:gd name="connsiteX2" fmla="*/ 100950 w 542359"/>
                    <a:gd name="connsiteY2" fmla="*/ 166126 h 456488"/>
                    <a:gd name="connsiteX3" fmla="*/ 219365 w 542359"/>
                    <a:gd name="connsiteY3" fmla="*/ 118035 h 456488"/>
                    <a:gd name="connsiteX4" fmla="*/ 244651 w 542359"/>
                    <a:gd name="connsiteY4" fmla="*/ 15758 h 456488"/>
                    <a:gd name="connsiteX5" fmla="*/ 331430 w 542359"/>
                    <a:gd name="connsiteY5" fmla="*/ 12583 h 456488"/>
                    <a:gd name="connsiteX6" fmla="*/ 349541 w 542359"/>
                    <a:gd name="connsiteY6" fmla="*/ 134165 h 456488"/>
                    <a:gd name="connsiteX7" fmla="*/ 483716 w 542359"/>
                    <a:gd name="connsiteY7" fmla="*/ 179293 h 456488"/>
                    <a:gd name="connsiteX8" fmla="*/ 536396 w 542359"/>
                    <a:gd name="connsiteY8" fmla="*/ 251639 h 456488"/>
                    <a:gd name="connsiteX9" fmla="*/ 541336 w 542359"/>
                    <a:gd name="connsiteY9" fmla="*/ 453908 h 456488"/>
                    <a:gd name="connsiteX10" fmla="*/ 7226 w 542359"/>
                    <a:gd name="connsiteY10" fmla="*/ 450055 h 456488"/>
                    <a:gd name="connsiteX0" fmla="*/ 6630 w 541763"/>
                    <a:gd name="connsiteY0" fmla="*/ 450055 h 456488"/>
                    <a:gd name="connsiteX1" fmla="*/ 11569 w 541763"/>
                    <a:gd name="connsiteY1" fmla="*/ 247109 h 456488"/>
                    <a:gd name="connsiteX2" fmla="*/ 89534 w 541763"/>
                    <a:gd name="connsiteY2" fmla="*/ 166126 h 456488"/>
                    <a:gd name="connsiteX3" fmla="*/ 218769 w 541763"/>
                    <a:gd name="connsiteY3" fmla="*/ 118035 h 456488"/>
                    <a:gd name="connsiteX4" fmla="*/ 244055 w 541763"/>
                    <a:gd name="connsiteY4" fmla="*/ 15758 h 456488"/>
                    <a:gd name="connsiteX5" fmla="*/ 330834 w 541763"/>
                    <a:gd name="connsiteY5" fmla="*/ 12583 h 456488"/>
                    <a:gd name="connsiteX6" fmla="*/ 348945 w 541763"/>
                    <a:gd name="connsiteY6" fmla="*/ 134165 h 456488"/>
                    <a:gd name="connsiteX7" fmla="*/ 483120 w 541763"/>
                    <a:gd name="connsiteY7" fmla="*/ 179293 h 456488"/>
                    <a:gd name="connsiteX8" fmla="*/ 535800 w 541763"/>
                    <a:gd name="connsiteY8" fmla="*/ 251639 h 456488"/>
                    <a:gd name="connsiteX9" fmla="*/ 540740 w 541763"/>
                    <a:gd name="connsiteY9" fmla="*/ 453908 h 456488"/>
                    <a:gd name="connsiteX10" fmla="*/ 6630 w 541763"/>
                    <a:gd name="connsiteY10" fmla="*/ 450055 h 456488"/>
                    <a:gd name="connsiteX0" fmla="*/ 4856 w 539989"/>
                    <a:gd name="connsiteY0" fmla="*/ 450055 h 456488"/>
                    <a:gd name="connsiteX1" fmla="*/ 15205 w 539989"/>
                    <a:gd name="connsiteY1" fmla="*/ 227128 h 456488"/>
                    <a:gd name="connsiteX2" fmla="*/ 87760 w 539989"/>
                    <a:gd name="connsiteY2" fmla="*/ 166126 h 456488"/>
                    <a:gd name="connsiteX3" fmla="*/ 216995 w 539989"/>
                    <a:gd name="connsiteY3" fmla="*/ 118035 h 456488"/>
                    <a:gd name="connsiteX4" fmla="*/ 242281 w 539989"/>
                    <a:gd name="connsiteY4" fmla="*/ 15758 h 456488"/>
                    <a:gd name="connsiteX5" fmla="*/ 329060 w 539989"/>
                    <a:gd name="connsiteY5" fmla="*/ 12583 h 456488"/>
                    <a:gd name="connsiteX6" fmla="*/ 347171 w 539989"/>
                    <a:gd name="connsiteY6" fmla="*/ 134165 h 456488"/>
                    <a:gd name="connsiteX7" fmla="*/ 481346 w 539989"/>
                    <a:gd name="connsiteY7" fmla="*/ 179293 h 456488"/>
                    <a:gd name="connsiteX8" fmla="*/ 534026 w 539989"/>
                    <a:gd name="connsiteY8" fmla="*/ 251639 h 456488"/>
                    <a:gd name="connsiteX9" fmla="*/ 538966 w 539989"/>
                    <a:gd name="connsiteY9" fmla="*/ 453908 h 456488"/>
                    <a:gd name="connsiteX10" fmla="*/ 4856 w 539989"/>
                    <a:gd name="connsiteY10" fmla="*/ 450055 h 4564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39989" h="456488">
                      <a:moveTo>
                        <a:pt x="4856" y="450055"/>
                      </a:moveTo>
                      <a:cubicBezTo>
                        <a:pt x="-5198" y="385497"/>
                        <a:pt x="1388" y="274449"/>
                        <a:pt x="15205" y="227128"/>
                      </a:cubicBezTo>
                      <a:cubicBezTo>
                        <a:pt x="29022" y="179807"/>
                        <a:pt x="54128" y="184308"/>
                        <a:pt x="87760" y="166126"/>
                      </a:cubicBezTo>
                      <a:cubicBezTo>
                        <a:pt x="121392" y="147944"/>
                        <a:pt x="191242" y="143096"/>
                        <a:pt x="216995" y="118035"/>
                      </a:cubicBezTo>
                      <a:cubicBezTo>
                        <a:pt x="242748" y="92974"/>
                        <a:pt x="223604" y="33333"/>
                        <a:pt x="242281" y="15758"/>
                      </a:cubicBezTo>
                      <a:cubicBezTo>
                        <a:pt x="260958" y="-1817"/>
                        <a:pt x="311578" y="-7151"/>
                        <a:pt x="329060" y="12583"/>
                      </a:cubicBezTo>
                      <a:cubicBezTo>
                        <a:pt x="346542" y="32317"/>
                        <a:pt x="321790" y="106380"/>
                        <a:pt x="347171" y="134165"/>
                      </a:cubicBezTo>
                      <a:cubicBezTo>
                        <a:pt x="372552" y="161950"/>
                        <a:pt x="450204" y="159714"/>
                        <a:pt x="481346" y="179293"/>
                      </a:cubicBezTo>
                      <a:cubicBezTo>
                        <a:pt x="512489" y="198872"/>
                        <a:pt x="523972" y="202956"/>
                        <a:pt x="534026" y="251639"/>
                      </a:cubicBezTo>
                      <a:cubicBezTo>
                        <a:pt x="537201" y="301381"/>
                        <a:pt x="542141" y="328496"/>
                        <a:pt x="538966" y="453908"/>
                      </a:cubicBezTo>
                      <a:cubicBezTo>
                        <a:pt x="307191" y="461845"/>
                        <a:pt x="250800" y="448827"/>
                        <a:pt x="4856" y="450055"/>
                      </a:cubicBezTo>
                      <a:close/>
                    </a:path>
                  </a:pathLst>
                </a:custGeom>
                <a:solidFill>
                  <a:schemeClr val="bg1"/>
                </a:solidFill>
                <a:ln w="57150">
                  <a:solidFill>
                    <a:schemeClr val="tx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114" name="Oval 113">
                  <a:extLst>
                    <a:ext uri="{FF2B5EF4-FFF2-40B4-BE49-F238E27FC236}">
                      <a16:creationId xmlns:a16="http://schemas.microsoft.com/office/drawing/2014/main" id="{1EF1FC89-BCE5-CF42-8084-803129434C54}"/>
                    </a:ext>
                  </a:extLst>
                </p:cNvPr>
                <p:cNvSpPr/>
                <p:nvPr/>
              </p:nvSpPr>
              <p:spPr>
                <a:xfrm>
                  <a:off x="1964431" y="3500843"/>
                  <a:ext cx="259337" cy="299858"/>
                </a:xfrm>
                <a:prstGeom prst="ellipse">
                  <a:avLst/>
                </a:prstGeom>
                <a:solidFill>
                  <a:schemeClr val="bg1"/>
                </a:solidFill>
                <a:ln w="57150">
                  <a:solidFill>
                    <a:schemeClr val="tx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grpSp>
        </p:grpSp>
        <p:grpSp>
          <p:nvGrpSpPr>
            <p:cNvPr id="105" name="Group 104">
              <a:extLst>
                <a:ext uri="{FF2B5EF4-FFF2-40B4-BE49-F238E27FC236}">
                  <a16:creationId xmlns:a16="http://schemas.microsoft.com/office/drawing/2014/main" id="{C70E1840-1164-C44A-9AC2-266DE9366C9C}"/>
                </a:ext>
              </a:extLst>
            </p:cNvPr>
            <p:cNvGrpSpPr/>
            <p:nvPr/>
          </p:nvGrpSpPr>
          <p:grpSpPr>
            <a:xfrm>
              <a:off x="2495712" y="4589934"/>
              <a:ext cx="1256698" cy="510604"/>
              <a:chOff x="2495712" y="4589934"/>
              <a:chExt cx="1256698" cy="510604"/>
            </a:xfrm>
            <a:solidFill>
              <a:schemeClr val="tx1">
                <a:lumMod val="50000"/>
              </a:schemeClr>
            </a:solidFill>
          </p:grpSpPr>
          <p:sp>
            <p:nvSpPr>
              <p:cNvPr id="107" name="Rounded Rectangle 106">
                <a:extLst>
                  <a:ext uri="{FF2B5EF4-FFF2-40B4-BE49-F238E27FC236}">
                    <a16:creationId xmlns:a16="http://schemas.microsoft.com/office/drawing/2014/main" id="{86110C7D-0028-4D43-BBF8-6C032411382D}"/>
                  </a:ext>
                </a:extLst>
              </p:cNvPr>
              <p:cNvSpPr/>
              <p:nvPr/>
            </p:nvSpPr>
            <p:spPr>
              <a:xfrm>
                <a:off x="2495712" y="4589934"/>
                <a:ext cx="1256697" cy="251941"/>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108" name="Rectangle 107">
                <a:extLst>
                  <a:ext uri="{FF2B5EF4-FFF2-40B4-BE49-F238E27FC236}">
                    <a16:creationId xmlns:a16="http://schemas.microsoft.com/office/drawing/2014/main" id="{679C41A6-F7EB-7B40-B0C2-420FE15ABD81}"/>
                  </a:ext>
                </a:extLst>
              </p:cNvPr>
              <p:cNvSpPr/>
              <p:nvPr/>
            </p:nvSpPr>
            <p:spPr>
              <a:xfrm>
                <a:off x="2498725" y="4797790"/>
                <a:ext cx="1253685" cy="13315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109" name="Rectangle 108">
                <a:extLst>
                  <a:ext uri="{FF2B5EF4-FFF2-40B4-BE49-F238E27FC236}">
                    <a16:creationId xmlns:a16="http://schemas.microsoft.com/office/drawing/2014/main" id="{01275AC7-BF89-9E42-9F29-CB62B603C5C6}"/>
                  </a:ext>
                </a:extLst>
              </p:cNvPr>
              <p:cNvSpPr/>
              <p:nvPr/>
            </p:nvSpPr>
            <p:spPr>
              <a:xfrm>
                <a:off x="2546350" y="4923041"/>
                <a:ext cx="109152" cy="17749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110" name="Rectangle 109">
                <a:extLst>
                  <a:ext uri="{FF2B5EF4-FFF2-40B4-BE49-F238E27FC236}">
                    <a16:creationId xmlns:a16="http://schemas.microsoft.com/office/drawing/2014/main" id="{3830F1E4-B915-EB4C-BE38-C506F584F51E}"/>
                  </a:ext>
                </a:extLst>
              </p:cNvPr>
              <p:cNvSpPr/>
              <p:nvPr/>
            </p:nvSpPr>
            <p:spPr>
              <a:xfrm>
                <a:off x="3610945" y="4923041"/>
                <a:ext cx="109152" cy="17749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grpSp>
        <p:sp>
          <p:nvSpPr>
            <p:cNvPr id="106" name="Trapezoid 105">
              <a:extLst>
                <a:ext uri="{FF2B5EF4-FFF2-40B4-BE49-F238E27FC236}">
                  <a16:creationId xmlns:a16="http://schemas.microsoft.com/office/drawing/2014/main" id="{A707C205-0226-C740-8A8D-2C2D5312B0F8}"/>
                </a:ext>
              </a:extLst>
            </p:cNvPr>
            <p:cNvSpPr/>
            <p:nvPr/>
          </p:nvSpPr>
          <p:spPr>
            <a:xfrm>
              <a:off x="2655502" y="4181475"/>
              <a:ext cx="958850" cy="363303"/>
            </a:xfrm>
            <a:prstGeom prst="trapezoid">
              <a:avLst/>
            </a:prstGeom>
            <a:solidFill>
              <a:schemeClr val="tx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grpSp>
      <p:grpSp>
        <p:nvGrpSpPr>
          <p:cNvPr id="117" name="Group 116">
            <a:extLst>
              <a:ext uri="{FF2B5EF4-FFF2-40B4-BE49-F238E27FC236}">
                <a16:creationId xmlns:a16="http://schemas.microsoft.com/office/drawing/2014/main" id="{52E2100D-0D65-8E48-8162-11E9D2E7AE8A}"/>
              </a:ext>
            </a:extLst>
          </p:cNvPr>
          <p:cNvGrpSpPr/>
          <p:nvPr/>
        </p:nvGrpSpPr>
        <p:grpSpPr>
          <a:xfrm>
            <a:off x="12792680" y="3001128"/>
            <a:ext cx="1025213" cy="1261037"/>
            <a:chOff x="2441771" y="3385414"/>
            <a:chExt cx="1325481" cy="1781019"/>
          </a:xfrm>
        </p:grpSpPr>
        <p:pic>
          <p:nvPicPr>
            <p:cNvPr id="118" name="Picture 117">
              <a:extLst>
                <a:ext uri="{FF2B5EF4-FFF2-40B4-BE49-F238E27FC236}">
                  <a16:creationId xmlns:a16="http://schemas.microsoft.com/office/drawing/2014/main" id="{29FF592E-5C54-8943-B161-53074EAFF763}"/>
                </a:ext>
              </a:extLst>
            </p:cNvPr>
            <p:cNvPicPr>
              <a:picLocks noChangeAspect="1"/>
            </p:cNvPicPr>
            <p:nvPr/>
          </p:nvPicPr>
          <p:blipFill rotWithShape="1">
            <a:blip r:embed="rId2"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a:xfrm>
              <a:off x="2441771" y="3385414"/>
              <a:ext cx="1325481" cy="1781019"/>
            </a:xfrm>
            <a:prstGeom prst="rect">
              <a:avLst/>
            </a:prstGeom>
          </p:spPr>
        </p:pic>
        <p:sp>
          <p:nvSpPr>
            <p:cNvPr id="119" name="Rounded Rectangle 118">
              <a:extLst>
                <a:ext uri="{FF2B5EF4-FFF2-40B4-BE49-F238E27FC236}">
                  <a16:creationId xmlns:a16="http://schemas.microsoft.com/office/drawing/2014/main" id="{6EBFA019-BEBE-D94D-BFCE-DBCCEC0BA64A}"/>
                </a:ext>
              </a:extLst>
            </p:cNvPr>
            <p:cNvSpPr/>
            <p:nvPr/>
          </p:nvSpPr>
          <p:spPr>
            <a:xfrm>
              <a:off x="2655502" y="3670300"/>
              <a:ext cx="958850" cy="436656"/>
            </a:xfrm>
            <a:prstGeom prst="roundRect">
              <a:avLst/>
            </a:prstGeom>
            <a:solidFill>
              <a:schemeClr val="tx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grpSp>
          <p:nvGrpSpPr>
            <p:cNvPr id="120" name="Group 119">
              <a:extLst>
                <a:ext uri="{FF2B5EF4-FFF2-40B4-BE49-F238E27FC236}">
                  <a16:creationId xmlns:a16="http://schemas.microsoft.com/office/drawing/2014/main" id="{C30316E8-3F78-7143-9E16-8BFE7CA0815F}"/>
                </a:ext>
              </a:extLst>
            </p:cNvPr>
            <p:cNvGrpSpPr/>
            <p:nvPr/>
          </p:nvGrpSpPr>
          <p:grpSpPr>
            <a:xfrm>
              <a:off x="2776471" y="3456093"/>
              <a:ext cx="748710" cy="1056883"/>
              <a:chOff x="1496718" y="3334932"/>
              <a:chExt cx="748710" cy="1056883"/>
            </a:xfrm>
          </p:grpSpPr>
          <p:grpSp>
            <p:nvGrpSpPr>
              <p:cNvPr id="127" name="Group 126">
                <a:extLst>
                  <a:ext uri="{FF2B5EF4-FFF2-40B4-BE49-F238E27FC236}">
                    <a16:creationId xmlns:a16="http://schemas.microsoft.com/office/drawing/2014/main" id="{AC2DAEE7-3C20-3042-AA6B-87BAFC8905A1}"/>
                  </a:ext>
                </a:extLst>
              </p:cNvPr>
              <p:cNvGrpSpPr/>
              <p:nvPr/>
            </p:nvGrpSpPr>
            <p:grpSpPr>
              <a:xfrm>
                <a:off x="1496718" y="3334932"/>
                <a:ext cx="748710" cy="1056883"/>
                <a:chOff x="1843570" y="3508300"/>
                <a:chExt cx="514980" cy="727982"/>
              </a:xfrm>
              <a:solidFill>
                <a:schemeClr val="bg1"/>
              </a:solidFill>
            </p:grpSpPr>
            <p:sp>
              <p:nvSpPr>
                <p:cNvPr id="131" name="Freeform 130">
                  <a:extLst>
                    <a:ext uri="{FF2B5EF4-FFF2-40B4-BE49-F238E27FC236}">
                      <a16:creationId xmlns:a16="http://schemas.microsoft.com/office/drawing/2014/main" id="{1838CA54-3A0B-444A-8B44-55AD6EC220E3}"/>
                    </a:ext>
                  </a:extLst>
                </p:cNvPr>
                <p:cNvSpPr/>
                <p:nvPr/>
              </p:nvSpPr>
              <p:spPr>
                <a:xfrm>
                  <a:off x="1843570" y="3787509"/>
                  <a:ext cx="514980" cy="448773"/>
                </a:xfrm>
                <a:custGeom>
                  <a:avLst/>
                  <a:gdLst>
                    <a:gd name="connsiteX0" fmla="*/ 36807 w 576731"/>
                    <a:gd name="connsiteY0" fmla="*/ 449906 h 505924"/>
                    <a:gd name="connsiteX1" fmla="*/ 39982 w 576731"/>
                    <a:gd name="connsiteY1" fmla="*/ 214956 h 505924"/>
                    <a:gd name="connsiteX2" fmla="*/ 55857 w 576731"/>
                    <a:gd name="connsiteY2" fmla="*/ 176856 h 505924"/>
                    <a:gd name="connsiteX3" fmla="*/ 103482 w 576731"/>
                    <a:gd name="connsiteY3" fmla="*/ 160981 h 505924"/>
                    <a:gd name="connsiteX4" fmla="*/ 205082 w 576731"/>
                    <a:gd name="connsiteY4" fmla="*/ 154631 h 505924"/>
                    <a:gd name="connsiteX5" fmla="*/ 230482 w 576731"/>
                    <a:gd name="connsiteY5" fmla="*/ 151456 h 505924"/>
                    <a:gd name="connsiteX6" fmla="*/ 233657 w 576731"/>
                    <a:gd name="connsiteY6" fmla="*/ 18106 h 505924"/>
                    <a:gd name="connsiteX7" fmla="*/ 344782 w 576731"/>
                    <a:gd name="connsiteY7" fmla="*/ 14931 h 505924"/>
                    <a:gd name="connsiteX8" fmla="*/ 344782 w 576731"/>
                    <a:gd name="connsiteY8" fmla="*/ 145106 h 505924"/>
                    <a:gd name="connsiteX9" fmla="*/ 386057 w 576731"/>
                    <a:gd name="connsiteY9" fmla="*/ 151456 h 505924"/>
                    <a:gd name="connsiteX10" fmla="*/ 478132 w 576731"/>
                    <a:gd name="connsiteY10" fmla="*/ 164156 h 505924"/>
                    <a:gd name="connsiteX11" fmla="*/ 519407 w 576731"/>
                    <a:gd name="connsiteY11" fmla="*/ 189556 h 505924"/>
                    <a:gd name="connsiteX12" fmla="*/ 541632 w 576731"/>
                    <a:gd name="connsiteY12" fmla="*/ 234006 h 505924"/>
                    <a:gd name="connsiteX13" fmla="*/ 538457 w 576731"/>
                    <a:gd name="connsiteY13" fmla="*/ 488006 h 505924"/>
                    <a:gd name="connsiteX14" fmla="*/ 36807 w 576731"/>
                    <a:gd name="connsiteY14" fmla="*/ 449906 h 505924"/>
                    <a:gd name="connsiteX0" fmla="*/ 5769 w 545693"/>
                    <a:gd name="connsiteY0" fmla="*/ 449906 h 505924"/>
                    <a:gd name="connsiteX1" fmla="*/ 8944 w 545693"/>
                    <a:gd name="connsiteY1" fmla="*/ 214956 h 505924"/>
                    <a:gd name="connsiteX2" fmla="*/ 24819 w 545693"/>
                    <a:gd name="connsiteY2" fmla="*/ 176856 h 505924"/>
                    <a:gd name="connsiteX3" fmla="*/ 72444 w 545693"/>
                    <a:gd name="connsiteY3" fmla="*/ 160981 h 505924"/>
                    <a:gd name="connsiteX4" fmla="*/ 174044 w 545693"/>
                    <a:gd name="connsiteY4" fmla="*/ 154631 h 505924"/>
                    <a:gd name="connsiteX5" fmla="*/ 199444 w 545693"/>
                    <a:gd name="connsiteY5" fmla="*/ 151456 h 505924"/>
                    <a:gd name="connsiteX6" fmla="*/ 202619 w 545693"/>
                    <a:gd name="connsiteY6" fmla="*/ 18106 h 505924"/>
                    <a:gd name="connsiteX7" fmla="*/ 313744 w 545693"/>
                    <a:gd name="connsiteY7" fmla="*/ 14931 h 505924"/>
                    <a:gd name="connsiteX8" fmla="*/ 313744 w 545693"/>
                    <a:gd name="connsiteY8" fmla="*/ 145106 h 505924"/>
                    <a:gd name="connsiteX9" fmla="*/ 355019 w 545693"/>
                    <a:gd name="connsiteY9" fmla="*/ 151456 h 505924"/>
                    <a:gd name="connsiteX10" fmla="*/ 447094 w 545693"/>
                    <a:gd name="connsiteY10" fmla="*/ 164156 h 505924"/>
                    <a:gd name="connsiteX11" fmla="*/ 488369 w 545693"/>
                    <a:gd name="connsiteY11" fmla="*/ 189556 h 505924"/>
                    <a:gd name="connsiteX12" fmla="*/ 510594 w 545693"/>
                    <a:gd name="connsiteY12" fmla="*/ 234006 h 505924"/>
                    <a:gd name="connsiteX13" fmla="*/ 507419 w 545693"/>
                    <a:gd name="connsiteY13" fmla="*/ 488006 h 505924"/>
                    <a:gd name="connsiteX14" fmla="*/ 5769 w 545693"/>
                    <a:gd name="connsiteY14" fmla="*/ 449906 h 505924"/>
                    <a:gd name="connsiteX0" fmla="*/ 21286 w 561210"/>
                    <a:gd name="connsiteY0" fmla="*/ 449906 h 508025"/>
                    <a:gd name="connsiteX1" fmla="*/ 24461 w 561210"/>
                    <a:gd name="connsiteY1" fmla="*/ 214956 h 508025"/>
                    <a:gd name="connsiteX2" fmla="*/ 40336 w 561210"/>
                    <a:gd name="connsiteY2" fmla="*/ 176856 h 508025"/>
                    <a:gd name="connsiteX3" fmla="*/ 87961 w 561210"/>
                    <a:gd name="connsiteY3" fmla="*/ 160981 h 508025"/>
                    <a:gd name="connsiteX4" fmla="*/ 189561 w 561210"/>
                    <a:gd name="connsiteY4" fmla="*/ 154631 h 508025"/>
                    <a:gd name="connsiteX5" fmla="*/ 214961 w 561210"/>
                    <a:gd name="connsiteY5" fmla="*/ 151456 h 508025"/>
                    <a:gd name="connsiteX6" fmla="*/ 218136 w 561210"/>
                    <a:gd name="connsiteY6" fmla="*/ 18106 h 508025"/>
                    <a:gd name="connsiteX7" fmla="*/ 329261 w 561210"/>
                    <a:gd name="connsiteY7" fmla="*/ 14931 h 508025"/>
                    <a:gd name="connsiteX8" fmla="*/ 329261 w 561210"/>
                    <a:gd name="connsiteY8" fmla="*/ 145106 h 508025"/>
                    <a:gd name="connsiteX9" fmla="*/ 370536 w 561210"/>
                    <a:gd name="connsiteY9" fmla="*/ 151456 h 508025"/>
                    <a:gd name="connsiteX10" fmla="*/ 462611 w 561210"/>
                    <a:gd name="connsiteY10" fmla="*/ 164156 h 508025"/>
                    <a:gd name="connsiteX11" fmla="*/ 503886 w 561210"/>
                    <a:gd name="connsiteY11" fmla="*/ 189556 h 508025"/>
                    <a:gd name="connsiteX12" fmla="*/ 526111 w 561210"/>
                    <a:gd name="connsiteY12" fmla="*/ 234006 h 508025"/>
                    <a:gd name="connsiteX13" fmla="*/ 522936 w 561210"/>
                    <a:gd name="connsiteY13" fmla="*/ 488006 h 508025"/>
                    <a:gd name="connsiteX14" fmla="*/ 21286 w 561210"/>
                    <a:gd name="connsiteY14" fmla="*/ 449906 h 508025"/>
                    <a:gd name="connsiteX0" fmla="*/ 21286 w 561210"/>
                    <a:gd name="connsiteY0" fmla="*/ 449906 h 508025"/>
                    <a:gd name="connsiteX1" fmla="*/ 24461 w 561210"/>
                    <a:gd name="connsiteY1" fmla="*/ 214956 h 508025"/>
                    <a:gd name="connsiteX2" fmla="*/ 40336 w 561210"/>
                    <a:gd name="connsiteY2" fmla="*/ 176856 h 508025"/>
                    <a:gd name="connsiteX3" fmla="*/ 87961 w 561210"/>
                    <a:gd name="connsiteY3" fmla="*/ 160981 h 508025"/>
                    <a:gd name="connsiteX4" fmla="*/ 189561 w 561210"/>
                    <a:gd name="connsiteY4" fmla="*/ 154631 h 508025"/>
                    <a:gd name="connsiteX5" fmla="*/ 214961 w 561210"/>
                    <a:gd name="connsiteY5" fmla="*/ 151456 h 508025"/>
                    <a:gd name="connsiteX6" fmla="*/ 218136 w 561210"/>
                    <a:gd name="connsiteY6" fmla="*/ 18106 h 508025"/>
                    <a:gd name="connsiteX7" fmla="*/ 329261 w 561210"/>
                    <a:gd name="connsiteY7" fmla="*/ 14931 h 508025"/>
                    <a:gd name="connsiteX8" fmla="*/ 329261 w 561210"/>
                    <a:gd name="connsiteY8" fmla="*/ 145106 h 508025"/>
                    <a:gd name="connsiteX9" fmla="*/ 370536 w 561210"/>
                    <a:gd name="connsiteY9" fmla="*/ 151456 h 508025"/>
                    <a:gd name="connsiteX10" fmla="*/ 462611 w 561210"/>
                    <a:gd name="connsiteY10" fmla="*/ 164156 h 508025"/>
                    <a:gd name="connsiteX11" fmla="*/ 503886 w 561210"/>
                    <a:gd name="connsiteY11" fmla="*/ 189556 h 508025"/>
                    <a:gd name="connsiteX12" fmla="*/ 526111 w 561210"/>
                    <a:gd name="connsiteY12" fmla="*/ 234006 h 508025"/>
                    <a:gd name="connsiteX13" fmla="*/ 522936 w 561210"/>
                    <a:gd name="connsiteY13" fmla="*/ 488006 h 508025"/>
                    <a:gd name="connsiteX14" fmla="*/ 21286 w 561210"/>
                    <a:gd name="connsiteY14" fmla="*/ 449906 h 508025"/>
                    <a:gd name="connsiteX0" fmla="*/ 4360 w 544284"/>
                    <a:gd name="connsiteY0" fmla="*/ 449906 h 508025"/>
                    <a:gd name="connsiteX1" fmla="*/ 7535 w 544284"/>
                    <a:gd name="connsiteY1" fmla="*/ 214956 h 508025"/>
                    <a:gd name="connsiteX2" fmla="*/ 23410 w 544284"/>
                    <a:gd name="connsiteY2" fmla="*/ 176856 h 508025"/>
                    <a:gd name="connsiteX3" fmla="*/ 71035 w 544284"/>
                    <a:gd name="connsiteY3" fmla="*/ 160981 h 508025"/>
                    <a:gd name="connsiteX4" fmla="*/ 172635 w 544284"/>
                    <a:gd name="connsiteY4" fmla="*/ 154631 h 508025"/>
                    <a:gd name="connsiteX5" fmla="*/ 198035 w 544284"/>
                    <a:gd name="connsiteY5" fmla="*/ 151456 h 508025"/>
                    <a:gd name="connsiteX6" fmla="*/ 201210 w 544284"/>
                    <a:gd name="connsiteY6" fmla="*/ 18106 h 508025"/>
                    <a:gd name="connsiteX7" fmla="*/ 312335 w 544284"/>
                    <a:gd name="connsiteY7" fmla="*/ 14931 h 508025"/>
                    <a:gd name="connsiteX8" fmla="*/ 312335 w 544284"/>
                    <a:gd name="connsiteY8" fmla="*/ 145106 h 508025"/>
                    <a:gd name="connsiteX9" fmla="*/ 353610 w 544284"/>
                    <a:gd name="connsiteY9" fmla="*/ 151456 h 508025"/>
                    <a:gd name="connsiteX10" fmla="*/ 445685 w 544284"/>
                    <a:gd name="connsiteY10" fmla="*/ 164156 h 508025"/>
                    <a:gd name="connsiteX11" fmla="*/ 486960 w 544284"/>
                    <a:gd name="connsiteY11" fmla="*/ 189556 h 508025"/>
                    <a:gd name="connsiteX12" fmla="*/ 509185 w 544284"/>
                    <a:gd name="connsiteY12" fmla="*/ 234006 h 508025"/>
                    <a:gd name="connsiteX13" fmla="*/ 506010 w 544284"/>
                    <a:gd name="connsiteY13" fmla="*/ 488006 h 508025"/>
                    <a:gd name="connsiteX14" fmla="*/ 4360 w 544284"/>
                    <a:gd name="connsiteY14" fmla="*/ 449906 h 508025"/>
                    <a:gd name="connsiteX0" fmla="*/ 4360 w 544284"/>
                    <a:gd name="connsiteY0" fmla="*/ 449906 h 500804"/>
                    <a:gd name="connsiteX1" fmla="*/ 7535 w 544284"/>
                    <a:gd name="connsiteY1" fmla="*/ 214956 h 500804"/>
                    <a:gd name="connsiteX2" fmla="*/ 23410 w 544284"/>
                    <a:gd name="connsiteY2" fmla="*/ 176856 h 500804"/>
                    <a:gd name="connsiteX3" fmla="*/ 71035 w 544284"/>
                    <a:gd name="connsiteY3" fmla="*/ 160981 h 500804"/>
                    <a:gd name="connsiteX4" fmla="*/ 172635 w 544284"/>
                    <a:gd name="connsiteY4" fmla="*/ 154631 h 500804"/>
                    <a:gd name="connsiteX5" fmla="*/ 198035 w 544284"/>
                    <a:gd name="connsiteY5" fmla="*/ 151456 h 500804"/>
                    <a:gd name="connsiteX6" fmla="*/ 201210 w 544284"/>
                    <a:gd name="connsiteY6" fmla="*/ 18106 h 500804"/>
                    <a:gd name="connsiteX7" fmla="*/ 312335 w 544284"/>
                    <a:gd name="connsiteY7" fmla="*/ 14931 h 500804"/>
                    <a:gd name="connsiteX8" fmla="*/ 312335 w 544284"/>
                    <a:gd name="connsiteY8" fmla="*/ 145106 h 500804"/>
                    <a:gd name="connsiteX9" fmla="*/ 353610 w 544284"/>
                    <a:gd name="connsiteY9" fmla="*/ 151456 h 500804"/>
                    <a:gd name="connsiteX10" fmla="*/ 445685 w 544284"/>
                    <a:gd name="connsiteY10" fmla="*/ 164156 h 500804"/>
                    <a:gd name="connsiteX11" fmla="*/ 486960 w 544284"/>
                    <a:gd name="connsiteY11" fmla="*/ 189556 h 500804"/>
                    <a:gd name="connsiteX12" fmla="*/ 509185 w 544284"/>
                    <a:gd name="connsiteY12" fmla="*/ 234006 h 500804"/>
                    <a:gd name="connsiteX13" fmla="*/ 506010 w 544284"/>
                    <a:gd name="connsiteY13" fmla="*/ 488006 h 500804"/>
                    <a:gd name="connsiteX14" fmla="*/ 4360 w 544284"/>
                    <a:gd name="connsiteY14" fmla="*/ 449906 h 500804"/>
                    <a:gd name="connsiteX0" fmla="*/ 4360 w 544284"/>
                    <a:gd name="connsiteY0" fmla="*/ 449906 h 500804"/>
                    <a:gd name="connsiteX1" fmla="*/ 7535 w 544284"/>
                    <a:gd name="connsiteY1" fmla="*/ 214956 h 500804"/>
                    <a:gd name="connsiteX2" fmla="*/ 23410 w 544284"/>
                    <a:gd name="connsiteY2" fmla="*/ 176856 h 500804"/>
                    <a:gd name="connsiteX3" fmla="*/ 71035 w 544284"/>
                    <a:gd name="connsiteY3" fmla="*/ 160981 h 500804"/>
                    <a:gd name="connsiteX4" fmla="*/ 172635 w 544284"/>
                    <a:gd name="connsiteY4" fmla="*/ 154631 h 500804"/>
                    <a:gd name="connsiteX5" fmla="*/ 198035 w 544284"/>
                    <a:gd name="connsiteY5" fmla="*/ 151456 h 500804"/>
                    <a:gd name="connsiteX6" fmla="*/ 201210 w 544284"/>
                    <a:gd name="connsiteY6" fmla="*/ 18106 h 500804"/>
                    <a:gd name="connsiteX7" fmla="*/ 312335 w 544284"/>
                    <a:gd name="connsiteY7" fmla="*/ 14931 h 500804"/>
                    <a:gd name="connsiteX8" fmla="*/ 312335 w 544284"/>
                    <a:gd name="connsiteY8" fmla="*/ 145106 h 500804"/>
                    <a:gd name="connsiteX9" fmla="*/ 353610 w 544284"/>
                    <a:gd name="connsiteY9" fmla="*/ 151456 h 500804"/>
                    <a:gd name="connsiteX10" fmla="*/ 445685 w 544284"/>
                    <a:gd name="connsiteY10" fmla="*/ 164156 h 500804"/>
                    <a:gd name="connsiteX11" fmla="*/ 486960 w 544284"/>
                    <a:gd name="connsiteY11" fmla="*/ 189556 h 500804"/>
                    <a:gd name="connsiteX12" fmla="*/ 509185 w 544284"/>
                    <a:gd name="connsiteY12" fmla="*/ 234006 h 500804"/>
                    <a:gd name="connsiteX13" fmla="*/ 506010 w 544284"/>
                    <a:gd name="connsiteY13" fmla="*/ 488006 h 500804"/>
                    <a:gd name="connsiteX14" fmla="*/ 4360 w 544284"/>
                    <a:gd name="connsiteY14" fmla="*/ 449906 h 500804"/>
                    <a:gd name="connsiteX0" fmla="*/ 4360 w 519024"/>
                    <a:gd name="connsiteY0" fmla="*/ 449906 h 500804"/>
                    <a:gd name="connsiteX1" fmla="*/ 7535 w 519024"/>
                    <a:gd name="connsiteY1" fmla="*/ 214956 h 500804"/>
                    <a:gd name="connsiteX2" fmla="*/ 23410 w 519024"/>
                    <a:gd name="connsiteY2" fmla="*/ 176856 h 500804"/>
                    <a:gd name="connsiteX3" fmla="*/ 71035 w 519024"/>
                    <a:gd name="connsiteY3" fmla="*/ 160981 h 500804"/>
                    <a:gd name="connsiteX4" fmla="*/ 172635 w 519024"/>
                    <a:gd name="connsiteY4" fmla="*/ 154631 h 500804"/>
                    <a:gd name="connsiteX5" fmla="*/ 198035 w 519024"/>
                    <a:gd name="connsiteY5" fmla="*/ 151456 h 500804"/>
                    <a:gd name="connsiteX6" fmla="*/ 201210 w 519024"/>
                    <a:gd name="connsiteY6" fmla="*/ 18106 h 500804"/>
                    <a:gd name="connsiteX7" fmla="*/ 312335 w 519024"/>
                    <a:gd name="connsiteY7" fmla="*/ 14931 h 500804"/>
                    <a:gd name="connsiteX8" fmla="*/ 312335 w 519024"/>
                    <a:gd name="connsiteY8" fmla="*/ 145106 h 500804"/>
                    <a:gd name="connsiteX9" fmla="*/ 353610 w 519024"/>
                    <a:gd name="connsiteY9" fmla="*/ 151456 h 500804"/>
                    <a:gd name="connsiteX10" fmla="*/ 445685 w 519024"/>
                    <a:gd name="connsiteY10" fmla="*/ 164156 h 500804"/>
                    <a:gd name="connsiteX11" fmla="*/ 486960 w 519024"/>
                    <a:gd name="connsiteY11" fmla="*/ 189556 h 500804"/>
                    <a:gd name="connsiteX12" fmla="*/ 509185 w 519024"/>
                    <a:gd name="connsiteY12" fmla="*/ 234006 h 500804"/>
                    <a:gd name="connsiteX13" fmla="*/ 506010 w 519024"/>
                    <a:gd name="connsiteY13" fmla="*/ 488006 h 500804"/>
                    <a:gd name="connsiteX14" fmla="*/ 4360 w 519024"/>
                    <a:gd name="connsiteY14" fmla="*/ 449906 h 500804"/>
                    <a:gd name="connsiteX0" fmla="*/ 4360 w 519024"/>
                    <a:gd name="connsiteY0" fmla="*/ 449906 h 488006"/>
                    <a:gd name="connsiteX1" fmla="*/ 7535 w 519024"/>
                    <a:gd name="connsiteY1" fmla="*/ 214956 h 488006"/>
                    <a:gd name="connsiteX2" fmla="*/ 23410 w 519024"/>
                    <a:gd name="connsiteY2" fmla="*/ 176856 h 488006"/>
                    <a:gd name="connsiteX3" fmla="*/ 71035 w 519024"/>
                    <a:gd name="connsiteY3" fmla="*/ 160981 h 488006"/>
                    <a:gd name="connsiteX4" fmla="*/ 172635 w 519024"/>
                    <a:gd name="connsiteY4" fmla="*/ 154631 h 488006"/>
                    <a:gd name="connsiteX5" fmla="*/ 198035 w 519024"/>
                    <a:gd name="connsiteY5" fmla="*/ 151456 h 488006"/>
                    <a:gd name="connsiteX6" fmla="*/ 201210 w 519024"/>
                    <a:gd name="connsiteY6" fmla="*/ 18106 h 488006"/>
                    <a:gd name="connsiteX7" fmla="*/ 312335 w 519024"/>
                    <a:gd name="connsiteY7" fmla="*/ 14931 h 488006"/>
                    <a:gd name="connsiteX8" fmla="*/ 312335 w 519024"/>
                    <a:gd name="connsiteY8" fmla="*/ 145106 h 488006"/>
                    <a:gd name="connsiteX9" fmla="*/ 353610 w 519024"/>
                    <a:gd name="connsiteY9" fmla="*/ 151456 h 488006"/>
                    <a:gd name="connsiteX10" fmla="*/ 445685 w 519024"/>
                    <a:gd name="connsiteY10" fmla="*/ 164156 h 488006"/>
                    <a:gd name="connsiteX11" fmla="*/ 486960 w 519024"/>
                    <a:gd name="connsiteY11" fmla="*/ 189556 h 488006"/>
                    <a:gd name="connsiteX12" fmla="*/ 509185 w 519024"/>
                    <a:gd name="connsiteY12" fmla="*/ 234006 h 488006"/>
                    <a:gd name="connsiteX13" fmla="*/ 506010 w 519024"/>
                    <a:gd name="connsiteY13" fmla="*/ 488006 h 488006"/>
                    <a:gd name="connsiteX14" fmla="*/ 4360 w 519024"/>
                    <a:gd name="connsiteY14" fmla="*/ 449906 h 488006"/>
                    <a:gd name="connsiteX0" fmla="*/ 4360 w 523534"/>
                    <a:gd name="connsiteY0" fmla="*/ 449906 h 472131"/>
                    <a:gd name="connsiteX1" fmla="*/ 7535 w 523534"/>
                    <a:gd name="connsiteY1" fmla="*/ 214956 h 472131"/>
                    <a:gd name="connsiteX2" fmla="*/ 23410 w 523534"/>
                    <a:gd name="connsiteY2" fmla="*/ 176856 h 472131"/>
                    <a:gd name="connsiteX3" fmla="*/ 71035 w 523534"/>
                    <a:gd name="connsiteY3" fmla="*/ 160981 h 472131"/>
                    <a:gd name="connsiteX4" fmla="*/ 172635 w 523534"/>
                    <a:gd name="connsiteY4" fmla="*/ 154631 h 472131"/>
                    <a:gd name="connsiteX5" fmla="*/ 198035 w 523534"/>
                    <a:gd name="connsiteY5" fmla="*/ 151456 h 472131"/>
                    <a:gd name="connsiteX6" fmla="*/ 201210 w 523534"/>
                    <a:gd name="connsiteY6" fmla="*/ 18106 h 472131"/>
                    <a:gd name="connsiteX7" fmla="*/ 312335 w 523534"/>
                    <a:gd name="connsiteY7" fmla="*/ 14931 h 472131"/>
                    <a:gd name="connsiteX8" fmla="*/ 312335 w 523534"/>
                    <a:gd name="connsiteY8" fmla="*/ 145106 h 472131"/>
                    <a:gd name="connsiteX9" fmla="*/ 353610 w 523534"/>
                    <a:gd name="connsiteY9" fmla="*/ 151456 h 472131"/>
                    <a:gd name="connsiteX10" fmla="*/ 445685 w 523534"/>
                    <a:gd name="connsiteY10" fmla="*/ 164156 h 472131"/>
                    <a:gd name="connsiteX11" fmla="*/ 486960 w 523534"/>
                    <a:gd name="connsiteY11" fmla="*/ 189556 h 472131"/>
                    <a:gd name="connsiteX12" fmla="*/ 509185 w 523534"/>
                    <a:gd name="connsiteY12" fmla="*/ 234006 h 472131"/>
                    <a:gd name="connsiteX13" fmla="*/ 512360 w 523534"/>
                    <a:gd name="connsiteY13" fmla="*/ 472131 h 472131"/>
                    <a:gd name="connsiteX14" fmla="*/ 4360 w 523534"/>
                    <a:gd name="connsiteY14" fmla="*/ 449906 h 472131"/>
                    <a:gd name="connsiteX0" fmla="*/ 4360 w 513675"/>
                    <a:gd name="connsiteY0" fmla="*/ 449906 h 472131"/>
                    <a:gd name="connsiteX1" fmla="*/ 7535 w 513675"/>
                    <a:gd name="connsiteY1" fmla="*/ 214956 h 472131"/>
                    <a:gd name="connsiteX2" fmla="*/ 23410 w 513675"/>
                    <a:gd name="connsiteY2" fmla="*/ 176856 h 472131"/>
                    <a:gd name="connsiteX3" fmla="*/ 71035 w 513675"/>
                    <a:gd name="connsiteY3" fmla="*/ 160981 h 472131"/>
                    <a:gd name="connsiteX4" fmla="*/ 172635 w 513675"/>
                    <a:gd name="connsiteY4" fmla="*/ 154631 h 472131"/>
                    <a:gd name="connsiteX5" fmla="*/ 198035 w 513675"/>
                    <a:gd name="connsiteY5" fmla="*/ 151456 h 472131"/>
                    <a:gd name="connsiteX6" fmla="*/ 201210 w 513675"/>
                    <a:gd name="connsiteY6" fmla="*/ 18106 h 472131"/>
                    <a:gd name="connsiteX7" fmla="*/ 312335 w 513675"/>
                    <a:gd name="connsiteY7" fmla="*/ 14931 h 472131"/>
                    <a:gd name="connsiteX8" fmla="*/ 312335 w 513675"/>
                    <a:gd name="connsiteY8" fmla="*/ 145106 h 472131"/>
                    <a:gd name="connsiteX9" fmla="*/ 353610 w 513675"/>
                    <a:gd name="connsiteY9" fmla="*/ 151456 h 472131"/>
                    <a:gd name="connsiteX10" fmla="*/ 445685 w 513675"/>
                    <a:gd name="connsiteY10" fmla="*/ 164156 h 472131"/>
                    <a:gd name="connsiteX11" fmla="*/ 486960 w 513675"/>
                    <a:gd name="connsiteY11" fmla="*/ 189556 h 472131"/>
                    <a:gd name="connsiteX12" fmla="*/ 509185 w 513675"/>
                    <a:gd name="connsiteY12" fmla="*/ 234006 h 472131"/>
                    <a:gd name="connsiteX13" fmla="*/ 512360 w 513675"/>
                    <a:gd name="connsiteY13" fmla="*/ 472131 h 472131"/>
                    <a:gd name="connsiteX14" fmla="*/ 4360 w 513675"/>
                    <a:gd name="connsiteY14" fmla="*/ 449906 h 472131"/>
                    <a:gd name="connsiteX0" fmla="*/ 4360 w 513675"/>
                    <a:gd name="connsiteY0" fmla="*/ 446969 h 469194"/>
                    <a:gd name="connsiteX1" fmla="*/ 7535 w 513675"/>
                    <a:gd name="connsiteY1" fmla="*/ 212019 h 469194"/>
                    <a:gd name="connsiteX2" fmla="*/ 23410 w 513675"/>
                    <a:gd name="connsiteY2" fmla="*/ 173919 h 469194"/>
                    <a:gd name="connsiteX3" fmla="*/ 71035 w 513675"/>
                    <a:gd name="connsiteY3" fmla="*/ 158044 h 469194"/>
                    <a:gd name="connsiteX4" fmla="*/ 172635 w 513675"/>
                    <a:gd name="connsiteY4" fmla="*/ 151694 h 469194"/>
                    <a:gd name="connsiteX5" fmla="*/ 188510 w 513675"/>
                    <a:gd name="connsiteY5" fmla="*/ 94544 h 469194"/>
                    <a:gd name="connsiteX6" fmla="*/ 201210 w 513675"/>
                    <a:gd name="connsiteY6" fmla="*/ 15169 h 469194"/>
                    <a:gd name="connsiteX7" fmla="*/ 312335 w 513675"/>
                    <a:gd name="connsiteY7" fmla="*/ 11994 h 469194"/>
                    <a:gd name="connsiteX8" fmla="*/ 312335 w 513675"/>
                    <a:gd name="connsiteY8" fmla="*/ 142169 h 469194"/>
                    <a:gd name="connsiteX9" fmla="*/ 353610 w 513675"/>
                    <a:gd name="connsiteY9" fmla="*/ 148519 h 469194"/>
                    <a:gd name="connsiteX10" fmla="*/ 445685 w 513675"/>
                    <a:gd name="connsiteY10" fmla="*/ 161219 h 469194"/>
                    <a:gd name="connsiteX11" fmla="*/ 486960 w 513675"/>
                    <a:gd name="connsiteY11" fmla="*/ 186619 h 469194"/>
                    <a:gd name="connsiteX12" fmla="*/ 509185 w 513675"/>
                    <a:gd name="connsiteY12" fmla="*/ 231069 h 469194"/>
                    <a:gd name="connsiteX13" fmla="*/ 512360 w 513675"/>
                    <a:gd name="connsiteY13" fmla="*/ 469194 h 469194"/>
                    <a:gd name="connsiteX14" fmla="*/ 4360 w 513675"/>
                    <a:gd name="connsiteY14" fmla="*/ 446969 h 469194"/>
                    <a:gd name="connsiteX0" fmla="*/ 4360 w 513675"/>
                    <a:gd name="connsiteY0" fmla="*/ 443409 h 465634"/>
                    <a:gd name="connsiteX1" fmla="*/ 7535 w 513675"/>
                    <a:gd name="connsiteY1" fmla="*/ 208459 h 465634"/>
                    <a:gd name="connsiteX2" fmla="*/ 23410 w 513675"/>
                    <a:gd name="connsiteY2" fmla="*/ 170359 h 465634"/>
                    <a:gd name="connsiteX3" fmla="*/ 71035 w 513675"/>
                    <a:gd name="connsiteY3" fmla="*/ 154484 h 465634"/>
                    <a:gd name="connsiteX4" fmla="*/ 172635 w 513675"/>
                    <a:gd name="connsiteY4" fmla="*/ 148134 h 465634"/>
                    <a:gd name="connsiteX5" fmla="*/ 188510 w 513675"/>
                    <a:gd name="connsiteY5" fmla="*/ 90984 h 465634"/>
                    <a:gd name="connsiteX6" fmla="*/ 201210 w 513675"/>
                    <a:gd name="connsiteY6" fmla="*/ 11609 h 465634"/>
                    <a:gd name="connsiteX7" fmla="*/ 312335 w 513675"/>
                    <a:gd name="connsiteY7" fmla="*/ 8434 h 465634"/>
                    <a:gd name="connsiteX8" fmla="*/ 312335 w 513675"/>
                    <a:gd name="connsiteY8" fmla="*/ 87809 h 465634"/>
                    <a:gd name="connsiteX9" fmla="*/ 353610 w 513675"/>
                    <a:gd name="connsiteY9" fmla="*/ 144959 h 465634"/>
                    <a:gd name="connsiteX10" fmla="*/ 445685 w 513675"/>
                    <a:gd name="connsiteY10" fmla="*/ 157659 h 465634"/>
                    <a:gd name="connsiteX11" fmla="*/ 486960 w 513675"/>
                    <a:gd name="connsiteY11" fmla="*/ 183059 h 465634"/>
                    <a:gd name="connsiteX12" fmla="*/ 509185 w 513675"/>
                    <a:gd name="connsiteY12" fmla="*/ 227509 h 465634"/>
                    <a:gd name="connsiteX13" fmla="*/ 512360 w 513675"/>
                    <a:gd name="connsiteY13" fmla="*/ 465634 h 465634"/>
                    <a:gd name="connsiteX14" fmla="*/ 4360 w 513675"/>
                    <a:gd name="connsiteY14" fmla="*/ 443409 h 465634"/>
                    <a:gd name="connsiteX0" fmla="*/ 4360 w 513675"/>
                    <a:gd name="connsiteY0" fmla="*/ 443409 h 465634"/>
                    <a:gd name="connsiteX1" fmla="*/ 7535 w 513675"/>
                    <a:gd name="connsiteY1" fmla="*/ 208459 h 465634"/>
                    <a:gd name="connsiteX2" fmla="*/ 23410 w 513675"/>
                    <a:gd name="connsiteY2" fmla="*/ 170359 h 465634"/>
                    <a:gd name="connsiteX3" fmla="*/ 71035 w 513675"/>
                    <a:gd name="connsiteY3" fmla="*/ 154484 h 465634"/>
                    <a:gd name="connsiteX4" fmla="*/ 172635 w 513675"/>
                    <a:gd name="connsiteY4" fmla="*/ 148134 h 465634"/>
                    <a:gd name="connsiteX5" fmla="*/ 188510 w 513675"/>
                    <a:gd name="connsiteY5" fmla="*/ 90984 h 465634"/>
                    <a:gd name="connsiteX6" fmla="*/ 201210 w 513675"/>
                    <a:gd name="connsiteY6" fmla="*/ 11609 h 465634"/>
                    <a:gd name="connsiteX7" fmla="*/ 312335 w 513675"/>
                    <a:gd name="connsiteY7" fmla="*/ 8434 h 465634"/>
                    <a:gd name="connsiteX8" fmla="*/ 312335 w 513675"/>
                    <a:gd name="connsiteY8" fmla="*/ 87809 h 465634"/>
                    <a:gd name="connsiteX9" fmla="*/ 334560 w 513675"/>
                    <a:gd name="connsiteY9" fmla="*/ 135434 h 465634"/>
                    <a:gd name="connsiteX10" fmla="*/ 445685 w 513675"/>
                    <a:gd name="connsiteY10" fmla="*/ 157659 h 465634"/>
                    <a:gd name="connsiteX11" fmla="*/ 486960 w 513675"/>
                    <a:gd name="connsiteY11" fmla="*/ 183059 h 465634"/>
                    <a:gd name="connsiteX12" fmla="*/ 509185 w 513675"/>
                    <a:gd name="connsiteY12" fmla="*/ 227509 h 465634"/>
                    <a:gd name="connsiteX13" fmla="*/ 512360 w 513675"/>
                    <a:gd name="connsiteY13" fmla="*/ 465634 h 465634"/>
                    <a:gd name="connsiteX14" fmla="*/ 4360 w 513675"/>
                    <a:gd name="connsiteY14" fmla="*/ 443409 h 465634"/>
                    <a:gd name="connsiteX0" fmla="*/ 4360 w 510500"/>
                    <a:gd name="connsiteY0" fmla="*/ 443409 h 449759"/>
                    <a:gd name="connsiteX1" fmla="*/ 7535 w 510500"/>
                    <a:gd name="connsiteY1" fmla="*/ 208459 h 449759"/>
                    <a:gd name="connsiteX2" fmla="*/ 23410 w 510500"/>
                    <a:gd name="connsiteY2" fmla="*/ 170359 h 449759"/>
                    <a:gd name="connsiteX3" fmla="*/ 71035 w 510500"/>
                    <a:gd name="connsiteY3" fmla="*/ 154484 h 449759"/>
                    <a:gd name="connsiteX4" fmla="*/ 172635 w 510500"/>
                    <a:gd name="connsiteY4" fmla="*/ 148134 h 449759"/>
                    <a:gd name="connsiteX5" fmla="*/ 188510 w 510500"/>
                    <a:gd name="connsiteY5" fmla="*/ 90984 h 449759"/>
                    <a:gd name="connsiteX6" fmla="*/ 201210 w 510500"/>
                    <a:gd name="connsiteY6" fmla="*/ 11609 h 449759"/>
                    <a:gd name="connsiteX7" fmla="*/ 312335 w 510500"/>
                    <a:gd name="connsiteY7" fmla="*/ 8434 h 449759"/>
                    <a:gd name="connsiteX8" fmla="*/ 312335 w 510500"/>
                    <a:gd name="connsiteY8" fmla="*/ 87809 h 449759"/>
                    <a:gd name="connsiteX9" fmla="*/ 334560 w 510500"/>
                    <a:gd name="connsiteY9" fmla="*/ 135434 h 449759"/>
                    <a:gd name="connsiteX10" fmla="*/ 445685 w 510500"/>
                    <a:gd name="connsiteY10" fmla="*/ 157659 h 449759"/>
                    <a:gd name="connsiteX11" fmla="*/ 486960 w 510500"/>
                    <a:gd name="connsiteY11" fmla="*/ 183059 h 449759"/>
                    <a:gd name="connsiteX12" fmla="*/ 509185 w 510500"/>
                    <a:gd name="connsiteY12" fmla="*/ 227509 h 449759"/>
                    <a:gd name="connsiteX13" fmla="*/ 506010 w 510500"/>
                    <a:gd name="connsiteY13" fmla="*/ 449759 h 449759"/>
                    <a:gd name="connsiteX14" fmla="*/ 4360 w 510500"/>
                    <a:gd name="connsiteY14" fmla="*/ 443409 h 449759"/>
                    <a:gd name="connsiteX0" fmla="*/ 4360 w 510500"/>
                    <a:gd name="connsiteY0" fmla="*/ 443409 h 454926"/>
                    <a:gd name="connsiteX1" fmla="*/ 7535 w 510500"/>
                    <a:gd name="connsiteY1" fmla="*/ 208459 h 454926"/>
                    <a:gd name="connsiteX2" fmla="*/ 23410 w 510500"/>
                    <a:gd name="connsiteY2" fmla="*/ 170359 h 454926"/>
                    <a:gd name="connsiteX3" fmla="*/ 71035 w 510500"/>
                    <a:gd name="connsiteY3" fmla="*/ 154484 h 454926"/>
                    <a:gd name="connsiteX4" fmla="*/ 172635 w 510500"/>
                    <a:gd name="connsiteY4" fmla="*/ 148134 h 454926"/>
                    <a:gd name="connsiteX5" fmla="*/ 188510 w 510500"/>
                    <a:gd name="connsiteY5" fmla="*/ 90984 h 454926"/>
                    <a:gd name="connsiteX6" fmla="*/ 201210 w 510500"/>
                    <a:gd name="connsiteY6" fmla="*/ 11609 h 454926"/>
                    <a:gd name="connsiteX7" fmla="*/ 312335 w 510500"/>
                    <a:gd name="connsiteY7" fmla="*/ 8434 h 454926"/>
                    <a:gd name="connsiteX8" fmla="*/ 312335 w 510500"/>
                    <a:gd name="connsiteY8" fmla="*/ 87809 h 454926"/>
                    <a:gd name="connsiteX9" fmla="*/ 334560 w 510500"/>
                    <a:gd name="connsiteY9" fmla="*/ 135434 h 454926"/>
                    <a:gd name="connsiteX10" fmla="*/ 445685 w 510500"/>
                    <a:gd name="connsiteY10" fmla="*/ 157659 h 454926"/>
                    <a:gd name="connsiteX11" fmla="*/ 486960 w 510500"/>
                    <a:gd name="connsiteY11" fmla="*/ 183059 h 454926"/>
                    <a:gd name="connsiteX12" fmla="*/ 509185 w 510500"/>
                    <a:gd name="connsiteY12" fmla="*/ 227509 h 454926"/>
                    <a:gd name="connsiteX13" fmla="*/ 506010 w 510500"/>
                    <a:gd name="connsiteY13" fmla="*/ 449759 h 454926"/>
                    <a:gd name="connsiteX14" fmla="*/ 4360 w 510500"/>
                    <a:gd name="connsiteY14" fmla="*/ 443409 h 454926"/>
                    <a:gd name="connsiteX0" fmla="*/ 6473 w 512613"/>
                    <a:gd name="connsiteY0" fmla="*/ 443409 h 454926"/>
                    <a:gd name="connsiteX1" fmla="*/ 9648 w 512613"/>
                    <a:gd name="connsiteY1" fmla="*/ 208459 h 454926"/>
                    <a:gd name="connsiteX2" fmla="*/ 73148 w 512613"/>
                    <a:gd name="connsiteY2" fmla="*/ 154484 h 454926"/>
                    <a:gd name="connsiteX3" fmla="*/ 174748 w 512613"/>
                    <a:gd name="connsiteY3" fmla="*/ 148134 h 454926"/>
                    <a:gd name="connsiteX4" fmla="*/ 190623 w 512613"/>
                    <a:gd name="connsiteY4" fmla="*/ 90984 h 454926"/>
                    <a:gd name="connsiteX5" fmla="*/ 203323 w 512613"/>
                    <a:gd name="connsiteY5" fmla="*/ 11609 h 454926"/>
                    <a:gd name="connsiteX6" fmla="*/ 314448 w 512613"/>
                    <a:gd name="connsiteY6" fmla="*/ 8434 h 454926"/>
                    <a:gd name="connsiteX7" fmla="*/ 314448 w 512613"/>
                    <a:gd name="connsiteY7" fmla="*/ 87809 h 454926"/>
                    <a:gd name="connsiteX8" fmla="*/ 336673 w 512613"/>
                    <a:gd name="connsiteY8" fmla="*/ 135434 h 454926"/>
                    <a:gd name="connsiteX9" fmla="*/ 447798 w 512613"/>
                    <a:gd name="connsiteY9" fmla="*/ 157659 h 454926"/>
                    <a:gd name="connsiteX10" fmla="*/ 489073 w 512613"/>
                    <a:gd name="connsiteY10" fmla="*/ 183059 h 454926"/>
                    <a:gd name="connsiteX11" fmla="*/ 511298 w 512613"/>
                    <a:gd name="connsiteY11" fmla="*/ 227509 h 454926"/>
                    <a:gd name="connsiteX12" fmla="*/ 508123 w 512613"/>
                    <a:gd name="connsiteY12" fmla="*/ 449759 h 454926"/>
                    <a:gd name="connsiteX13" fmla="*/ 6473 w 512613"/>
                    <a:gd name="connsiteY13" fmla="*/ 443409 h 454926"/>
                    <a:gd name="connsiteX0" fmla="*/ 4049 w 510189"/>
                    <a:gd name="connsiteY0" fmla="*/ 443409 h 454926"/>
                    <a:gd name="connsiteX1" fmla="*/ 7224 w 510189"/>
                    <a:gd name="connsiteY1" fmla="*/ 208459 h 454926"/>
                    <a:gd name="connsiteX2" fmla="*/ 70724 w 510189"/>
                    <a:gd name="connsiteY2" fmla="*/ 154484 h 454926"/>
                    <a:gd name="connsiteX3" fmla="*/ 172324 w 510189"/>
                    <a:gd name="connsiteY3" fmla="*/ 148134 h 454926"/>
                    <a:gd name="connsiteX4" fmla="*/ 188199 w 510189"/>
                    <a:gd name="connsiteY4" fmla="*/ 90984 h 454926"/>
                    <a:gd name="connsiteX5" fmla="*/ 200899 w 510189"/>
                    <a:gd name="connsiteY5" fmla="*/ 11609 h 454926"/>
                    <a:gd name="connsiteX6" fmla="*/ 312024 w 510189"/>
                    <a:gd name="connsiteY6" fmla="*/ 8434 h 454926"/>
                    <a:gd name="connsiteX7" fmla="*/ 312024 w 510189"/>
                    <a:gd name="connsiteY7" fmla="*/ 87809 h 454926"/>
                    <a:gd name="connsiteX8" fmla="*/ 334249 w 510189"/>
                    <a:gd name="connsiteY8" fmla="*/ 135434 h 454926"/>
                    <a:gd name="connsiteX9" fmla="*/ 445374 w 510189"/>
                    <a:gd name="connsiteY9" fmla="*/ 157659 h 454926"/>
                    <a:gd name="connsiteX10" fmla="*/ 486649 w 510189"/>
                    <a:gd name="connsiteY10" fmla="*/ 183059 h 454926"/>
                    <a:gd name="connsiteX11" fmla="*/ 508874 w 510189"/>
                    <a:gd name="connsiteY11" fmla="*/ 227509 h 454926"/>
                    <a:gd name="connsiteX12" fmla="*/ 505699 w 510189"/>
                    <a:gd name="connsiteY12" fmla="*/ 449759 h 454926"/>
                    <a:gd name="connsiteX13" fmla="*/ 4049 w 510189"/>
                    <a:gd name="connsiteY13" fmla="*/ 443409 h 454926"/>
                    <a:gd name="connsiteX0" fmla="*/ 4049 w 510189"/>
                    <a:gd name="connsiteY0" fmla="*/ 443409 h 454926"/>
                    <a:gd name="connsiteX1" fmla="*/ 7224 w 510189"/>
                    <a:gd name="connsiteY1" fmla="*/ 208459 h 454926"/>
                    <a:gd name="connsiteX2" fmla="*/ 70724 w 510189"/>
                    <a:gd name="connsiteY2" fmla="*/ 154484 h 454926"/>
                    <a:gd name="connsiteX3" fmla="*/ 172324 w 510189"/>
                    <a:gd name="connsiteY3" fmla="*/ 148134 h 454926"/>
                    <a:gd name="connsiteX4" fmla="*/ 188199 w 510189"/>
                    <a:gd name="connsiteY4" fmla="*/ 90984 h 454926"/>
                    <a:gd name="connsiteX5" fmla="*/ 200899 w 510189"/>
                    <a:gd name="connsiteY5" fmla="*/ 11609 h 454926"/>
                    <a:gd name="connsiteX6" fmla="*/ 312024 w 510189"/>
                    <a:gd name="connsiteY6" fmla="*/ 8434 h 454926"/>
                    <a:gd name="connsiteX7" fmla="*/ 312024 w 510189"/>
                    <a:gd name="connsiteY7" fmla="*/ 87809 h 454926"/>
                    <a:gd name="connsiteX8" fmla="*/ 334249 w 510189"/>
                    <a:gd name="connsiteY8" fmla="*/ 135434 h 454926"/>
                    <a:gd name="connsiteX9" fmla="*/ 445374 w 510189"/>
                    <a:gd name="connsiteY9" fmla="*/ 157659 h 454926"/>
                    <a:gd name="connsiteX10" fmla="*/ 508874 w 510189"/>
                    <a:gd name="connsiteY10" fmla="*/ 227509 h 454926"/>
                    <a:gd name="connsiteX11" fmla="*/ 505699 w 510189"/>
                    <a:gd name="connsiteY11" fmla="*/ 449759 h 454926"/>
                    <a:gd name="connsiteX12" fmla="*/ 4049 w 510189"/>
                    <a:gd name="connsiteY12" fmla="*/ 443409 h 454926"/>
                    <a:gd name="connsiteX0" fmla="*/ 4049 w 510189"/>
                    <a:gd name="connsiteY0" fmla="*/ 443409 h 454926"/>
                    <a:gd name="connsiteX1" fmla="*/ 7224 w 510189"/>
                    <a:gd name="connsiteY1" fmla="*/ 208459 h 454926"/>
                    <a:gd name="connsiteX2" fmla="*/ 70724 w 510189"/>
                    <a:gd name="connsiteY2" fmla="*/ 154484 h 454926"/>
                    <a:gd name="connsiteX3" fmla="*/ 172324 w 510189"/>
                    <a:gd name="connsiteY3" fmla="*/ 148134 h 454926"/>
                    <a:gd name="connsiteX4" fmla="*/ 188199 w 510189"/>
                    <a:gd name="connsiteY4" fmla="*/ 90984 h 454926"/>
                    <a:gd name="connsiteX5" fmla="*/ 200899 w 510189"/>
                    <a:gd name="connsiteY5" fmla="*/ 11609 h 454926"/>
                    <a:gd name="connsiteX6" fmla="*/ 312024 w 510189"/>
                    <a:gd name="connsiteY6" fmla="*/ 8434 h 454926"/>
                    <a:gd name="connsiteX7" fmla="*/ 312024 w 510189"/>
                    <a:gd name="connsiteY7" fmla="*/ 87809 h 454926"/>
                    <a:gd name="connsiteX8" fmla="*/ 334249 w 510189"/>
                    <a:gd name="connsiteY8" fmla="*/ 135434 h 454926"/>
                    <a:gd name="connsiteX9" fmla="*/ 445374 w 510189"/>
                    <a:gd name="connsiteY9" fmla="*/ 157659 h 454926"/>
                    <a:gd name="connsiteX10" fmla="*/ 508874 w 510189"/>
                    <a:gd name="connsiteY10" fmla="*/ 227509 h 454926"/>
                    <a:gd name="connsiteX11" fmla="*/ 505699 w 510189"/>
                    <a:gd name="connsiteY11" fmla="*/ 449759 h 454926"/>
                    <a:gd name="connsiteX12" fmla="*/ 4049 w 510189"/>
                    <a:gd name="connsiteY12" fmla="*/ 443409 h 454926"/>
                    <a:gd name="connsiteX0" fmla="*/ 5987 w 512127"/>
                    <a:gd name="connsiteY0" fmla="*/ 443409 h 454926"/>
                    <a:gd name="connsiteX1" fmla="*/ 2812 w 512127"/>
                    <a:gd name="connsiteY1" fmla="*/ 217984 h 454926"/>
                    <a:gd name="connsiteX2" fmla="*/ 72662 w 512127"/>
                    <a:gd name="connsiteY2" fmla="*/ 154484 h 454926"/>
                    <a:gd name="connsiteX3" fmla="*/ 174262 w 512127"/>
                    <a:gd name="connsiteY3" fmla="*/ 148134 h 454926"/>
                    <a:gd name="connsiteX4" fmla="*/ 190137 w 512127"/>
                    <a:gd name="connsiteY4" fmla="*/ 90984 h 454926"/>
                    <a:gd name="connsiteX5" fmla="*/ 202837 w 512127"/>
                    <a:gd name="connsiteY5" fmla="*/ 11609 h 454926"/>
                    <a:gd name="connsiteX6" fmla="*/ 313962 w 512127"/>
                    <a:gd name="connsiteY6" fmla="*/ 8434 h 454926"/>
                    <a:gd name="connsiteX7" fmla="*/ 313962 w 512127"/>
                    <a:gd name="connsiteY7" fmla="*/ 87809 h 454926"/>
                    <a:gd name="connsiteX8" fmla="*/ 336187 w 512127"/>
                    <a:gd name="connsiteY8" fmla="*/ 135434 h 454926"/>
                    <a:gd name="connsiteX9" fmla="*/ 447312 w 512127"/>
                    <a:gd name="connsiteY9" fmla="*/ 157659 h 454926"/>
                    <a:gd name="connsiteX10" fmla="*/ 510812 w 512127"/>
                    <a:gd name="connsiteY10" fmla="*/ 227509 h 454926"/>
                    <a:gd name="connsiteX11" fmla="*/ 507637 w 512127"/>
                    <a:gd name="connsiteY11" fmla="*/ 449759 h 454926"/>
                    <a:gd name="connsiteX12" fmla="*/ 5987 w 512127"/>
                    <a:gd name="connsiteY12" fmla="*/ 443409 h 454926"/>
                    <a:gd name="connsiteX0" fmla="*/ 9762 w 515902"/>
                    <a:gd name="connsiteY0" fmla="*/ 443409 h 454926"/>
                    <a:gd name="connsiteX1" fmla="*/ 6587 w 515902"/>
                    <a:gd name="connsiteY1" fmla="*/ 217984 h 454926"/>
                    <a:gd name="connsiteX2" fmla="*/ 76437 w 515902"/>
                    <a:gd name="connsiteY2" fmla="*/ 154484 h 454926"/>
                    <a:gd name="connsiteX3" fmla="*/ 178037 w 515902"/>
                    <a:gd name="connsiteY3" fmla="*/ 148134 h 454926"/>
                    <a:gd name="connsiteX4" fmla="*/ 193912 w 515902"/>
                    <a:gd name="connsiteY4" fmla="*/ 90984 h 454926"/>
                    <a:gd name="connsiteX5" fmla="*/ 206612 w 515902"/>
                    <a:gd name="connsiteY5" fmla="*/ 11609 h 454926"/>
                    <a:gd name="connsiteX6" fmla="*/ 317737 w 515902"/>
                    <a:gd name="connsiteY6" fmla="*/ 8434 h 454926"/>
                    <a:gd name="connsiteX7" fmla="*/ 317737 w 515902"/>
                    <a:gd name="connsiteY7" fmla="*/ 87809 h 454926"/>
                    <a:gd name="connsiteX8" fmla="*/ 339962 w 515902"/>
                    <a:gd name="connsiteY8" fmla="*/ 135434 h 454926"/>
                    <a:gd name="connsiteX9" fmla="*/ 451087 w 515902"/>
                    <a:gd name="connsiteY9" fmla="*/ 157659 h 454926"/>
                    <a:gd name="connsiteX10" fmla="*/ 514587 w 515902"/>
                    <a:gd name="connsiteY10" fmla="*/ 227509 h 454926"/>
                    <a:gd name="connsiteX11" fmla="*/ 511412 w 515902"/>
                    <a:gd name="connsiteY11" fmla="*/ 449759 h 454926"/>
                    <a:gd name="connsiteX12" fmla="*/ 9762 w 515902"/>
                    <a:gd name="connsiteY12" fmla="*/ 443409 h 454926"/>
                    <a:gd name="connsiteX0" fmla="*/ 9762 w 515902"/>
                    <a:gd name="connsiteY0" fmla="*/ 443409 h 454926"/>
                    <a:gd name="connsiteX1" fmla="*/ 6587 w 515902"/>
                    <a:gd name="connsiteY1" fmla="*/ 217984 h 454926"/>
                    <a:gd name="connsiteX2" fmla="*/ 76437 w 515902"/>
                    <a:gd name="connsiteY2" fmla="*/ 154484 h 454926"/>
                    <a:gd name="connsiteX3" fmla="*/ 178037 w 515902"/>
                    <a:gd name="connsiteY3" fmla="*/ 148134 h 454926"/>
                    <a:gd name="connsiteX4" fmla="*/ 193912 w 515902"/>
                    <a:gd name="connsiteY4" fmla="*/ 90984 h 454926"/>
                    <a:gd name="connsiteX5" fmla="*/ 206612 w 515902"/>
                    <a:gd name="connsiteY5" fmla="*/ 11609 h 454926"/>
                    <a:gd name="connsiteX6" fmla="*/ 317737 w 515902"/>
                    <a:gd name="connsiteY6" fmla="*/ 8434 h 454926"/>
                    <a:gd name="connsiteX7" fmla="*/ 317737 w 515902"/>
                    <a:gd name="connsiteY7" fmla="*/ 87809 h 454926"/>
                    <a:gd name="connsiteX8" fmla="*/ 339962 w 515902"/>
                    <a:gd name="connsiteY8" fmla="*/ 135434 h 454926"/>
                    <a:gd name="connsiteX9" fmla="*/ 451087 w 515902"/>
                    <a:gd name="connsiteY9" fmla="*/ 157659 h 454926"/>
                    <a:gd name="connsiteX10" fmla="*/ 514587 w 515902"/>
                    <a:gd name="connsiteY10" fmla="*/ 227509 h 454926"/>
                    <a:gd name="connsiteX11" fmla="*/ 511412 w 515902"/>
                    <a:gd name="connsiteY11" fmla="*/ 449759 h 454926"/>
                    <a:gd name="connsiteX12" fmla="*/ 9762 w 515902"/>
                    <a:gd name="connsiteY12" fmla="*/ 443409 h 454926"/>
                    <a:gd name="connsiteX0" fmla="*/ 9762 w 515902"/>
                    <a:gd name="connsiteY0" fmla="*/ 443409 h 454926"/>
                    <a:gd name="connsiteX1" fmla="*/ 6587 w 515902"/>
                    <a:gd name="connsiteY1" fmla="*/ 217984 h 454926"/>
                    <a:gd name="connsiteX2" fmla="*/ 76437 w 515902"/>
                    <a:gd name="connsiteY2" fmla="*/ 154484 h 454926"/>
                    <a:gd name="connsiteX3" fmla="*/ 193912 w 515902"/>
                    <a:gd name="connsiteY3" fmla="*/ 90984 h 454926"/>
                    <a:gd name="connsiteX4" fmla="*/ 206612 w 515902"/>
                    <a:gd name="connsiteY4" fmla="*/ 11609 h 454926"/>
                    <a:gd name="connsiteX5" fmla="*/ 317737 w 515902"/>
                    <a:gd name="connsiteY5" fmla="*/ 8434 h 454926"/>
                    <a:gd name="connsiteX6" fmla="*/ 317737 w 515902"/>
                    <a:gd name="connsiteY6" fmla="*/ 87809 h 454926"/>
                    <a:gd name="connsiteX7" fmla="*/ 339962 w 515902"/>
                    <a:gd name="connsiteY7" fmla="*/ 135434 h 454926"/>
                    <a:gd name="connsiteX8" fmla="*/ 451087 w 515902"/>
                    <a:gd name="connsiteY8" fmla="*/ 157659 h 454926"/>
                    <a:gd name="connsiteX9" fmla="*/ 514587 w 515902"/>
                    <a:gd name="connsiteY9" fmla="*/ 227509 h 454926"/>
                    <a:gd name="connsiteX10" fmla="*/ 511412 w 515902"/>
                    <a:gd name="connsiteY10" fmla="*/ 449759 h 454926"/>
                    <a:gd name="connsiteX11" fmla="*/ 9762 w 515902"/>
                    <a:gd name="connsiteY11" fmla="*/ 443409 h 454926"/>
                    <a:gd name="connsiteX0" fmla="*/ 9762 w 515902"/>
                    <a:gd name="connsiteY0" fmla="*/ 446099 h 457616"/>
                    <a:gd name="connsiteX1" fmla="*/ 6587 w 515902"/>
                    <a:gd name="connsiteY1" fmla="*/ 220674 h 457616"/>
                    <a:gd name="connsiteX2" fmla="*/ 76437 w 515902"/>
                    <a:gd name="connsiteY2" fmla="*/ 157174 h 457616"/>
                    <a:gd name="connsiteX3" fmla="*/ 190737 w 515902"/>
                    <a:gd name="connsiteY3" fmla="*/ 138124 h 457616"/>
                    <a:gd name="connsiteX4" fmla="*/ 206612 w 515902"/>
                    <a:gd name="connsiteY4" fmla="*/ 14299 h 457616"/>
                    <a:gd name="connsiteX5" fmla="*/ 317737 w 515902"/>
                    <a:gd name="connsiteY5" fmla="*/ 11124 h 457616"/>
                    <a:gd name="connsiteX6" fmla="*/ 317737 w 515902"/>
                    <a:gd name="connsiteY6" fmla="*/ 90499 h 457616"/>
                    <a:gd name="connsiteX7" fmla="*/ 339962 w 515902"/>
                    <a:gd name="connsiteY7" fmla="*/ 138124 h 457616"/>
                    <a:gd name="connsiteX8" fmla="*/ 451087 w 515902"/>
                    <a:gd name="connsiteY8" fmla="*/ 160349 h 457616"/>
                    <a:gd name="connsiteX9" fmla="*/ 514587 w 515902"/>
                    <a:gd name="connsiteY9" fmla="*/ 230199 h 457616"/>
                    <a:gd name="connsiteX10" fmla="*/ 511412 w 515902"/>
                    <a:gd name="connsiteY10" fmla="*/ 452449 h 457616"/>
                    <a:gd name="connsiteX11" fmla="*/ 9762 w 515902"/>
                    <a:gd name="connsiteY11" fmla="*/ 446099 h 457616"/>
                    <a:gd name="connsiteX0" fmla="*/ 9762 w 515902"/>
                    <a:gd name="connsiteY0" fmla="*/ 446099 h 457616"/>
                    <a:gd name="connsiteX1" fmla="*/ 6587 w 515902"/>
                    <a:gd name="connsiteY1" fmla="*/ 220674 h 457616"/>
                    <a:gd name="connsiteX2" fmla="*/ 76437 w 515902"/>
                    <a:gd name="connsiteY2" fmla="*/ 157174 h 457616"/>
                    <a:gd name="connsiteX3" fmla="*/ 190737 w 515902"/>
                    <a:gd name="connsiteY3" fmla="*/ 138124 h 457616"/>
                    <a:gd name="connsiteX4" fmla="*/ 206612 w 515902"/>
                    <a:gd name="connsiteY4" fmla="*/ 14299 h 457616"/>
                    <a:gd name="connsiteX5" fmla="*/ 317737 w 515902"/>
                    <a:gd name="connsiteY5" fmla="*/ 11124 h 457616"/>
                    <a:gd name="connsiteX6" fmla="*/ 317737 w 515902"/>
                    <a:gd name="connsiteY6" fmla="*/ 90499 h 457616"/>
                    <a:gd name="connsiteX7" fmla="*/ 451087 w 515902"/>
                    <a:gd name="connsiteY7" fmla="*/ 160349 h 457616"/>
                    <a:gd name="connsiteX8" fmla="*/ 514587 w 515902"/>
                    <a:gd name="connsiteY8" fmla="*/ 230199 h 457616"/>
                    <a:gd name="connsiteX9" fmla="*/ 511412 w 515902"/>
                    <a:gd name="connsiteY9" fmla="*/ 452449 h 457616"/>
                    <a:gd name="connsiteX10" fmla="*/ 9762 w 515902"/>
                    <a:gd name="connsiteY10" fmla="*/ 446099 h 457616"/>
                    <a:gd name="connsiteX0" fmla="*/ 9762 w 515902"/>
                    <a:gd name="connsiteY0" fmla="*/ 447482 h 458999"/>
                    <a:gd name="connsiteX1" fmla="*/ 6587 w 515902"/>
                    <a:gd name="connsiteY1" fmla="*/ 222057 h 458999"/>
                    <a:gd name="connsiteX2" fmla="*/ 76437 w 515902"/>
                    <a:gd name="connsiteY2" fmla="*/ 158557 h 458999"/>
                    <a:gd name="connsiteX3" fmla="*/ 190737 w 515902"/>
                    <a:gd name="connsiteY3" fmla="*/ 139507 h 458999"/>
                    <a:gd name="connsiteX4" fmla="*/ 206612 w 515902"/>
                    <a:gd name="connsiteY4" fmla="*/ 15682 h 458999"/>
                    <a:gd name="connsiteX5" fmla="*/ 317737 w 515902"/>
                    <a:gd name="connsiteY5" fmla="*/ 12507 h 458999"/>
                    <a:gd name="connsiteX6" fmla="*/ 330437 w 515902"/>
                    <a:gd name="connsiteY6" fmla="*/ 114107 h 458999"/>
                    <a:gd name="connsiteX7" fmla="*/ 451087 w 515902"/>
                    <a:gd name="connsiteY7" fmla="*/ 161732 h 458999"/>
                    <a:gd name="connsiteX8" fmla="*/ 514587 w 515902"/>
                    <a:gd name="connsiteY8" fmla="*/ 231582 h 458999"/>
                    <a:gd name="connsiteX9" fmla="*/ 511412 w 515902"/>
                    <a:gd name="connsiteY9" fmla="*/ 453832 h 458999"/>
                    <a:gd name="connsiteX10" fmla="*/ 9762 w 515902"/>
                    <a:gd name="connsiteY10" fmla="*/ 447482 h 458999"/>
                    <a:gd name="connsiteX0" fmla="*/ 9762 w 515902"/>
                    <a:gd name="connsiteY0" fmla="*/ 446348 h 457865"/>
                    <a:gd name="connsiteX1" fmla="*/ 6587 w 515902"/>
                    <a:gd name="connsiteY1" fmla="*/ 220923 h 457865"/>
                    <a:gd name="connsiteX2" fmla="*/ 76437 w 515902"/>
                    <a:gd name="connsiteY2" fmla="*/ 157423 h 457865"/>
                    <a:gd name="connsiteX3" fmla="*/ 200262 w 515902"/>
                    <a:gd name="connsiteY3" fmla="*/ 119323 h 457865"/>
                    <a:gd name="connsiteX4" fmla="*/ 206612 w 515902"/>
                    <a:gd name="connsiteY4" fmla="*/ 14548 h 457865"/>
                    <a:gd name="connsiteX5" fmla="*/ 317737 w 515902"/>
                    <a:gd name="connsiteY5" fmla="*/ 11373 h 457865"/>
                    <a:gd name="connsiteX6" fmla="*/ 330437 w 515902"/>
                    <a:gd name="connsiteY6" fmla="*/ 112973 h 457865"/>
                    <a:gd name="connsiteX7" fmla="*/ 451087 w 515902"/>
                    <a:gd name="connsiteY7" fmla="*/ 160598 h 457865"/>
                    <a:gd name="connsiteX8" fmla="*/ 514587 w 515902"/>
                    <a:gd name="connsiteY8" fmla="*/ 230448 h 457865"/>
                    <a:gd name="connsiteX9" fmla="*/ 511412 w 515902"/>
                    <a:gd name="connsiteY9" fmla="*/ 452698 h 457865"/>
                    <a:gd name="connsiteX10" fmla="*/ 9762 w 515902"/>
                    <a:gd name="connsiteY10" fmla="*/ 446348 h 457865"/>
                    <a:gd name="connsiteX0" fmla="*/ 8840 w 514980"/>
                    <a:gd name="connsiteY0" fmla="*/ 446348 h 457865"/>
                    <a:gd name="connsiteX1" fmla="*/ 5665 w 514980"/>
                    <a:gd name="connsiteY1" fmla="*/ 220923 h 457865"/>
                    <a:gd name="connsiteX2" fmla="*/ 62412 w 514980"/>
                    <a:gd name="connsiteY2" fmla="*/ 133367 h 457865"/>
                    <a:gd name="connsiteX3" fmla="*/ 199340 w 514980"/>
                    <a:gd name="connsiteY3" fmla="*/ 119323 h 457865"/>
                    <a:gd name="connsiteX4" fmla="*/ 205690 w 514980"/>
                    <a:gd name="connsiteY4" fmla="*/ 14548 h 457865"/>
                    <a:gd name="connsiteX5" fmla="*/ 316815 w 514980"/>
                    <a:gd name="connsiteY5" fmla="*/ 11373 h 457865"/>
                    <a:gd name="connsiteX6" fmla="*/ 329515 w 514980"/>
                    <a:gd name="connsiteY6" fmla="*/ 112973 h 457865"/>
                    <a:gd name="connsiteX7" fmla="*/ 450165 w 514980"/>
                    <a:gd name="connsiteY7" fmla="*/ 160598 h 457865"/>
                    <a:gd name="connsiteX8" fmla="*/ 513665 w 514980"/>
                    <a:gd name="connsiteY8" fmla="*/ 230448 h 457865"/>
                    <a:gd name="connsiteX9" fmla="*/ 510490 w 514980"/>
                    <a:gd name="connsiteY9" fmla="*/ 452698 h 457865"/>
                    <a:gd name="connsiteX10" fmla="*/ 8840 w 514980"/>
                    <a:gd name="connsiteY10" fmla="*/ 446348 h 457865"/>
                    <a:gd name="connsiteX0" fmla="*/ 8840 w 514980"/>
                    <a:gd name="connsiteY0" fmla="*/ 445015 h 456532"/>
                    <a:gd name="connsiteX1" fmla="*/ 5665 w 514980"/>
                    <a:gd name="connsiteY1" fmla="*/ 219590 h 456532"/>
                    <a:gd name="connsiteX2" fmla="*/ 62412 w 514980"/>
                    <a:gd name="connsiteY2" fmla="*/ 132034 h 456532"/>
                    <a:gd name="connsiteX3" fmla="*/ 186237 w 514980"/>
                    <a:gd name="connsiteY3" fmla="*/ 93934 h 456532"/>
                    <a:gd name="connsiteX4" fmla="*/ 205690 w 514980"/>
                    <a:gd name="connsiteY4" fmla="*/ 13215 h 456532"/>
                    <a:gd name="connsiteX5" fmla="*/ 316815 w 514980"/>
                    <a:gd name="connsiteY5" fmla="*/ 10040 h 456532"/>
                    <a:gd name="connsiteX6" fmla="*/ 329515 w 514980"/>
                    <a:gd name="connsiteY6" fmla="*/ 111640 h 456532"/>
                    <a:gd name="connsiteX7" fmla="*/ 450165 w 514980"/>
                    <a:gd name="connsiteY7" fmla="*/ 159265 h 456532"/>
                    <a:gd name="connsiteX8" fmla="*/ 513665 w 514980"/>
                    <a:gd name="connsiteY8" fmla="*/ 229115 h 456532"/>
                    <a:gd name="connsiteX9" fmla="*/ 510490 w 514980"/>
                    <a:gd name="connsiteY9" fmla="*/ 451365 h 456532"/>
                    <a:gd name="connsiteX10" fmla="*/ 8840 w 514980"/>
                    <a:gd name="connsiteY10" fmla="*/ 445015 h 456532"/>
                    <a:gd name="connsiteX0" fmla="*/ 8840 w 514980"/>
                    <a:gd name="connsiteY0" fmla="*/ 445015 h 456532"/>
                    <a:gd name="connsiteX1" fmla="*/ 5665 w 514980"/>
                    <a:gd name="connsiteY1" fmla="*/ 219590 h 456532"/>
                    <a:gd name="connsiteX2" fmla="*/ 62412 w 514980"/>
                    <a:gd name="connsiteY2" fmla="*/ 132034 h 456532"/>
                    <a:gd name="connsiteX3" fmla="*/ 186237 w 514980"/>
                    <a:gd name="connsiteY3" fmla="*/ 93934 h 456532"/>
                    <a:gd name="connsiteX4" fmla="*/ 205690 w 514980"/>
                    <a:gd name="connsiteY4" fmla="*/ 13215 h 456532"/>
                    <a:gd name="connsiteX5" fmla="*/ 316815 w 514980"/>
                    <a:gd name="connsiteY5" fmla="*/ 10040 h 456532"/>
                    <a:gd name="connsiteX6" fmla="*/ 329515 w 514980"/>
                    <a:gd name="connsiteY6" fmla="*/ 111640 h 456532"/>
                    <a:gd name="connsiteX7" fmla="*/ 461084 w 514980"/>
                    <a:gd name="connsiteY7" fmla="*/ 146143 h 456532"/>
                    <a:gd name="connsiteX8" fmla="*/ 513665 w 514980"/>
                    <a:gd name="connsiteY8" fmla="*/ 229115 h 456532"/>
                    <a:gd name="connsiteX9" fmla="*/ 510490 w 514980"/>
                    <a:gd name="connsiteY9" fmla="*/ 451365 h 456532"/>
                    <a:gd name="connsiteX10" fmla="*/ 8840 w 514980"/>
                    <a:gd name="connsiteY10" fmla="*/ 445015 h 456532"/>
                    <a:gd name="connsiteX0" fmla="*/ 8840 w 514980"/>
                    <a:gd name="connsiteY0" fmla="*/ 444105 h 455622"/>
                    <a:gd name="connsiteX1" fmla="*/ 5665 w 514980"/>
                    <a:gd name="connsiteY1" fmla="*/ 218680 h 455622"/>
                    <a:gd name="connsiteX2" fmla="*/ 62412 w 514980"/>
                    <a:gd name="connsiteY2" fmla="*/ 131124 h 455622"/>
                    <a:gd name="connsiteX3" fmla="*/ 186237 w 514980"/>
                    <a:gd name="connsiteY3" fmla="*/ 93024 h 455622"/>
                    <a:gd name="connsiteX4" fmla="*/ 205690 w 514980"/>
                    <a:gd name="connsiteY4" fmla="*/ 12305 h 455622"/>
                    <a:gd name="connsiteX5" fmla="*/ 316815 w 514980"/>
                    <a:gd name="connsiteY5" fmla="*/ 9130 h 455622"/>
                    <a:gd name="connsiteX6" fmla="*/ 351353 w 514980"/>
                    <a:gd name="connsiteY6" fmla="*/ 97608 h 455622"/>
                    <a:gd name="connsiteX7" fmla="*/ 461084 w 514980"/>
                    <a:gd name="connsiteY7" fmla="*/ 145233 h 455622"/>
                    <a:gd name="connsiteX8" fmla="*/ 513665 w 514980"/>
                    <a:gd name="connsiteY8" fmla="*/ 228205 h 455622"/>
                    <a:gd name="connsiteX9" fmla="*/ 510490 w 514980"/>
                    <a:gd name="connsiteY9" fmla="*/ 450455 h 455622"/>
                    <a:gd name="connsiteX10" fmla="*/ 8840 w 514980"/>
                    <a:gd name="connsiteY10" fmla="*/ 444105 h 455622"/>
                    <a:gd name="connsiteX0" fmla="*/ 8840 w 514980"/>
                    <a:gd name="connsiteY0" fmla="*/ 442755 h 454272"/>
                    <a:gd name="connsiteX1" fmla="*/ 5665 w 514980"/>
                    <a:gd name="connsiteY1" fmla="*/ 217330 h 454272"/>
                    <a:gd name="connsiteX2" fmla="*/ 62412 w 514980"/>
                    <a:gd name="connsiteY2" fmla="*/ 129774 h 454272"/>
                    <a:gd name="connsiteX3" fmla="*/ 186237 w 514980"/>
                    <a:gd name="connsiteY3" fmla="*/ 91674 h 454272"/>
                    <a:gd name="connsiteX4" fmla="*/ 205690 w 514980"/>
                    <a:gd name="connsiteY4" fmla="*/ 10955 h 454272"/>
                    <a:gd name="connsiteX5" fmla="*/ 325550 w 514980"/>
                    <a:gd name="connsiteY5" fmla="*/ 9967 h 454272"/>
                    <a:gd name="connsiteX6" fmla="*/ 351353 w 514980"/>
                    <a:gd name="connsiteY6" fmla="*/ 96258 h 454272"/>
                    <a:gd name="connsiteX7" fmla="*/ 461084 w 514980"/>
                    <a:gd name="connsiteY7" fmla="*/ 143883 h 454272"/>
                    <a:gd name="connsiteX8" fmla="*/ 513665 w 514980"/>
                    <a:gd name="connsiteY8" fmla="*/ 226855 h 454272"/>
                    <a:gd name="connsiteX9" fmla="*/ 510490 w 514980"/>
                    <a:gd name="connsiteY9" fmla="*/ 449105 h 454272"/>
                    <a:gd name="connsiteX10" fmla="*/ 8840 w 514980"/>
                    <a:gd name="connsiteY10" fmla="*/ 442755 h 454272"/>
                    <a:gd name="connsiteX0" fmla="*/ 8840 w 514980"/>
                    <a:gd name="connsiteY0" fmla="*/ 442755 h 454272"/>
                    <a:gd name="connsiteX1" fmla="*/ 5665 w 514980"/>
                    <a:gd name="connsiteY1" fmla="*/ 217330 h 454272"/>
                    <a:gd name="connsiteX2" fmla="*/ 62412 w 514980"/>
                    <a:gd name="connsiteY2" fmla="*/ 129774 h 454272"/>
                    <a:gd name="connsiteX3" fmla="*/ 186237 w 514980"/>
                    <a:gd name="connsiteY3" fmla="*/ 91674 h 454272"/>
                    <a:gd name="connsiteX4" fmla="*/ 205690 w 514980"/>
                    <a:gd name="connsiteY4" fmla="*/ 10955 h 454272"/>
                    <a:gd name="connsiteX5" fmla="*/ 325550 w 514980"/>
                    <a:gd name="connsiteY5" fmla="*/ 9967 h 454272"/>
                    <a:gd name="connsiteX6" fmla="*/ 351353 w 514980"/>
                    <a:gd name="connsiteY6" fmla="*/ 96258 h 454272"/>
                    <a:gd name="connsiteX7" fmla="*/ 461084 w 514980"/>
                    <a:gd name="connsiteY7" fmla="*/ 143883 h 454272"/>
                    <a:gd name="connsiteX8" fmla="*/ 513665 w 514980"/>
                    <a:gd name="connsiteY8" fmla="*/ 226855 h 454272"/>
                    <a:gd name="connsiteX9" fmla="*/ 510490 w 514980"/>
                    <a:gd name="connsiteY9" fmla="*/ 449105 h 454272"/>
                    <a:gd name="connsiteX10" fmla="*/ 8840 w 514980"/>
                    <a:gd name="connsiteY10" fmla="*/ 442755 h 454272"/>
                    <a:gd name="connsiteX0" fmla="*/ 8840 w 514980"/>
                    <a:gd name="connsiteY0" fmla="*/ 442755 h 454272"/>
                    <a:gd name="connsiteX1" fmla="*/ 5665 w 514980"/>
                    <a:gd name="connsiteY1" fmla="*/ 217330 h 454272"/>
                    <a:gd name="connsiteX2" fmla="*/ 62412 w 514980"/>
                    <a:gd name="connsiteY2" fmla="*/ 129774 h 454272"/>
                    <a:gd name="connsiteX3" fmla="*/ 186237 w 514980"/>
                    <a:gd name="connsiteY3" fmla="*/ 91674 h 454272"/>
                    <a:gd name="connsiteX4" fmla="*/ 205690 w 514980"/>
                    <a:gd name="connsiteY4" fmla="*/ 10955 h 454272"/>
                    <a:gd name="connsiteX5" fmla="*/ 325550 w 514980"/>
                    <a:gd name="connsiteY5" fmla="*/ 9967 h 454272"/>
                    <a:gd name="connsiteX6" fmla="*/ 351353 w 514980"/>
                    <a:gd name="connsiteY6" fmla="*/ 96258 h 454272"/>
                    <a:gd name="connsiteX7" fmla="*/ 461084 w 514980"/>
                    <a:gd name="connsiteY7" fmla="*/ 143883 h 454272"/>
                    <a:gd name="connsiteX8" fmla="*/ 513665 w 514980"/>
                    <a:gd name="connsiteY8" fmla="*/ 226855 h 454272"/>
                    <a:gd name="connsiteX9" fmla="*/ 510490 w 514980"/>
                    <a:gd name="connsiteY9" fmla="*/ 449105 h 454272"/>
                    <a:gd name="connsiteX10" fmla="*/ 8840 w 514980"/>
                    <a:gd name="connsiteY10" fmla="*/ 442755 h 454272"/>
                    <a:gd name="connsiteX0" fmla="*/ 8840 w 514980"/>
                    <a:gd name="connsiteY0" fmla="*/ 442755 h 454272"/>
                    <a:gd name="connsiteX1" fmla="*/ 5665 w 514980"/>
                    <a:gd name="connsiteY1" fmla="*/ 217330 h 454272"/>
                    <a:gd name="connsiteX2" fmla="*/ 62412 w 514980"/>
                    <a:gd name="connsiteY2" fmla="*/ 129774 h 454272"/>
                    <a:gd name="connsiteX3" fmla="*/ 186237 w 514980"/>
                    <a:gd name="connsiteY3" fmla="*/ 91674 h 454272"/>
                    <a:gd name="connsiteX4" fmla="*/ 205690 w 514980"/>
                    <a:gd name="connsiteY4" fmla="*/ 10955 h 454272"/>
                    <a:gd name="connsiteX5" fmla="*/ 325550 w 514980"/>
                    <a:gd name="connsiteY5" fmla="*/ 9967 h 454272"/>
                    <a:gd name="connsiteX6" fmla="*/ 351353 w 514980"/>
                    <a:gd name="connsiteY6" fmla="*/ 96258 h 454272"/>
                    <a:gd name="connsiteX7" fmla="*/ 461084 w 514980"/>
                    <a:gd name="connsiteY7" fmla="*/ 143883 h 454272"/>
                    <a:gd name="connsiteX8" fmla="*/ 513665 w 514980"/>
                    <a:gd name="connsiteY8" fmla="*/ 226855 h 454272"/>
                    <a:gd name="connsiteX9" fmla="*/ 510490 w 514980"/>
                    <a:gd name="connsiteY9" fmla="*/ 449105 h 454272"/>
                    <a:gd name="connsiteX10" fmla="*/ 8840 w 514980"/>
                    <a:gd name="connsiteY10" fmla="*/ 442755 h 454272"/>
                    <a:gd name="connsiteX0" fmla="*/ 8840 w 514980"/>
                    <a:gd name="connsiteY0" fmla="*/ 436996 h 448513"/>
                    <a:gd name="connsiteX1" fmla="*/ 5665 w 514980"/>
                    <a:gd name="connsiteY1" fmla="*/ 211571 h 448513"/>
                    <a:gd name="connsiteX2" fmla="*/ 62412 w 514980"/>
                    <a:gd name="connsiteY2" fmla="*/ 124015 h 448513"/>
                    <a:gd name="connsiteX3" fmla="*/ 186237 w 514980"/>
                    <a:gd name="connsiteY3" fmla="*/ 85915 h 448513"/>
                    <a:gd name="connsiteX4" fmla="*/ 205690 w 514980"/>
                    <a:gd name="connsiteY4" fmla="*/ 5196 h 448513"/>
                    <a:gd name="connsiteX5" fmla="*/ 325550 w 514980"/>
                    <a:gd name="connsiteY5" fmla="*/ 4208 h 448513"/>
                    <a:gd name="connsiteX6" fmla="*/ 351353 w 514980"/>
                    <a:gd name="connsiteY6" fmla="*/ 90499 h 448513"/>
                    <a:gd name="connsiteX7" fmla="*/ 461084 w 514980"/>
                    <a:gd name="connsiteY7" fmla="*/ 138124 h 448513"/>
                    <a:gd name="connsiteX8" fmla="*/ 513665 w 514980"/>
                    <a:gd name="connsiteY8" fmla="*/ 221096 h 448513"/>
                    <a:gd name="connsiteX9" fmla="*/ 510490 w 514980"/>
                    <a:gd name="connsiteY9" fmla="*/ 443346 h 448513"/>
                    <a:gd name="connsiteX10" fmla="*/ 8840 w 514980"/>
                    <a:gd name="connsiteY10" fmla="*/ 436996 h 448513"/>
                    <a:gd name="connsiteX0" fmla="*/ 8840 w 514980"/>
                    <a:gd name="connsiteY0" fmla="*/ 436996 h 448513"/>
                    <a:gd name="connsiteX1" fmla="*/ 5665 w 514980"/>
                    <a:gd name="connsiteY1" fmla="*/ 211571 h 448513"/>
                    <a:gd name="connsiteX2" fmla="*/ 62412 w 514980"/>
                    <a:gd name="connsiteY2" fmla="*/ 124015 h 448513"/>
                    <a:gd name="connsiteX3" fmla="*/ 186237 w 514980"/>
                    <a:gd name="connsiteY3" fmla="*/ 85915 h 448513"/>
                    <a:gd name="connsiteX4" fmla="*/ 205690 w 514980"/>
                    <a:gd name="connsiteY4" fmla="*/ 5196 h 448513"/>
                    <a:gd name="connsiteX5" fmla="*/ 325550 w 514980"/>
                    <a:gd name="connsiteY5" fmla="*/ 4208 h 448513"/>
                    <a:gd name="connsiteX6" fmla="*/ 351353 w 514980"/>
                    <a:gd name="connsiteY6" fmla="*/ 90499 h 448513"/>
                    <a:gd name="connsiteX7" fmla="*/ 461084 w 514980"/>
                    <a:gd name="connsiteY7" fmla="*/ 138124 h 448513"/>
                    <a:gd name="connsiteX8" fmla="*/ 513665 w 514980"/>
                    <a:gd name="connsiteY8" fmla="*/ 221096 h 448513"/>
                    <a:gd name="connsiteX9" fmla="*/ 510490 w 514980"/>
                    <a:gd name="connsiteY9" fmla="*/ 443346 h 448513"/>
                    <a:gd name="connsiteX10" fmla="*/ 8840 w 514980"/>
                    <a:gd name="connsiteY10" fmla="*/ 436996 h 448513"/>
                    <a:gd name="connsiteX0" fmla="*/ 8840 w 514980"/>
                    <a:gd name="connsiteY0" fmla="*/ 436996 h 448513"/>
                    <a:gd name="connsiteX1" fmla="*/ 5665 w 514980"/>
                    <a:gd name="connsiteY1" fmla="*/ 211571 h 448513"/>
                    <a:gd name="connsiteX2" fmla="*/ 62412 w 514980"/>
                    <a:gd name="connsiteY2" fmla="*/ 124015 h 448513"/>
                    <a:gd name="connsiteX3" fmla="*/ 186237 w 514980"/>
                    <a:gd name="connsiteY3" fmla="*/ 85915 h 448513"/>
                    <a:gd name="connsiteX4" fmla="*/ 205690 w 514980"/>
                    <a:gd name="connsiteY4" fmla="*/ 5196 h 448513"/>
                    <a:gd name="connsiteX5" fmla="*/ 325550 w 514980"/>
                    <a:gd name="connsiteY5" fmla="*/ 4208 h 448513"/>
                    <a:gd name="connsiteX6" fmla="*/ 351353 w 514980"/>
                    <a:gd name="connsiteY6" fmla="*/ 90499 h 448513"/>
                    <a:gd name="connsiteX7" fmla="*/ 461084 w 514980"/>
                    <a:gd name="connsiteY7" fmla="*/ 138124 h 448513"/>
                    <a:gd name="connsiteX8" fmla="*/ 513665 w 514980"/>
                    <a:gd name="connsiteY8" fmla="*/ 221096 h 448513"/>
                    <a:gd name="connsiteX9" fmla="*/ 510490 w 514980"/>
                    <a:gd name="connsiteY9" fmla="*/ 443346 h 448513"/>
                    <a:gd name="connsiteX10" fmla="*/ 8840 w 514980"/>
                    <a:gd name="connsiteY10" fmla="*/ 436996 h 448513"/>
                    <a:gd name="connsiteX0" fmla="*/ 8840 w 514980"/>
                    <a:gd name="connsiteY0" fmla="*/ 436996 h 448513"/>
                    <a:gd name="connsiteX1" fmla="*/ 5665 w 514980"/>
                    <a:gd name="connsiteY1" fmla="*/ 211571 h 448513"/>
                    <a:gd name="connsiteX2" fmla="*/ 62412 w 514980"/>
                    <a:gd name="connsiteY2" fmla="*/ 124015 h 448513"/>
                    <a:gd name="connsiteX3" fmla="*/ 168766 w 514980"/>
                    <a:gd name="connsiteY3" fmla="*/ 88102 h 448513"/>
                    <a:gd name="connsiteX4" fmla="*/ 205690 w 514980"/>
                    <a:gd name="connsiteY4" fmla="*/ 5196 h 448513"/>
                    <a:gd name="connsiteX5" fmla="*/ 325550 w 514980"/>
                    <a:gd name="connsiteY5" fmla="*/ 4208 h 448513"/>
                    <a:gd name="connsiteX6" fmla="*/ 351353 w 514980"/>
                    <a:gd name="connsiteY6" fmla="*/ 90499 h 448513"/>
                    <a:gd name="connsiteX7" fmla="*/ 461084 w 514980"/>
                    <a:gd name="connsiteY7" fmla="*/ 138124 h 448513"/>
                    <a:gd name="connsiteX8" fmla="*/ 513665 w 514980"/>
                    <a:gd name="connsiteY8" fmla="*/ 221096 h 448513"/>
                    <a:gd name="connsiteX9" fmla="*/ 510490 w 514980"/>
                    <a:gd name="connsiteY9" fmla="*/ 443346 h 448513"/>
                    <a:gd name="connsiteX10" fmla="*/ 8840 w 514980"/>
                    <a:gd name="connsiteY10" fmla="*/ 436996 h 448513"/>
                    <a:gd name="connsiteX0" fmla="*/ 8840 w 514980"/>
                    <a:gd name="connsiteY0" fmla="*/ 440628 h 452145"/>
                    <a:gd name="connsiteX1" fmla="*/ 5665 w 514980"/>
                    <a:gd name="connsiteY1" fmla="*/ 215203 h 452145"/>
                    <a:gd name="connsiteX2" fmla="*/ 62412 w 514980"/>
                    <a:gd name="connsiteY2" fmla="*/ 127647 h 452145"/>
                    <a:gd name="connsiteX3" fmla="*/ 168766 w 514980"/>
                    <a:gd name="connsiteY3" fmla="*/ 91734 h 452145"/>
                    <a:gd name="connsiteX4" fmla="*/ 179484 w 514980"/>
                    <a:gd name="connsiteY4" fmla="*/ 4454 h 452145"/>
                    <a:gd name="connsiteX5" fmla="*/ 325550 w 514980"/>
                    <a:gd name="connsiteY5" fmla="*/ 7840 h 452145"/>
                    <a:gd name="connsiteX6" fmla="*/ 351353 w 514980"/>
                    <a:gd name="connsiteY6" fmla="*/ 94131 h 452145"/>
                    <a:gd name="connsiteX7" fmla="*/ 461084 w 514980"/>
                    <a:gd name="connsiteY7" fmla="*/ 141756 h 452145"/>
                    <a:gd name="connsiteX8" fmla="*/ 513665 w 514980"/>
                    <a:gd name="connsiteY8" fmla="*/ 224728 h 452145"/>
                    <a:gd name="connsiteX9" fmla="*/ 510490 w 514980"/>
                    <a:gd name="connsiteY9" fmla="*/ 446978 h 452145"/>
                    <a:gd name="connsiteX10" fmla="*/ 8840 w 514980"/>
                    <a:gd name="connsiteY10" fmla="*/ 440628 h 452145"/>
                    <a:gd name="connsiteX0" fmla="*/ 8840 w 514980"/>
                    <a:gd name="connsiteY0" fmla="*/ 442422 h 453939"/>
                    <a:gd name="connsiteX1" fmla="*/ 5665 w 514980"/>
                    <a:gd name="connsiteY1" fmla="*/ 216997 h 453939"/>
                    <a:gd name="connsiteX2" fmla="*/ 62412 w 514980"/>
                    <a:gd name="connsiteY2" fmla="*/ 129441 h 453939"/>
                    <a:gd name="connsiteX3" fmla="*/ 168766 w 514980"/>
                    <a:gd name="connsiteY3" fmla="*/ 93528 h 453939"/>
                    <a:gd name="connsiteX4" fmla="*/ 179484 w 514980"/>
                    <a:gd name="connsiteY4" fmla="*/ 6248 h 453939"/>
                    <a:gd name="connsiteX5" fmla="*/ 351756 w 514980"/>
                    <a:gd name="connsiteY5" fmla="*/ 886 h 453939"/>
                    <a:gd name="connsiteX6" fmla="*/ 351353 w 514980"/>
                    <a:gd name="connsiteY6" fmla="*/ 95925 h 453939"/>
                    <a:gd name="connsiteX7" fmla="*/ 461084 w 514980"/>
                    <a:gd name="connsiteY7" fmla="*/ 143550 h 453939"/>
                    <a:gd name="connsiteX8" fmla="*/ 513665 w 514980"/>
                    <a:gd name="connsiteY8" fmla="*/ 226522 h 453939"/>
                    <a:gd name="connsiteX9" fmla="*/ 510490 w 514980"/>
                    <a:gd name="connsiteY9" fmla="*/ 448772 h 453939"/>
                    <a:gd name="connsiteX10" fmla="*/ 8840 w 514980"/>
                    <a:gd name="connsiteY10" fmla="*/ 442422 h 453939"/>
                    <a:gd name="connsiteX0" fmla="*/ 8840 w 514980"/>
                    <a:gd name="connsiteY0" fmla="*/ 442422 h 453939"/>
                    <a:gd name="connsiteX1" fmla="*/ 5665 w 514980"/>
                    <a:gd name="connsiteY1" fmla="*/ 216997 h 453939"/>
                    <a:gd name="connsiteX2" fmla="*/ 62412 w 514980"/>
                    <a:gd name="connsiteY2" fmla="*/ 129441 h 453939"/>
                    <a:gd name="connsiteX3" fmla="*/ 168766 w 514980"/>
                    <a:gd name="connsiteY3" fmla="*/ 93528 h 453939"/>
                    <a:gd name="connsiteX4" fmla="*/ 179484 w 514980"/>
                    <a:gd name="connsiteY4" fmla="*/ 6248 h 453939"/>
                    <a:gd name="connsiteX5" fmla="*/ 351756 w 514980"/>
                    <a:gd name="connsiteY5" fmla="*/ 886 h 453939"/>
                    <a:gd name="connsiteX6" fmla="*/ 366640 w 514980"/>
                    <a:gd name="connsiteY6" fmla="*/ 100299 h 453939"/>
                    <a:gd name="connsiteX7" fmla="*/ 461084 w 514980"/>
                    <a:gd name="connsiteY7" fmla="*/ 143550 h 453939"/>
                    <a:gd name="connsiteX8" fmla="*/ 513665 w 514980"/>
                    <a:gd name="connsiteY8" fmla="*/ 226522 h 453939"/>
                    <a:gd name="connsiteX9" fmla="*/ 510490 w 514980"/>
                    <a:gd name="connsiteY9" fmla="*/ 448772 h 453939"/>
                    <a:gd name="connsiteX10" fmla="*/ 8840 w 514980"/>
                    <a:gd name="connsiteY10" fmla="*/ 442422 h 453939"/>
                    <a:gd name="connsiteX0" fmla="*/ 8840 w 514980"/>
                    <a:gd name="connsiteY0" fmla="*/ 442422 h 450476"/>
                    <a:gd name="connsiteX1" fmla="*/ 5665 w 514980"/>
                    <a:gd name="connsiteY1" fmla="*/ 216997 h 450476"/>
                    <a:gd name="connsiteX2" fmla="*/ 62412 w 514980"/>
                    <a:gd name="connsiteY2" fmla="*/ 129441 h 450476"/>
                    <a:gd name="connsiteX3" fmla="*/ 168766 w 514980"/>
                    <a:gd name="connsiteY3" fmla="*/ 93528 h 450476"/>
                    <a:gd name="connsiteX4" fmla="*/ 179484 w 514980"/>
                    <a:gd name="connsiteY4" fmla="*/ 6248 h 450476"/>
                    <a:gd name="connsiteX5" fmla="*/ 351756 w 514980"/>
                    <a:gd name="connsiteY5" fmla="*/ 886 h 450476"/>
                    <a:gd name="connsiteX6" fmla="*/ 366640 w 514980"/>
                    <a:gd name="connsiteY6" fmla="*/ 100299 h 450476"/>
                    <a:gd name="connsiteX7" fmla="*/ 461084 w 514980"/>
                    <a:gd name="connsiteY7" fmla="*/ 143550 h 450476"/>
                    <a:gd name="connsiteX8" fmla="*/ 513665 w 514980"/>
                    <a:gd name="connsiteY8" fmla="*/ 226522 h 450476"/>
                    <a:gd name="connsiteX9" fmla="*/ 510490 w 514980"/>
                    <a:gd name="connsiteY9" fmla="*/ 448772 h 450476"/>
                    <a:gd name="connsiteX10" fmla="*/ 8840 w 514980"/>
                    <a:gd name="connsiteY10" fmla="*/ 442422 h 450476"/>
                    <a:gd name="connsiteX0" fmla="*/ 8840 w 514980"/>
                    <a:gd name="connsiteY0" fmla="*/ 442422 h 448772"/>
                    <a:gd name="connsiteX1" fmla="*/ 5665 w 514980"/>
                    <a:gd name="connsiteY1" fmla="*/ 216997 h 448772"/>
                    <a:gd name="connsiteX2" fmla="*/ 62412 w 514980"/>
                    <a:gd name="connsiteY2" fmla="*/ 129441 h 448772"/>
                    <a:gd name="connsiteX3" fmla="*/ 168766 w 514980"/>
                    <a:gd name="connsiteY3" fmla="*/ 93528 h 448772"/>
                    <a:gd name="connsiteX4" fmla="*/ 179484 w 514980"/>
                    <a:gd name="connsiteY4" fmla="*/ 6248 h 448772"/>
                    <a:gd name="connsiteX5" fmla="*/ 351756 w 514980"/>
                    <a:gd name="connsiteY5" fmla="*/ 886 h 448772"/>
                    <a:gd name="connsiteX6" fmla="*/ 366640 w 514980"/>
                    <a:gd name="connsiteY6" fmla="*/ 100299 h 448772"/>
                    <a:gd name="connsiteX7" fmla="*/ 461084 w 514980"/>
                    <a:gd name="connsiteY7" fmla="*/ 143550 h 448772"/>
                    <a:gd name="connsiteX8" fmla="*/ 513665 w 514980"/>
                    <a:gd name="connsiteY8" fmla="*/ 226522 h 448772"/>
                    <a:gd name="connsiteX9" fmla="*/ 510490 w 514980"/>
                    <a:gd name="connsiteY9" fmla="*/ 448772 h 448772"/>
                    <a:gd name="connsiteX10" fmla="*/ 8840 w 514980"/>
                    <a:gd name="connsiteY10" fmla="*/ 442422 h 448772"/>
                    <a:gd name="connsiteX0" fmla="*/ 8840 w 514980"/>
                    <a:gd name="connsiteY0" fmla="*/ 442422 h 448772"/>
                    <a:gd name="connsiteX1" fmla="*/ 5665 w 514980"/>
                    <a:gd name="connsiteY1" fmla="*/ 216997 h 448772"/>
                    <a:gd name="connsiteX2" fmla="*/ 62412 w 514980"/>
                    <a:gd name="connsiteY2" fmla="*/ 129441 h 448772"/>
                    <a:gd name="connsiteX3" fmla="*/ 168766 w 514980"/>
                    <a:gd name="connsiteY3" fmla="*/ 93528 h 448772"/>
                    <a:gd name="connsiteX4" fmla="*/ 179484 w 514980"/>
                    <a:gd name="connsiteY4" fmla="*/ 6248 h 448772"/>
                    <a:gd name="connsiteX5" fmla="*/ 351756 w 514980"/>
                    <a:gd name="connsiteY5" fmla="*/ 886 h 448772"/>
                    <a:gd name="connsiteX6" fmla="*/ 357905 w 514980"/>
                    <a:gd name="connsiteY6" fmla="*/ 98112 h 448772"/>
                    <a:gd name="connsiteX7" fmla="*/ 461084 w 514980"/>
                    <a:gd name="connsiteY7" fmla="*/ 143550 h 448772"/>
                    <a:gd name="connsiteX8" fmla="*/ 513665 w 514980"/>
                    <a:gd name="connsiteY8" fmla="*/ 226522 h 448772"/>
                    <a:gd name="connsiteX9" fmla="*/ 510490 w 514980"/>
                    <a:gd name="connsiteY9" fmla="*/ 448772 h 448772"/>
                    <a:gd name="connsiteX10" fmla="*/ 8840 w 514980"/>
                    <a:gd name="connsiteY10" fmla="*/ 442422 h 448772"/>
                    <a:gd name="connsiteX0" fmla="*/ 8840 w 514980"/>
                    <a:gd name="connsiteY0" fmla="*/ 442422 h 448772"/>
                    <a:gd name="connsiteX1" fmla="*/ 5665 w 514980"/>
                    <a:gd name="connsiteY1" fmla="*/ 216997 h 448772"/>
                    <a:gd name="connsiteX2" fmla="*/ 62412 w 514980"/>
                    <a:gd name="connsiteY2" fmla="*/ 129441 h 448772"/>
                    <a:gd name="connsiteX3" fmla="*/ 168766 w 514980"/>
                    <a:gd name="connsiteY3" fmla="*/ 93528 h 448772"/>
                    <a:gd name="connsiteX4" fmla="*/ 179484 w 514980"/>
                    <a:gd name="connsiteY4" fmla="*/ 6248 h 448772"/>
                    <a:gd name="connsiteX5" fmla="*/ 351756 w 514980"/>
                    <a:gd name="connsiteY5" fmla="*/ 886 h 448772"/>
                    <a:gd name="connsiteX6" fmla="*/ 357905 w 514980"/>
                    <a:gd name="connsiteY6" fmla="*/ 98112 h 448772"/>
                    <a:gd name="connsiteX7" fmla="*/ 454533 w 514980"/>
                    <a:gd name="connsiteY7" fmla="*/ 136989 h 448772"/>
                    <a:gd name="connsiteX8" fmla="*/ 513665 w 514980"/>
                    <a:gd name="connsiteY8" fmla="*/ 226522 h 448772"/>
                    <a:gd name="connsiteX9" fmla="*/ 510490 w 514980"/>
                    <a:gd name="connsiteY9" fmla="*/ 448772 h 448772"/>
                    <a:gd name="connsiteX10" fmla="*/ 8840 w 514980"/>
                    <a:gd name="connsiteY10" fmla="*/ 442422 h 448772"/>
                    <a:gd name="connsiteX0" fmla="*/ 8840 w 514980"/>
                    <a:gd name="connsiteY0" fmla="*/ 442422 h 448772"/>
                    <a:gd name="connsiteX1" fmla="*/ 5665 w 514980"/>
                    <a:gd name="connsiteY1" fmla="*/ 216997 h 448772"/>
                    <a:gd name="connsiteX2" fmla="*/ 62412 w 514980"/>
                    <a:gd name="connsiteY2" fmla="*/ 129441 h 448772"/>
                    <a:gd name="connsiteX3" fmla="*/ 168766 w 514980"/>
                    <a:gd name="connsiteY3" fmla="*/ 93528 h 448772"/>
                    <a:gd name="connsiteX4" fmla="*/ 179484 w 514980"/>
                    <a:gd name="connsiteY4" fmla="*/ 6248 h 448772"/>
                    <a:gd name="connsiteX5" fmla="*/ 351756 w 514980"/>
                    <a:gd name="connsiteY5" fmla="*/ 886 h 448772"/>
                    <a:gd name="connsiteX6" fmla="*/ 357905 w 514980"/>
                    <a:gd name="connsiteY6" fmla="*/ 98112 h 448772"/>
                    <a:gd name="connsiteX7" fmla="*/ 454533 w 514980"/>
                    <a:gd name="connsiteY7" fmla="*/ 136989 h 448772"/>
                    <a:gd name="connsiteX8" fmla="*/ 513665 w 514980"/>
                    <a:gd name="connsiteY8" fmla="*/ 226522 h 448772"/>
                    <a:gd name="connsiteX9" fmla="*/ 510490 w 514980"/>
                    <a:gd name="connsiteY9" fmla="*/ 448772 h 448772"/>
                    <a:gd name="connsiteX10" fmla="*/ 8840 w 514980"/>
                    <a:gd name="connsiteY10" fmla="*/ 442422 h 448772"/>
                    <a:gd name="connsiteX0" fmla="*/ 8840 w 514980"/>
                    <a:gd name="connsiteY0" fmla="*/ 442422 h 448772"/>
                    <a:gd name="connsiteX1" fmla="*/ 5665 w 514980"/>
                    <a:gd name="connsiteY1" fmla="*/ 216997 h 448772"/>
                    <a:gd name="connsiteX2" fmla="*/ 62412 w 514980"/>
                    <a:gd name="connsiteY2" fmla="*/ 129441 h 448772"/>
                    <a:gd name="connsiteX3" fmla="*/ 168766 w 514980"/>
                    <a:gd name="connsiteY3" fmla="*/ 93528 h 448772"/>
                    <a:gd name="connsiteX4" fmla="*/ 179484 w 514980"/>
                    <a:gd name="connsiteY4" fmla="*/ 6248 h 448772"/>
                    <a:gd name="connsiteX5" fmla="*/ 351756 w 514980"/>
                    <a:gd name="connsiteY5" fmla="*/ 886 h 448772"/>
                    <a:gd name="connsiteX6" fmla="*/ 357905 w 514980"/>
                    <a:gd name="connsiteY6" fmla="*/ 98112 h 448772"/>
                    <a:gd name="connsiteX7" fmla="*/ 454533 w 514980"/>
                    <a:gd name="connsiteY7" fmla="*/ 136989 h 448772"/>
                    <a:gd name="connsiteX8" fmla="*/ 513665 w 514980"/>
                    <a:gd name="connsiteY8" fmla="*/ 226522 h 448772"/>
                    <a:gd name="connsiteX9" fmla="*/ 510490 w 514980"/>
                    <a:gd name="connsiteY9" fmla="*/ 448772 h 448772"/>
                    <a:gd name="connsiteX10" fmla="*/ 8840 w 514980"/>
                    <a:gd name="connsiteY10" fmla="*/ 442422 h 448772"/>
                    <a:gd name="connsiteX0" fmla="*/ 8840 w 514980"/>
                    <a:gd name="connsiteY0" fmla="*/ 442422 h 448772"/>
                    <a:gd name="connsiteX1" fmla="*/ 5665 w 514980"/>
                    <a:gd name="connsiteY1" fmla="*/ 216997 h 448772"/>
                    <a:gd name="connsiteX2" fmla="*/ 62412 w 514980"/>
                    <a:gd name="connsiteY2" fmla="*/ 129441 h 448772"/>
                    <a:gd name="connsiteX3" fmla="*/ 168766 w 514980"/>
                    <a:gd name="connsiteY3" fmla="*/ 93528 h 448772"/>
                    <a:gd name="connsiteX4" fmla="*/ 179484 w 514980"/>
                    <a:gd name="connsiteY4" fmla="*/ 6248 h 448772"/>
                    <a:gd name="connsiteX5" fmla="*/ 351756 w 514980"/>
                    <a:gd name="connsiteY5" fmla="*/ 886 h 448772"/>
                    <a:gd name="connsiteX6" fmla="*/ 353538 w 514980"/>
                    <a:gd name="connsiteY6" fmla="*/ 98112 h 448772"/>
                    <a:gd name="connsiteX7" fmla="*/ 454533 w 514980"/>
                    <a:gd name="connsiteY7" fmla="*/ 136989 h 448772"/>
                    <a:gd name="connsiteX8" fmla="*/ 513665 w 514980"/>
                    <a:gd name="connsiteY8" fmla="*/ 226522 h 448772"/>
                    <a:gd name="connsiteX9" fmla="*/ 510490 w 514980"/>
                    <a:gd name="connsiteY9" fmla="*/ 448772 h 448772"/>
                    <a:gd name="connsiteX10" fmla="*/ 8840 w 514980"/>
                    <a:gd name="connsiteY10" fmla="*/ 442422 h 448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14980" h="448772">
                      <a:moveTo>
                        <a:pt x="8840" y="442422"/>
                      </a:moveTo>
                      <a:cubicBezTo>
                        <a:pt x="-1214" y="377864"/>
                        <a:pt x="-3264" y="269160"/>
                        <a:pt x="5665" y="216997"/>
                      </a:cubicBezTo>
                      <a:cubicBezTo>
                        <a:pt x="14594" y="164834"/>
                        <a:pt x="35229" y="150019"/>
                        <a:pt x="62412" y="129441"/>
                      </a:cubicBezTo>
                      <a:cubicBezTo>
                        <a:pt x="89595" y="108863"/>
                        <a:pt x="149254" y="114060"/>
                        <a:pt x="168766" y="93528"/>
                      </a:cubicBezTo>
                      <a:cubicBezTo>
                        <a:pt x="188278" y="72996"/>
                        <a:pt x="189023" y="43922"/>
                        <a:pt x="179484" y="6248"/>
                      </a:cubicBezTo>
                      <a:cubicBezTo>
                        <a:pt x="202703" y="-7370"/>
                        <a:pt x="323111" y="6352"/>
                        <a:pt x="351756" y="886"/>
                      </a:cubicBezTo>
                      <a:cubicBezTo>
                        <a:pt x="354195" y="39159"/>
                        <a:pt x="342961" y="75428"/>
                        <a:pt x="353538" y="98112"/>
                      </a:cubicBezTo>
                      <a:cubicBezTo>
                        <a:pt x="364115" y="120796"/>
                        <a:pt x="427845" y="115587"/>
                        <a:pt x="454533" y="136989"/>
                      </a:cubicBezTo>
                      <a:cubicBezTo>
                        <a:pt x="481221" y="158391"/>
                        <a:pt x="503611" y="177839"/>
                        <a:pt x="513665" y="226522"/>
                      </a:cubicBezTo>
                      <a:cubicBezTo>
                        <a:pt x="516840" y="276264"/>
                        <a:pt x="513665" y="323360"/>
                        <a:pt x="510490" y="448772"/>
                      </a:cubicBezTo>
                      <a:lnTo>
                        <a:pt x="8840" y="442422"/>
                      </a:lnTo>
                      <a:close/>
                    </a:path>
                  </a:pathLst>
                </a:custGeom>
                <a:grpFill/>
                <a:ln w="571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132" name="Oval 131">
                  <a:extLst>
                    <a:ext uri="{FF2B5EF4-FFF2-40B4-BE49-F238E27FC236}">
                      <a16:creationId xmlns:a16="http://schemas.microsoft.com/office/drawing/2014/main" id="{7C83324A-0257-D64F-A432-CBF6B8D765AE}"/>
                    </a:ext>
                  </a:extLst>
                </p:cNvPr>
                <p:cNvSpPr/>
                <p:nvPr/>
              </p:nvSpPr>
              <p:spPr>
                <a:xfrm>
                  <a:off x="1971467" y="3508300"/>
                  <a:ext cx="282088" cy="336550"/>
                </a:xfrm>
                <a:prstGeom prst="ellipse">
                  <a:avLst/>
                </a:prstGeom>
                <a:grpFill/>
                <a:ln w="571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grpSp>
          <p:grpSp>
            <p:nvGrpSpPr>
              <p:cNvPr id="128" name="Group 127">
                <a:extLst>
                  <a:ext uri="{FF2B5EF4-FFF2-40B4-BE49-F238E27FC236}">
                    <a16:creationId xmlns:a16="http://schemas.microsoft.com/office/drawing/2014/main" id="{60DBA389-46A5-3C40-9BF1-EBA277D00FE6}"/>
                  </a:ext>
                </a:extLst>
              </p:cNvPr>
              <p:cNvGrpSpPr/>
              <p:nvPr/>
            </p:nvGrpSpPr>
            <p:grpSpPr>
              <a:xfrm>
                <a:off x="1553120" y="3388644"/>
                <a:ext cx="633802" cy="938165"/>
                <a:chOff x="1806977" y="3500843"/>
                <a:chExt cx="539989" cy="738018"/>
              </a:xfrm>
            </p:grpSpPr>
            <p:sp>
              <p:nvSpPr>
                <p:cNvPr id="129" name="Freeform 128">
                  <a:extLst>
                    <a:ext uri="{FF2B5EF4-FFF2-40B4-BE49-F238E27FC236}">
                      <a16:creationId xmlns:a16="http://schemas.microsoft.com/office/drawing/2014/main" id="{4DAE957C-0491-4240-BD78-46654F903B43}"/>
                    </a:ext>
                  </a:extLst>
                </p:cNvPr>
                <p:cNvSpPr/>
                <p:nvPr/>
              </p:nvSpPr>
              <p:spPr>
                <a:xfrm>
                  <a:off x="1806977" y="3782373"/>
                  <a:ext cx="539989" cy="456488"/>
                </a:xfrm>
                <a:custGeom>
                  <a:avLst/>
                  <a:gdLst>
                    <a:gd name="connsiteX0" fmla="*/ 36807 w 576731"/>
                    <a:gd name="connsiteY0" fmla="*/ 449906 h 505924"/>
                    <a:gd name="connsiteX1" fmla="*/ 39982 w 576731"/>
                    <a:gd name="connsiteY1" fmla="*/ 214956 h 505924"/>
                    <a:gd name="connsiteX2" fmla="*/ 55857 w 576731"/>
                    <a:gd name="connsiteY2" fmla="*/ 176856 h 505924"/>
                    <a:gd name="connsiteX3" fmla="*/ 103482 w 576731"/>
                    <a:gd name="connsiteY3" fmla="*/ 160981 h 505924"/>
                    <a:gd name="connsiteX4" fmla="*/ 205082 w 576731"/>
                    <a:gd name="connsiteY4" fmla="*/ 154631 h 505924"/>
                    <a:gd name="connsiteX5" fmla="*/ 230482 w 576731"/>
                    <a:gd name="connsiteY5" fmla="*/ 151456 h 505924"/>
                    <a:gd name="connsiteX6" fmla="*/ 233657 w 576731"/>
                    <a:gd name="connsiteY6" fmla="*/ 18106 h 505924"/>
                    <a:gd name="connsiteX7" fmla="*/ 344782 w 576731"/>
                    <a:gd name="connsiteY7" fmla="*/ 14931 h 505924"/>
                    <a:gd name="connsiteX8" fmla="*/ 344782 w 576731"/>
                    <a:gd name="connsiteY8" fmla="*/ 145106 h 505924"/>
                    <a:gd name="connsiteX9" fmla="*/ 386057 w 576731"/>
                    <a:gd name="connsiteY9" fmla="*/ 151456 h 505924"/>
                    <a:gd name="connsiteX10" fmla="*/ 478132 w 576731"/>
                    <a:gd name="connsiteY10" fmla="*/ 164156 h 505924"/>
                    <a:gd name="connsiteX11" fmla="*/ 519407 w 576731"/>
                    <a:gd name="connsiteY11" fmla="*/ 189556 h 505924"/>
                    <a:gd name="connsiteX12" fmla="*/ 541632 w 576731"/>
                    <a:gd name="connsiteY12" fmla="*/ 234006 h 505924"/>
                    <a:gd name="connsiteX13" fmla="*/ 538457 w 576731"/>
                    <a:gd name="connsiteY13" fmla="*/ 488006 h 505924"/>
                    <a:gd name="connsiteX14" fmla="*/ 36807 w 576731"/>
                    <a:gd name="connsiteY14" fmla="*/ 449906 h 505924"/>
                    <a:gd name="connsiteX0" fmla="*/ 5769 w 545693"/>
                    <a:gd name="connsiteY0" fmla="*/ 449906 h 505924"/>
                    <a:gd name="connsiteX1" fmla="*/ 8944 w 545693"/>
                    <a:gd name="connsiteY1" fmla="*/ 214956 h 505924"/>
                    <a:gd name="connsiteX2" fmla="*/ 24819 w 545693"/>
                    <a:gd name="connsiteY2" fmla="*/ 176856 h 505924"/>
                    <a:gd name="connsiteX3" fmla="*/ 72444 w 545693"/>
                    <a:gd name="connsiteY3" fmla="*/ 160981 h 505924"/>
                    <a:gd name="connsiteX4" fmla="*/ 174044 w 545693"/>
                    <a:gd name="connsiteY4" fmla="*/ 154631 h 505924"/>
                    <a:gd name="connsiteX5" fmla="*/ 199444 w 545693"/>
                    <a:gd name="connsiteY5" fmla="*/ 151456 h 505924"/>
                    <a:gd name="connsiteX6" fmla="*/ 202619 w 545693"/>
                    <a:gd name="connsiteY6" fmla="*/ 18106 h 505924"/>
                    <a:gd name="connsiteX7" fmla="*/ 313744 w 545693"/>
                    <a:gd name="connsiteY7" fmla="*/ 14931 h 505924"/>
                    <a:gd name="connsiteX8" fmla="*/ 313744 w 545693"/>
                    <a:gd name="connsiteY8" fmla="*/ 145106 h 505924"/>
                    <a:gd name="connsiteX9" fmla="*/ 355019 w 545693"/>
                    <a:gd name="connsiteY9" fmla="*/ 151456 h 505924"/>
                    <a:gd name="connsiteX10" fmla="*/ 447094 w 545693"/>
                    <a:gd name="connsiteY10" fmla="*/ 164156 h 505924"/>
                    <a:gd name="connsiteX11" fmla="*/ 488369 w 545693"/>
                    <a:gd name="connsiteY11" fmla="*/ 189556 h 505924"/>
                    <a:gd name="connsiteX12" fmla="*/ 510594 w 545693"/>
                    <a:gd name="connsiteY12" fmla="*/ 234006 h 505924"/>
                    <a:gd name="connsiteX13" fmla="*/ 507419 w 545693"/>
                    <a:gd name="connsiteY13" fmla="*/ 488006 h 505924"/>
                    <a:gd name="connsiteX14" fmla="*/ 5769 w 545693"/>
                    <a:gd name="connsiteY14" fmla="*/ 449906 h 505924"/>
                    <a:gd name="connsiteX0" fmla="*/ 21286 w 561210"/>
                    <a:gd name="connsiteY0" fmla="*/ 449906 h 508025"/>
                    <a:gd name="connsiteX1" fmla="*/ 24461 w 561210"/>
                    <a:gd name="connsiteY1" fmla="*/ 214956 h 508025"/>
                    <a:gd name="connsiteX2" fmla="*/ 40336 w 561210"/>
                    <a:gd name="connsiteY2" fmla="*/ 176856 h 508025"/>
                    <a:gd name="connsiteX3" fmla="*/ 87961 w 561210"/>
                    <a:gd name="connsiteY3" fmla="*/ 160981 h 508025"/>
                    <a:gd name="connsiteX4" fmla="*/ 189561 w 561210"/>
                    <a:gd name="connsiteY4" fmla="*/ 154631 h 508025"/>
                    <a:gd name="connsiteX5" fmla="*/ 214961 w 561210"/>
                    <a:gd name="connsiteY5" fmla="*/ 151456 h 508025"/>
                    <a:gd name="connsiteX6" fmla="*/ 218136 w 561210"/>
                    <a:gd name="connsiteY6" fmla="*/ 18106 h 508025"/>
                    <a:gd name="connsiteX7" fmla="*/ 329261 w 561210"/>
                    <a:gd name="connsiteY7" fmla="*/ 14931 h 508025"/>
                    <a:gd name="connsiteX8" fmla="*/ 329261 w 561210"/>
                    <a:gd name="connsiteY8" fmla="*/ 145106 h 508025"/>
                    <a:gd name="connsiteX9" fmla="*/ 370536 w 561210"/>
                    <a:gd name="connsiteY9" fmla="*/ 151456 h 508025"/>
                    <a:gd name="connsiteX10" fmla="*/ 462611 w 561210"/>
                    <a:gd name="connsiteY10" fmla="*/ 164156 h 508025"/>
                    <a:gd name="connsiteX11" fmla="*/ 503886 w 561210"/>
                    <a:gd name="connsiteY11" fmla="*/ 189556 h 508025"/>
                    <a:gd name="connsiteX12" fmla="*/ 526111 w 561210"/>
                    <a:gd name="connsiteY12" fmla="*/ 234006 h 508025"/>
                    <a:gd name="connsiteX13" fmla="*/ 522936 w 561210"/>
                    <a:gd name="connsiteY13" fmla="*/ 488006 h 508025"/>
                    <a:gd name="connsiteX14" fmla="*/ 21286 w 561210"/>
                    <a:gd name="connsiteY14" fmla="*/ 449906 h 508025"/>
                    <a:gd name="connsiteX0" fmla="*/ 21286 w 561210"/>
                    <a:gd name="connsiteY0" fmla="*/ 449906 h 508025"/>
                    <a:gd name="connsiteX1" fmla="*/ 24461 w 561210"/>
                    <a:gd name="connsiteY1" fmla="*/ 214956 h 508025"/>
                    <a:gd name="connsiteX2" fmla="*/ 40336 w 561210"/>
                    <a:gd name="connsiteY2" fmla="*/ 176856 h 508025"/>
                    <a:gd name="connsiteX3" fmla="*/ 87961 w 561210"/>
                    <a:gd name="connsiteY3" fmla="*/ 160981 h 508025"/>
                    <a:gd name="connsiteX4" fmla="*/ 189561 w 561210"/>
                    <a:gd name="connsiteY4" fmla="*/ 154631 h 508025"/>
                    <a:gd name="connsiteX5" fmla="*/ 214961 w 561210"/>
                    <a:gd name="connsiteY5" fmla="*/ 151456 h 508025"/>
                    <a:gd name="connsiteX6" fmla="*/ 218136 w 561210"/>
                    <a:gd name="connsiteY6" fmla="*/ 18106 h 508025"/>
                    <a:gd name="connsiteX7" fmla="*/ 329261 w 561210"/>
                    <a:gd name="connsiteY7" fmla="*/ 14931 h 508025"/>
                    <a:gd name="connsiteX8" fmla="*/ 329261 w 561210"/>
                    <a:gd name="connsiteY8" fmla="*/ 145106 h 508025"/>
                    <a:gd name="connsiteX9" fmla="*/ 370536 w 561210"/>
                    <a:gd name="connsiteY9" fmla="*/ 151456 h 508025"/>
                    <a:gd name="connsiteX10" fmla="*/ 462611 w 561210"/>
                    <a:gd name="connsiteY10" fmla="*/ 164156 h 508025"/>
                    <a:gd name="connsiteX11" fmla="*/ 503886 w 561210"/>
                    <a:gd name="connsiteY11" fmla="*/ 189556 h 508025"/>
                    <a:gd name="connsiteX12" fmla="*/ 526111 w 561210"/>
                    <a:gd name="connsiteY12" fmla="*/ 234006 h 508025"/>
                    <a:gd name="connsiteX13" fmla="*/ 522936 w 561210"/>
                    <a:gd name="connsiteY13" fmla="*/ 488006 h 508025"/>
                    <a:gd name="connsiteX14" fmla="*/ 21286 w 561210"/>
                    <a:gd name="connsiteY14" fmla="*/ 449906 h 508025"/>
                    <a:gd name="connsiteX0" fmla="*/ 4360 w 544284"/>
                    <a:gd name="connsiteY0" fmla="*/ 449906 h 508025"/>
                    <a:gd name="connsiteX1" fmla="*/ 7535 w 544284"/>
                    <a:gd name="connsiteY1" fmla="*/ 214956 h 508025"/>
                    <a:gd name="connsiteX2" fmla="*/ 23410 w 544284"/>
                    <a:gd name="connsiteY2" fmla="*/ 176856 h 508025"/>
                    <a:gd name="connsiteX3" fmla="*/ 71035 w 544284"/>
                    <a:gd name="connsiteY3" fmla="*/ 160981 h 508025"/>
                    <a:gd name="connsiteX4" fmla="*/ 172635 w 544284"/>
                    <a:gd name="connsiteY4" fmla="*/ 154631 h 508025"/>
                    <a:gd name="connsiteX5" fmla="*/ 198035 w 544284"/>
                    <a:gd name="connsiteY5" fmla="*/ 151456 h 508025"/>
                    <a:gd name="connsiteX6" fmla="*/ 201210 w 544284"/>
                    <a:gd name="connsiteY6" fmla="*/ 18106 h 508025"/>
                    <a:gd name="connsiteX7" fmla="*/ 312335 w 544284"/>
                    <a:gd name="connsiteY7" fmla="*/ 14931 h 508025"/>
                    <a:gd name="connsiteX8" fmla="*/ 312335 w 544284"/>
                    <a:gd name="connsiteY8" fmla="*/ 145106 h 508025"/>
                    <a:gd name="connsiteX9" fmla="*/ 353610 w 544284"/>
                    <a:gd name="connsiteY9" fmla="*/ 151456 h 508025"/>
                    <a:gd name="connsiteX10" fmla="*/ 445685 w 544284"/>
                    <a:gd name="connsiteY10" fmla="*/ 164156 h 508025"/>
                    <a:gd name="connsiteX11" fmla="*/ 486960 w 544284"/>
                    <a:gd name="connsiteY11" fmla="*/ 189556 h 508025"/>
                    <a:gd name="connsiteX12" fmla="*/ 509185 w 544284"/>
                    <a:gd name="connsiteY12" fmla="*/ 234006 h 508025"/>
                    <a:gd name="connsiteX13" fmla="*/ 506010 w 544284"/>
                    <a:gd name="connsiteY13" fmla="*/ 488006 h 508025"/>
                    <a:gd name="connsiteX14" fmla="*/ 4360 w 544284"/>
                    <a:gd name="connsiteY14" fmla="*/ 449906 h 508025"/>
                    <a:gd name="connsiteX0" fmla="*/ 4360 w 544284"/>
                    <a:gd name="connsiteY0" fmla="*/ 449906 h 500804"/>
                    <a:gd name="connsiteX1" fmla="*/ 7535 w 544284"/>
                    <a:gd name="connsiteY1" fmla="*/ 214956 h 500804"/>
                    <a:gd name="connsiteX2" fmla="*/ 23410 w 544284"/>
                    <a:gd name="connsiteY2" fmla="*/ 176856 h 500804"/>
                    <a:gd name="connsiteX3" fmla="*/ 71035 w 544284"/>
                    <a:gd name="connsiteY3" fmla="*/ 160981 h 500804"/>
                    <a:gd name="connsiteX4" fmla="*/ 172635 w 544284"/>
                    <a:gd name="connsiteY4" fmla="*/ 154631 h 500804"/>
                    <a:gd name="connsiteX5" fmla="*/ 198035 w 544284"/>
                    <a:gd name="connsiteY5" fmla="*/ 151456 h 500804"/>
                    <a:gd name="connsiteX6" fmla="*/ 201210 w 544284"/>
                    <a:gd name="connsiteY6" fmla="*/ 18106 h 500804"/>
                    <a:gd name="connsiteX7" fmla="*/ 312335 w 544284"/>
                    <a:gd name="connsiteY7" fmla="*/ 14931 h 500804"/>
                    <a:gd name="connsiteX8" fmla="*/ 312335 w 544284"/>
                    <a:gd name="connsiteY8" fmla="*/ 145106 h 500804"/>
                    <a:gd name="connsiteX9" fmla="*/ 353610 w 544284"/>
                    <a:gd name="connsiteY9" fmla="*/ 151456 h 500804"/>
                    <a:gd name="connsiteX10" fmla="*/ 445685 w 544284"/>
                    <a:gd name="connsiteY10" fmla="*/ 164156 h 500804"/>
                    <a:gd name="connsiteX11" fmla="*/ 486960 w 544284"/>
                    <a:gd name="connsiteY11" fmla="*/ 189556 h 500804"/>
                    <a:gd name="connsiteX12" fmla="*/ 509185 w 544284"/>
                    <a:gd name="connsiteY12" fmla="*/ 234006 h 500804"/>
                    <a:gd name="connsiteX13" fmla="*/ 506010 w 544284"/>
                    <a:gd name="connsiteY13" fmla="*/ 488006 h 500804"/>
                    <a:gd name="connsiteX14" fmla="*/ 4360 w 544284"/>
                    <a:gd name="connsiteY14" fmla="*/ 449906 h 500804"/>
                    <a:gd name="connsiteX0" fmla="*/ 4360 w 544284"/>
                    <a:gd name="connsiteY0" fmla="*/ 449906 h 500804"/>
                    <a:gd name="connsiteX1" fmla="*/ 7535 w 544284"/>
                    <a:gd name="connsiteY1" fmla="*/ 214956 h 500804"/>
                    <a:gd name="connsiteX2" fmla="*/ 23410 w 544284"/>
                    <a:gd name="connsiteY2" fmla="*/ 176856 h 500804"/>
                    <a:gd name="connsiteX3" fmla="*/ 71035 w 544284"/>
                    <a:gd name="connsiteY3" fmla="*/ 160981 h 500804"/>
                    <a:gd name="connsiteX4" fmla="*/ 172635 w 544284"/>
                    <a:gd name="connsiteY4" fmla="*/ 154631 h 500804"/>
                    <a:gd name="connsiteX5" fmla="*/ 198035 w 544284"/>
                    <a:gd name="connsiteY5" fmla="*/ 151456 h 500804"/>
                    <a:gd name="connsiteX6" fmla="*/ 201210 w 544284"/>
                    <a:gd name="connsiteY6" fmla="*/ 18106 h 500804"/>
                    <a:gd name="connsiteX7" fmla="*/ 312335 w 544284"/>
                    <a:gd name="connsiteY7" fmla="*/ 14931 h 500804"/>
                    <a:gd name="connsiteX8" fmla="*/ 312335 w 544284"/>
                    <a:gd name="connsiteY8" fmla="*/ 145106 h 500804"/>
                    <a:gd name="connsiteX9" fmla="*/ 353610 w 544284"/>
                    <a:gd name="connsiteY9" fmla="*/ 151456 h 500804"/>
                    <a:gd name="connsiteX10" fmla="*/ 445685 w 544284"/>
                    <a:gd name="connsiteY10" fmla="*/ 164156 h 500804"/>
                    <a:gd name="connsiteX11" fmla="*/ 486960 w 544284"/>
                    <a:gd name="connsiteY11" fmla="*/ 189556 h 500804"/>
                    <a:gd name="connsiteX12" fmla="*/ 509185 w 544284"/>
                    <a:gd name="connsiteY12" fmla="*/ 234006 h 500804"/>
                    <a:gd name="connsiteX13" fmla="*/ 506010 w 544284"/>
                    <a:gd name="connsiteY13" fmla="*/ 488006 h 500804"/>
                    <a:gd name="connsiteX14" fmla="*/ 4360 w 544284"/>
                    <a:gd name="connsiteY14" fmla="*/ 449906 h 500804"/>
                    <a:gd name="connsiteX0" fmla="*/ 4360 w 519024"/>
                    <a:gd name="connsiteY0" fmla="*/ 449906 h 500804"/>
                    <a:gd name="connsiteX1" fmla="*/ 7535 w 519024"/>
                    <a:gd name="connsiteY1" fmla="*/ 214956 h 500804"/>
                    <a:gd name="connsiteX2" fmla="*/ 23410 w 519024"/>
                    <a:gd name="connsiteY2" fmla="*/ 176856 h 500804"/>
                    <a:gd name="connsiteX3" fmla="*/ 71035 w 519024"/>
                    <a:gd name="connsiteY3" fmla="*/ 160981 h 500804"/>
                    <a:gd name="connsiteX4" fmla="*/ 172635 w 519024"/>
                    <a:gd name="connsiteY4" fmla="*/ 154631 h 500804"/>
                    <a:gd name="connsiteX5" fmla="*/ 198035 w 519024"/>
                    <a:gd name="connsiteY5" fmla="*/ 151456 h 500804"/>
                    <a:gd name="connsiteX6" fmla="*/ 201210 w 519024"/>
                    <a:gd name="connsiteY6" fmla="*/ 18106 h 500804"/>
                    <a:gd name="connsiteX7" fmla="*/ 312335 w 519024"/>
                    <a:gd name="connsiteY7" fmla="*/ 14931 h 500804"/>
                    <a:gd name="connsiteX8" fmla="*/ 312335 w 519024"/>
                    <a:gd name="connsiteY8" fmla="*/ 145106 h 500804"/>
                    <a:gd name="connsiteX9" fmla="*/ 353610 w 519024"/>
                    <a:gd name="connsiteY9" fmla="*/ 151456 h 500804"/>
                    <a:gd name="connsiteX10" fmla="*/ 445685 w 519024"/>
                    <a:gd name="connsiteY10" fmla="*/ 164156 h 500804"/>
                    <a:gd name="connsiteX11" fmla="*/ 486960 w 519024"/>
                    <a:gd name="connsiteY11" fmla="*/ 189556 h 500804"/>
                    <a:gd name="connsiteX12" fmla="*/ 509185 w 519024"/>
                    <a:gd name="connsiteY12" fmla="*/ 234006 h 500804"/>
                    <a:gd name="connsiteX13" fmla="*/ 506010 w 519024"/>
                    <a:gd name="connsiteY13" fmla="*/ 488006 h 500804"/>
                    <a:gd name="connsiteX14" fmla="*/ 4360 w 519024"/>
                    <a:gd name="connsiteY14" fmla="*/ 449906 h 500804"/>
                    <a:gd name="connsiteX0" fmla="*/ 4360 w 519024"/>
                    <a:gd name="connsiteY0" fmla="*/ 449906 h 488006"/>
                    <a:gd name="connsiteX1" fmla="*/ 7535 w 519024"/>
                    <a:gd name="connsiteY1" fmla="*/ 214956 h 488006"/>
                    <a:gd name="connsiteX2" fmla="*/ 23410 w 519024"/>
                    <a:gd name="connsiteY2" fmla="*/ 176856 h 488006"/>
                    <a:gd name="connsiteX3" fmla="*/ 71035 w 519024"/>
                    <a:gd name="connsiteY3" fmla="*/ 160981 h 488006"/>
                    <a:gd name="connsiteX4" fmla="*/ 172635 w 519024"/>
                    <a:gd name="connsiteY4" fmla="*/ 154631 h 488006"/>
                    <a:gd name="connsiteX5" fmla="*/ 198035 w 519024"/>
                    <a:gd name="connsiteY5" fmla="*/ 151456 h 488006"/>
                    <a:gd name="connsiteX6" fmla="*/ 201210 w 519024"/>
                    <a:gd name="connsiteY6" fmla="*/ 18106 h 488006"/>
                    <a:gd name="connsiteX7" fmla="*/ 312335 w 519024"/>
                    <a:gd name="connsiteY7" fmla="*/ 14931 h 488006"/>
                    <a:gd name="connsiteX8" fmla="*/ 312335 w 519024"/>
                    <a:gd name="connsiteY8" fmla="*/ 145106 h 488006"/>
                    <a:gd name="connsiteX9" fmla="*/ 353610 w 519024"/>
                    <a:gd name="connsiteY9" fmla="*/ 151456 h 488006"/>
                    <a:gd name="connsiteX10" fmla="*/ 445685 w 519024"/>
                    <a:gd name="connsiteY10" fmla="*/ 164156 h 488006"/>
                    <a:gd name="connsiteX11" fmla="*/ 486960 w 519024"/>
                    <a:gd name="connsiteY11" fmla="*/ 189556 h 488006"/>
                    <a:gd name="connsiteX12" fmla="*/ 509185 w 519024"/>
                    <a:gd name="connsiteY12" fmla="*/ 234006 h 488006"/>
                    <a:gd name="connsiteX13" fmla="*/ 506010 w 519024"/>
                    <a:gd name="connsiteY13" fmla="*/ 488006 h 488006"/>
                    <a:gd name="connsiteX14" fmla="*/ 4360 w 519024"/>
                    <a:gd name="connsiteY14" fmla="*/ 449906 h 488006"/>
                    <a:gd name="connsiteX0" fmla="*/ 4360 w 523534"/>
                    <a:gd name="connsiteY0" fmla="*/ 449906 h 472131"/>
                    <a:gd name="connsiteX1" fmla="*/ 7535 w 523534"/>
                    <a:gd name="connsiteY1" fmla="*/ 214956 h 472131"/>
                    <a:gd name="connsiteX2" fmla="*/ 23410 w 523534"/>
                    <a:gd name="connsiteY2" fmla="*/ 176856 h 472131"/>
                    <a:gd name="connsiteX3" fmla="*/ 71035 w 523534"/>
                    <a:gd name="connsiteY3" fmla="*/ 160981 h 472131"/>
                    <a:gd name="connsiteX4" fmla="*/ 172635 w 523534"/>
                    <a:gd name="connsiteY4" fmla="*/ 154631 h 472131"/>
                    <a:gd name="connsiteX5" fmla="*/ 198035 w 523534"/>
                    <a:gd name="connsiteY5" fmla="*/ 151456 h 472131"/>
                    <a:gd name="connsiteX6" fmla="*/ 201210 w 523534"/>
                    <a:gd name="connsiteY6" fmla="*/ 18106 h 472131"/>
                    <a:gd name="connsiteX7" fmla="*/ 312335 w 523534"/>
                    <a:gd name="connsiteY7" fmla="*/ 14931 h 472131"/>
                    <a:gd name="connsiteX8" fmla="*/ 312335 w 523534"/>
                    <a:gd name="connsiteY8" fmla="*/ 145106 h 472131"/>
                    <a:gd name="connsiteX9" fmla="*/ 353610 w 523534"/>
                    <a:gd name="connsiteY9" fmla="*/ 151456 h 472131"/>
                    <a:gd name="connsiteX10" fmla="*/ 445685 w 523534"/>
                    <a:gd name="connsiteY10" fmla="*/ 164156 h 472131"/>
                    <a:gd name="connsiteX11" fmla="*/ 486960 w 523534"/>
                    <a:gd name="connsiteY11" fmla="*/ 189556 h 472131"/>
                    <a:gd name="connsiteX12" fmla="*/ 509185 w 523534"/>
                    <a:gd name="connsiteY12" fmla="*/ 234006 h 472131"/>
                    <a:gd name="connsiteX13" fmla="*/ 512360 w 523534"/>
                    <a:gd name="connsiteY13" fmla="*/ 472131 h 472131"/>
                    <a:gd name="connsiteX14" fmla="*/ 4360 w 523534"/>
                    <a:gd name="connsiteY14" fmla="*/ 449906 h 472131"/>
                    <a:gd name="connsiteX0" fmla="*/ 4360 w 513675"/>
                    <a:gd name="connsiteY0" fmla="*/ 449906 h 472131"/>
                    <a:gd name="connsiteX1" fmla="*/ 7535 w 513675"/>
                    <a:gd name="connsiteY1" fmla="*/ 214956 h 472131"/>
                    <a:gd name="connsiteX2" fmla="*/ 23410 w 513675"/>
                    <a:gd name="connsiteY2" fmla="*/ 176856 h 472131"/>
                    <a:gd name="connsiteX3" fmla="*/ 71035 w 513675"/>
                    <a:gd name="connsiteY3" fmla="*/ 160981 h 472131"/>
                    <a:gd name="connsiteX4" fmla="*/ 172635 w 513675"/>
                    <a:gd name="connsiteY4" fmla="*/ 154631 h 472131"/>
                    <a:gd name="connsiteX5" fmla="*/ 198035 w 513675"/>
                    <a:gd name="connsiteY5" fmla="*/ 151456 h 472131"/>
                    <a:gd name="connsiteX6" fmla="*/ 201210 w 513675"/>
                    <a:gd name="connsiteY6" fmla="*/ 18106 h 472131"/>
                    <a:gd name="connsiteX7" fmla="*/ 312335 w 513675"/>
                    <a:gd name="connsiteY7" fmla="*/ 14931 h 472131"/>
                    <a:gd name="connsiteX8" fmla="*/ 312335 w 513675"/>
                    <a:gd name="connsiteY8" fmla="*/ 145106 h 472131"/>
                    <a:gd name="connsiteX9" fmla="*/ 353610 w 513675"/>
                    <a:gd name="connsiteY9" fmla="*/ 151456 h 472131"/>
                    <a:gd name="connsiteX10" fmla="*/ 445685 w 513675"/>
                    <a:gd name="connsiteY10" fmla="*/ 164156 h 472131"/>
                    <a:gd name="connsiteX11" fmla="*/ 486960 w 513675"/>
                    <a:gd name="connsiteY11" fmla="*/ 189556 h 472131"/>
                    <a:gd name="connsiteX12" fmla="*/ 509185 w 513675"/>
                    <a:gd name="connsiteY12" fmla="*/ 234006 h 472131"/>
                    <a:gd name="connsiteX13" fmla="*/ 512360 w 513675"/>
                    <a:gd name="connsiteY13" fmla="*/ 472131 h 472131"/>
                    <a:gd name="connsiteX14" fmla="*/ 4360 w 513675"/>
                    <a:gd name="connsiteY14" fmla="*/ 449906 h 472131"/>
                    <a:gd name="connsiteX0" fmla="*/ 4360 w 513675"/>
                    <a:gd name="connsiteY0" fmla="*/ 446969 h 469194"/>
                    <a:gd name="connsiteX1" fmla="*/ 7535 w 513675"/>
                    <a:gd name="connsiteY1" fmla="*/ 212019 h 469194"/>
                    <a:gd name="connsiteX2" fmla="*/ 23410 w 513675"/>
                    <a:gd name="connsiteY2" fmla="*/ 173919 h 469194"/>
                    <a:gd name="connsiteX3" fmla="*/ 71035 w 513675"/>
                    <a:gd name="connsiteY3" fmla="*/ 158044 h 469194"/>
                    <a:gd name="connsiteX4" fmla="*/ 172635 w 513675"/>
                    <a:gd name="connsiteY4" fmla="*/ 151694 h 469194"/>
                    <a:gd name="connsiteX5" fmla="*/ 188510 w 513675"/>
                    <a:gd name="connsiteY5" fmla="*/ 94544 h 469194"/>
                    <a:gd name="connsiteX6" fmla="*/ 201210 w 513675"/>
                    <a:gd name="connsiteY6" fmla="*/ 15169 h 469194"/>
                    <a:gd name="connsiteX7" fmla="*/ 312335 w 513675"/>
                    <a:gd name="connsiteY7" fmla="*/ 11994 h 469194"/>
                    <a:gd name="connsiteX8" fmla="*/ 312335 w 513675"/>
                    <a:gd name="connsiteY8" fmla="*/ 142169 h 469194"/>
                    <a:gd name="connsiteX9" fmla="*/ 353610 w 513675"/>
                    <a:gd name="connsiteY9" fmla="*/ 148519 h 469194"/>
                    <a:gd name="connsiteX10" fmla="*/ 445685 w 513675"/>
                    <a:gd name="connsiteY10" fmla="*/ 161219 h 469194"/>
                    <a:gd name="connsiteX11" fmla="*/ 486960 w 513675"/>
                    <a:gd name="connsiteY11" fmla="*/ 186619 h 469194"/>
                    <a:gd name="connsiteX12" fmla="*/ 509185 w 513675"/>
                    <a:gd name="connsiteY12" fmla="*/ 231069 h 469194"/>
                    <a:gd name="connsiteX13" fmla="*/ 512360 w 513675"/>
                    <a:gd name="connsiteY13" fmla="*/ 469194 h 469194"/>
                    <a:gd name="connsiteX14" fmla="*/ 4360 w 513675"/>
                    <a:gd name="connsiteY14" fmla="*/ 446969 h 469194"/>
                    <a:gd name="connsiteX0" fmla="*/ 4360 w 513675"/>
                    <a:gd name="connsiteY0" fmla="*/ 443409 h 465634"/>
                    <a:gd name="connsiteX1" fmla="*/ 7535 w 513675"/>
                    <a:gd name="connsiteY1" fmla="*/ 208459 h 465634"/>
                    <a:gd name="connsiteX2" fmla="*/ 23410 w 513675"/>
                    <a:gd name="connsiteY2" fmla="*/ 170359 h 465634"/>
                    <a:gd name="connsiteX3" fmla="*/ 71035 w 513675"/>
                    <a:gd name="connsiteY3" fmla="*/ 154484 h 465634"/>
                    <a:gd name="connsiteX4" fmla="*/ 172635 w 513675"/>
                    <a:gd name="connsiteY4" fmla="*/ 148134 h 465634"/>
                    <a:gd name="connsiteX5" fmla="*/ 188510 w 513675"/>
                    <a:gd name="connsiteY5" fmla="*/ 90984 h 465634"/>
                    <a:gd name="connsiteX6" fmla="*/ 201210 w 513675"/>
                    <a:gd name="connsiteY6" fmla="*/ 11609 h 465634"/>
                    <a:gd name="connsiteX7" fmla="*/ 312335 w 513675"/>
                    <a:gd name="connsiteY7" fmla="*/ 8434 h 465634"/>
                    <a:gd name="connsiteX8" fmla="*/ 312335 w 513675"/>
                    <a:gd name="connsiteY8" fmla="*/ 87809 h 465634"/>
                    <a:gd name="connsiteX9" fmla="*/ 353610 w 513675"/>
                    <a:gd name="connsiteY9" fmla="*/ 144959 h 465634"/>
                    <a:gd name="connsiteX10" fmla="*/ 445685 w 513675"/>
                    <a:gd name="connsiteY10" fmla="*/ 157659 h 465634"/>
                    <a:gd name="connsiteX11" fmla="*/ 486960 w 513675"/>
                    <a:gd name="connsiteY11" fmla="*/ 183059 h 465634"/>
                    <a:gd name="connsiteX12" fmla="*/ 509185 w 513675"/>
                    <a:gd name="connsiteY12" fmla="*/ 227509 h 465634"/>
                    <a:gd name="connsiteX13" fmla="*/ 512360 w 513675"/>
                    <a:gd name="connsiteY13" fmla="*/ 465634 h 465634"/>
                    <a:gd name="connsiteX14" fmla="*/ 4360 w 513675"/>
                    <a:gd name="connsiteY14" fmla="*/ 443409 h 465634"/>
                    <a:gd name="connsiteX0" fmla="*/ 4360 w 513675"/>
                    <a:gd name="connsiteY0" fmla="*/ 443409 h 465634"/>
                    <a:gd name="connsiteX1" fmla="*/ 7535 w 513675"/>
                    <a:gd name="connsiteY1" fmla="*/ 208459 h 465634"/>
                    <a:gd name="connsiteX2" fmla="*/ 23410 w 513675"/>
                    <a:gd name="connsiteY2" fmla="*/ 170359 h 465634"/>
                    <a:gd name="connsiteX3" fmla="*/ 71035 w 513675"/>
                    <a:gd name="connsiteY3" fmla="*/ 154484 h 465634"/>
                    <a:gd name="connsiteX4" fmla="*/ 172635 w 513675"/>
                    <a:gd name="connsiteY4" fmla="*/ 148134 h 465634"/>
                    <a:gd name="connsiteX5" fmla="*/ 188510 w 513675"/>
                    <a:gd name="connsiteY5" fmla="*/ 90984 h 465634"/>
                    <a:gd name="connsiteX6" fmla="*/ 201210 w 513675"/>
                    <a:gd name="connsiteY6" fmla="*/ 11609 h 465634"/>
                    <a:gd name="connsiteX7" fmla="*/ 312335 w 513675"/>
                    <a:gd name="connsiteY7" fmla="*/ 8434 h 465634"/>
                    <a:gd name="connsiteX8" fmla="*/ 312335 w 513675"/>
                    <a:gd name="connsiteY8" fmla="*/ 87809 h 465634"/>
                    <a:gd name="connsiteX9" fmla="*/ 334560 w 513675"/>
                    <a:gd name="connsiteY9" fmla="*/ 135434 h 465634"/>
                    <a:gd name="connsiteX10" fmla="*/ 445685 w 513675"/>
                    <a:gd name="connsiteY10" fmla="*/ 157659 h 465634"/>
                    <a:gd name="connsiteX11" fmla="*/ 486960 w 513675"/>
                    <a:gd name="connsiteY11" fmla="*/ 183059 h 465634"/>
                    <a:gd name="connsiteX12" fmla="*/ 509185 w 513675"/>
                    <a:gd name="connsiteY12" fmla="*/ 227509 h 465634"/>
                    <a:gd name="connsiteX13" fmla="*/ 512360 w 513675"/>
                    <a:gd name="connsiteY13" fmla="*/ 465634 h 465634"/>
                    <a:gd name="connsiteX14" fmla="*/ 4360 w 513675"/>
                    <a:gd name="connsiteY14" fmla="*/ 443409 h 465634"/>
                    <a:gd name="connsiteX0" fmla="*/ 4360 w 510500"/>
                    <a:gd name="connsiteY0" fmla="*/ 443409 h 449759"/>
                    <a:gd name="connsiteX1" fmla="*/ 7535 w 510500"/>
                    <a:gd name="connsiteY1" fmla="*/ 208459 h 449759"/>
                    <a:gd name="connsiteX2" fmla="*/ 23410 w 510500"/>
                    <a:gd name="connsiteY2" fmla="*/ 170359 h 449759"/>
                    <a:gd name="connsiteX3" fmla="*/ 71035 w 510500"/>
                    <a:gd name="connsiteY3" fmla="*/ 154484 h 449759"/>
                    <a:gd name="connsiteX4" fmla="*/ 172635 w 510500"/>
                    <a:gd name="connsiteY4" fmla="*/ 148134 h 449759"/>
                    <a:gd name="connsiteX5" fmla="*/ 188510 w 510500"/>
                    <a:gd name="connsiteY5" fmla="*/ 90984 h 449759"/>
                    <a:gd name="connsiteX6" fmla="*/ 201210 w 510500"/>
                    <a:gd name="connsiteY6" fmla="*/ 11609 h 449759"/>
                    <a:gd name="connsiteX7" fmla="*/ 312335 w 510500"/>
                    <a:gd name="connsiteY7" fmla="*/ 8434 h 449759"/>
                    <a:gd name="connsiteX8" fmla="*/ 312335 w 510500"/>
                    <a:gd name="connsiteY8" fmla="*/ 87809 h 449759"/>
                    <a:gd name="connsiteX9" fmla="*/ 334560 w 510500"/>
                    <a:gd name="connsiteY9" fmla="*/ 135434 h 449759"/>
                    <a:gd name="connsiteX10" fmla="*/ 445685 w 510500"/>
                    <a:gd name="connsiteY10" fmla="*/ 157659 h 449759"/>
                    <a:gd name="connsiteX11" fmla="*/ 486960 w 510500"/>
                    <a:gd name="connsiteY11" fmla="*/ 183059 h 449759"/>
                    <a:gd name="connsiteX12" fmla="*/ 509185 w 510500"/>
                    <a:gd name="connsiteY12" fmla="*/ 227509 h 449759"/>
                    <a:gd name="connsiteX13" fmla="*/ 506010 w 510500"/>
                    <a:gd name="connsiteY13" fmla="*/ 449759 h 449759"/>
                    <a:gd name="connsiteX14" fmla="*/ 4360 w 510500"/>
                    <a:gd name="connsiteY14" fmla="*/ 443409 h 449759"/>
                    <a:gd name="connsiteX0" fmla="*/ 4360 w 510500"/>
                    <a:gd name="connsiteY0" fmla="*/ 443409 h 454926"/>
                    <a:gd name="connsiteX1" fmla="*/ 7535 w 510500"/>
                    <a:gd name="connsiteY1" fmla="*/ 208459 h 454926"/>
                    <a:gd name="connsiteX2" fmla="*/ 23410 w 510500"/>
                    <a:gd name="connsiteY2" fmla="*/ 170359 h 454926"/>
                    <a:gd name="connsiteX3" fmla="*/ 71035 w 510500"/>
                    <a:gd name="connsiteY3" fmla="*/ 154484 h 454926"/>
                    <a:gd name="connsiteX4" fmla="*/ 172635 w 510500"/>
                    <a:gd name="connsiteY4" fmla="*/ 148134 h 454926"/>
                    <a:gd name="connsiteX5" fmla="*/ 188510 w 510500"/>
                    <a:gd name="connsiteY5" fmla="*/ 90984 h 454926"/>
                    <a:gd name="connsiteX6" fmla="*/ 201210 w 510500"/>
                    <a:gd name="connsiteY6" fmla="*/ 11609 h 454926"/>
                    <a:gd name="connsiteX7" fmla="*/ 312335 w 510500"/>
                    <a:gd name="connsiteY7" fmla="*/ 8434 h 454926"/>
                    <a:gd name="connsiteX8" fmla="*/ 312335 w 510500"/>
                    <a:gd name="connsiteY8" fmla="*/ 87809 h 454926"/>
                    <a:gd name="connsiteX9" fmla="*/ 334560 w 510500"/>
                    <a:gd name="connsiteY9" fmla="*/ 135434 h 454926"/>
                    <a:gd name="connsiteX10" fmla="*/ 445685 w 510500"/>
                    <a:gd name="connsiteY10" fmla="*/ 157659 h 454926"/>
                    <a:gd name="connsiteX11" fmla="*/ 486960 w 510500"/>
                    <a:gd name="connsiteY11" fmla="*/ 183059 h 454926"/>
                    <a:gd name="connsiteX12" fmla="*/ 509185 w 510500"/>
                    <a:gd name="connsiteY12" fmla="*/ 227509 h 454926"/>
                    <a:gd name="connsiteX13" fmla="*/ 506010 w 510500"/>
                    <a:gd name="connsiteY13" fmla="*/ 449759 h 454926"/>
                    <a:gd name="connsiteX14" fmla="*/ 4360 w 510500"/>
                    <a:gd name="connsiteY14" fmla="*/ 443409 h 454926"/>
                    <a:gd name="connsiteX0" fmla="*/ 6473 w 512613"/>
                    <a:gd name="connsiteY0" fmla="*/ 443409 h 454926"/>
                    <a:gd name="connsiteX1" fmla="*/ 9648 w 512613"/>
                    <a:gd name="connsiteY1" fmla="*/ 208459 h 454926"/>
                    <a:gd name="connsiteX2" fmla="*/ 73148 w 512613"/>
                    <a:gd name="connsiteY2" fmla="*/ 154484 h 454926"/>
                    <a:gd name="connsiteX3" fmla="*/ 174748 w 512613"/>
                    <a:gd name="connsiteY3" fmla="*/ 148134 h 454926"/>
                    <a:gd name="connsiteX4" fmla="*/ 190623 w 512613"/>
                    <a:gd name="connsiteY4" fmla="*/ 90984 h 454926"/>
                    <a:gd name="connsiteX5" fmla="*/ 203323 w 512613"/>
                    <a:gd name="connsiteY5" fmla="*/ 11609 h 454926"/>
                    <a:gd name="connsiteX6" fmla="*/ 314448 w 512613"/>
                    <a:gd name="connsiteY6" fmla="*/ 8434 h 454926"/>
                    <a:gd name="connsiteX7" fmla="*/ 314448 w 512613"/>
                    <a:gd name="connsiteY7" fmla="*/ 87809 h 454926"/>
                    <a:gd name="connsiteX8" fmla="*/ 336673 w 512613"/>
                    <a:gd name="connsiteY8" fmla="*/ 135434 h 454926"/>
                    <a:gd name="connsiteX9" fmla="*/ 447798 w 512613"/>
                    <a:gd name="connsiteY9" fmla="*/ 157659 h 454926"/>
                    <a:gd name="connsiteX10" fmla="*/ 489073 w 512613"/>
                    <a:gd name="connsiteY10" fmla="*/ 183059 h 454926"/>
                    <a:gd name="connsiteX11" fmla="*/ 511298 w 512613"/>
                    <a:gd name="connsiteY11" fmla="*/ 227509 h 454926"/>
                    <a:gd name="connsiteX12" fmla="*/ 508123 w 512613"/>
                    <a:gd name="connsiteY12" fmla="*/ 449759 h 454926"/>
                    <a:gd name="connsiteX13" fmla="*/ 6473 w 512613"/>
                    <a:gd name="connsiteY13" fmla="*/ 443409 h 454926"/>
                    <a:gd name="connsiteX0" fmla="*/ 4049 w 510189"/>
                    <a:gd name="connsiteY0" fmla="*/ 443409 h 454926"/>
                    <a:gd name="connsiteX1" fmla="*/ 7224 w 510189"/>
                    <a:gd name="connsiteY1" fmla="*/ 208459 h 454926"/>
                    <a:gd name="connsiteX2" fmla="*/ 70724 w 510189"/>
                    <a:gd name="connsiteY2" fmla="*/ 154484 h 454926"/>
                    <a:gd name="connsiteX3" fmla="*/ 172324 w 510189"/>
                    <a:gd name="connsiteY3" fmla="*/ 148134 h 454926"/>
                    <a:gd name="connsiteX4" fmla="*/ 188199 w 510189"/>
                    <a:gd name="connsiteY4" fmla="*/ 90984 h 454926"/>
                    <a:gd name="connsiteX5" fmla="*/ 200899 w 510189"/>
                    <a:gd name="connsiteY5" fmla="*/ 11609 h 454926"/>
                    <a:gd name="connsiteX6" fmla="*/ 312024 w 510189"/>
                    <a:gd name="connsiteY6" fmla="*/ 8434 h 454926"/>
                    <a:gd name="connsiteX7" fmla="*/ 312024 w 510189"/>
                    <a:gd name="connsiteY7" fmla="*/ 87809 h 454926"/>
                    <a:gd name="connsiteX8" fmla="*/ 334249 w 510189"/>
                    <a:gd name="connsiteY8" fmla="*/ 135434 h 454926"/>
                    <a:gd name="connsiteX9" fmla="*/ 445374 w 510189"/>
                    <a:gd name="connsiteY9" fmla="*/ 157659 h 454926"/>
                    <a:gd name="connsiteX10" fmla="*/ 486649 w 510189"/>
                    <a:gd name="connsiteY10" fmla="*/ 183059 h 454926"/>
                    <a:gd name="connsiteX11" fmla="*/ 508874 w 510189"/>
                    <a:gd name="connsiteY11" fmla="*/ 227509 h 454926"/>
                    <a:gd name="connsiteX12" fmla="*/ 505699 w 510189"/>
                    <a:gd name="connsiteY12" fmla="*/ 449759 h 454926"/>
                    <a:gd name="connsiteX13" fmla="*/ 4049 w 510189"/>
                    <a:gd name="connsiteY13" fmla="*/ 443409 h 454926"/>
                    <a:gd name="connsiteX0" fmla="*/ 4049 w 510189"/>
                    <a:gd name="connsiteY0" fmla="*/ 443409 h 454926"/>
                    <a:gd name="connsiteX1" fmla="*/ 7224 w 510189"/>
                    <a:gd name="connsiteY1" fmla="*/ 208459 h 454926"/>
                    <a:gd name="connsiteX2" fmla="*/ 70724 w 510189"/>
                    <a:gd name="connsiteY2" fmla="*/ 154484 h 454926"/>
                    <a:gd name="connsiteX3" fmla="*/ 172324 w 510189"/>
                    <a:gd name="connsiteY3" fmla="*/ 148134 h 454926"/>
                    <a:gd name="connsiteX4" fmla="*/ 188199 w 510189"/>
                    <a:gd name="connsiteY4" fmla="*/ 90984 h 454926"/>
                    <a:gd name="connsiteX5" fmla="*/ 200899 w 510189"/>
                    <a:gd name="connsiteY5" fmla="*/ 11609 h 454926"/>
                    <a:gd name="connsiteX6" fmla="*/ 312024 w 510189"/>
                    <a:gd name="connsiteY6" fmla="*/ 8434 h 454926"/>
                    <a:gd name="connsiteX7" fmla="*/ 312024 w 510189"/>
                    <a:gd name="connsiteY7" fmla="*/ 87809 h 454926"/>
                    <a:gd name="connsiteX8" fmla="*/ 334249 w 510189"/>
                    <a:gd name="connsiteY8" fmla="*/ 135434 h 454926"/>
                    <a:gd name="connsiteX9" fmla="*/ 445374 w 510189"/>
                    <a:gd name="connsiteY9" fmla="*/ 157659 h 454926"/>
                    <a:gd name="connsiteX10" fmla="*/ 508874 w 510189"/>
                    <a:gd name="connsiteY10" fmla="*/ 227509 h 454926"/>
                    <a:gd name="connsiteX11" fmla="*/ 505699 w 510189"/>
                    <a:gd name="connsiteY11" fmla="*/ 449759 h 454926"/>
                    <a:gd name="connsiteX12" fmla="*/ 4049 w 510189"/>
                    <a:gd name="connsiteY12" fmla="*/ 443409 h 454926"/>
                    <a:gd name="connsiteX0" fmla="*/ 4049 w 510189"/>
                    <a:gd name="connsiteY0" fmla="*/ 443409 h 454926"/>
                    <a:gd name="connsiteX1" fmla="*/ 7224 w 510189"/>
                    <a:gd name="connsiteY1" fmla="*/ 208459 h 454926"/>
                    <a:gd name="connsiteX2" fmla="*/ 70724 w 510189"/>
                    <a:gd name="connsiteY2" fmla="*/ 154484 h 454926"/>
                    <a:gd name="connsiteX3" fmla="*/ 172324 w 510189"/>
                    <a:gd name="connsiteY3" fmla="*/ 148134 h 454926"/>
                    <a:gd name="connsiteX4" fmla="*/ 188199 w 510189"/>
                    <a:gd name="connsiteY4" fmla="*/ 90984 h 454926"/>
                    <a:gd name="connsiteX5" fmla="*/ 200899 w 510189"/>
                    <a:gd name="connsiteY5" fmla="*/ 11609 h 454926"/>
                    <a:gd name="connsiteX6" fmla="*/ 312024 w 510189"/>
                    <a:gd name="connsiteY6" fmla="*/ 8434 h 454926"/>
                    <a:gd name="connsiteX7" fmla="*/ 312024 w 510189"/>
                    <a:gd name="connsiteY7" fmla="*/ 87809 h 454926"/>
                    <a:gd name="connsiteX8" fmla="*/ 334249 w 510189"/>
                    <a:gd name="connsiteY8" fmla="*/ 135434 h 454926"/>
                    <a:gd name="connsiteX9" fmla="*/ 445374 w 510189"/>
                    <a:gd name="connsiteY9" fmla="*/ 157659 h 454926"/>
                    <a:gd name="connsiteX10" fmla="*/ 508874 w 510189"/>
                    <a:gd name="connsiteY10" fmla="*/ 227509 h 454926"/>
                    <a:gd name="connsiteX11" fmla="*/ 505699 w 510189"/>
                    <a:gd name="connsiteY11" fmla="*/ 449759 h 454926"/>
                    <a:gd name="connsiteX12" fmla="*/ 4049 w 510189"/>
                    <a:gd name="connsiteY12" fmla="*/ 443409 h 454926"/>
                    <a:gd name="connsiteX0" fmla="*/ 5987 w 512127"/>
                    <a:gd name="connsiteY0" fmla="*/ 443409 h 454926"/>
                    <a:gd name="connsiteX1" fmla="*/ 2812 w 512127"/>
                    <a:gd name="connsiteY1" fmla="*/ 217984 h 454926"/>
                    <a:gd name="connsiteX2" fmla="*/ 72662 w 512127"/>
                    <a:gd name="connsiteY2" fmla="*/ 154484 h 454926"/>
                    <a:gd name="connsiteX3" fmla="*/ 174262 w 512127"/>
                    <a:gd name="connsiteY3" fmla="*/ 148134 h 454926"/>
                    <a:gd name="connsiteX4" fmla="*/ 190137 w 512127"/>
                    <a:gd name="connsiteY4" fmla="*/ 90984 h 454926"/>
                    <a:gd name="connsiteX5" fmla="*/ 202837 w 512127"/>
                    <a:gd name="connsiteY5" fmla="*/ 11609 h 454926"/>
                    <a:gd name="connsiteX6" fmla="*/ 313962 w 512127"/>
                    <a:gd name="connsiteY6" fmla="*/ 8434 h 454926"/>
                    <a:gd name="connsiteX7" fmla="*/ 313962 w 512127"/>
                    <a:gd name="connsiteY7" fmla="*/ 87809 h 454926"/>
                    <a:gd name="connsiteX8" fmla="*/ 336187 w 512127"/>
                    <a:gd name="connsiteY8" fmla="*/ 135434 h 454926"/>
                    <a:gd name="connsiteX9" fmla="*/ 447312 w 512127"/>
                    <a:gd name="connsiteY9" fmla="*/ 157659 h 454926"/>
                    <a:gd name="connsiteX10" fmla="*/ 510812 w 512127"/>
                    <a:gd name="connsiteY10" fmla="*/ 227509 h 454926"/>
                    <a:gd name="connsiteX11" fmla="*/ 507637 w 512127"/>
                    <a:gd name="connsiteY11" fmla="*/ 449759 h 454926"/>
                    <a:gd name="connsiteX12" fmla="*/ 5987 w 512127"/>
                    <a:gd name="connsiteY12" fmla="*/ 443409 h 454926"/>
                    <a:gd name="connsiteX0" fmla="*/ 9762 w 515902"/>
                    <a:gd name="connsiteY0" fmla="*/ 443409 h 454926"/>
                    <a:gd name="connsiteX1" fmla="*/ 6587 w 515902"/>
                    <a:gd name="connsiteY1" fmla="*/ 217984 h 454926"/>
                    <a:gd name="connsiteX2" fmla="*/ 76437 w 515902"/>
                    <a:gd name="connsiteY2" fmla="*/ 154484 h 454926"/>
                    <a:gd name="connsiteX3" fmla="*/ 178037 w 515902"/>
                    <a:gd name="connsiteY3" fmla="*/ 148134 h 454926"/>
                    <a:gd name="connsiteX4" fmla="*/ 193912 w 515902"/>
                    <a:gd name="connsiteY4" fmla="*/ 90984 h 454926"/>
                    <a:gd name="connsiteX5" fmla="*/ 206612 w 515902"/>
                    <a:gd name="connsiteY5" fmla="*/ 11609 h 454926"/>
                    <a:gd name="connsiteX6" fmla="*/ 317737 w 515902"/>
                    <a:gd name="connsiteY6" fmla="*/ 8434 h 454926"/>
                    <a:gd name="connsiteX7" fmla="*/ 317737 w 515902"/>
                    <a:gd name="connsiteY7" fmla="*/ 87809 h 454926"/>
                    <a:gd name="connsiteX8" fmla="*/ 339962 w 515902"/>
                    <a:gd name="connsiteY8" fmla="*/ 135434 h 454926"/>
                    <a:gd name="connsiteX9" fmla="*/ 451087 w 515902"/>
                    <a:gd name="connsiteY9" fmla="*/ 157659 h 454926"/>
                    <a:gd name="connsiteX10" fmla="*/ 514587 w 515902"/>
                    <a:gd name="connsiteY10" fmla="*/ 227509 h 454926"/>
                    <a:gd name="connsiteX11" fmla="*/ 511412 w 515902"/>
                    <a:gd name="connsiteY11" fmla="*/ 449759 h 454926"/>
                    <a:gd name="connsiteX12" fmla="*/ 9762 w 515902"/>
                    <a:gd name="connsiteY12" fmla="*/ 443409 h 454926"/>
                    <a:gd name="connsiteX0" fmla="*/ 9762 w 515902"/>
                    <a:gd name="connsiteY0" fmla="*/ 443409 h 454926"/>
                    <a:gd name="connsiteX1" fmla="*/ 6587 w 515902"/>
                    <a:gd name="connsiteY1" fmla="*/ 217984 h 454926"/>
                    <a:gd name="connsiteX2" fmla="*/ 76437 w 515902"/>
                    <a:gd name="connsiteY2" fmla="*/ 154484 h 454926"/>
                    <a:gd name="connsiteX3" fmla="*/ 178037 w 515902"/>
                    <a:gd name="connsiteY3" fmla="*/ 148134 h 454926"/>
                    <a:gd name="connsiteX4" fmla="*/ 193912 w 515902"/>
                    <a:gd name="connsiteY4" fmla="*/ 90984 h 454926"/>
                    <a:gd name="connsiteX5" fmla="*/ 206612 w 515902"/>
                    <a:gd name="connsiteY5" fmla="*/ 11609 h 454926"/>
                    <a:gd name="connsiteX6" fmla="*/ 317737 w 515902"/>
                    <a:gd name="connsiteY6" fmla="*/ 8434 h 454926"/>
                    <a:gd name="connsiteX7" fmla="*/ 317737 w 515902"/>
                    <a:gd name="connsiteY7" fmla="*/ 87809 h 454926"/>
                    <a:gd name="connsiteX8" fmla="*/ 339962 w 515902"/>
                    <a:gd name="connsiteY8" fmla="*/ 135434 h 454926"/>
                    <a:gd name="connsiteX9" fmla="*/ 451087 w 515902"/>
                    <a:gd name="connsiteY9" fmla="*/ 157659 h 454926"/>
                    <a:gd name="connsiteX10" fmla="*/ 514587 w 515902"/>
                    <a:gd name="connsiteY10" fmla="*/ 227509 h 454926"/>
                    <a:gd name="connsiteX11" fmla="*/ 511412 w 515902"/>
                    <a:gd name="connsiteY11" fmla="*/ 449759 h 454926"/>
                    <a:gd name="connsiteX12" fmla="*/ 9762 w 515902"/>
                    <a:gd name="connsiteY12" fmla="*/ 443409 h 454926"/>
                    <a:gd name="connsiteX0" fmla="*/ 9762 w 515902"/>
                    <a:gd name="connsiteY0" fmla="*/ 443409 h 454926"/>
                    <a:gd name="connsiteX1" fmla="*/ 6587 w 515902"/>
                    <a:gd name="connsiteY1" fmla="*/ 217984 h 454926"/>
                    <a:gd name="connsiteX2" fmla="*/ 76437 w 515902"/>
                    <a:gd name="connsiteY2" fmla="*/ 154484 h 454926"/>
                    <a:gd name="connsiteX3" fmla="*/ 193912 w 515902"/>
                    <a:gd name="connsiteY3" fmla="*/ 90984 h 454926"/>
                    <a:gd name="connsiteX4" fmla="*/ 206612 w 515902"/>
                    <a:gd name="connsiteY4" fmla="*/ 11609 h 454926"/>
                    <a:gd name="connsiteX5" fmla="*/ 317737 w 515902"/>
                    <a:gd name="connsiteY5" fmla="*/ 8434 h 454926"/>
                    <a:gd name="connsiteX6" fmla="*/ 317737 w 515902"/>
                    <a:gd name="connsiteY6" fmla="*/ 87809 h 454926"/>
                    <a:gd name="connsiteX7" fmla="*/ 339962 w 515902"/>
                    <a:gd name="connsiteY7" fmla="*/ 135434 h 454926"/>
                    <a:gd name="connsiteX8" fmla="*/ 451087 w 515902"/>
                    <a:gd name="connsiteY8" fmla="*/ 157659 h 454926"/>
                    <a:gd name="connsiteX9" fmla="*/ 514587 w 515902"/>
                    <a:gd name="connsiteY9" fmla="*/ 227509 h 454926"/>
                    <a:gd name="connsiteX10" fmla="*/ 511412 w 515902"/>
                    <a:gd name="connsiteY10" fmla="*/ 449759 h 454926"/>
                    <a:gd name="connsiteX11" fmla="*/ 9762 w 515902"/>
                    <a:gd name="connsiteY11" fmla="*/ 443409 h 454926"/>
                    <a:gd name="connsiteX0" fmla="*/ 9762 w 515902"/>
                    <a:gd name="connsiteY0" fmla="*/ 446099 h 457616"/>
                    <a:gd name="connsiteX1" fmla="*/ 6587 w 515902"/>
                    <a:gd name="connsiteY1" fmla="*/ 220674 h 457616"/>
                    <a:gd name="connsiteX2" fmla="*/ 76437 w 515902"/>
                    <a:gd name="connsiteY2" fmla="*/ 157174 h 457616"/>
                    <a:gd name="connsiteX3" fmla="*/ 190737 w 515902"/>
                    <a:gd name="connsiteY3" fmla="*/ 138124 h 457616"/>
                    <a:gd name="connsiteX4" fmla="*/ 206612 w 515902"/>
                    <a:gd name="connsiteY4" fmla="*/ 14299 h 457616"/>
                    <a:gd name="connsiteX5" fmla="*/ 317737 w 515902"/>
                    <a:gd name="connsiteY5" fmla="*/ 11124 h 457616"/>
                    <a:gd name="connsiteX6" fmla="*/ 317737 w 515902"/>
                    <a:gd name="connsiteY6" fmla="*/ 90499 h 457616"/>
                    <a:gd name="connsiteX7" fmla="*/ 339962 w 515902"/>
                    <a:gd name="connsiteY7" fmla="*/ 138124 h 457616"/>
                    <a:gd name="connsiteX8" fmla="*/ 451087 w 515902"/>
                    <a:gd name="connsiteY8" fmla="*/ 160349 h 457616"/>
                    <a:gd name="connsiteX9" fmla="*/ 514587 w 515902"/>
                    <a:gd name="connsiteY9" fmla="*/ 230199 h 457616"/>
                    <a:gd name="connsiteX10" fmla="*/ 511412 w 515902"/>
                    <a:gd name="connsiteY10" fmla="*/ 452449 h 457616"/>
                    <a:gd name="connsiteX11" fmla="*/ 9762 w 515902"/>
                    <a:gd name="connsiteY11" fmla="*/ 446099 h 457616"/>
                    <a:gd name="connsiteX0" fmla="*/ 9762 w 515902"/>
                    <a:gd name="connsiteY0" fmla="*/ 446099 h 457616"/>
                    <a:gd name="connsiteX1" fmla="*/ 6587 w 515902"/>
                    <a:gd name="connsiteY1" fmla="*/ 220674 h 457616"/>
                    <a:gd name="connsiteX2" fmla="*/ 76437 w 515902"/>
                    <a:gd name="connsiteY2" fmla="*/ 157174 h 457616"/>
                    <a:gd name="connsiteX3" fmla="*/ 190737 w 515902"/>
                    <a:gd name="connsiteY3" fmla="*/ 138124 h 457616"/>
                    <a:gd name="connsiteX4" fmla="*/ 206612 w 515902"/>
                    <a:gd name="connsiteY4" fmla="*/ 14299 h 457616"/>
                    <a:gd name="connsiteX5" fmla="*/ 317737 w 515902"/>
                    <a:gd name="connsiteY5" fmla="*/ 11124 h 457616"/>
                    <a:gd name="connsiteX6" fmla="*/ 317737 w 515902"/>
                    <a:gd name="connsiteY6" fmla="*/ 90499 h 457616"/>
                    <a:gd name="connsiteX7" fmla="*/ 451087 w 515902"/>
                    <a:gd name="connsiteY7" fmla="*/ 160349 h 457616"/>
                    <a:gd name="connsiteX8" fmla="*/ 514587 w 515902"/>
                    <a:gd name="connsiteY8" fmla="*/ 230199 h 457616"/>
                    <a:gd name="connsiteX9" fmla="*/ 511412 w 515902"/>
                    <a:gd name="connsiteY9" fmla="*/ 452449 h 457616"/>
                    <a:gd name="connsiteX10" fmla="*/ 9762 w 515902"/>
                    <a:gd name="connsiteY10" fmla="*/ 446099 h 457616"/>
                    <a:gd name="connsiteX0" fmla="*/ 9762 w 515902"/>
                    <a:gd name="connsiteY0" fmla="*/ 447482 h 458999"/>
                    <a:gd name="connsiteX1" fmla="*/ 6587 w 515902"/>
                    <a:gd name="connsiteY1" fmla="*/ 222057 h 458999"/>
                    <a:gd name="connsiteX2" fmla="*/ 76437 w 515902"/>
                    <a:gd name="connsiteY2" fmla="*/ 158557 h 458999"/>
                    <a:gd name="connsiteX3" fmla="*/ 190737 w 515902"/>
                    <a:gd name="connsiteY3" fmla="*/ 139507 h 458999"/>
                    <a:gd name="connsiteX4" fmla="*/ 206612 w 515902"/>
                    <a:gd name="connsiteY4" fmla="*/ 15682 h 458999"/>
                    <a:gd name="connsiteX5" fmla="*/ 317737 w 515902"/>
                    <a:gd name="connsiteY5" fmla="*/ 12507 h 458999"/>
                    <a:gd name="connsiteX6" fmla="*/ 330437 w 515902"/>
                    <a:gd name="connsiteY6" fmla="*/ 114107 h 458999"/>
                    <a:gd name="connsiteX7" fmla="*/ 451087 w 515902"/>
                    <a:gd name="connsiteY7" fmla="*/ 161732 h 458999"/>
                    <a:gd name="connsiteX8" fmla="*/ 514587 w 515902"/>
                    <a:gd name="connsiteY8" fmla="*/ 231582 h 458999"/>
                    <a:gd name="connsiteX9" fmla="*/ 511412 w 515902"/>
                    <a:gd name="connsiteY9" fmla="*/ 453832 h 458999"/>
                    <a:gd name="connsiteX10" fmla="*/ 9762 w 515902"/>
                    <a:gd name="connsiteY10" fmla="*/ 447482 h 458999"/>
                    <a:gd name="connsiteX0" fmla="*/ 9762 w 515902"/>
                    <a:gd name="connsiteY0" fmla="*/ 446348 h 457865"/>
                    <a:gd name="connsiteX1" fmla="*/ 6587 w 515902"/>
                    <a:gd name="connsiteY1" fmla="*/ 220923 h 457865"/>
                    <a:gd name="connsiteX2" fmla="*/ 76437 w 515902"/>
                    <a:gd name="connsiteY2" fmla="*/ 157423 h 457865"/>
                    <a:gd name="connsiteX3" fmla="*/ 200262 w 515902"/>
                    <a:gd name="connsiteY3" fmla="*/ 119323 h 457865"/>
                    <a:gd name="connsiteX4" fmla="*/ 206612 w 515902"/>
                    <a:gd name="connsiteY4" fmla="*/ 14548 h 457865"/>
                    <a:gd name="connsiteX5" fmla="*/ 317737 w 515902"/>
                    <a:gd name="connsiteY5" fmla="*/ 11373 h 457865"/>
                    <a:gd name="connsiteX6" fmla="*/ 330437 w 515902"/>
                    <a:gd name="connsiteY6" fmla="*/ 112973 h 457865"/>
                    <a:gd name="connsiteX7" fmla="*/ 451087 w 515902"/>
                    <a:gd name="connsiteY7" fmla="*/ 160598 h 457865"/>
                    <a:gd name="connsiteX8" fmla="*/ 514587 w 515902"/>
                    <a:gd name="connsiteY8" fmla="*/ 230448 h 457865"/>
                    <a:gd name="connsiteX9" fmla="*/ 511412 w 515902"/>
                    <a:gd name="connsiteY9" fmla="*/ 452698 h 457865"/>
                    <a:gd name="connsiteX10" fmla="*/ 9762 w 515902"/>
                    <a:gd name="connsiteY10" fmla="*/ 446348 h 457865"/>
                    <a:gd name="connsiteX0" fmla="*/ 9762 w 515902"/>
                    <a:gd name="connsiteY0" fmla="*/ 446681 h 458198"/>
                    <a:gd name="connsiteX1" fmla="*/ 6587 w 515902"/>
                    <a:gd name="connsiteY1" fmla="*/ 221256 h 458198"/>
                    <a:gd name="connsiteX2" fmla="*/ 76437 w 515902"/>
                    <a:gd name="connsiteY2" fmla="*/ 157756 h 458198"/>
                    <a:gd name="connsiteX3" fmla="*/ 200262 w 515902"/>
                    <a:gd name="connsiteY3" fmla="*/ 119656 h 458198"/>
                    <a:gd name="connsiteX4" fmla="*/ 206612 w 515902"/>
                    <a:gd name="connsiteY4" fmla="*/ 14881 h 458198"/>
                    <a:gd name="connsiteX5" fmla="*/ 317737 w 515902"/>
                    <a:gd name="connsiteY5" fmla="*/ 11706 h 458198"/>
                    <a:gd name="connsiteX6" fmla="*/ 311502 w 515902"/>
                    <a:gd name="connsiteY6" fmla="*/ 118302 h 458198"/>
                    <a:gd name="connsiteX7" fmla="*/ 451087 w 515902"/>
                    <a:gd name="connsiteY7" fmla="*/ 160931 h 458198"/>
                    <a:gd name="connsiteX8" fmla="*/ 514587 w 515902"/>
                    <a:gd name="connsiteY8" fmla="*/ 230781 h 458198"/>
                    <a:gd name="connsiteX9" fmla="*/ 511412 w 515902"/>
                    <a:gd name="connsiteY9" fmla="*/ 453031 h 458198"/>
                    <a:gd name="connsiteX10" fmla="*/ 9762 w 515902"/>
                    <a:gd name="connsiteY10" fmla="*/ 446681 h 458198"/>
                    <a:gd name="connsiteX0" fmla="*/ 9762 w 515902"/>
                    <a:gd name="connsiteY0" fmla="*/ 446681 h 458198"/>
                    <a:gd name="connsiteX1" fmla="*/ 6587 w 515902"/>
                    <a:gd name="connsiteY1" fmla="*/ 221256 h 458198"/>
                    <a:gd name="connsiteX2" fmla="*/ 76437 w 515902"/>
                    <a:gd name="connsiteY2" fmla="*/ 157756 h 458198"/>
                    <a:gd name="connsiteX3" fmla="*/ 200262 w 515902"/>
                    <a:gd name="connsiteY3" fmla="*/ 119656 h 458198"/>
                    <a:gd name="connsiteX4" fmla="*/ 206612 w 515902"/>
                    <a:gd name="connsiteY4" fmla="*/ 14881 h 458198"/>
                    <a:gd name="connsiteX5" fmla="*/ 301506 w 515902"/>
                    <a:gd name="connsiteY5" fmla="*/ 11706 h 458198"/>
                    <a:gd name="connsiteX6" fmla="*/ 311502 w 515902"/>
                    <a:gd name="connsiteY6" fmla="*/ 118302 h 458198"/>
                    <a:gd name="connsiteX7" fmla="*/ 451087 w 515902"/>
                    <a:gd name="connsiteY7" fmla="*/ 160931 h 458198"/>
                    <a:gd name="connsiteX8" fmla="*/ 514587 w 515902"/>
                    <a:gd name="connsiteY8" fmla="*/ 230781 h 458198"/>
                    <a:gd name="connsiteX9" fmla="*/ 511412 w 515902"/>
                    <a:gd name="connsiteY9" fmla="*/ 453031 h 458198"/>
                    <a:gd name="connsiteX10" fmla="*/ 9762 w 515902"/>
                    <a:gd name="connsiteY10" fmla="*/ 446681 h 458198"/>
                    <a:gd name="connsiteX0" fmla="*/ 9762 w 515902"/>
                    <a:gd name="connsiteY0" fmla="*/ 446681 h 458198"/>
                    <a:gd name="connsiteX1" fmla="*/ 6587 w 515902"/>
                    <a:gd name="connsiteY1" fmla="*/ 221256 h 458198"/>
                    <a:gd name="connsiteX2" fmla="*/ 76437 w 515902"/>
                    <a:gd name="connsiteY2" fmla="*/ 157756 h 458198"/>
                    <a:gd name="connsiteX3" fmla="*/ 200262 w 515902"/>
                    <a:gd name="connsiteY3" fmla="*/ 119656 h 458198"/>
                    <a:gd name="connsiteX4" fmla="*/ 206612 w 515902"/>
                    <a:gd name="connsiteY4" fmla="*/ 14881 h 458198"/>
                    <a:gd name="connsiteX5" fmla="*/ 301506 w 515902"/>
                    <a:gd name="connsiteY5" fmla="*/ 11706 h 458198"/>
                    <a:gd name="connsiteX6" fmla="*/ 311502 w 515902"/>
                    <a:gd name="connsiteY6" fmla="*/ 118302 h 458198"/>
                    <a:gd name="connsiteX7" fmla="*/ 442972 w 515902"/>
                    <a:gd name="connsiteY7" fmla="*/ 180912 h 458198"/>
                    <a:gd name="connsiteX8" fmla="*/ 514587 w 515902"/>
                    <a:gd name="connsiteY8" fmla="*/ 230781 h 458198"/>
                    <a:gd name="connsiteX9" fmla="*/ 511412 w 515902"/>
                    <a:gd name="connsiteY9" fmla="*/ 453031 h 458198"/>
                    <a:gd name="connsiteX10" fmla="*/ 9762 w 515902"/>
                    <a:gd name="connsiteY10" fmla="*/ 446681 h 458198"/>
                    <a:gd name="connsiteX0" fmla="*/ 9762 w 511905"/>
                    <a:gd name="connsiteY0" fmla="*/ 446681 h 458198"/>
                    <a:gd name="connsiteX1" fmla="*/ 6587 w 511905"/>
                    <a:gd name="connsiteY1" fmla="*/ 221256 h 458198"/>
                    <a:gd name="connsiteX2" fmla="*/ 76437 w 511905"/>
                    <a:gd name="connsiteY2" fmla="*/ 157756 h 458198"/>
                    <a:gd name="connsiteX3" fmla="*/ 200262 w 511905"/>
                    <a:gd name="connsiteY3" fmla="*/ 119656 h 458198"/>
                    <a:gd name="connsiteX4" fmla="*/ 206612 w 511905"/>
                    <a:gd name="connsiteY4" fmla="*/ 14881 h 458198"/>
                    <a:gd name="connsiteX5" fmla="*/ 301506 w 511905"/>
                    <a:gd name="connsiteY5" fmla="*/ 11706 h 458198"/>
                    <a:gd name="connsiteX6" fmla="*/ 311502 w 511905"/>
                    <a:gd name="connsiteY6" fmla="*/ 118302 h 458198"/>
                    <a:gd name="connsiteX7" fmla="*/ 442972 w 511905"/>
                    <a:gd name="connsiteY7" fmla="*/ 180912 h 458198"/>
                    <a:gd name="connsiteX8" fmla="*/ 498357 w 511905"/>
                    <a:gd name="connsiteY8" fmla="*/ 250762 h 458198"/>
                    <a:gd name="connsiteX9" fmla="*/ 511412 w 511905"/>
                    <a:gd name="connsiteY9" fmla="*/ 453031 h 458198"/>
                    <a:gd name="connsiteX10" fmla="*/ 9762 w 511905"/>
                    <a:gd name="connsiteY10" fmla="*/ 446681 h 458198"/>
                    <a:gd name="connsiteX0" fmla="*/ 9762 w 511905"/>
                    <a:gd name="connsiteY0" fmla="*/ 446681 h 458198"/>
                    <a:gd name="connsiteX1" fmla="*/ 6587 w 511905"/>
                    <a:gd name="connsiteY1" fmla="*/ 221256 h 458198"/>
                    <a:gd name="connsiteX2" fmla="*/ 76437 w 511905"/>
                    <a:gd name="connsiteY2" fmla="*/ 157756 h 458198"/>
                    <a:gd name="connsiteX3" fmla="*/ 200262 w 511905"/>
                    <a:gd name="connsiteY3" fmla="*/ 119656 h 458198"/>
                    <a:gd name="connsiteX4" fmla="*/ 206612 w 511905"/>
                    <a:gd name="connsiteY4" fmla="*/ 14881 h 458198"/>
                    <a:gd name="connsiteX5" fmla="*/ 301506 w 511905"/>
                    <a:gd name="connsiteY5" fmla="*/ 11706 h 458198"/>
                    <a:gd name="connsiteX6" fmla="*/ 311502 w 511905"/>
                    <a:gd name="connsiteY6" fmla="*/ 118302 h 458198"/>
                    <a:gd name="connsiteX7" fmla="*/ 437562 w 511905"/>
                    <a:gd name="connsiteY7" fmla="*/ 198396 h 458198"/>
                    <a:gd name="connsiteX8" fmla="*/ 498357 w 511905"/>
                    <a:gd name="connsiteY8" fmla="*/ 250762 h 458198"/>
                    <a:gd name="connsiteX9" fmla="*/ 511412 w 511905"/>
                    <a:gd name="connsiteY9" fmla="*/ 453031 h 458198"/>
                    <a:gd name="connsiteX10" fmla="*/ 9762 w 511905"/>
                    <a:gd name="connsiteY10" fmla="*/ 446681 h 458198"/>
                    <a:gd name="connsiteX0" fmla="*/ 9762 w 511905"/>
                    <a:gd name="connsiteY0" fmla="*/ 446681 h 458198"/>
                    <a:gd name="connsiteX1" fmla="*/ 6587 w 511905"/>
                    <a:gd name="connsiteY1" fmla="*/ 221256 h 458198"/>
                    <a:gd name="connsiteX2" fmla="*/ 76437 w 511905"/>
                    <a:gd name="connsiteY2" fmla="*/ 157756 h 458198"/>
                    <a:gd name="connsiteX3" fmla="*/ 200262 w 511905"/>
                    <a:gd name="connsiteY3" fmla="*/ 119656 h 458198"/>
                    <a:gd name="connsiteX4" fmla="*/ 206612 w 511905"/>
                    <a:gd name="connsiteY4" fmla="*/ 14881 h 458198"/>
                    <a:gd name="connsiteX5" fmla="*/ 301506 w 511905"/>
                    <a:gd name="connsiteY5" fmla="*/ 11706 h 458198"/>
                    <a:gd name="connsiteX6" fmla="*/ 311502 w 511905"/>
                    <a:gd name="connsiteY6" fmla="*/ 118302 h 458198"/>
                    <a:gd name="connsiteX7" fmla="*/ 451087 w 511905"/>
                    <a:gd name="connsiteY7" fmla="*/ 188406 h 458198"/>
                    <a:gd name="connsiteX8" fmla="*/ 498357 w 511905"/>
                    <a:gd name="connsiteY8" fmla="*/ 250762 h 458198"/>
                    <a:gd name="connsiteX9" fmla="*/ 511412 w 511905"/>
                    <a:gd name="connsiteY9" fmla="*/ 453031 h 458198"/>
                    <a:gd name="connsiteX10" fmla="*/ 9762 w 511905"/>
                    <a:gd name="connsiteY10" fmla="*/ 446681 h 458198"/>
                    <a:gd name="connsiteX0" fmla="*/ 9762 w 511905"/>
                    <a:gd name="connsiteY0" fmla="*/ 447695 h 459212"/>
                    <a:gd name="connsiteX1" fmla="*/ 6587 w 511905"/>
                    <a:gd name="connsiteY1" fmla="*/ 222270 h 459212"/>
                    <a:gd name="connsiteX2" fmla="*/ 76437 w 511905"/>
                    <a:gd name="connsiteY2" fmla="*/ 158770 h 459212"/>
                    <a:gd name="connsiteX3" fmla="*/ 200262 w 511905"/>
                    <a:gd name="connsiteY3" fmla="*/ 120670 h 459212"/>
                    <a:gd name="connsiteX4" fmla="*/ 206612 w 511905"/>
                    <a:gd name="connsiteY4" fmla="*/ 15895 h 459212"/>
                    <a:gd name="connsiteX5" fmla="*/ 301506 w 511905"/>
                    <a:gd name="connsiteY5" fmla="*/ 12720 h 459212"/>
                    <a:gd name="connsiteX6" fmla="*/ 311502 w 511905"/>
                    <a:gd name="connsiteY6" fmla="*/ 134302 h 459212"/>
                    <a:gd name="connsiteX7" fmla="*/ 451087 w 511905"/>
                    <a:gd name="connsiteY7" fmla="*/ 189420 h 459212"/>
                    <a:gd name="connsiteX8" fmla="*/ 498357 w 511905"/>
                    <a:gd name="connsiteY8" fmla="*/ 251776 h 459212"/>
                    <a:gd name="connsiteX9" fmla="*/ 511412 w 511905"/>
                    <a:gd name="connsiteY9" fmla="*/ 454045 h 459212"/>
                    <a:gd name="connsiteX10" fmla="*/ 9762 w 511905"/>
                    <a:gd name="connsiteY10" fmla="*/ 447695 h 459212"/>
                    <a:gd name="connsiteX0" fmla="*/ 4227 w 522600"/>
                    <a:gd name="connsiteY0" fmla="*/ 455188 h 463021"/>
                    <a:gd name="connsiteX1" fmla="*/ 17282 w 522600"/>
                    <a:gd name="connsiteY1" fmla="*/ 222270 h 463021"/>
                    <a:gd name="connsiteX2" fmla="*/ 87132 w 522600"/>
                    <a:gd name="connsiteY2" fmla="*/ 158770 h 463021"/>
                    <a:gd name="connsiteX3" fmla="*/ 210957 w 522600"/>
                    <a:gd name="connsiteY3" fmla="*/ 120670 h 463021"/>
                    <a:gd name="connsiteX4" fmla="*/ 217307 w 522600"/>
                    <a:gd name="connsiteY4" fmla="*/ 15895 h 463021"/>
                    <a:gd name="connsiteX5" fmla="*/ 312201 w 522600"/>
                    <a:gd name="connsiteY5" fmla="*/ 12720 h 463021"/>
                    <a:gd name="connsiteX6" fmla="*/ 322197 w 522600"/>
                    <a:gd name="connsiteY6" fmla="*/ 134302 h 463021"/>
                    <a:gd name="connsiteX7" fmla="*/ 461782 w 522600"/>
                    <a:gd name="connsiteY7" fmla="*/ 189420 h 463021"/>
                    <a:gd name="connsiteX8" fmla="*/ 509052 w 522600"/>
                    <a:gd name="connsiteY8" fmla="*/ 251776 h 463021"/>
                    <a:gd name="connsiteX9" fmla="*/ 522107 w 522600"/>
                    <a:gd name="connsiteY9" fmla="*/ 454045 h 463021"/>
                    <a:gd name="connsiteX10" fmla="*/ 4227 w 522600"/>
                    <a:gd name="connsiteY10" fmla="*/ 455188 h 463021"/>
                    <a:gd name="connsiteX0" fmla="*/ 4227 w 522600"/>
                    <a:gd name="connsiteY0" fmla="*/ 455188 h 457596"/>
                    <a:gd name="connsiteX1" fmla="*/ 17282 w 522600"/>
                    <a:gd name="connsiteY1" fmla="*/ 222270 h 457596"/>
                    <a:gd name="connsiteX2" fmla="*/ 87132 w 522600"/>
                    <a:gd name="connsiteY2" fmla="*/ 158770 h 457596"/>
                    <a:gd name="connsiteX3" fmla="*/ 210957 w 522600"/>
                    <a:gd name="connsiteY3" fmla="*/ 120670 h 457596"/>
                    <a:gd name="connsiteX4" fmla="*/ 217307 w 522600"/>
                    <a:gd name="connsiteY4" fmla="*/ 15895 h 457596"/>
                    <a:gd name="connsiteX5" fmla="*/ 312201 w 522600"/>
                    <a:gd name="connsiteY5" fmla="*/ 12720 h 457596"/>
                    <a:gd name="connsiteX6" fmla="*/ 322197 w 522600"/>
                    <a:gd name="connsiteY6" fmla="*/ 134302 h 457596"/>
                    <a:gd name="connsiteX7" fmla="*/ 461782 w 522600"/>
                    <a:gd name="connsiteY7" fmla="*/ 189420 h 457596"/>
                    <a:gd name="connsiteX8" fmla="*/ 509052 w 522600"/>
                    <a:gd name="connsiteY8" fmla="*/ 251776 h 457596"/>
                    <a:gd name="connsiteX9" fmla="*/ 522107 w 522600"/>
                    <a:gd name="connsiteY9" fmla="*/ 454045 h 457596"/>
                    <a:gd name="connsiteX10" fmla="*/ 4227 w 522600"/>
                    <a:gd name="connsiteY10" fmla="*/ 455188 h 457596"/>
                    <a:gd name="connsiteX0" fmla="*/ 12757 w 531130"/>
                    <a:gd name="connsiteY0" fmla="*/ 455188 h 457596"/>
                    <a:gd name="connsiteX1" fmla="*/ 6876 w 531130"/>
                    <a:gd name="connsiteY1" fmla="*/ 237256 h 457596"/>
                    <a:gd name="connsiteX2" fmla="*/ 95662 w 531130"/>
                    <a:gd name="connsiteY2" fmla="*/ 158770 h 457596"/>
                    <a:gd name="connsiteX3" fmla="*/ 219487 w 531130"/>
                    <a:gd name="connsiteY3" fmla="*/ 120670 h 457596"/>
                    <a:gd name="connsiteX4" fmla="*/ 225837 w 531130"/>
                    <a:gd name="connsiteY4" fmla="*/ 15895 h 457596"/>
                    <a:gd name="connsiteX5" fmla="*/ 320731 w 531130"/>
                    <a:gd name="connsiteY5" fmla="*/ 12720 h 457596"/>
                    <a:gd name="connsiteX6" fmla="*/ 330727 w 531130"/>
                    <a:gd name="connsiteY6" fmla="*/ 134302 h 457596"/>
                    <a:gd name="connsiteX7" fmla="*/ 470312 w 531130"/>
                    <a:gd name="connsiteY7" fmla="*/ 189420 h 457596"/>
                    <a:gd name="connsiteX8" fmla="*/ 517582 w 531130"/>
                    <a:gd name="connsiteY8" fmla="*/ 251776 h 457596"/>
                    <a:gd name="connsiteX9" fmla="*/ 530637 w 531130"/>
                    <a:gd name="connsiteY9" fmla="*/ 454045 h 457596"/>
                    <a:gd name="connsiteX10" fmla="*/ 12757 w 531130"/>
                    <a:gd name="connsiteY10" fmla="*/ 455188 h 457596"/>
                    <a:gd name="connsiteX0" fmla="*/ 7226 w 536419"/>
                    <a:gd name="connsiteY0" fmla="*/ 447695 h 456315"/>
                    <a:gd name="connsiteX1" fmla="*/ 12165 w 536419"/>
                    <a:gd name="connsiteY1" fmla="*/ 237256 h 456315"/>
                    <a:gd name="connsiteX2" fmla="*/ 100951 w 536419"/>
                    <a:gd name="connsiteY2" fmla="*/ 158770 h 456315"/>
                    <a:gd name="connsiteX3" fmla="*/ 224776 w 536419"/>
                    <a:gd name="connsiteY3" fmla="*/ 120670 h 456315"/>
                    <a:gd name="connsiteX4" fmla="*/ 231126 w 536419"/>
                    <a:gd name="connsiteY4" fmla="*/ 15895 h 456315"/>
                    <a:gd name="connsiteX5" fmla="*/ 326020 w 536419"/>
                    <a:gd name="connsiteY5" fmla="*/ 12720 h 456315"/>
                    <a:gd name="connsiteX6" fmla="*/ 336016 w 536419"/>
                    <a:gd name="connsiteY6" fmla="*/ 134302 h 456315"/>
                    <a:gd name="connsiteX7" fmla="*/ 475601 w 536419"/>
                    <a:gd name="connsiteY7" fmla="*/ 189420 h 456315"/>
                    <a:gd name="connsiteX8" fmla="*/ 522871 w 536419"/>
                    <a:gd name="connsiteY8" fmla="*/ 251776 h 456315"/>
                    <a:gd name="connsiteX9" fmla="*/ 535926 w 536419"/>
                    <a:gd name="connsiteY9" fmla="*/ 454045 h 456315"/>
                    <a:gd name="connsiteX10" fmla="*/ 7226 w 536419"/>
                    <a:gd name="connsiteY10" fmla="*/ 447695 h 456315"/>
                    <a:gd name="connsiteX0" fmla="*/ 7226 w 528834"/>
                    <a:gd name="connsiteY0" fmla="*/ 447695 h 456315"/>
                    <a:gd name="connsiteX1" fmla="*/ 12165 w 528834"/>
                    <a:gd name="connsiteY1" fmla="*/ 237256 h 456315"/>
                    <a:gd name="connsiteX2" fmla="*/ 100951 w 528834"/>
                    <a:gd name="connsiteY2" fmla="*/ 158770 h 456315"/>
                    <a:gd name="connsiteX3" fmla="*/ 224776 w 528834"/>
                    <a:gd name="connsiteY3" fmla="*/ 120670 h 456315"/>
                    <a:gd name="connsiteX4" fmla="*/ 231126 w 528834"/>
                    <a:gd name="connsiteY4" fmla="*/ 15895 h 456315"/>
                    <a:gd name="connsiteX5" fmla="*/ 326020 w 528834"/>
                    <a:gd name="connsiteY5" fmla="*/ 12720 h 456315"/>
                    <a:gd name="connsiteX6" fmla="*/ 336016 w 528834"/>
                    <a:gd name="connsiteY6" fmla="*/ 134302 h 456315"/>
                    <a:gd name="connsiteX7" fmla="*/ 475601 w 528834"/>
                    <a:gd name="connsiteY7" fmla="*/ 189420 h 456315"/>
                    <a:gd name="connsiteX8" fmla="*/ 522871 w 528834"/>
                    <a:gd name="connsiteY8" fmla="*/ 251776 h 456315"/>
                    <a:gd name="connsiteX9" fmla="*/ 527811 w 528834"/>
                    <a:gd name="connsiteY9" fmla="*/ 454045 h 456315"/>
                    <a:gd name="connsiteX10" fmla="*/ 7226 w 528834"/>
                    <a:gd name="connsiteY10" fmla="*/ 447695 h 456315"/>
                    <a:gd name="connsiteX0" fmla="*/ 7226 w 528834"/>
                    <a:gd name="connsiteY0" fmla="*/ 447695 h 456315"/>
                    <a:gd name="connsiteX1" fmla="*/ 12165 w 528834"/>
                    <a:gd name="connsiteY1" fmla="*/ 237256 h 456315"/>
                    <a:gd name="connsiteX2" fmla="*/ 100951 w 528834"/>
                    <a:gd name="connsiteY2" fmla="*/ 158770 h 456315"/>
                    <a:gd name="connsiteX3" fmla="*/ 224776 w 528834"/>
                    <a:gd name="connsiteY3" fmla="*/ 120670 h 456315"/>
                    <a:gd name="connsiteX4" fmla="*/ 231126 w 528834"/>
                    <a:gd name="connsiteY4" fmla="*/ 15895 h 456315"/>
                    <a:gd name="connsiteX5" fmla="*/ 326020 w 528834"/>
                    <a:gd name="connsiteY5" fmla="*/ 12720 h 456315"/>
                    <a:gd name="connsiteX6" fmla="*/ 336016 w 528834"/>
                    <a:gd name="connsiteY6" fmla="*/ 134302 h 456315"/>
                    <a:gd name="connsiteX7" fmla="*/ 462076 w 528834"/>
                    <a:gd name="connsiteY7" fmla="*/ 184425 h 456315"/>
                    <a:gd name="connsiteX8" fmla="*/ 522871 w 528834"/>
                    <a:gd name="connsiteY8" fmla="*/ 251776 h 456315"/>
                    <a:gd name="connsiteX9" fmla="*/ 527811 w 528834"/>
                    <a:gd name="connsiteY9" fmla="*/ 454045 h 456315"/>
                    <a:gd name="connsiteX10" fmla="*/ 7226 w 528834"/>
                    <a:gd name="connsiteY10" fmla="*/ 447695 h 456315"/>
                    <a:gd name="connsiteX0" fmla="*/ 8515 w 530123"/>
                    <a:gd name="connsiteY0" fmla="*/ 447695 h 456315"/>
                    <a:gd name="connsiteX1" fmla="*/ 10749 w 530123"/>
                    <a:gd name="connsiteY1" fmla="*/ 244749 h 456315"/>
                    <a:gd name="connsiteX2" fmla="*/ 102240 w 530123"/>
                    <a:gd name="connsiteY2" fmla="*/ 158770 h 456315"/>
                    <a:gd name="connsiteX3" fmla="*/ 226065 w 530123"/>
                    <a:gd name="connsiteY3" fmla="*/ 120670 h 456315"/>
                    <a:gd name="connsiteX4" fmla="*/ 232415 w 530123"/>
                    <a:gd name="connsiteY4" fmla="*/ 15895 h 456315"/>
                    <a:gd name="connsiteX5" fmla="*/ 327309 w 530123"/>
                    <a:gd name="connsiteY5" fmla="*/ 12720 h 456315"/>
                    <a:gd name="connsiteX6" fmla="*/ 337305 w 530123"/>
                    <a:gd name="connsiteY6" fmla="*/ 134302 h 456315"/>
                    <a:gd name="connsiteX7" fmla="*/ 463365 w 530123"/>
                    <a:gd name="connsiteY7" fmla="*/ 184425 h 456315"/>
                    <a:gd name="connsiteX8" fmla="*/ 524160 w 530123"/>
                    <a:gd name="connsiteY8" fmla="*/ 251776 h 456315"/>
                    <a:gd name="connsiteX9" fmla="*/ 529100 w 530123"/>
                    <a:gd name="connsiteY9" fmla="*/ 454045 h 456315"/>
                    <a:gd name="connsiteX10" fmla="*/ 8515 w 530123"/>
                    <a:gd name="connsiteY10" fmla="*/ 447695 h 456315"/>
                    <a:gd name="connsiteX0" fmla="*/ 7671 w 529279"/>
                    <a:gd name="connsiteY0" fmla="*/ 447695 h 456315"/>
                    <a:gd name="connsiteX1" fmla="*/ 9905 w 529279"/>
                    <a:gd name="connsiteY1" fmla="*/ 244749 h 456315"/>
                    <a:gd name="connsiteX2" fmla="*/ 87870 w 529279"/>
                    <a:gd name="connsiteY2" fmla="*/ 166263 h 456315"/>
                    <a:gd name="connsiteX3" fmla="*/ 225221 w 529279"/>
                    <a:gd name="connsiteY3" fmla="*/ 120670 h 456315"/>
                    <a:gd name="connsiteX4" fmla="*/ 231571 w 529279"/>
                    <a:gd name="connsiteY4" fmla="*/ 15895 h 456315"/>
                    <a:gd name="connsiteX5" fmla="*/ 326465 w 529279"/>
                    <a:gd name="connsiteY5" fmla="*/ 12720 h 456315"/>
                    <a:gd name="connsiteX6" fmla="*/ 336461 w 529279"/>
                    <a:gd name="connsiteY6" fmla="*/ 134302 h 456315"/>
                    <a:gd name="connsiteX7" fmla="*/ 462521 w 529279"/>
                    <a:gd name="connsiteY7" fmla="*/ 184425 h 456315"/>
                    <a:gd name="connsiteX8" fmla="*/ 523316 w 529279"/>
                    <a:gd name="connsiteY8" fmla="*/ 251776 h 456315"/>
                    <a:gd name="connsiteX9" fmla="*/ 528256 w 529279"/>
                    <a:gd name="connsiteY9" fmla="*/ 454045 h 456315"/>
                    <a:gd name="connsiteX10" fmla="*/ 7671 w 529279"/>
                    <a:gd name="connsiteY10" fmla="*/ 447695 h 456315"/>
                    <a:gd name="connsiteX0" fmla="*/ 7671 w 529279"/>
                    <a:gd name="connsiteY0" fmla="*/ 447558 h 456178"/>
                    <a:gd name="connsiteX1" fmla="*/ 9905 w 529279"/>
                    <a:gd name="connsiteY1" fmla="*/ 244612 h 456178"/>
                    <a:gd name="connsiteX2" fmla="*/ 87870 w 529279"/>
                    <a:gd name="connsiteY2" fmla="*/ 166126 h 456178"/>
                    <a:gd name="connsiteX3" fmla="*/ 206285 w 529279"/>
                    <a:gd name="connsiteY3" fmla="*/ 118035 h 456178"/>
                    <a:gd name="connsiteX4" fmla="*/ 231571 w 529279"/>
                    <a:gd name="connsiteY4" fmla="*/ 15758 h 456178"/>
                    <a:gd name="connsiteX5" fmla="*/ 326465 w 529279"/>
                    <a:gd name="connsiteY5" fmla="*/ 12583 h 456178"/>
                    <a:gd name="connsiteX6" fmla="*/ 336461 w 529279"/>
                    <a:gd name="connsiteY6" fmla="*/ 134165 h 456178"/>
                    <a:gd name="connsiteX7" fmla="*/ 462521 w 529279"/>
                    <a:gd name="connsiteY7" fmla="*/ 184288 h 456178"/>
                    <a:gd name="connsiteX8" fmla="*/ 523316 w 529279"/>
                    <a:gd name="connsiteY8" fmla="*/ 251639 h 456178"/>
                    <a:gd name="connsiteX9" fmla="*/ 528256 w 529279"/>
                    <a:gd name="connsiteY9" fmla="*/ 453908 h 456178"/>
                    <a:gd name="connsiteX10" fmla="*/ 7671 w 529279"/>
                    <a:gd name="connsiteY10" fmla="*/ 447558 h 456178"/>
                    <a:gd name="connsiteX0" fmla="*/ 14544 w 536152"/>
                    <a:gd name="connsiteY0" fmla="*/ 447558 h 456178"/>
                    <a:gd name="connsiteX1" fmla="*/ 5958 w 536152"/>
                    <a:gd name="connsiteY1" fmla="*/ 247109 h 456178"/>
                    <a:gd name="connsiteX2" fmla="*/ 94743 w 536152"/>
                    <a:gd name="connsiteY2" fmla="*/ 166126 h 456178"/>
                    <a:gd name="connsiteX3" fmla="*/ 213158 w 536152"/>
                    <a:gd name="connsiteY3" fmla="*/ 118035 h 456178"/>
                    <a:gd name="connsiteX4" fmla="*/ 238444 w 536152"/>
                    <a:gd name="connsiteY4" fmla="*/ 15758 h 456178"/>
                    <a:gd name="connsiteX5" fmla="*/ 333338 w 536152"/>
                    <a:gd name="connsiteY5" fmla="*/ 12583 h 456178"/>
                    <a:gd name="connsiteX6" fmla="*/ 343334 w 536152"/>
                    <a:gd name="connsiteY6" fmla="*/ 134165 h 456178"/>
                    <a:gd name="connsiteX7" fmla="*/ 469394 w 536152"/>
                    <a:gd name="connsiteY7" fmla="*/ 184288 h 456178"/>
                    <a:gd name="connsiteX8" fmla="*/ 530189 w 536152"/>
                    <a:gd name="connsiteY8" fmla="*/ 251639 h 456178"/>
                    <a:gd name="connsiteX9" fmla="*/ 535129 w 536152"/>
                    <a:gd name="connsiteY9" fmla="*/ 453908 h 456178"/>
                    <a:gd name="connsiteX10" fmla="*/ 14544 w 536152"/>
                    <a:gd name="connsiteY10" fmla="*/ 447558 h 456178"/>
                    <a:gd name="connsiteX0" fmla="*/ 7226 w 542359"/>
                    <a:gd name="connsiteY0" fmla="*/ 450055 h 456488"/>
                    <a:gd name="connsiteX1" fmla="*/ 12165 w 542359"/>
                    <a:gd name="connsiteY1" fmla="*/ 247109 h 456488"/>
                    <a:gd name="connsiteX2" fmla="*/ 100950 w 542359"/>
                    <a:gd name="connsiteY2" fmla="*/ 166126 h 456488"/>
                    <a:gd name="connsiteX3" fmla="*/ 219365 w 542359"/>
                    <a:gd name="connsiteY3" fmla="*/ 118035 h 456488"/>
                    <a:gd name="connsiteX4" fmla="*/ 244651 w 542359"/>
                    <a:gd name="connsiteY4" fmla="*/ 15758 h 456488"/>
                    <a:gd name="connsiteX5" fmla="*/ 339545 w 542359"/>
                    <a:gd name="connsiteY5" fmla="*/ 12583 h 456488"/>
                    <a:gd name="connsiteX6" fmla="*/ 349541 w 542359"/>
                    <a:gd name="connsiteY6" fmla="*/ 134165 h 456488"/>
                    <a:gd name="connsiteX7" fmla="*/ 475601 w 542359"/>
                    <a:gd name="connsiteY7" fmla="*/ 184288 h 456488"/>
                    <a:gd name="connsiteX8" fmla="*/ 536396 w 542359"/>
                    <a:gd name="connsiteY8" fmla="*/ 251639 h 456488"/>
                    <a:gd name="connsiteX9" fmla="*/ 541336 w 542359"/>
                    <a:gd name="connsiteY9" fmla="*/ 453908 h 456488"/>
                    <a:gd name="connsiteX10" fmla="*/ 7226 w 542359"/>
                    <a:gd name="connsiteY10" fmla="*/ 450055 h 456488"/>
                    <a:gd name="connsiteX0" fmla="*/ 7226 w 542359"/>
                    <a:gd name="connsiteY0" fmla="*/ 450055 h 456488"/>
                    <a:gd name="connsiteX1" fmla="*/ 12165 w 542359"/>
                    <a:gd name="connsiteY1" fmla="*/ 247109 h 456488"/>
                    <a:gd name="connsiteX2" fmla="*/ 100950 w 542359"/>
                    <a:gd name="connsiteY2" fmla="*/ 166126 h 456488"/>
                    <a:gd name="connsiteX3" fmla="*/ 219365 w 542359"/>
                    <a:gd name="connsiteY3" fmla="*/ 118035 h 456488"/>
                    <a:gd name="connsiteX4" fmla="*/ 244651 w 542359"/>
                    <a:gd name="connsiteY4" fmla="*/ 15758 h 456488"/>
                    <a:gd name="connsiteX5" fmla="*/ 331430 w 542359"/>
                    <a:gd name="connsiteY5" fmla="*/ 12583 h 456488"/>
                    <a:gd name="connsiteX6" fmla="*/ 349541 w 542359"/>
                    <a:gd name="connsiteY6" fmla="*/ 134165 h 456488"/>
                    <a:gd name="connsiteX7" fmla="*/ 475601 w 542359"/>
                    <a:gd name="connsiteY7" fmla="*/ 184288 h 456488"/>
                    <a:gd name="connsiteX8" fmla="*/ 536396 w 542359"/>
                    <a:gd name="connsiteY8" fmla="*/ 251639 h 456488"/>
                    <a:gd name="connsiteX9" fmla="*/ 541336 w 542359"/>
                    <a:gd name="connsiteY9" fmla="*/ 453908 h 456488"/>
                    <a:gd name="connsiteX10" fmla="*/ 7226 w 542359"/>
                    <a:gd name="connsiteY10" fmla="*/ 450055 h 456488"/>
                    <a:gd name="connsiteX0" fmla="*/ 7226 w 542359"/>
                    <a:gd name="connsiteY0" fmla="*/ 450055 h 456488"/>
                    <a:gd name="connsiteX1" fmla="*/ 12165 w 542359"/>
                    <a:gd name="connsiteY1" fmla="*/ 247109 h 456488"/>
                    <a:gd name="connsiteX2" fmla="*/ 100950 w 542359"/>
                    <a:gd name="connsiteY2" fmla="*/ 166126 h 456488"/>
                    <a:gd name="connsiteX3" fmla="*/ 219365 w 542359"/>
                    <a:gd name="connsiteY3" fmla="*/ 118035 h 456488"/>
                    <a:gd name="connsiteX4" fmla="*/ 244651 w 542359"/>
                    <a:gd name="connsiteY4" fmla="*/ 15758 h 456488"/>
                    <a:gd name="connsiteX5" fmla="*/ 331430 w 542359"/>
                    <a:gd name="connsiteY5" fmla="*/ 12583 h 456488"/>
                    <a:gd name="connsiteX6" fmla="*/ 349541 w 542359"/>
                    <a:gd name="connsiteY6" fmla="*/ 134165 h 456488"/>
                    <a:gd name="connsiteX7" fmla="*/ 483716 w 542359"/>
                    <a:gd name="connsiteY7" fmla="*/ 179293 h 456488"/>
                    <a:gd name="connsiteX8" fmla="*/ 536396 w 542359"/>
                    <a:gd name="connsiteY8" fmla="*/ 251639 h 456488"/>
                    <a:gd name="connsiteX9" fmla="*/ 541336 w 542359"/>
                    <a:gd name="connsiteY9" fmla="*/ 453908 h 456488"/>
                    <a:gd name="connsiteX10" fmla="*/ 7226 w 542359"/>
                    <a:gd name="connsiteY10" fmla="*/ 450055 h 456488"/>
                    <a:gd name="connsiteX0" fmla="*/ 6630 w 541763"/>
                    <a:gd name="connsiteY0" fmla="*/ 450055 h 456488"/>
                    <a:gd name="connsiteX1" fmla="*/ 11569 w 541763"/>
                    <a:gd name="connsiteY1" fmla="*/ 247109 h 456488"/>
                    <a:gd name="connsiteX2" fmla="*/ 89534 w 541763"/>
                    <a:gd name="connsiteY2" fmla="*/ 166126 h 456488"/>
                    <a:gd name="connsiteX3" fmla="*/ 218769 w 541763"/>
                    <a:gd name="connsiteY3" fmla="*/ 118035 h 456488"/>
                    <a:gd name="connsiteX4" fmla="*/ 244055 w 541763"/>
                    <a:gd name="connsiteY4" fmla="*/ 15758 h 456488"/>
                    <a:gd name="connsiteX5" fmla="*/ 330834 w 541763"/>
                    <a:gd name="connsiteY5" fmla="*/ 12583 h 456488"/>
                    <a:gd name="connsiteX6" fmla="*/ 348945 w 541763"/>
                    <a:gd name="connsiteY6" fmla="*/ 134165 h 456488"/>
                    <a:gd name="connsiteX7" fmla="*/ 483120 w 541763"/>
                    <a:gd name="connsiteY7" fmla="*/ 179293 h 456488"/>
                    <a:gd name="connsiteX8" fmla="*/ 535800 w 541763"/>
                    <a:gd name="connsiteY8" fmla="*/ 251639 h 456488"/>
                    <a:gd name="connsiteX9" fmla="*/ 540740 w 541763"/>
                    <a:gd name="connsiteY9" fmla="*/ 453908 h 456488"/>
                    <a:gd name="connsiteX10" fmla="*/ 6630 w 541763"/>
                    <a:gd name="connsiteY10" fmla="*/ 450055 h 456488"/>
                    <a:gd name="connsiteX0" fmla="*/ 4856 w 539989"/>
                    <a:gd name="connsiteY0" fmla="*/ 450055 h 456488"/>
                    <a:gd name="connsiteX1" fmla="*/ 15205 w 539989"/>
                    <a:gd name="connsiteY1" fmla="*/ 227128 h 456488"/>
                    <a:gd name="connsiteX2" fmla="*/ 87760 w 539989"/>
                    <a:gd name="connsiteY2" fmla="*/ 166126 h 456488"/>
                    <a:gd name="connsiteX3" fmla="*/ 216995 w 539989"/>
                    <a:gd name="connsiteY3" fmla="*/ 118035 h 456488"/>
                    <a:gd name="connsiteX4" fmla="*/ 242281 w 539989"/>
                    <a:gd name="connsiteY4" fmla="*/ 15758 h 456488"/>
                    <a:gd name="connsiteX5" fmla="*/ 329060 w 539989"/>
                    <a:gd name="connsiteY5" fmla="*/ 12583 h 456488"/>
                    <a:gd name="connsiteX6" fmla="*/ 347171 w 539989"/>
                    <a:gd name="connsiteY6" fmla="*/ 134165 h 456488"/>
                    <a:gd name="connsiteX7" fmla="*/ 481346 w 539989"/>
                    <a:gd name="connsiteY7" fmla="*/ 179293 h 456488"/>
                    <a:gd name="connsiteX8" fmla="*/ 534026 w 539989"/>
                    <a:gd name="connsiteY8" fmla="*/ 251639 h 456488"/>
                    <a:gd name="connsiteX9" fmla="*/ 538966 w 539989"/>
                    <a:gd name="connsiteY9" fmla="*/ 453908 h 456488"/>
                    <a:gd name="connsiteX10" fmla="*/ 4856 w 539989"/>
                    <a:gd name="connsiteY10" fmla="*/ 450055 h 4564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39989" h="456488">
                      <a:moveTo>
                        <a:pt x="4856" y="450055"/>
                      </a:moveTo>
                      <a:cubicBezTo>
                        <a:pt x="-5198" y="385497"/>
                        <a:pt x="1388" y="274449"/>
                        <a:pt x="15205" y="227128"/>
                      </a:cubicBezTo>
                      <a:cubicBezTo>
                        <a:pt x="29022" y="179807"/>
                        <a:pt x="54128" y="184308"/>
                        <a:pt x="87760" y="166126"/>
                      </a:cubicBezTo>
                      <a:cubicBezTo>
                        <a:pt x="121392" y="147944"/>
                        <a:pt x="191242" y="143096"/>
                        <a:pt x="216995" y="118035"/>
                      </a:cubicBezTo>
                      <a:cubicBezTo>
                        <a:pt x="242748" y="92974"/>
                        <a:pt x="223604" y="33333"/>
                        <a:pt x="242281" y="15758"/>
                      </a:cubicBezTo>
                      <a:cubicBezTo>
                        <a:pt x="260958" y="-1817"/>
                        <a:pt x="311578" y="-7151"/>
                        <a:pt x="329060" y="12583"/>
                      </a:cubicBezTo>
                      <a:cubicBezTo>
                        <a:pt x="346542" y="32317"/>
                        <a:pt x="321790" y="106380"/>
                        <a:pt x="347171" y="134165"/>
                      </a:cubicBezTo>
                      <a:cubicBezTo>
                        <a:pt x="372552" y="161950"/>
                        <a:pt x="450204" y="159714"/>
                        <a:pt x="481346" y="179293"/>
                      </a:cubicBezTo>
                      <a:cubicBezTo>
                        <a:pt x="512489" y="198872"/>
                        <a:pt x="523972" y="202956"/>
                        <a:pt x="534026" y="251639"/>
                      </a:cubicBezTo>
                      <a:cubicBezTo>
                        <a:pt x="537201" y="301381"/>
                        <a:pt x="542141" y="328496"/>
                        <a:pt x="538966" y="453908"/>
                      </a:cubicBezTo>
                      <a:cubicBezTo>
                        <a:pt x="307191" y="461845"/>
                        <a:pt x="250800" y="448827"/>
                        <a:pt x="4856" y="450055"/>
                      </a:cubicBezTo>
                      <a:close/>
                    </a:path>
                  </a:pathLst>
                </a:custGeom>
                <a:solidFill>
                  <a:schemeClr val="bg1"/>
                </a:solidFill>
                <a:ln w="57150">
                  <a:solidFill>
                    <a:schemeClr val="tx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130" name="Oval 129">
                  <a:extLst>
                    <a:ext uri="{FF2B5EF4-FFF2-40B4-BE49-F238E27FC236}">
                      <a16:creationId xmlns:a16="http://schemas.microsoft.com/office/drawing/2014/main" id="{1C5C6FA5-76EF-B349-ABBC-2A380B1F9AE4}"/>
                    </a:ext>
                  </a:extLst>
                </p:cNvPr>
                <p:cNvSpPr/>
                <p:nvPr/>
              </p:nvSpPr>
              <p:spPr>
                <a:xfrm>
                  <a:off x="1964431" y="3500843"/>
                  <a:ext cx="259337" cy="299858"/>
                </a:xfrm>
                <a:prstGeom prst="ellipse">
                  <a:avLst/>
                </a:prstGeom>
                <a:solidFill>
                  <a:schemeClr val="bg1"/>
                </a:solidFill>
                <a:ln w="57150">
                  <a:solidFill>
                    <a:schemeClr val="tx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grpSp>
        </p:grpSp>
        <p:grpSp>
          <p:nvGrpSpPr>
            <p:cNvPr id="121" name="Group 120">
              <a:extLst>
                <a:ext uri="{FF2B5EF4-FFF2-40B4-BE49-F238E27FC236}">
                  <a16:creationId xmlns:a16="http://schemas.microsoft.com/office/drawing/2014/main" id="{CB1ABB38-8A02-1C47-A2AD-C4C6E161B522}"/>
                </a:ext>
              </a:extLst>
            </p:cNvPr>
            <p:cNvGrpSpPr/>
            <p:nvPr/>
          </p:nvGrpSpPr>
          <p:grpSpPr>
            <a:xfrm>
              <a:off x="2495712" y="4589934"/>
              <a:ext cx="1256698" cy="510604"/>
              <a:chOff x="2495712" y="4589934"/>
              <a:chExt cx="1256698" cy="510604"/>
            </a:xfrm>
            <a:solidFill>
              <a:schemeClr val="tx1">
                <a:lumMod val="50000"/>
              </a:schemeClr>
            </a:solidFill>
          </p:grpSpPr>
          <p:sp>
            <p:nvSpPr>
              <p:cNvPr id="123" name="Rounded Rectangle 122">
                <a:extLst>
                  <a:ext uri="{FF2B5EF4-FFF2-40B4-BE49-F238E27FC236}">
                    <a16:creationId xmlns:a16="http://schemas.microsoft.com/office/drawing/2014/main" id="{8C837A67-C697-E24F-AFC8-1D4BE26FED3C}"/>
                  </a:ext>
                </a:extLst>
              </p:cNvPr>
              <p:cNvSpPr/>
              <p:nvPr/>
            </p:nvSpPr>
            <p:spPr>
              <a:xfrm>
                <a:off x="2495712" y="4589934"/>
                <a:ext cx="1256697" cy="251941"/>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124" name="Rectangle 123">
                <a:extLst>
                  <a:ext uri="{FF2B5EF4-FFF2-40B4-BE49-F238E27FC236}">
                    <a16:creationId xmlns:a16="http://schemas.microsoft.com/office/drawing/2014/main" id="{636766DC-EA9B-A648-A36C-33D71E0C9454}"/>
                  </a:ext>
                </a:extLst>
              </p:cNvPr>
              <p:cNvSpPr/>
              <p:nvPr/>
            </p:nvSpPr>
            <p:spPr>
              <a:xfrm>
                <a:off x="2498725" y="4797790"/>
                <a:ext cx="1253685" cy="13315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125" name="Rectangle 124">
                <a:extLst>
                  <a:ext uri="{FF2B5EF4-FFF2-40B4-BE49-F238E27FC236}">
                    <a16:creationId xmlns:a16="http://schemas.microsoft.com/office/drawing/2014/main" id="{3C24311C-1406-1146-8879-3752A85BED46}"/>
                  </a:ext>
                </a:extLst>
              </p:cNvPr>
              <p:cNvSpPr/>
              <p:nvPr/>
            </p:nvSpPr>
            <p:spPr>
              <a:xfrm>
                <a:off x="2546350" y="4923041"/>
                <a:ext cx="109152" cy="17749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126" name="Rectangle 125">
                <a:extLst>
                  <a:ext uri="{FF2B5EF4-FFF2-40B4-BE49-F238E27FC236}">
                    <a16:creationId xmlns:a16="http://schemas.microsoft.com/office/drawing/2014/main" id="{BC67C682-D989-6240-9CC9-F3EC2BD36C04}"/>
                  </a:ext>
                </a:extLst>
              </p:cNvPr>
              <p:cNvSpPr/>
              <p:nvPr/>
            </p:nvSpPr>
            <p:spPr>
              <a:xfrm>
                <a:off x="3610945" y="4923041"/>
                <a:ext cx="109152" cy="17749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grpSp>
        <p:sp>
          <p:nvSpPr>
            <p:cNvPr id="122" name="Trapezoid 121">
              <a:extLst>
                <a:ext uri="{FF2B5EF4-FFF2-40B4-BE49-F238E27FC236}">
                  <a16:creationId xmlns:a16="http://schemas.microsoft.com/office/drawing/2014/main" id="{7B2D08BB-5AC8-D940-A21F-77EA81F3D727}"/>
                </a:ext>
              </a:extLst>
            </p:cNvPr>
            <p:cNvSpPr/>
            <p:nvPr/>
          </p:nvSpPr>
          <p:spPr>
            <a:xfrm>
              <a:off x="2655502" y="4181475"/>
              <a:ext cx="958850" cy="363303"/>
            </a:xfrm>
            <a:prstGeom prst="trapezoid">
              <a:avLst/>
            </a:prstGeom>
            <a:solidFill>
              <a:schemeClr val="tx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grpSp>
      <p:grpSp>
        <p:nvGrpSpPr>
          <p:cNvPr id="133" name="Group 132">
            <a:extLst>
              <a:ext uri="{FF2B5EF4-FFF2-40B4-BE49-F238E27FC236}">
                <a16:creationId xmlns:a16="http://schemas.microsoft.com/office/drawing/2014/main" id="{720DECFA-20A2-F140-B45A-F5920D31ED45}"/>
              </a:ext>
            </a:extLst>
          </p:cNvPr>
          <p:cNvGrpSpPr/>
          <p:nvPr/>
        </p:nvGrpSpPr>
        <p:grpSpPr>
          <a:xfrm>
            <a:off x="9381643" y="4051808"/>
            <a:ext cx="1025213" cy="1261037"/>
            <a:chOff x="2441771" y="3385414"/>
            <a:chExt cx="1325481" cy="1781019"/>
          </a:xfrm>
        </p:grpSpPr>
        <p:pic>
          <p:nvPicPr>
            <p:cNvPr id="134" name="Picture 133">
              <a:extLst>
                <a:ext uri="{FF2B5EF4-FFF2-40B4-BE49-F238E27FC236}">
                  <a16:creationId xmlns:a16="http://schemas.microsoft.com/office/drawing/2014/main" id="{827B0399-5096-E041-B4C0-AB4EAD7B91A3}"/>
                </a:ext>
              </a:extLst>
            </p:cNvPr>
            <p:cNvPicPr>
              <a:picLocks noChangeAspect="1"/>
            </p:cNvPicPr>
            <p:nvPr/>
          </p:nvPicPr>
          <p:blipFill rotWithShape="1">
            <a:blip r:embed="rId2"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a:xfrm>
              <a:off x="2441771" y="3385414"/>
              <a:ext cx="1325481" cy="1781019"/>
            </a:xfrm>
            <a:prstGeom prst="rect">
              <a:avLst/>
            </a:prstGeom>
          </p:spPr>
        </p:pic>
        <p:sp>
          <p:nvSpPr>
            <p:cNvPr id="135" name="Rounded Rectangle 134">
              <a:extLst>
                <a:ext uri="{FF2B5EF4-FFF2-40B4-BE49-F238E27FC236}">
                  <a16:creationId xmlns:a16="http://schemas.microsoft.com/office/drawing/2014/main" id="{189E797A-1A92-DF47-9817-8873131D794A}"/>
                </a:ext>
              </a:extLst>
            </p:cNvPr>
            <p:cNvSpPr/>
            <p:nvPr/>
          </p:nvSpPr>
          <p:spPr>
            <a:xfrm>
              <a:off x="2655502" y="3670300"/>
              <a:ext cx="958850" cy="436656"/>
            </a:xfrm>
            <a:prstGeom prst="roundRect">
              <a:avLst/>
            </a:prstGeom>
            <a:solidFill>
              <a:schemeClr val="tx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grpSp>
          <p:nvGrpSpPr>
            <p:cNvPr id="136" name="Group 135">
              <a:extLst>
                <a:ext uri="{FF2B5EF4-FFF2-40B4-BE49-F238E27FC236}">
                  <a16:creationId xmlns:a16="http://schemas.microsoft.com/office/drawing/2014/main" id="{0C1E29B0-A49A-A941-9179-AD24038298DB}"/>
                </a:ext>
              </a:extLst>
            </p:cNvPr>
            <p:cNvGrpSpPr/>
            <p:nvPr/>
          </p:nvGrpSpPr>
          <p:grpSpPr>
            <a:xfrm>
              <a:off x="2776471" y="3456093"/>
              <a:ext cx="748710" cy="1056883"/>
              <a:chOff x="1496718" y="3334932"/>
              <a:chExt cx="748710" cy="1056883"/>
            </a:xfrm>
          </p:grpSpPr>
          <p:grpSp>
            <p:nvGrpSpPr>
              <p:cNvPr id="143" name="Group 142">
                <a:extLst>
                  <a:ext uri="{FF2B5EF4-FFF2-40B4-BE49-F238E27FC236}">
                    <a16:creationId xmlns:a16="http://schemas.microsoft.com/office/drawing/2014/main" id="{372DBF40-FE4A-6943-BCF0-FA7EDDE4CF3B}"/>
                  </a:ext>
                </a:extLst>
              </p:cNvPr>
              <p:cNvGrpSpPr/>
              <p:nvPr/>
            </p:nvGrpSpPr>
            <p:grpSpPr>
              <a:xfrm>
                <a:off x="1496718" y="3334932"/>
                <a:ext cx="748710" cy="1056883"/>
                <a:chOff x="1843570" y="3508300"/>
                <a:chExt cx="514980" cy="727982"/>
              </a:xfrm>
              <a:solidFill>
                <a:schemeClr val="bg1"/>
              </a:solidFill>
            </p:grpSpPr>
            <p:sp>
              <p:nvSpPr>
                <p:cNvPr id="147" name="Freeform 146">
                  <a:extLst>
                    <a:ext uri="{FF2B5EF4-FFF2-40B4-BE49-F238E27FC236}">
                      <a16:creationId xmlns:a16="http://schemas.microsoft.com/office/drawing/2014/main" id="{1F428EDE-B280-FE47-A5D6-E39F88F5345A}"/>
                    </a:ext>
                  </a:extLst>
                </p:cNvPr>
                <p:cNvSpPr/>
                <p:nvPr/>
              </p:nvSpPr>
              <p:spPr>
                <a:xfrm>
                  <a:off x="1843570" y="3787509"/>
                  <a:ext cx="514980" cy="448773"/>
                </a:xfrm>
                <a:custGeom>
                  <a:avLst/>
                  <a:gdLst>
                    <a:gd name="connsiteX0" fmla="*/ 36807 w 576731"/>
                    <a:gd name="connsiteY0" fmla="*/ 449906 h 505924"/>
                    <a:gd name="connsiteX1" fmla="*/ 39982 w 576731"/>
                    <a:gd name="connsiteY1" fmla="*/ 214956 h 505924"/>
                    <a:gd name="connsiteX2" fmla="*/ 55857 w 576731"/>
                    <a:gd name="connsiteY2" fmla="*/ 176856 h 505924"/>
                    <a:gd name="connsiteX3" fmla="*/ 103482 w 576731"/>
                    <a:gd name="connsiteY3" fmla="*/ 160981 h 505924"/>
                    <a:gd name="connsiteX4" fmla="*/ 205082 w 576731"/>
                    <a:gd name="connsiteY4" fmla="*/ 154631 h 505924"/>
                    <a:gd name="connsiteX5" fmla="*/ 230482 w 576731"/>
                    <a:gd name="connsiteY5" fmla="*/ 151456 h 505924"/>
                    <a:gd name="connsiteX6" fmla="*/ 233657 w 576731"/>
                    <a:gd name="connsiteY6" fmla="*/ 18106 h 505924"/>
                    <a:gd name="connsiteX7" fmla="*/ 344782 w 576731"/>
                    <a:gd name="connsiteY7" fmla="*/ 14931 h 505924"/>
                    <a:gd name="connsiteX8" fmla="*/ 344782 w 576731"/>
                    <a:gd name="connsiteY8" fmla="*/ 145106 h 505924"/>
                    <a:gd name="connsiteX9" fmla="*/ 386057 w 576731"/>
                    <a:gd name="connsiteY9" fmla="*/ 151456 h 505924"/>
                    <a:gd name="connsiteX10" fmla="*/ 478132 w 576731"/>
                    <a:gd name="connsiteY10" fmla="*/ 164156 h 505924"/>
                    <a:gd name="connsiteX11" fmla="*/ 519407 w 576731"/>
                    <a:gd name="connsiteY11" fmla="*/ 189556 h 505924"/>
                    <a:gd name="connsiteX12" fmla="*/ 541632 w 576731"/>
                    <a:gd name="connsiteY12" fmla="*/ 234006 h 505924"/>
                    <a:gd name="connsiteX13" fmla="*/ 538457 w 576731"/>
                    <a:gd name="connsiteY13" fmla="*/ 488006 h 505924"/>
                    <a:gd name="connsiteX14" fmla="*/ 36807 w 576731"/>
                    <a:gd name="connsiteY14" fmla="*/ 449906 h 505924"/>
                    <a:gd name="connsiteX0" fmla="*/ 5769 w 545693"/>
                    <a:gd name="connsiteY0" fmla="*/ 449906 h 505924"/>
                    <a:gd name="connsiteX1" fmla="*/ 8944 w 545693"/>
                    <a:gd name="connsiteY1" fmla="*/ 214956 h 505924"/>
                    <a:gd name="connsiteX2" fmla="*/ 24819 w 545693"/>
                    <a:gd name="connsiteY2" fmla="*/ 176856 h 505924"/>
                    <a:gd name="connsiteX3" fmla="*/ 72444 w 545693"/>
                    <a:gd name="connsiteY3" fmla="*/ 160981 h 505924"/>
                    <a:gd name="connsiteX4" fmla="*/ 174044 w 545693"/>
                    <a:gd name="connsiteY4" fmla="*/ 154631 h 505924"/>
                    <a:gd name="connsiteX5" fmla="*/ 199444 w 545693"/>
                    <a:gd name="connsiteY5" fmla="*/ 151456 h 505924"/>
                    <a:gd name="connsiteX6" fmla="*/ 202619 w 545693"/>
                    <a:gd name="connsiteY6" fmla="*/ 18106 h 505924"/>
                    <a:gd name="connsiteX7" fmla="*/ 313744 w 545693"/>
                    <a:gd name="connsiteY7" fmla="*/ 14931 h 505924"/>
                    <a:gd name="connsiteX8" fmla="*/ 313744 w 545693"/>
                    <a:gd name="connsiteY8" fmla="*/ 145106 h 505924"/>
                    <a:gd name="connsiteX9" fmla="*/ 355019 w 545693"/>
                    <a:gd name="connsiteY9" fmla="*/ 151456 h 505924"/>
                    <a:gd name="connsiteX10" fmla="*/ 447094 w 545693"/>
                    <a:gd name="connsiteY10" fmla="*/ 164156 h 505924"/>
                    <a:gd name="connsiteX11" fmla="*/ 488369 w 545693"/>
                    <a:gd name="connsiteY11" fmla="*/ 189556 h 505924"/>
                    <a:gd name="connsiteX12" fmla="*/ 510594 w 545693"/>
                    <a:gd name="connsiteY12" fmla="*/ 234006 h 505924"/>
                    <a:gd name="connsiteX13" fmla="*/ 507419 w 545693"/>
                    <a:gd name="connsiteY13" fmla="*/ 488006 h 505924"/>
                    <a:gd name="connsiteX14" fmla="*/ 5769 w 545693"/>
                    <a:gd name="connsiteY14" fmla="*/ 449906 h 505924"/>
                    <a:gd name="connsiteX0" fmla="*/ 21286 w 561210"/>
                    <a:gd name="connsiteY0" fmla="*/ 449906 h 508025"/>
                    <a:gd name="connsiteX1" fmla="*/ 24461 w 561210"/>
                    <a:gd name="connsiteY1" fmla="*/ 214956 h 508025"/>
                    <a:gd name="connsiteX2" fmla="*/ 40336 w 561210"/>
                    <a:gd name="connsiteY2" fmla="*/ 176856 h 508025"/>
                    <a:gd name="connsiteX3" fmla="*/ 87961 w 561210"/>
                    <a:gd name="connsiteY3" fmla="*/ 160981 h 508025"/>
                    <a:gd name="connsiteX4" fmla="*/ 189561 w 561210"/>
                    <a:gd name="connsiteY4" fmla="*/ 154631 h 508025"/>
                    <a:gd name="connsiteX5" fmla="*/ 214961 w 561210"/>
                    <a:gd name="connsiteY5" fmla="*/ 151456 h 508025"/>
                    <a:gd name="connsiteX6" fmla="*/ 218136 w 561210"/>
                    <a:gd name="connsiteY6" fmla="*/ 18106 h 508025"/>
                    <a:gd name="connsiteX7" fmla="*/ 329261 w 561210"/>
                    <a:gd name="connsiteY7" fmla="*/ 14931 h 508025"/>
                    <a:gd name="connsiteX8" fmla="*/ 329261 w 561210"/>
                    <a:gd name="connsiteY8" fmla="*/ 145106 h 508025"/>
                    <a:gd name="connsiteX9" fmla="*/ 370536 w 561210"/>
                    <a:gd name="connsiteY9" fmla="*/ 151456 h 508025"/>
                    <a:gd name="connsiteX10" fmla="*/ 462611 w 561210"/>
                    <a:gd name="connsiteY10" fmla="*/ 164156 h 508025"/>
                    <a:gd name="connsiteX11" fmla="*/ 503886 w 561210"/>
                    <a:gd name="connsiteY11" fmla="*/ 189556 h 508025"/>
                    <a:gd name="connsiteX12" fmla="*/ 526111 w 561210"/>
                    <a:gd name="connsiteY12" fmla="*/ 234006 h 508025"/>
                    <a:gd name="connsiteX13" fmla="*/ 522936 w 561210"/>
                    <a:gd name="connsiteY13" fmla="*/ 488006 h 508025"/>
                    <a:gd name="connsiteX14" fmla="*/ 21286 w 561210"/>
                    <a:gd name="connsiteY14" fmla="*/ 449906 h 508025"/>
                    <a:gd name="connsiteX0" fmla="*/ 21286 w 561210"/>
                    <a:gd name="connsiteY0" fmla="*/ 449906 h 508025"/>
                    <a:gd name="connsiteX1" fmla="*/ 24461 w 561210"/>
                    <a:gd name="connsiteY1" fmla="*/ 214956 h 508025"/>
                    <a:gd name="connsiteX2" fmla="*/ 40336 w 561210"/>
                    <a:gd name="connsiteY2" fmla="*/ 176856 h 508025"/>
                    <a:gd name="connsiteX3" fmla="*/ 87961 w 561210"/>
                    <a:gd name="connsiteY3" fmla="*/ 160981 h 508025"/>
                    <a:gd name="connsiteX4" fmla="*/ 189561 w 561210"/>
                    <a:gd name="connsiteY4" fmla="*/ 154631 h 508025"/>
                    <a:gd name="connsiteX5" fmla="*/ 214961 w 561210"/>
                    <a:gd name="connsiteY5" fmla="*/ 151456 h 508025"/>
                    <a:gd name="connsiteX6" fmla="*/ 218136 w 561210"/>
                    <a:gd name="connsiteY6" fmla="*/ 18106 h 508025"/>
                    <a:gd name="connsiteX7" fmla="*/ 329261 w 561210"/>
                    <a:gd name="connsiteY7" fmla="*/ 14931 h 508025"/>
                    <a:gd name="connsiteX8" fmla="*/ 329261 w 561210"/>
                    <a:gd name="connsiteY8" fmla="*/ 145106 h 508025"/>
                    <a:gd name="connsiteX9" fmla="*/ 370536 w 561210"/>
                    <a:gd name="connsiteY9" fmla="*/ 151456 h 508025"/>
                    <a:gd name="connsiteX10" fmla="*/ 462611 w 561210"/>
                    <a:gd name="connsiteY10" fmla="*/ 164156 h 508025"/>
                    <a:gd name="connsiteX11" fmla="*/ 503886 w 561210"/>
                    <a:gd name="connsiteY11" fmla="*/ 189556 h 508025"/>
                    <a:gd name="connsiteX12" fmla="*/ 526111 w 561210"/>
                    <a:gd name="connsiteY12" fmla="*/ 234006 h 508025"/>
                    <a:gd name="connsiteX13" fmla="*/ 522936 w 561210"/>
                    <a:gd name="connsiteY13" fmla="*/ 488006 h 508025"/>
                    <a:gd name="connsiteX14" fmla="*/ 21286 w 561210"/>
                    <a:gd name="connsiteY14" fmla="*/ 449906 h 508025"/>
                    <a:gd name="connsiteX0" fmla="*/ 4360 w 544284"/>
                    <a:gd name="connsiteY0" fmla="*/ 449906 h 508025"/>
                    <a:gd name="connsiteX1" fmla="*/ 7535 w 544284"/>
                    <a:gd name="connsiteY1" fmla="*/ 214956 h 508025"/>
                    <a:gd name="connsiteX2" fmla="*/ 23410 w 544284"/>
                    <a:gd name="connsiteY2" fmla="*/ 176856 h 508025"/>
                    <a:gd name="connsiteX3" fmla="*/ 71035 w 544284"/>
                    <a:gd name="connsiteY3" fmla="*/ 160981 h 508025"/>
                    <a:gd name="connsiteX4" fmla="*/ 172635 w 544284"/>
                    <a:gd name="connsiteY4" fmla="*/ 154631 h 508025"/>
                    <a:gd name="connsiteX5" fmla="*/ 198035 w 544284"/>
                    <a:gd name="connsiteY5" fmla="*/ 151456 h 508025"/>
                    <a:gd name="connsiteX6" fmla="*/ 201210 w 544284"/>
                    <a:gd name="connsiteY6" fmla="*/ 18106 h 508025"/>
                    <a:gd name="connsiteX7" fmla="*/ 312335 w 544284"/>
                    <a:gd name="connsiteY7" fmla="*/ 14931 h 508025"/>
                    <a:gd name="connsiteX8" fmla="*/ 312335 w 544284"/>
                    <a:gd name="connsiteY8" fmla="*/ 145106 h 508025"/>
                    <a:gd name="connsiteX9" fmla="*/ 353610 w 544284"/>
                    <a:gd name="connsiteY9" fmla="*/ 151456 h 508025"/>
                    <a:gd name="connsiteX10" fmla="*/ 445685 w 544284"/>
                    <a:gd name="connsiteY10" fmla="*/ 164156 h 508025"/>
                    <a:gd name="connsiteX11" fmla="*/ 486960 w 544284"/>
                    <a:gd name="connsiteY11" fmla="*/ 189556 h 508025"/>
                    <a:gd name="connsiteX12" fmla="*/ 509185 w 544284"/>
                    <a:gd name="connsiteY12" fmla="*/ 234006 h 508025"/>
                    <a:gd name="connsiteX13" fmla="*/ 506010 w 544284"/>
                    <a:gd name="connsiteY13" fmla="*/ 488006 h 508025"/>
                    <a:gd name="connsiteX14" fmla="*/ 4360 w 544284"/>
                    <a:gd name="connsiteY14" fmla="*/ 449906 h 508025"/>
                    <a:gd name="connsiteX0" fmla="*/ 4360 w 544284"/>
                    <a:gd name="connsiteY0" fmla="*/ 449906 h 500804"/>
                    <a:gd name="connsiteX1" fmla="*/ 7535 w 544284"/>
                    <a:gd name="connsiteY1" fmla="*/ 214956 h 500804"/>
                    <a:gd name="connsiteX2" fmla="*/ 23410 w 544284"/>
                    <a:gd name="connsiteY2" fmla="*/ 176856 h 500804"/>
                    <a:gd name="connsiteX3" fmla="*/ 71035 w 544284"/>
                    <a:gd name="connsiteY3" fmla="*/ 160981 h 500804"/>
                    <a:gd name="connsiteX4" fmla="*/ 172635 w 544284"/>
                    <a:gd name="connsiteY4" fmla="*/ 154631 h 500804"/>
                    <a:gd name="connsiteX5" fmla="*/ 198035 w 544284"/>
                    <a:gd name="connsiteY5" fmla="*/ 151456 h 500804"/>
                    <a:gd name="connsiteX6" fmla="*/ 201210 w 544284"/>
                    <a:gd name="connsiteY6" fmla="*/ 18106 h 500804"/>
                    <a:gd name="connsiteX7" fmla="*/ 312335 w 544284"/>
                    <a:gd name="connsiteY7" fmla="*/ 14931 h 500804"/>
                    <a:gd name="connsiteX8" fmla="*/ 312335 w 544284"/>
                    <a:gd name="connsiteY8" fmla="*/ 145106 h 500804"/>
                    <a:gd name="connsiteX9" fmla="*/ 353610 w 544284"/>
                    <a:gd name="connsiteY9" fmla="*/ 151456 h 500804"/>
                    <a:gd name="connsiteX10" fmla="*/ 445685 w 544284"/>
                    <a:gd name="connsiteY10" fmla="*/ 164156 h 500804"/>
                    <a:gd name="connsiteX11" fmla="*/ 486960 w 544284"/>
                    <a:gd name="connsiteY11" fmla="*/ 189556 h 500804"/>
                    <a:gd name="connsiteX12" fmla="*/ 509185 w 544284"/>
                    <a:gd name="connsiteY12" fmla="*/ 234006 h 500804"/>
                    <a:gd name="connsiteX13" fmla="*/ 506010 w 544284"/>
                    <a:gd name="connsiteY13" fmla="*/ 488006 h 500804"/>
                    <a:gd name="connsiteX14" fmla="*/ 4360 w 544284"/>
                    <a:gd name="connsiteY14" fmla="*/ 449906 h 500804"/>
                    <a:gd name="connsiteX0" fmla="*/ 4360 w 544284"/>
                    <a:gd name="connsiteY0" fmla="*/ 449906 h 500804"/>
                    <a:gd name="connsiteX1" fmla="*/ 7535 w 544284"/>
                    <a:gd name="connsiteY1" fmla="*/ 214956 h 500804"/>
                    <a:gd name="connsiteX2" fmla="*/ 23410 w 544284"/>
                    <a:gd name="connsiteY2" fmla="*/ 176856 h 500804"/>
                    <a:gd name="connsiteX3" fmla="*/ 71035 w 544284"/>
                    <a:gd name="connsiteY3" fmla="*/ 160981 h 500804"/>
                    <a:gd name="connsiteX4" fmla="*/ 172635 w 544284"/>
                    <a:gd name="connsiteY4" fmla="*/ 154631 h 500804"/>
                    <a:gd name="connsiteX5" fmla="*/ 198035 w 544284"/>
                    <a:gd name="connsiteY5" fmla="*/ 151456 h 500804"/>
                    <a:gd name="connsiteX6" fmla="*/ 201210 w 544284"/>
                    <a:gd name="connsiteY6" fmla="*/ 18106 h 500804"/>
                    <a:gd name="connsiteX7" fmla="*/ 312335 w 544284"/>
                    <a:gd name="connsiteY7" fmla="*/ 14931 h 500804"/>
                    <a:gd name="connsiteX8" fmla="*/ 312335 w 544284"/>
                    <a:gd name="connsiteY8" fmla="*/ 145106 h 500804"/>
                    <a:gd name="connsiteX9" fmla="*/ 353610 w 544284"/>
                    <a:gd name="connsiteY9" fmla="*/ 151456 h 500804"/>
                    <a:gd name="connsiteX10" fmla="*/ 445685 w 544284"/>
                    <a:gd name="connsiteY10" fmla="*/ 164156 h 500804"/>
                    <a:gd name="connsiteX11" fmla="*/ 486960 w 544284"/>
                    <a:gd name="connsiteY11" fmla="*/ 189556 h 500804"/>
                    <a:gd name="connsiteX12" fmla="*/ 509185 w 544284"/>
                    <a:gd name="connsiteY12" fmla="*/ 234006 h 500804"/>
                    <a:gd name="connsiteX13" fmla="*/ 506010 w 544284"/>
                    <a:gd name="connsiteY13" fmla="*/ 488006 h 500804"/>
                    <a:gd name="connsiteX14" fmla="*/ 4360 w 544284"/>
                    <a:gd name="connsiteY14" fmla="*/ 449906 h 500804"/>
                    <a:gd name="connsiteX0" fmla="*/ 4360 w 519024"/>
                    <a:gd name="connsiteY0" fmla="*/ 449906 h 500804"/>
                    <a:gd name="connsiteX1" fmla="*/ 7535 w 519024"/>
                    <a:gd name="connsiteY1" fmla="*/ 214956 h 500804"/>
                    <a:gd name="connsiteX2" fmla="*/ 23410 w 519024"/>
                    <a:gd name="connsiteY2" fmla="*/ 176856 h 500804"/>
                    <a:gd name="connsiteX3" fmla="*/ 71035 w 519024"/>
                    <a:gd name="connsiteY3" fmla="*/ 160981 h 500804"/>
                    <a:gd name="connsiteX4" fmla="*/ 172635 w 519024"/>
                    <a:gd name="connsiteY4" fmla="*/ 154631 h 500804"/>
                    <a:gd name="connsiteX5" fmla="*/ 198035 w 519024"/>
                    <a:gd name="connsiteY5" fmla="*/ 151456 h 500804"/>
                    <a:gd name="connsiteX6" fmla="*/ 201210 w 519024"/>
                    <a:gd name="connsiteY6" fmla="*/ 18106 h 500804"/>
                    <a:gd name="connsiteX7" fmla="*/ 312335 w 519024"/>
                    <a:gd name="connsiteY7" fmla="*/ 14931 h 500804"/>
                    <a:gd name="connsiteX8" fmla="*/ 312335 w 519024"/>
                    <a:gd name="connsiteY8" fmla="*/ 145106 h 500804"/>
                    <a:gd name="connsiteX9" fmla="*/ 353610 w 519024"/>
                    <a:gd name="connsiteY9" fmla="*/ 151456 h 500804"/>
                    <a:gd name="connsiteX10" fmla="*/ 445685 w 519024"/>
                    <a:gd name="connsiteY10" fmla="*/ 164156 h 500804"/>
                    <a:gd name="connsiteX11" fmla="*/ 486960 w 519024"/>
                    <a:gd name="connsiteY11" fmla="*/ 189556 h 500804"/>
                    <a:gd name="connsiteX12" fmla="*/ 509185 w 519024"/>
                    <a:gd name="connsiteY12" fmla="*/ 234006 h 500804"/>
                    <a:gd name="connsiteX13" fmla="*/ 506010 w 519024"/>
                    <a:gd name="connsiteY13" fmla="*/ 488006 h 500804"/>
                    <a:gd name="connsiteX14" fmla="*/ 4360 w 519024"/>
                    <a:gd name="connsiteY14" fmla="*/ 449906 h 500804"/>
                    <a:gd name="connsiteX0" fmla="*/ 4360 w 519024"/>
                    <a:gd name="connsiteY0" fmla="*/ 449906 h 488006"/>
                    <a:gd name="connsiteX1" fmla="*/ 7535 w 519024"/>
                    <a:gd name="connsiteY1" fmla="*/ 214956 h 488006"/>
                    <a:gd name="connsiteX2" fmla="*/ 23410 w 519024"/>
                    <a:gd name="connsiteY2" fmla="*/ 176856 h 488006"/>
                    <a:gd name="connsiteX3" fmla="*/ 71035 w 519024"/>
                    <a:gd name="connsiteY3" fmla="*/ 160981 h 488006"/>
                    <a:gd name="connsiteX4" fmla="*/ 172635 w 519024"/>
                    <a:gd name="connsiteY4" fmla="*/ 154631 h 488006"/>
                    <a:gd name="connsiteX5" fmla="*/ 198035 w 519024"/>
                    <a:gd name="connsiteY5" fmla="*/ 151456 h 488006"/>
                    <a:gd name="connsiteX6" fmla="*/ 201210 w 519024"/>
                    <a:gd name="connsiteY6" fmla="*/ 18106 h 488006"/>
                    <a:gd name="connsiteX7" fmla="*/ 312335 w 519024"/>
                    <a:gd name="connsiteY7" fmla="*/ 14931 h 488006"/>
                    <a:gd name="connsiteX8" fmla="*/ 312335 w 519024"/>
                    <a:gd name="connsiteY8" fmla="*/ 145106 h 488006"/>
                    <a:gd name="connsiteX9" fmla="*/ 353610 w 519024"/>
                    <a:gd name="connsiteY9" fmla="*/ 151456 h 488006"/>
                    <a:gd name="connsiteX10" fmla="*/ 445685 w 519024"/>
                    <a:gd name="connsiteY10" fmla="*/ 164156 h 488006"/>
                    <a:gd name="connsiteX11" fmla="*/ 486960 w 519024"/>
                    <a:gd name="connsiteY11" fmla="*/ 189556 h 488006"/>
                    <a:gd name="connsiteX12" fmla="*/ 509185 w 519024"/>
                    <a:gd name="connsiteY12" fmla="*/ 234006 h 488006"/>
                    <a:gd name="connsiteX13" fmla="*/ 506010 w 519024"/>
                    <a:gd name="connsiteY13" fmla="*/ 488006 h 488006"/>
                    <a:gd name="connsiteX14" fmla="*/ 4360 w 519024"/>
                    <a:gd name="connsiteY14" fmla="*/ 449906 h 488006"/>
                    <a:gd name="connsiteX0" fmla="*/ 4360 w 523534"/>
                    <a:gd name="connsiteY0" fmla="*/ 449906 h 472131"/>
                    <a:gd name="connsiteX1" fmla="*/ 7535 w 523534"/>
                    <a:gd name="connsiteY1" fmla="*/ 214956 h 472131"/>
                    <a:gd name="connsiteX2" fmla="*/ 23410 w 523534"/>
                    <a:gd name="connsiteY2" fmla="*/ 176856 h 472131"/>
                    <a:gd name="connsiteX3" fmla="*/ 71035 w 523534"/>
                    <a:gd name="connsiteY3" fmla="*/ 160981 h 472131"/>
                    <a:gd name="connsiteX4" fmla="*/ 172635 w 523534"/>
                    <a:gd name="connsiteY4" fmla="*/ 154631 h 472131"/>
                    <a:gd name="connsiteX5" fmla="*/ 198035 w 523534"/>
                    <a:gd name="connsiteY5" fmla="*/ 151456 h 472131"/>
                    <a:gd name="connsiteX6" fmla="*/ 201210 w 523534"/>
                    <a:gd name="connsiteY6" fmla="*/ 18106 h 472131"/>
                    <a:gd name="connsiteX7" fmla="*/ 312335 w 523534"/>
                    <a:gd name="connsiteY7" fmla="*/ 14931 h 472131"/>
                    <a:gd name="connsiteX8" fmla="*/ 312335 w 523534"/>
                    <a:gd name="connsiteY8" fmla="*/ 145106 h 472131"/>
                    <a:gd name="connsiteX9" fmla="*/ 353610 w 523534"/>
                    <a:gd name="connsiteY9" fmla="*/ 151456 h 472131"/>
                    <a:gd name="connsiteX10" fmla="*/ 445685 w 523534"/>
                    <a:gd name="connsiteY10" fmla="*/ 164156 h 472131"/>
                    <a:gd name="connsiteX11" fmla="*/ 486960 w 523534"/>
                    <a:gd name="connsiteY11" fmla="*/ 189556 h 472131"/>
                    <a:gd name="connsiteX12" fmla="*/ 509185 w 523534"/>
                    <a:gd name="connsiteY12" fmla="*/ 234006 h 472131"/>
                    <a:gd name="connsiteX13" fmla="*/ 512360 w 523534"/>
                    <a:gd name="connsiteY13" fmla="*/ 472131 h 472131"/>
                    <a:gd name="connsiteX14" fmla="*/ 4360 w 523534"/>
                    <a:gd name="connsiteY14" fmla="*/ 449906 h 472131"/>
                    <a:gd name="connsiteX0" fmla="*/ 4360 w 513675"/>
                    <a:gd name="connsiteY0" fmla="*/ 449906 h 472131"/>
                    <a:gd name="connsiteX1" fmla="*/ 7535 w 513675"/>
                    <a:gd name="connsiteY1" fmla="*/ 214956 h 472131"/>
                    <a:gd name="connsiteX2" fmla="*/ 23410 w 513675"/>
                    <a:gd name="connsiteY2" fmla="*/ 176856 h 472131"/>
                    <a:gd name="connsiteX3" fmla="*/ 71035 w 513675"/>
                    <a:gd name="connsiteY3" fmla="*/ 160981 h 472131"/>
                    <a:gd name="connsiteX4" fmla="*/ 172635 w 513675"/>
                    <a:gd name="connsiteY4" fmla="*/ 154631 h 472131"/>
                    <a:gd name="connsiteX5" fmla="*/ 198035 w 513675"/>
                    <a:gd name="connsiteY5" fmla="*/ 151456 h 472131"/>
                    <a:gd name="connsiteX6" fmla="*/ 201210 w 513675"/>
                    <a:gd name="connsiteY6" fmla="*/ 18106 h 472131"/>
                    <a:gd name="connsiteX7" fmla="*/ 312335 w 513675"/>
                    <a:gd name="connsiteY7" fmla="*/ 14931 h 472131"/>
                    <a:gd name="connsiteX8" fmla="*/ 312335 w 513675"/>
                    <a:gd name="connsiteY8" fmla="*/ 145106 h 472131"/>
                    <a:gd name="connsiteX9" fmla="*/ 353610 w 513675"/>
                    <a:gd name="connsiteY9" fmla="*/ 151456 h 472131"/>
                    <a:gd name="connsiteX10" fmla="*/ 445685 w 513675"/>
                    <a:gd name="connsiteY10" fmla="*/ 164156 h 472131"/>
                    <a:gd name="connsiteX11" fmla="*/ 486960 w 513675"/>
                    <a:gd name="connsiteY11" fmla="*/ 189556 h 472131"/>
                    <a:gd name="connsiteX12" fmla="*/ 509185 w 513675"/>
                    <a:gd name="connsiteY12" fmla="*/ 234006 h 472131"/>
                    <a:gd name="connsiteX13" fmla="*/ 512360 w 513675"/>
                    <a:gd name="connsiteY13" fmla="*/ 472131 h 472131"/>
                    <a:gd name="connsiteX14" fmla="*/ 4360 w 513675"/>
                    <a:gd name="connsiteY14" fmla="*/ 449906 h 472131"/>
                    <a:gd name="connsiteX0" fmla="*/ 4360 w 513675"/>
                    <a:gd name="connsiteY0" fmla="*/ 446969 h 469194"/>
                    <a:gd name="connsiteX1" fmla="*/ 7535 w 513675"/>
                    <a:gd name="connsiteY1" fmla="*/ 212019 h 469194"/>
                    <a:gd name="connsiteX2" fmla="*/ 23410 w 513675"/>
                    <a:gd name="connsiteY2" fmla="*/ 173919 h 469194"/>
                    <a:gd name="connsiteX3" fmla="*/ 71035 w 513675"/>
                    <a:gd name="connsiteY3" fmla="*/ 158044 h 469194"/>
                    <a:gd name="connsiteX4" fmla="*/ 172635 w 513675"/>
                    <a:gd name="connsiteY4" fmla="*/ 151694 h 469194"/>
                    <a:gd name="connsiteX5" fmla="*/ 188510 w 513675"/>
                    <a:gd name="connsiteY5" fmla="*/ 94544 h 469194"/>
                    <a:gd name="connsiteX6" fmla="*/ 201210 w 513675"/>
                    <a:gd name="connsiteY6" fmla="*/ 15169 h 469194"/>
                    <a:gd name="connsiteX7" fmla="*/ 312335 w 513675"/>
                    <a:gd name="connsiteY7" fmla="*/ 11994 h 469194"/>
                    <a:gd name="connsiteX8" fmla="*/ 312335 w 513675"/>
                    <a:gd name="connsiteY8" fmla="*/ 142169 h 469194"/>
                    <a:gd name="connsiteX9" fmla="*/ 353610 w 513675"/>
                    <a:gd name="connsiteY9" fmla="*/ 148519 h 469194"/>
                    <a:gd name="connsiteX10" fmla="*/ 445685 w 513675"/>
                    <a:gd name="connsiteY10" fmla="*/ 161219 h 469194"/>
                    <a:gd name="connsiteX11" fmla="*/ 486960 w 513675"/>
                    <a:gd name="connsiteY11" fmla="*/ 186619 h 469194"/>
                    <a:gd name="connsiteX12" fmla="*/ 509185 w 513675"/>
                    <a:gd name="connsiteY12" fmla="*/ 231069 h 469194"/>
                    <a:gd name="connsiteX13" fmla="*/ 512360 w 513675"/>
                    <a:gd name="connsiteY13" fmla="*/ 469194 h 469194"/>
                    <a:gd name="connsiteX14" fmla="*/ 4360 w 513675"/>
                    <a:gd name="connsiteY14" fmla="*/ 446969 h 469194"/>
                    <a:gd name="connsiteX0" fmla="*/ 4360 w 513675"/>
                    <a:gd name="connsiteY0" fmla="*/ 443409 h 465634"/>
                    <a:gd name="connsiteX1" fmla="*/ 7535 w 513675"/>
                    <a:gd name="connsiteY1" fmla="*/ 208459 h 465634"/>
                    <a:gd name="connsiteX2" fmla="*/ 23410 w 513675"/>
                    <a:gd name="connsiteY2" fmla="*/ 170359 h 465634"/>
                    <a:gd name="connsiteX3" fmla="*/ 71035 w 513675"/>
                    <a:gd name="connsiteY3" fmla="*/ 154484 h 465634"/>
                    <a:gd name="connsiteX4" fmla="*/ 172635 w 513675"/>
                    <a:gd name="connsiteY4" fmla="*/ 148134 h 465634"/>
                    <a:gd name="connsiteX5" fmla="*/ 188510 w 513675"/>
                    <a:gd name="connsiteY5" fmla="*/ 90984 h 465634"/>
                    <a:gd name="connsiteX6" fmla="*/ 201210 w 513675"/>
                    <a:gd name="connsiteY6" fmla="*/ 11609 h 465634"/>
                    <a:gd name="connsiteX7" fmla="*/ 312335 w 513675"/>
                    <a:gd name="connsiteY7" fmla="*/ 8434 h 465634"/>
                    <a:gd name="connsiteX8" fmla="*/ 312335 w 513675"/>
                    <a:gd name="connsiteY8" fmla="*/ 87809 h 465634"/>
                    <a:gd name="connsiteX9" fmla="*/ 353610 w 513675"/>
                    <a:gd name="connsiteY9" fmla="*/ 144959 h 465634"/>
                    <a:gd name="connsiteX10" fmla="*/ 445685 w 513675"/>
                    <a:gd name="connsiteY10" fmla="*/ 157659 h 465634"/>
                    <a:gd name="connsiteX11" fmla="*/ 486960 w 513675"/>
                    <a:gd name="connsiteY11" fmla="*/ 183059 h 465634"/>
                    <a:gd name="connsiteX12" fmla="*/ 509185 w 513675"/>
                    <a:gd name="connsiteY12" fmla="*/ 227509 h 465634"/>
                    <a:gd name="connsiteX13" fmla="*/ 512360 w 513675"/>
                    <a:gd name="connsiteY13" fmla="*/ 465634 h 465634"/>
                    <a:gd name="connsiteX14" fmla="*/ 4360 w 513675"/>
                    <a:gd name="connsiteY14" fmla="*/ 443409 h 465634"/>
                    <a:gd name="connsiteX0" fmla="*/ 4360 w 513675"/>
                    <a:gd name="connsiteY0" fmla="*/ 443409 h 465634"/>
                    <a:gd name="connsiteX1" fmla="*/ 7535 w 513675"/>
                    <a:gd name="connsiteY1" fmla="*/ 208459 h 465634"/>
                    <a:gd name="connsiteX2" fmla="*/ 23410 w 513675"/>
                    <a:gd name="connsiteY2" fmla="*/ 170359 h 465634"/>
                    <a:gd name="connsiteX3" fmla="*/ 71035 w 513675"/>
                    <a:gd name="connsiteY3" fmla="*/ 154484 h 465634"/>
                    <a:gd name="connsiteX4" fmla="*/ 172635 w 513675"/>
                    <a:gd name="connsiteY4" fmla="*/ 148134 h 465634"/>
                    <a:gd name="connsiteX5" fmla="*/ 188510 w 513675"/>
                    <a:gd name="connsiteY5" fmla="*/ 90984 h 465634"/>
                    <a:gd name="connsiteX6" fmla="*/ 201210 w 513675"/>
                    <a:gd name="connsiteY6" fmla="*/ 11609 h 465634"/>
                    <a:gd name="connsiteX7" fmla="*/ 312335 w 513675"/>
                    <a:gd name="connsiteY7" fmla="*/ 8434 h 465634"/>
                    <a:gd name="connsiteX8" fmla="*/ 312335 w 513675"/>
                    <a:gd name="connsiteY8" fmla="*/ 87809 h 465634"/>
                    <a:gd name="connsiteX9" fmla="*/ 334560 w 513675"/>
                    <a:gd name="connsiteY9" fmla="*/ 135434 h 465634"/>
                    <a:gd name="connsiteX10" fmla="*/ 445685 w 513675"/>
                    <a:gd name="connsiteY10" fmla="*/ 157659 h 465634"/>
                    <a:gd name="connsiteX11" fmla="*/ 486960 w 513675"/>
                    <a:gd name="connsiteY11" fmla="*/ 183059 h 465634"/>
                    <a:gd name="connsiteX12" fmla="*/ 509185 w 513675"/>
                    <a:gd name="connsiteY12" fmla="*/ 227509 h 465634"/>
                    <a:gd name="connsiteX13" fmla="*/ 512360 w 513675"/>
                    <a:gd name="connsiteY13" fmla="*/ 465634 h 465634"/>
                    <a:gd name="connsiteX14" fmla="*/ 4360 w 513675"/>
                    <a:gd name="connsiteY14" fmla="*/ 443409 h 465634"/>
                    <a:gd name="connsiteX0" fmla="*/ 4360 w 510500"/>
                    <a:gd name="connsiteY0" fmla="*/ 443409 h 449759"/>
                    <a:gd name="connsiteX1" fmla="*/ 7535 w 510500"/>
                    <a:gd name="connsiteY1" fmla="*/ 208459 h 449759"/>
                    <a:gd name="connsiteX2" fmla="*/ 23410 w 510500"/>
                    <a:gd name="connsiteY2" fmla="*/ 170359 h 449759"/>
                    <a:gd name="connsiteX3" fmla="*/ 71035 w 510500"/>
                    <a:gd name="connsiteY3" fmla="*/ 154484 h 449759"/>
                    <a:gd name="connsiteX4" fmla="*/ 172635 w 510500"/>
                    <a:gd name="connsiteY4" fmla="*/ 148134 h 449759"/>
                    <a:gd name="connsiteX5" fmla="*/ 188510 w 510500"/>
                    <a:gd name="connsiteY5" fmla="*/ 90984 h 449759"/>
                    <a:gd name="connsiteX6" fmla="*/ 201210 w 510500"/>
                    <a:gd name="connsiteY6" fmla="*/ 11609 h 449759"/>
                    <a:gd name="connsiteX7" fmla="*/ 312335 w 510500"/>
                    <a:gd name="connsiteY7" fmla="*/ 8434 h 449759"/>
                    <a:gd name="connsiteX8" fmla="*/ 312335 w 510500"/>
                    <a:gd name="connsiteY8" fmla="*/ 87809 h 449759"/>
                    <a:gd name="connsiteX9" fmla="*/ 334560 w 510500"/>
                    <a:gd name="connsiteY9" fmla="*/ 135434 h 449759"/>
                    <a:gd name="connsiteX10" fmla="*/ 445685 w 510500"/>
                    <a:gd name="connsiteY10" fmla="*/ 157659 h 449759"/>
                    <a:gd name="connsiteX11" fmla="*/ 486960 w 510500"/>
                    <a:gd name="connsiteY11" fmla="*/ 183059 h 449759"/>
                    <a:gd name="connsiteX12" fmla="*/ 509185 w 510500"/>
                    <a:gd name="connsiteY12" fmla="*/ 227509 h 449759"/>
                    <a:gd name="connsiteX13" fmla="*/ 506010 w 510500"/>
                    <a:gd name="connsiteY13" fmla="*/ 449759 h 449759"/>
                    <a:gd name="connsiteX14" fmla="*/ 4360 w 510500"/>
                    <a:gd name="connsiteY14" fmla="*/ 443409 h 449759"/>
                    <a:gd name="connsiteX0" fmla="*/ 4360 w 510500"/>
                    <a:gd name="connsiteY0" fmla="*/ 443409 h 454926"/>
                    <a:gd name="connsiteX1" fmla="*/ 7535 w 510500"/>
                    <a:gd name="connsiteY1" fmla="*/ 208459 h 454926"/>
                    <a:gd name="connsiteX2" fmla="*/ 23410 w 510500"/>
                    <a:gd name="connsiteY2" fmla="*/ 170359 h 454926"/>
                    <a:gd name="connsiteX3" fmla="*/ 71035 w 510500"/>
                    <a:gd name="connsiteY3" fmla="*/ 154484 h 454926"/>
                    <a:gd name="connsiteX4" fmla="*/ 172635 w 510500"/>
                    <a:gd name="connsiteY4" fmla="*/ 148134 h 454926"/>
                    <a:gd name="connsiteX5" fmla="*/ 188510 w 510500"/>
                    <a:gd name="connsiteY5" fmla="*/ 90984 h 454926"/>
                    <a:gd name="connsiteX6" fmla="*/ 201210 w 510500"/>
                    <a:gd name="connsiteY6" fmla="*/ 11609 h 454926"/>
                    <a:gd name="connsiteX7" fmla="*/ 312335 w 510500"/>
                    <a:gd name="connsiteY7" fmla="*/ 8434 h 454926"/>
                    <a:gd name="connsiteX8" fmla="*/ 312335 w 510500"/>
                    <a:gd name="connsiteY8" fmla="*/ 87809 h 454926"/>
                    <a:gd name="connsiteX9" fmla="*/ 334560 w 510500"/>
                    <a:gd name="connsiteY9" fmla="*/ 135434 h 454926"/>
                    <a:gd name="connsiteX10" fmla="*/ 445685 w 510500"/>
                    <a:gd name="connsiteY10" fmla="*/ 157659 h 454926"/>
                    <a:gd name="connsiteX11" fmla="*/ 486960 w 510500"/>
                    <a:gd name="connsiteY11" fmla="*/ 183059 h 454926"/>
                    <a:gd name="connsiteX12" fmla="*/ 509185 w 510500"/>
                    <a:gd name="connsiteY12" fmla="*/ 227509 h 454926"/>
                    <a:gd name="connsiteX13" fmla="*/ 506010 w 510500"/>
                    <a:gd name="connsiteY13" fmla="*/ 449759 h 454926"/>
                    <a:gd name="connsiteX14" fmla="*/ 4360 w 510500"/>
                    <a:gd name="connsiteY14" fmla="*/ 443409 h 454926"/>
                    <a:gd name="connsiteX0" fmla="*/ 6473 w 512613"/>
                    <a:gd name="connsiteY0" fmla="*/ 443409 h 454926"/>
                    <a:gd name="connsiteX1" fmla="*/ 9648 w 512613"/>
                    <a:gd name="connsiteY1" fmla="*/ 208459 h 454926"/>
                    <a:gd name="connsiteX2" fmla="*/ 73148 w 512613"/>
                    <a:gd name="connsiteY2" fmla="*/ 154484 h 454926"/>
                    <a:gd name="connsiteX3" fmla="*/ 174748 w 512613"/>
                    <a:gd name="connsiteY3" fmla="*/ 148134 h 454926"/>
                    <a:gd name="connsiteX4" fmla="*/ 190623 w 512613"/>
                    <a:gd name="connsiteY4" fmla="*/ 90984 h 454926"/>
                    <a:gd name="connsiteX5" fmla="*/ 203323 w 512613"/>
                    <a:gd name="connsiteY5" fmla="*/ 11609 h 454926"/>
                    <a:gd name="connsiteX6" fmla="*/ 314448 w 512613"/>
                    <a:gd name="connsiteY6" fmla="*/ 8434 h 454926"/>
                    <a:gd name="connsiteX7" fmla="*/ 314448 w 512613"/>
                    <a:gd name="connsiteY7" fmla="*/ 87809 h 454926"/>
                    <a:gd name="connsiteX8" fmla="*/ 336673 w 512613"/>
                    <a:gd name="connsiteY8" fmla="*/ 135434 h 454926"/>
                    <a:gd name="connsiteX9" fmla="*/ 447798 w 512613"/>
                    <a:gd name="connsiteY9" fmla="*/ 157659 h 454926"/>
                    <a:gd name="connsiteX10" fmla="*/ 489073 w 512613"/>
                    <a:gd name="connsiteY10" fmla="*/ 183059 h 454926"/>
                    <a:gd name="connsiteX11" fmla="*/ 511298 w 512613"/>
                    <a:gd name="connsiteY11" fmla="*/ 227509 h 454926"/>
                    <a:gd name="connsiteX12" fmla="*/ 508123 w 512613"/>
                    <a:gd name="connsiteY12" fmla="*/ 449759 h 454926"/>
                    <a:gd name="connsiteX13" fmla="*/ 6473 w 512613"/>
                    <a:gd name="connsiteY13" fmla="*/ 443409 h 454926"/>
                    <a:gd name="connsiteX0" fmla="*/ 4049 w 510189"/>
                    <a:gd name="connsiteY0" fmla="*/ 443409 h 454926"/>
                    <a:gd name="connsiteX1" fmla="*/ 7224 w 510189"/>
                    <a:gd name="connsiteY1" fmla="*/ 208459 h 454926"/>
                    <a:gd name="connsiteX2" fmla="*/ 70724 w 510189"/>
                    <a:gd name="connsiteY2" fmla="*/ 154484 h 454926"/>
                    <a:gd name="connsiteX3" fmla="*/ 172324 w 510189"/>
                    <a:gd name="connsiteY3" fmla="*/ 148134 h 454926"/>
                    <a:gd name="connsiteX4" fmla="*/ 188199 w 510189"/>
                    <a:gd name="connsiteY4" fmla="*/ 90984 h 454926"/>
                    <a:gd name="connsiteX5" fmla="*/ 200899 w 510189"/>
                    <a:gd name="connsiteY5" fmla="*/ 11609 h 454926"/>
                    <a:gd name="connsiteX6" fmla="*/ 312024 w 510189"/>
                    <a:gd name="connsiteY6" fmla="*/ 8434 h 454926"/>
                    <a:gd name="connsiteX7" fmla="*/ 312024 w 510189"/>
                    <a:gd name="connsiteY7" fmla="*/ 87809 h 454926"/>
                    <a:gd name="connsiteX8" fmla="*/ 334249 w 510189"/>
                    <a:gd name="connsiteY8" fmla="*/ 135434 h 454926"/>
                    <a:gd name="connsiteX9" fmla="*/ 445374 w 510189"/>
                    <a:gd name="connsiteY9" fmla="*/ 157659 h 454926"/>
                    <a:gd name="connsiteX10" fmla="*/ 486649 w 510189"/>
                    <a:gd name="connsiteY10" fmla="*/ 183059 h 454926"/>
                    <a:gd name="connsiteX11" fmla="*/ 508874 w 510189"/>
                    <a:gd name="connsiteY11" fmla="*/ 227509 h 454926"/>
                    <a:gd name="connsiteX12" fmla="*/ 505699 w 510189"/>
                    <a:gd name="connsiteY12" fmla="*/ 449759 h 454926"/>
                    <a:gd name="connsiteX13" fmla="*/ 4049 w 510189"/>
                    <a:gd name="connsiteY13" fmla="*/ 443409 h 454926"/>
                    <a:gd name="connsiteX0" fmla="*/ 4049 w 510189"/>
                    <a:gd name="connsiteY0" fmla="*/ 443409 h 454926"/>
                    <a:gd name="connsiteX1" fmla="*/ 7224 w 510189"/>
                    <a:gd name="connsiteY1" fmla="*/ 208459 h 454926"/>
                    <a:gd name="connsiteX2" fmla="*/ 70724 w 510189"/>
                    <a:gd name="connsiteY2" fmla="*/ 154484 h 454926"/>
                    <a:gd name="connsiteX3" fmla="*/ 172324 w 510189"/>
                    <a:gd name="connsiteY3" fmla="*/ 148134 h 454926"/>
                    <a:gd name="connsiteX4" fmla="*/ 188199 w 510189"/>
                    <a:gd name="connsiteY4" fmla="*/ 90984 h 454926"/>
                    <a:gd name="connsiteX5" fmla="*/ 200899 w 510189"/>
                    <a:gd name="connsiteY5" fmla="*/ 11609 h 454926"/>
                    <a:gd name="connsiteX6" fmla="*/ 312024 w 510189"/>
                    <a:gd name="connsiteY6" fmla="*/ 8434 h 454926"/>
                    <a:gd name="connsiteX7" fmla="*/ 312024 w 510189"/>
                    <a:gd name="connsiteY7" fmla="*/ 87809 h 454926"/>
                    <a:gd name="connsiteX8" fmla="*/ 334249 w 510189"/>
                    <a:gd name="connsiteY8" fmla="*/ 135434 h 454926"/>
                    <a:gd name="connsiteX9" fmla="*/ 445374 w 510189"/>
                    <a:gd name="connsiteY9" fmla="*/ 157659 h 454926"/>
                    <a:gd name="connsiteX10" fmla="*/ 508874 w 510189"/>
                    <a:gd name="connsiteY10" fmla="*/ 227509 h 454926"/>
                    <a:gd name="connsiteX11" fmla="*/ 505699 w 510189"/>
                    <a:gd name="connsiteY11" fmla="*/ 449759 h 454926"/>
                    <a:gd name="connsiteX12" fmla="*/ 4049 w 510189"/>
                    <a:gd name="connsiteY12" fmla="*/ 443409 h 454926"/>
                    <a:gd name="connsiteX0" fmla="*/ 4049 w 510189"/>
                    <a:gd name="connsiteY0" fmla="*/ 443409 h 454926"/>
                    <a:gd name="connsiteX1" fmla="*/ 7224 w 510189"/>
                    <a:gd name="connsiteY1" fmla="*/ 208459 h 454926"/>
                    <a:gd name="connsiteX2" fmla="*/ 70724 w 510189"/>
                    <a:gd name="connsiteY2" fmla="*/ 154484 h 454926"/>
                    <a:gd name="connsiteX3" fmla="*/ 172324 w 510189"/>
                    <a:gd name="connsiteY3" fmla="*/ 148134 h 454926"/>
                    <a:gd name="connsiteX4" fmla="*/ 188199 w 510189"/>
                    <a:gd name="connsiteY4" fmla="*/ 90984 h 454926"/>
                    <a:gd name="connsiteX5" fmla="*/ 200899 w 510189"/>
                    <a:gd name="connsiteY5" fmla="*/ 11609 h 454926"/>
                    <a:gd name="connsiteX6" fmla="*/ 312024 w 510189"/>
                    <a:gd name="connsiteY6" fmla="*/ 8434 h 454926"/>
                    <a:gd name="connsiteX7" fmla="*/ 312024 w 510189"/>
                    <a:gd name="connsiteY7" fmla="*/ 87809 h 454926"/>
                    <a:gd name="connsiteX8" fmla="*/ 334249 w 510189"/>
                    <a:gd name="connsiteY8" fmla="*/ 135434 h 454926"/>
                    <a:gd name="connsiteX9" fmla="*/ 445374 w 510189"/>
                    <a:gd name="connsiteY9" fmla="*/ 157659 h 454926"/>
                    <a:gd name="connsiteX10" fmla="*/ 508874 w 510189"/>
                    <a:gd name="connsiteY10" fmla="*/ 227509 h 454926"/>
                    <a:gd name="connsiteX11" fmla="*/ 505699 w 510189"/>
                    <a:gd name="connsiteY11" fmla="*/ 449759 h 454926"/>
                    <a:gd name="connsiteX12" fmla="*/ 4049 w 510189"/>
                    <a:gd name="connsiteY12" fmla="*/ 443409 h 454926"/>
                    <a:gd name="connsiteX0" fmla="*/ 5987 w 512127"/>
                    <a:gd name="connsiteY0" fmla="*/ 443409 h 454926"/>
                    <a:gd name="connsiteX1" fmla="*/ 2812 w 512127"/>
                    <a:gd name="connsiteY1" fmla="*/ 217984 h 454926"/>
                    <a:gd name="connsiteX2" fmla="*/ 72662 w 512127"/>
                    <a:gd name="connsiteY2" fmla="*/ 154484 h 454926"/>
                    <a:gd name="connsiteX3" fmla="*/ 174262 w 512127"/>
                    <a:gd name="connsiteY3" fmla="*/ 148134 h 454926"/>
                    <a:gd name="connsiteX4" fmla="*/ 190137 w 512127"/>
                    <a:gd name="connsiteY4" fmla="*/ 90984 h 454926"/>
                    <a:gd name="connsiteX5" fmla="*/ 202837 w 512127"/>
                    <a:gd name="connsiteY5" fmla="*/ 11609 h 454926"/>
                    <a:gd name="connsiteX6" fmla="*/ 313962 w 512127"/>
                    <a:gd name="connsiteY6" fmla="*/ 8434 h 454926"/>
                    <a:gd name="connsiteX7" fmla="*/ 313962 w 512127"/>
                    <a:gd name="connsiteY7" fmla="*/ 87809 h 454926"/>
                    <a:gd name="connsiteX8" fmla="*/ 336187 w 512127"/>
                    <a:gd name="connsiteY8" fmla="*/ 135434 h 454926"/>
                    <a:gd name="connsiteX9" fmla="*/ 447312 w 512127"/>
                    <a:gd name="connsiteY9" fmla="*/ 157659 h 454926"/>
                    <a:gd name="connsiteX10" fmla="*/ 510812 w 512127"/>
                    <a:gd name="connsiteY10" fmla="*/ 227509 h 454926"/>
                    <a:gd name="connsiteX11" fmla="*/ 507637 w 512127"/>
                    <a:gd name="connsiteY11" fmla="*/ 449759 h 454926"/>
                    <a:gd name="connsiteX12" fmla="*/ 5987 w 512127"/>
                    <a:gd name="connsiteY12" fmla="*/ 443409 h 454926"/>
                    <a:gd name="connsiteX0" fmla="*/ 9762 w 515902"/>
                    <a:gd name="connsiteY0" fmla="*/ 443409 h 454926"/>
                    <a:gd name="connsiteX1" fmla="*/ 6587 w 515902"/>
                    <a:gd name="connsiteY1" fmla="*/ 217984 h 454926"/>
                    <a:gd name="connsiteX2" fmla="*/ 76437 w 515902"/>
                    <a:gd name="connsiteY2" fmla="*/ 154484 h 454926"/>
                    <a:gd name="connsiteX3" fmla="*/ 178037 w 515902"/>
                    <a:gd name="connsiteY3" fmla="*/ 148134 h 454926"/>
                    <a:gd name="connsiteX4" fmla="*/ 193912 w 515902"/>
                    <a:gd name="connsiteY4" fmla="*/ 90984 h 454926"/>
                    <a:gd name="connsiteX5" fmla="*/ 206612 w 515902"/>
                    <a:gd name="connsiteY5" fmla="*/ 11609 h 454926"/>
                    <a:gd name="connsiteX6" fmla="*/ 317737 w 515902"/>
                    <a:gd name="connsiteY6" fmla="*/ 8434 h 454926"/>
                    <a:gd name="connsiteX7" fmla="*/ 317737 w 515902"/>
                    <a:gd name="connsiteY7" fmla="*/ 87809 h 454926"/>
                    <a:gd name="connsiteX8" fmla="*/ 339962 w 515902"/>
                    <a:gd name="connsiteY8" fmla="*/ 135434 h 454926"/>
                    <a:gd name="connsiteX9" fmla="*/ 451087 w 515902"/>
                    <a:gd name="connsiteY9" fmla="*/ 157659 h 454926"/>
                    <a:gd name="connsiteX10" fmla="*/ 514587 w 515902"/>
                    <a:gd name="connsiteY10" fmla="*/ 227509 h 454926"/>
                    <a:gd name="connsiteX11" fmla="*/ 511412 w 515902"/>
                    <a:gd name="connsiteY11" fmla="*/ 449759 h 454926"/>
                    <a:gd name="connsiteX12" fmla="*/ 9762 w 515902"/>
                    <a:gd name="connsiteY12" fmla="*/ 443409 h 454926"/>
                    <a:gd name="connsiteX0" fmla="*/ 9762 w 515902"/>
                    <a:gd name="connsiteY0" fmla="*/ 443409 h 454926"/>
                    <a:gd name="connsiteX1" fmla="*/ 6587 w 515902"/>
                    <a:gd name="connsiteY1" fmla="*/ 217984 h 454926"/>
                    <a:gd name="connsiteX2" fmla="*/ 76437 w 515902"/>
                    <a:gd name="connsiteY2" fmla="*/ 154484 h 454926"/>
                    <a:gd name="connsiteX3" fmla="*/ 178037 w 515902"/>
                    <a:gd name="connsiteY3" fmla="*/ 148134 h 454926"/>
                    <a:gd name="connsiteX4" fmla="*/ 193912 w 515902"/>
                    <a:gd name="connsiteY4" fmla="*/ 90984 h 454926"/>
                    <a:gd name="connsiteX5" fmla="*/ 206612 w 515902"/>
                    <a:gd name="connsiteY5" fmla="*/ 11609 h 454926"/>
                    <a:gd name="connsiteX6" fmla="*/ 317737 w 515902"/>
                    <a:gd name="connsiteY6" fmla="*/ 8434 h 454926"/>
                    <a:gd name="connsiteX7" fmla="*/ 317737 w 515902"/>
                    <a:gd name="connsiteY7" fmla="*/ 87809 h 454926"/>
                    <a:gd name="connsiteX8" fmla="*/ 339962 w 515902"/>
                    <a:gd name="connsiteY8" fmla="*/ 135434 h 454926"/>
                    <a:gd name="connsiteX9" fmla="*/ 451087 w 515902"/>
                    <a:gd name="connsiteY9" fmla="*/ 157659 h 454926"/>
                    <a:gd name="connsiteX10" fmla="*/ 514587 w 515902"/>
                    <a:gd name="connsiteY10" fmla="*/ 227509 h 454926"/>
                    <a:gd name="connsiteX11" fmla="*/ 511412 w 515902"/>
                    <a:gd name="connsiteY11" fmla="*/ 449759 h 454926"/>
                    <a:gd name="connsiteX12" fmla="*/ 9762 w 515902"/>
                    <a:gd name="connsiteY12" fmla="*/ 443409 h 454926"/>
                    <a:gd name="connsiteX0" fmla="*/ 9762 w 515902"/>
                    <a:gd name="connsiteY0" fmla="*/ 443409 h 454926"/>
                    <a:gd name="connsiteX1" fmla="*/ 6587 w 515902"/>
                    <a:gd name="connsiteY1" fmla="*/ 217984 h 454926"/>
                    <a:gd name="connsiteX2" fmla="*/ 76437 w 515902"/>
                    <a:gd name="connsiteY2" fmla="*/ 154484 h 454926"/>
                    <a:gd name="connsiteX3" fmla="*/ 193912 w 515902"/>
                    <a:gd name="connsiteY3" fmla="*/ 90984 h 454926"/>
                    <a:gd name="connsiteX4" fmla="*/ 206612 w 515902"/>
                    <a:gd name="connsiteY4" fmla="*/ 11609 h 454926"/>
                    <a:gd name="connsiteX5" fmla="*/ 317737 w 515902"/>
                    <a:gd name="connsiteY5" fmla="*/ 8434 h 454926"/>
                    <a:gd name="connsiteX6" fmla="*/ 317737 w 515902"/>
                    <a:gd name="connsiteY6" fmla="*/ 87809 h 454926"/>
                    <a:gd name="connsiteX7" fmla="*/ 339962 w 515902"/>
                    <a:gd name="connsiteY7" fmla="*/ 135434 h 454926"/>
                    <a:gd name="connsiteX8" fmla="*/ 451087 w 515902"/>
                    <a:gd name="connsiteY8" fmla="*/ 157659 h 454926"/>
                    <a:gd name="connsiteX9" fmla="*/ 514587 w 515902"/>
                    <a:gd name="connsiteY9" fmla="*/ 227509 h 454926"/>
                    <a:gd name="connsiteX10" fmla="*/ 511412 w 515902"/>
                    <a:gd name="connsiteY10" fmla="*/ 449759 h 454926"/>
                    <a:gd name="connsiteX11" fmla="*/ 9762 w 515902"/>
                    <a:gd name="connsiteY11" fmla="*/ 443409 h 454926"/>
                    <a:gd name="connsiteX0" fmla="*/ 9762 w 515902"/>
                    <a:gd name="connsiteY0" fmla="*/ 446099 h 457616"/>
                    <a:gd name="connsiteX1" fmla="*/ 6587 w 515902"/>
                    <a:gd name="connsiteY1" fmla="*/ 220674 h 457616"/>
                    <a:gd name="connsiteX2" fmla="*/ 76437 w 515902"/>
                    <a:gd name="connsiteY2" fmla="*/ 157174 h 457616"/>
                    <a:gd name="connsiteX3" fmla="*/ 190737 w 515902"/>
                    <a:gd name="connsiteY3" fmla="*/ 138124 h 457616"/>
                    <a:gd name="connsiteX4" fmla="*/ 206612 w 515902"/>
                    <a:gd name="connsiteY4" fmla="*/ 14299 h 457616"/>
                    <a:gd name="connsiteX5" fmla="*/ 317737 w 515902"/>
                    <a:gd name="connsiteY5" fmla="*/ 11124 h 457616"/>
                    <a:gd name="connsiteX6" fmla="*/ 317737 w 515902"/>
                    <a:gd name="connsiteY6" fmla="*/ 90499 h 457616"/>
                    <a:gd name="connsiteX7" fmla="*/ 339962 w 515902"/>
                    <a:gd name="connsiteY7" fmla="*/ 138124 h 457616"/>
                    <a:gd name="connsiteX8" fmla="*/ 451087 w 515902"/>
                    <a:gd name="connsiteY8" fmla="*/ 160349 h 457616"/>
                    <a:gd name="connsiteX9" fmla="*/ 514587 w 515902"/>
                    <a:gd name="connsiteY9" fmla="*/ 230199 h 457616"/>
                    <a:gd name="connsiteX10" fmla="*/ 511412 w 515902"/>
                    <a:gd name="connsiteY10" fmla="*/ 452449 h 457616"/>
                    <a:gd name="connsiteX11" fmla="*/ 9762 w 515902"/>
                    <a:gd name="connsiteY11" fmla="*/ 446099 h 457616"/>
                    <a:gd name="connsiteX0" fmla="*/ 9762 w 515902"/>
                    <a:gd name="connsiteY0" fmla="*/ 446099 h 457616"/>
                    <a:gd name="connsiteX1" fmla="*/ 6587 w 515902"/>
                    <a:gd name="connsiteY1" fmla="*/ 220674 h 457616"/>
                    <a:gd name="connsiteX2" fmla="*/ 76437 w 515902"/>
                    <a:gd name="connsiteY2" fmla="*/ 157174 h 457616"/>
                    <a:gd name="connsiteX3" fmla="*/ 190737 w 515902"/>
                    <a:gd name="connsiteY3" fmla="*/ 138124 h 457616"/>
                    <a:gd name="connsiteX4" fmla="*/ 206612 w 515902"/>
                    <a:gd name="connsiteY4" fmla="*/ 14299 h 457616"/>
                    <a:gd name="connsiteX5" fmla="*/ 317737 w 515902"/>
                    <a:gd name="connsiteY5" fmla="*/ 11124 h 457616"/>
                    <a:gd name="connsiteX6" fmla="*/ 317737 w 515902"/>
                    <a:gd name="connsiteY6" fmla="*/ 90499 h 457616"/>
                    <a:gd name="connsiteX7" fmla="*/ 451087 w 515902"/>
                    <a:gd name="connsiteY7" fmla="*/ 160349 h 457616"/>
                    <a:gd name="connsiteX8" fmla="*/ 514587 w 515902"/>
                    <a:gd name="connsiteY8" fmla="*/ 230199 h 457616"/>
                    <a:gd name="connsiteX9" fmla="*/ 511412 w 515902"/>
                    <a:gd name="connsiteY9" fmla="*/ 452449 h 457616"/>
                    <a:gd name="connsiteX10" fmla="*/ 9762 w 515902"/>
                    <a:gd name="connsiteY10" fmla="*/ 446099 h 457616"/>
                    <a:gd name="connsiteX0" fmla="*/ 9762 w 515902"/>
                    <a:gd name="connsiteY0" fmla="*/ 447482 h 458999"/>
                    <a:gd name="connsiteX1" fmla="*/ 6587 w 515902"/>
                    <a:gd name="connsiteY1" fmla="*/ 222057 h 458999"/>
                    <a:gd name="connsiteX2" fmla="*/ 76437 w 515902"/>
                    <a:gd name="connsiteY2" fmla="*/ 158557 h 458999"/>
                    <a:gd name="connsiteX3" fmla="*/ 190737 w 515902"/>
                    <a:gd name="connsiteY3" fmla="*/ 139507 h 458999"/>
                    <a:gd name="connsiteX4" fmla="*/ 206612 w 515902"/>
                    <a:gd name="connsiteY4" fmla="*/ 15682 h 458999"/>
                    <a:gd name="connsiteX5" fmla="*/ 317737 w 515902"/>
                    <a:gd name="connsiteY5" fmla="*/ 12507 h 458999"/>
                    <a:gd name="connsiteX6" fmla="*/ 330437 w 515902"/>
                    <a:gd name="connsiteY6" fmla="*/ 114107 h 458999"/>
                    <a:gd name="connsiteX7" fmla="*/ 451087 w 515902"/>
                    <a:gd name="connsiteY7" fmla="*/ 161732 h 458999"/>
                    <a:gd name="connsiteX8" fmla="*/ 514587 w 515902"/>
                    <a:gd name="connsiteY8" fmla="*/ 231582 h 458999"/>
                    <a:gd name="connsiteX9" fmla="*/ 511412 w 515902"/>
                    <a:gd name="connsiteY9" fmla="*/ 453832 h 458999"/>
                    <a:gd name="connsiteX10" fmla="*/ 9762 w 515902"/>
                    <a:gd name="connsiteY10" fmla="*/ 447482 h 458999"/>
                    <a:gd name="connsiteX0" fmla="*/ 9762 w 515902"/>
                    <a:gd name="connsiteY0" fmla="*/ 446348 h 457865"/>
                    <a:gd name="connsiteX1" fmla="*/ 6587 w 515902"/>
                    <a:gd name="connsiteY1" fmla="*/ 220923 h 457865"/>
                    <a:gd name="connsiteX2" fmla="*/ 76437 w 515902"/>
                    <a:gd name="connsiteY2" fmla="*/ 157423 h 457865"/>
                    <a:gd name="connsiteX3" fmla="*/ 200262 w 515902"/>
                    <a:gd name="connsiteY3" fmla="*/ 119323 h 457865"/>
                    <a:gd name="connsiteX4" fmla="*/ 206612 w 515902"/>
                    <a:gd name="connsiteY4" fmla="*/ 14548 h 457865"/>
                    <a:gd name="connsiteX5" fmla="*/ 317737 w 515902"/>
                    <a:gd name="connsiteY5" fmla="*/ 11373 h 457865"/>
                    <a:gd name="connsiteX6" fmla="*/ 330437 w 515902"/>
                    <a:gd name="connsiteY6" fmla="*/ 112973 h 457865"/>
                    <a:gd name="connsiteX7" fmla="*/ 451087 w 515902"/>
                    <a:gd name="connsiteY7" fmla="*/ 160598 h 457865"/>
                    <a:gd name="connsiteX8" fmla="*/ 514587 w 515902"/>
                    <a:gd name="connsiteY8" fmla="*/ 230448 h 457865"/>
                    <a:gd name="connsiteX9" fmla="*/ 511412 w 515902"/>
                    <a:gd name="connsiteY9" fmla="*/ 452698 h 457865"/>
                    <a:gd name="connsiteX10" fmla="*/ 9762 w 515902"/>
                    <a:gd name="connsiteY10" fmla="*/ 446348 h 457865"/>
                    <a:gd name="connsiteX0" fmla="*/ 8840 w 514980"/>
                    <a:gd name="connsiteY0" fmla="*/ 446348 h 457865"/>
                    <a:gd name="connsiteX1" fmla="*/ 5665 w 514980"/>
                    <a:gd name="connsiteY1" fmla="*/ 220923 h 457865"/>
                    <a:gd name="connsiteX2" fmla="*/ 62412 w 514980"/>
                    <a:gd name="connsiteY2" fmla="*/ 133367 h 457865"/>
                    <a:gd name="connsiteX3" fmla="*/ 199340 w 514980"/>
                    <a:gd name="connsiteY3" fmla="*/ 119323 h 457865"/>
                    <a:gd name="connsiteX4" fmla="*/ 205690 w 514980"/>
                    <a:gd name="connsiteY4" fmla="*/ 14548 h 457865"/>
                    <a:gd name="connsiteX5" fmla="*/ 316815 w 514980"/>
                    <a:gd name="connsiteY5" fmla="*/ 11373 h 457865"/>
                    <a:gd name="connsiteX6" fmla="*/ 329515 w 514980"/>
                    <a:gd name="connsiteY6" fmla="*/ 112973 h 457865"/>
                    <a:gd name="connsiteX7" fmla="*/ 450165 w 514980"/>
                    <a:gd name="connsiteY7" fmla="*/ 160598 h 457865"/>
                    <a:gd name="connsiteX8" fmla="*/ 513665 w 514980"/>
                    <a:gd name="connsiteY8" fmla="*/ 230448 h 457865"/>
                    <a:gd name="connsiteX9" fmla="*/ 510490 w 514980"/>
                    <a:gd name="connsiteY9" fmla="*/ 452698 h 457865"/>
                    <a:gd name="connsiteX10" fmla="*/ 8840 w 514980"/>
                    <a:gd name="connsiteY10" fmla="*/ 446348 h 457865"/>
                    <a:gd name="connsiteX0" fmla="*/ 8840 w 514980"/>
                    <a:gd name="connsiteY0" fmla="*/ 445015 h 456532"/>
                    <a:gd name="connsiteX1" fmla="*/ 5665 w 514980"/>
                    <a:gd name="connsiteY1" fmla="*/ 219590 h 456532"/>
                    <a:gd name="connsiteX2" fmla="*/ 62412 w 514980"/>
                    <a:gd name="connsiteY2" fmla="*/ 132034 h 456532"/>
                    <a:gd name="connsiteX3" fmla="*/ 186237 w 514980"/>
                    <a:gd name="connsiteY3" fmla="*/ 93934 h 456532"/>
                    <a:gd name="connsiteX4" fmla="*/ 205690 w 514980"/>
                    <a:gd name="connsiteY4" fmla="*/ 13215 h 456532"/>
                    <a:gd name="connsiteX5" fmla="*/ 316815 w 514980"/>
                    <a:gd name="connsiteY5" fmla="*/ 10040 h 456532"/>
                    <a:gd name="connsiteX6" fmla="*/ 329515 w 514980"/>
                    <a:gd name="connsiteY6" fmla="*/ 111640 h 456532"/>
                    <a:gd name="connsiteX7" fmla="*/ 450165 w 514980"/>
                    <a:gd name="connsiteY7" fmla="*/ 159265 h 456532"/>
                    <a:gd name="connsiteX8" fmla="*/ 513665 w 514980"/>
                    <a:gd name="connsiteY8" fmla="*/ 229115 h 456532"/>
                    <a:gd name="connsiteX9" fmla="*/ 510490 w 514980"/>
                    <a:gd name="connsiteY9" fmla="*/ 451365 h 456532"/>
                    <a:gd name="connsiteX10" fmla="*/ 8840 w 514980"/>
                    <a:gd name="connsiteY10" fmla="*/ 445015 h 456532"/>
                    <a:gd name="connsiteX0" fmla="*/ 8840 w 514980"/>
                    <a:gd name="connsiteY0" fmla="*/ 445015 h 456532"/>
                    <a:gd name="connsiteX1" fmla="*/ 5665 w 514980"/>
                    <a:gd name="connsiteY1" fmla="*/ 219590 h 456532"/>
                    <a:gd name="connsiteX2" fmla="*/ 62412 w 514980"/>
                    <a:gd name="connsiteY2" fmla="*/ 132034 h 456532"/>
                    <a:gd name="connsiteX3" fmla="*/ 186237 w 514980"/>
                    <a:gd name="connsiteY3" fmla="*/ 93934 h 456532"/>
                    <a:gd name="connsiteX4" fmla="*/ 205690 w 514980"/>
                    <a:gd name="connsiteY4" fmla="*/ 13215 h 456532"/>
                    <a:gd name="connsiteX5" fmla="*/ 316815 w 514980"/>
                    <a:gd name="connsiteY5" fmla="*/ 10040 h 456532"/>
                    <a:gd name="connsiteX6" fmla="*/ 329515 w 514980"/>
                    <a:gd name="connsiteY6" fmla="*/ 111640 h 456532"/>
                    <a:gd name="connsiteX7" fmla="*/ 461084 w 514980"/>
                    <a:gd name="connsiteY7" fmla="*/ 146143 h 456532"/>
                    <a:gd name="connsiteX8" fmla="*/ 513665 w 514980"/>
                    <a:gd name="connsiteY8" fmla="*/ 229115 h 456532"/>
                    <a:gd name="connsiteX9" fmla="*/ 510490 w 514980"/>
                    <a:gd name="connsiteY9" fmla="*/ 451365 h 456532"/>
                    <a:gd name="connsiteX10" fmla="*/ 8840 w 514980"/>
                    <a:gd name="connsiteY10" fmla="*/ 445015 h 456532"/>
                    <a:gd name="connsiteX0" fmla="*/ 8840 w 514980"/>
                    <a:gd name="connsiteY0" fmla="*/ 444105 h 455622"/>
                    <a:gd name="connsiteX1" fmla="*/ 5665 w 514980"/>
                    <a:gd name="connsiteY1" fmla="*/ 218680 h 455622"/>
                    <a:gd name="connsiteX2" fmla="*/ 62412 w 514980"/>
                    <a:gd name="connsiteY2" fmla="*/ 131124 h 455622"/>
                    <a:gd name="connsiteX3" fmla="*/ 186237 w 514980"/>
                    <a:gd name="connsiteY3" fmla="*/ 93024 h 455622"/>
                    <a:gd name="connsiteX4" fmla="*/ 205690 w 514980"/>
                    <a:gd name="connsiteY4" fmla="*/ 12305 h 455622"/>
                    <a:gd name="connsiteX5" fmla="*/ 316815 w 514980"/>
                    <a:gd name="connsiteY5" fmla="*/ 9130 h 455622"/>
                    <a:gd name="connsiteX6" fmla="*/ 351353 w 514980"/>
                    <a:gd name="connsiteY6" fmla="*/ 97608 h 455622"/>
                    <a:gd name="connsiteX7" fmla="*/ 461084 w 514980"/>
                    <a:gd name="connsiteY7" fmla="*/ 145233 h 455622"/>
                    <a:gd name="connsiteX8" fmla="*/ 513665 w 514980"/>
                    <a:gd name="connsiteY8" fmla="*/ 228205 h 455622"/>
                    <a:gd name="connsiteX9" fmla="*/ 510490 w 514980"/>
                    <a:gd name="connsiteY9" fmla="*/ 450455 h 455622"/>
                    <a:gd name="connsiteX10" fmla="*/ 8840 w 514980"/>
                    <a:gd name="connsiteY10" fmla="*/ 444105 h 455622"/>
                    <a:gd name="connsiteX0" fmla="*/ 8840 w 514980"/>
                    <a:gd name="connsiteY0" fmla="*/ 442755 h 454272"/>
                    <a:gd name="connsiteX1" fmla="*/ 5665 w 514980"/>
                    <a:gd name="connsiteY1" fmla="*/ 217330 h 454272"/>
                    <a:gd name="connsiteX2" fmla="*/ 62412 w 514980"/>
                    <a:gd name="connsiteY2" fmla="*/ 129774 h 454272"/>
                    <a:gd name="connsiteX3" fmla="*/ 186237 w 514980"/>
                    <a:gd name="connsiteY3" fmla="*/ 91674 h 454272"/>
                    <a:gd name="connsiteX4" fmla="*/ 205690 w 514980"/>
                    <a:gd name="connsiteY4" fmla="*/ 10955 h 454272"/>
                    <a:gd name="connsiteX5" fmla="*/ 325550 w 514980"/>
                    <a:gd name="connsiteY5" fmla="*/ 9967 h 454272"/>
                    <a:gd name="connsiteX6" fmla="*/ 351353 w 514980"/>
                    <a:gd name="connsiteY6" fmla="*/ 96258 h 454272"/>
                    <a:gd name="connsiteX7" fmla="*/ 461084 w 514980"/>
                    <a:gd name="connsiteY7" fmla="*/ 143883 h 454272"/>
                    <a:gd name="connsiteX8" fmla="*/ 513665 w 514980"/>
                    <a:gd name="connsiteY8" fmla="*/ 226855 h 454272"/>
                    <a:gd name="connsiteX9" fmla="*/ 510490 w 514980"/>
                    <a:gd name="connsiteY9" fmla="*/ 449105 h 454272"/>
                    <a:gd name="connsiteX10" fmla="*/ 8840 w 514980"/>
                    <a:gd name="connsiteY10" fmla="*/ 442755 h 454272"/>
                    <a:gd name="connsiteX0" fmla="*/ 8840 w 514980"/>
                    <a:gd name="connsiteY0" fmla="*/ 442755 h 454272"/>
                    <a:gd name="connsiteX1" fmla="*/ 5665 w 514980"/>
                    <a:gd name="connsiteY1" fmla="*/ 217330 h 454272"/>
                    <a:gd name="connsiteX2" fmla="*/ 62412 w 514980"/>
                    <a:gd name="connsiteY2" fmla="*/ 129774 h 454272"/>
                    <a:gd name="connsiteX3" fmla="*/ 186237 w 514980"/>
                    <a:gd name="connsiteY3" fmla="*/ 91674 h 454272"/>
                    <a:gd name="connsiteX4" fmla="*/ 205690 w 514980"/>
                    <a:gd name="connsiteY4" fmla="*/ 10955 h 454272"/>
                    <a:gd name="connsiteX5" fmla="*/ 325550 w 514980"/>
                    <a:gd name="connsiteY5" fmla="*/ 9967 h 454272"/>
                    <a:gd name="connsiteX6" fmla="*/ 351353 w 514980"/>
                    <a:gd name="connsiteY6" fmla="*/ 96258 h 454272"/>
                    <a:gd name="connsiteX7" fmla="*/ 461084 w 514980"/>
                    <a:gd name="connsiteY7" fmla="*/ 143883 h 454272"/>
                    <a:gd name="connsiteX8" fmla="*/ 513665 w 514980"/>
                    <a:gd name="connsiteY8" fmla="*/ 226855 h 454272"/>
                    <a:gd name="connsiteX9" fmla="*/ 510490 w 514980"/>
                    <a:gd name="connsiteY9" fmla="*/ 449105 h 454272"/>
                    <a:gd name="connsiteX10" fmla="*/ 8840 w 514980"/>
                    <a:gd name="connsiteY10" fmla="*/ 442755 h 454272"/>
                    <a:gd name="connsiteX0" fmla="*/ 8840 w 514980"/>
                    <a:gd name="connsiteY0" fmla="*/ 442755 h 454272"/>
                    <a:gd name="connsiteX1" fmla="*/ 5665 w 514980"/>
                    <a:gd name="connsiteY1" fmla="*/ 217330 h 454272"/>
                    <a:gd name="connsiteX2" fmla="*/ 62412 w 514980"/>
                    <a:gd name="connsiteY2" fmla="*/ 129774 h 454272"/>
                    <a:gd name="connsiteX3" fmla="*/ 186237 w 514980"/>
                    <a:gd name="connsiteY3" fmla="*/ 91674 h 454272"/>
                    <a:gd name="connsiteX4" fmla="*/ 205690 w 514980"/>
                    <a:gd name="connsiteY4" fmla="*/ 10955 h 454272"/>
                    <a:gd name="connsiteX5" fmla="*/ 325550 w 514980"/>
                    <a:gd name="connsiteY5" fmla="*/ 9967 h 454272"/>
                    <a:gd name="connsiteX6" fmla="*/ 351353 w 514980"/>
                    <a:gd name="connsiteY6" fmla="*/ 96258 h 454272"/>
                    <a:gd name="connsiteX7" fmla="*/ 461084 w 514980"/>
                    <a:gd name="connsiteY7" fmla="*/ 143883 h 454272"/>
                    <a:gd name="connsiteX8" fmla="*/ 513665 w 514980"/>
                    <a:gd name="connsiteY8" fmla="*/ 226855 h 454272"/>
                    <a:gd name="connsiteX9" fmla="*/ 510490 w 514980"/>
                    <a:gd name="connsiteY9" fmla="*/ 449105 h 454272"/>
                    <a:gd name="connsiteX10" fmla="*/ 8840 w 514980"/>
                    <a:gd name="connsiteY10" fmla="*/ 442755 h 454272"/>
                    <a:gd name="connsiteX0" fmla="*/ 8840 w 514980"/>
                    <a:gd name="connsiteY0" fmla="*/ 442755 h 454272"/>
                    <a:gd name="connsiteX1" fmla="*/ 5665 w 514980"/>
                    <a:gd name="connsiteY1" fmla="*/ 217330 h 454272"/>
                    <a:gd name="connsiteX2" fmla="*/ 62412 w 514980"/>
                    <a:gd name="connsiteY2" fmla="*/ 129774 h 454272"/>
                    <a:gd name="connsiteX3" fmla="*/ 186237 w 514980"/>
                    <a:gd name="connsiteY3" fmla="*/ 91674 h 454272"/>
                    <a:gd name="connsiteX4" fmla="*/ 205690 w 514980"/>
                    <a:gd name="connsiteY4" fmla="*/ 10955 h 454272"/>
                    <a:gd name="connsiteX5" fmla="*/ 325550 w 514980"/>
                    <a:gd name="connsiteY5" fmla="*/ 9967 h 454272"/>
                    <a:gd name="connsiteX6" fmla="*/ 351353 w 514980"/>
                    <a:gd name="connsiteY6" fmla="*/ 96258 h 454272"/>
                    <a:gd name="connsiteX7" fmla="*/ 461084 w 514980"/>
                    <a:gd name="connsiteY7" fmla="*/ 143883 h 454272"/>
                    <a:gd name="connsiteX8" fmla="*/ 513665 w 514980"/>
                    <a:gd name="connsiteY8" fmla="*/ 226855 h 454272"/>
                    <a:gd name="connsiteX9" fmla="*/ 510490 w 514980"/>
                    <a:gd name="connsiteY9" fmla="*/ 449105 h 454272"/>
                    <a:gd name="connsiteX10" fmla="*/ 8840 w 514980"/>
                    <a:gd name="connsiteY10" fmla="*/ 442755 h 454272"/>
                    <a:gd name="connsiteX0" fmla="*/ 8840 w 514980"/>
                    <a:gd name="connsiteY0" fmla="*/ 436996 h 448513"/>
                    <a:gd name="connsiteX1" fmla="*/ 5665 w 514980"/>
                    <a:gd name="connsiteY1" fmla="*/ 211571 h 448513"/>
                    <a:gd name="connsiteX2" fmla="*/ 62412 w 514980"/>
                    <a:gd name="connsiteY2" fmla="*/ 124015 h 448513"/>
                    <a:gd name="connsiteX3" fmla="*/ 186237 w 514980"/>
                    <a:gd name="connsiteY3" fmla="*/ 85915 h 448513"/>
                    <a:gd name="connsiteX4" fmla="*/ 205690 w 514980"/>
                    <a:gd name="connsiteY4" fmla="*/ 5196 h 448513"/>
                    <a:gd name="connsiteX5" fmla="*/ 325550 w 514980"/>
                    <a:gd name="connsiteY5" fmla="*/ 4208 h 448513"/>
                    <a:gd name="connsiteX6" fmla="*/ 351353 w 514980"/>
                    <a:gd name="connsiteY6" fmla="*/ 90499 h 448513"/>
                    <a:gd name="connsiteX7" fmla="*/ 461084 w 514980"/>
                    <a:gd name="connsiteY7" fmla="*/ 138124 h 448513"/>
                    <a:gd name="connsiteX8" fmla="*/ 513665 w 514980"/>
                    <a:gd name="connsiteY8" fmla="*/ 221096 h 448513"/>
                    <a:gd name="connsiteX9" fmla="*/ 510490 w 514980"/>
                    <a:gd name="connsiteY9" fmla="*/ 443346 h 448513"/>
                    <a:gd name="connsiteX10" fmla="*/ 8840 w 514980"/>
                    <a:gd name="connsiteY10" fmla="*/ 436996 h 448513"/>
                    <a:gd name="connsiteX0" fmla="*/ 8840 w 514980"/>
                    <a:gd name="connsiteY0" fmla="*/ 436996 h 448513"/>
                    <a:gd name="connsiteX1" fmla="*/ 5665 w 514980"/>
                    <a:gd name="connsiteY1" fmla="*/ 211571 h 448513"/>
                    <a:gd name="connsiteX2" fmla="*/ 62412 w 514980"/>
                    <a:gd name="connsiteY2" fmla="*/ 124015 h 448513"/>
                    <a:gd name="connsiteX3" fmla="*/ 186237 w 514980"/>
                    <a:gd name="connsiteY3" fmla="*/ 85915 h 448513"/>
                    <a:gd name="connsiteX4" fmla="*/ 205690 w 514980"/>
                    <a:gd name="connsiteY4" fmla="*/ 5196 h 448513"/>
                    <a:gd name="connsiteX5" fmla="*/ 325550 w 514980"/>
                    <a:gd name="connsiteY5" fmla="*/ 4208 h 448513"/>
                    <a:gd name="connsiteX6" fmla="*/ 351353 w 514980"/>
                    <a:gd name="connsiteY6" fmla="*/ 90499 h 448513"/>
                    <a:gd name="connsiteX7" fmla="*/ 461084 w 514980"/>
                    <a:gd name="connsiteY7" fmla="*/ 138124 h 448513"/>
                    <a:gd name="connsiteX8" fmla="*/ 513665 w 514980"/>
                    <a:gd name="connsiteY8" fmla="*/ 221096 h 448513"/>
                    <a:gd name="connsiteX9" fmla="*/ 510490 w 514980"/>
                    <a:gd name="connsiteY9" fmla="*/ 443346 h 448513"/>
                    <a:gd name="connsiteX10" fmla="*/ 8840 w 514980"/>
                    <a:gd name="connsiteY10" fmla="*/ 436996 h 448513"/>
                    <a:gd name="connsiteX0" fmla="*/ 8840 w 514980"/>
                    <a:gd name="connsiteY0" fmla="*/ 436996 h 448513"/>
                    <a:gd name="connsiteX1" fmla="*/ 5665 w 514980"/>
                    <a:gd name="connsiteY1" fmla="*/ 211571 h 448513"/>
                    <a:gd name="connsiteX2" fmla="*/ 62412 w 514980"/>
                    <a:gd name="connsiteY2" fmla="*/ 124015 h 448513"/>
                    <a:gd name="connsiteX3" fmla="*/ 186237 w 514980"/>
                    <a:gd name="connsiteY3" fmla="*/ 85915 h 448513"/>
                    <a:gd name="connsiteX4" fmla="*/ 205690 w 514980"/>
                    <a:gd name="connsiteY4" fmla="*/ 5196 h 448513"/>
                    <a:gd name="connsiteX5" fmla="*/ 325550 w 514980"/>
                    <a:gd name="connsiteY5" fmla="*/ 4208 h 448513"/>
                    <a:gd name="connsiteX6" fmla="*/ 351353 w 514980"/>
                    <a:gd name="connsiteY6" fmla="*/ 90499 h 448513"/>
                    <a:gd name="connsiteX7" fmla="*/ 461084 w 514980"/>
                    <a:gd name="connsiteY7" fmla="*/ 138124 h 448513"/>
                    <a:gd name="connsiteX8" fmla="*/ 513665 w 514980"/>
                    <a:gd name="connsiteY8" fmla="*/ 221096 h 448513"/>
                    <a:gd name="connsiteX9" fmla="*/ 510490 w 514980"/>
                    <a:gd name="connsiteY9" fmla="*/ 443346 h 448513"/>
                    <a:gd name="connsiteX10" fmla="*/ 8840 w 514980"/>
                    <a:gd name="connsiteY10" fmla="*/ 436996 h 448513"/>
                    <a:gd name="connsiteX0" fmla="*/ 8840 w 514980"/>
                    <a:gd name="connsiteY0" fmla="*/ 436996 h 448513"/>
                    <a:gd name="connsiteX1" fmla="*/ 5665 w 514980"/>
                    <a:gd name="connsiteY1" fmla="*/ 211571 h 448513"/>
                    <a:gd name="connsiteX2" fmla="*/ 62412 w 514980"/>
                    <a:gd name="connsiteY2" fmla="*/ 124015 h 448513"/>
                    <a:gd name="connsiteX3" fmla="*/ 168766 w 514980"/>
                    <a:gd name="connsiteY3" fmla="*/ 88102 h 448513"/>
                    <a:gd name="connsiteX4" fmla="*/ 205690 w 514980"/>
                    <a:gd name="connsiteY4" fmla="*/ 5196 h 448513"/>
                    <a:gd name="connsiteX5" fmla="*/ 325550 w 514980"/>
                    <a:gd name="connsiteY5" fmla="*/ 4208 h 448513"/>
                    <a:gd name="connsiteX6" fmla="*/ 351353 w 514980"/>
                    <a:gd name="connsiteY6" fmla="*/ 90499 h 448513"/>
                    <a:gd name="connsiteX7" fmla="*/ 461084 w 514980"/>
                    <a:gd name="connsiteY7" fmla="*/ 138124 h 448513"/>
                    <a:gd name="connsiteX8" fmla="*/ 513665 w 514980"/>
                    <a:gd name="connsiteY8" fmla="*/ 221096 h 448513"/>
                    <a:gd name="connsiteX9" fmla="*/ 510490 w 514980"/>
                    <a:gd name="connsiteY9" fmla="*/ 443346 h 448513"/>
                    <a:gd name="connsiteX10" fmla="*/ 8840 w 514980"/>
                    <a:gd name="connsiteY10" fmla="*/ 436996 h 448513"/>
                    <a:gd name="connsiteX0" fmla="*/ 8840 w 514980"/>
                    <a:gd name="connsiteY0" fmla="*/ 440628 h 452145"/>
                    <a:gd name="connsiteX1" fmla="*/ 5665 w 514980"/>
                    <a:gd name="connsiteY1" fmla="*/ 215203 h 452145"/>
                    <a:gd name="connsiteX2" fmla="*/ 62412 w 514980"/>
                    <a:gd name="connsiteY2" fmla="*/ 127647 h 452145"/>
                    <a:gd name="connsiteX3" fmla="*/ 168766 w 514980"/>
                    <a:gd name="connsiteY3" fmla="*/ 91734 h 452145"/>
                    <a:gd name="connsiteX4" fmla="*/ 179484 w 514980"/>
                    <a:gd name="connsiteY4" fmla="*/ 4454 h 452145"/>
                    <a:gd name="connsiteX5" fmla="*/ 325550 w 514980"/>
                    <a:gd name="connsiteY5" fmla="*/ 7840 h 452145"/>
                    <a:gd name="connsiteX6" fmla="*/ 351353 w 514980"/>
                    <a:gd name="connsiteY6" fmla="*/ 94131 h 452145"/>
                    <a:gd name="connsiteX7" fmla="*/ 461084 w 514980"/>
                    <a:gd name="connsiteY7" fmla="*/ 141756 h 452145"/>
                    <a:gd name="connsiteX8" fmla="*/ 513665 w 514980"/>
                    <a:gd name="connsiteY8" fmla="*/ 224728 h 452145"/>
                    <a:gd name="connsiteX9" fmla="*/ 510490 w 514980"/>
                    <a:gd name="connsiteY9" fmla="*/ 446978 h 452145"/>
                    <a:gd name="connsiteX10" fmla="*/ 8840 w 514980"/>
                    <a:gd name="connsiteY10" fmla="*/ 440628 h 452145"/>
                    <a:gd name="connsiteX0" fmla="*/ 8840 w 514980"/>
                    <a:gd name="connsiteY0" fmla="*/ 442422 h 453939"/>
                    <a:gd name="connsiteX1" fmla="*/ 5665 w 514980"/>
                    <a:gd name="connsiteY1" fmla="*/ 216997 h 453939"/>
                    <a:gd name="connsiteX2" fmla="*/ 62412 w 514980"/>
                    <a:gd name="connsiteY2" fmla="*/ 129441 h 453939"/>
                    <a:gd name="connsiteX3" fmla="*/ 168766 w 514980"/>
                    <a:gd name="connsiteY3" fmla="*/ 93528 h 453939"/>
                    <a:gd name="connsiteX4" fmla="*/ 179484 w 514980"/>
                    <a:gd name="connsiteY4" fmla="*/ 6248 h 453939"/>
                    <a:gd name="connsiteX5" fmla="*/ 351756 w 514980"/>
                    <a:gd name="connsiteY5" fmla="*/ 886 h 453939"/>
                    <a:gd name="connsiteX6" fmla="*/ 351353 w 514980"/>
                    <a:gd name="connsiteY6" fmla="*/ 95925 h 453939"/>
                    <a:gd name="connsiteX7" fmla="*/ 461084 w 514980"/>
                    <a:gd name="connsiteY7" fmla="*/ 143550 h 453939"/>
                    <a:gd name="connsiteX8" fmla="*/ 513665 w 514980"/>
                    <a:gd name="connsiteY8" fmla="*/ 226522 h 453939"/>
                    <a:gd name="connsiteX9" fmla="*/ 510490 w 514980"/>
                    <a:gd name="connsiteY9" fmla="*/ 448772 h 453939"/>
                    <a:gd name="connsiteX10" fmla="*/ 8840 w 514980"/>
                    <a:gd name="connsiteY10" fmla="*/ 442422 h 453939"/>
                    <a:gd name="connsiteX0" fmla="*/ 8840 w 514980"/>
                    <a:gd name="connsiteY0" fmla="*/ 442422 h 453939"/>
                    <a:gd name="connsiteX1" fmla="*/ 5665 w 514980"/>
                    <a:gd name="connsiteY1" fmla="*/ 216997 h 453939"/>
                    <a:gd name="connsiteX2" fmla="*/ 62412 w 514980"/>
                    <a:gd name="connsiteY2" fmla="*/ 129441 h 453939"/>
                    <a:gd name="connsiteX3" fmla="*/ 168766 w 514980"/>
                    <a:gd name="connsiteY3" fmla="*/ 93528 h 453939"/>
                    <a:gd name="connsiteX4" fmla="*/ 179484 w 514980"/>
                    <a:gd name="connsiteY4" fmla="*/ 6248 h 453939"/>
                    <a:gd name="connsiteX5" fmla="*/ 351756 w 514980"/>
                    <a:gd name="connsiteY5" fmla="*/ 886 h 453939"/>
                    <a:gd name="connsiteX6" fmla="*/ 366640 w 514980"/>
                    <a:gd name="connsiteY6" fmla="*/ 100299 h 453939"/>
                    <a:gd name="connsiteX7" fmla="*/ 461084 w 514980"/>
                    <a:gd name="connsiteY7" fmla="*/ 143550 h 453939"/>
                    <a:gd name="connsiteX8" fmla="*/ 513665 w 514980"/>
                    <a:gd name="connsiteY8" fmla="*/ 226522 h 453939"/>
                    <a:gd name="connsiteX9" fmla="*/ 510490 w 514980"/>
                    <a:gd name="connsiteY9" fmla="*/ 448772 h 453939"/>
                    <a:gd name="connsiteX10" fmla="*/ 8840 w 514980"/>
                    <a:gd name="connsiteY10" fmla="*/ 442422 h 453939"/>
                    <a:gd name="connsiteX0" fmla="*/ 8840 w 514980"/>
                    <a:gd name="connsiteY0" fmla="*/ 442422 h 450476"/>
                    <a:gd name="connsiteX1" fmla="*/ 5665 w 514980"/>
                    <a:gd name="connsiteY1" fmla="*/ 216997 h 450476"/>
                    <a:gd name="connsiteX2" fmla="*/ 62412 w 514980"/>
                    <a:gd name="connsiteY2" fmla="*/ 129441 h 450476"/>
                    <a:gd name="connsiteX3" fmla="*/ 168766 w 514980"/>
                    <a:gd name="connsiteY3" fmla="*/ 93528 h 450476"/>
                    <a:gd name="connsiteX4" fmla="*/ 179484 w 514980"/>
                    <a:gd name="connsiteY4" fmla="*/ 6248 h 450476"/>
                    <a:gd name="connsiteX5" fmla="*/ 351756 w 514980"/>
                    <a:gd name="connsiteY5" fmla="*/ 886 h 450476"/>
                    <a:gd name="connsiteX6" fmla="*/ 366640 w 514980"/>
                    <a:gd name="connsiteY6" fmla="*/ 100299 h 450476"/>
                    <a:gd name="connsiteX7" fmla="*/ 461084 w 514980"/>
                    <a:gd name="connsiteY7" fmla="*/ 143550 h 450476"/>
                    <a:gd name="connsiteX8" fmla="*/ 513665 w 514980"/>
                    <a:gd name="connsiteY8" fmla="*/ 226522 h 450476"/>
                    <a:gd name="connsiteX9" fmla="*/ 510490 w 514980"/>
                    <a:gd name="connsiteY9" fmla="*/ 448772 h 450476"/>
                    <a:gd name="connsiteX10" fmla="*/ 8840 w 514980"/>
                    <a:gd name="connsiteY10" fmla="*/ 442422 h 450476"/>
                    <a:gd name="connsiteX0" fmla="*/ 8840 w 514980"/>
                    <a:gd name="connsiteY0" fmla="*/ 442422 h 448772"/>
                    <a:gd name="connsiteX1" fmla="*/ 5665 w 514980"/>
                    <a:gd name="connsiteY1" fmla="*/ 216997 h 448772"/>
                    <a:gd name="connsiteX2" fmla="*/ 62412 w 514980"/>
                    <a:gd name="connsiteY2" fmla="*/ 129441 h 448772"/>
                    <a:gd name="connsiteX3" fmla="*/ 168766 w 514980"/>
                    <a:gd name="connsiteY3" fmla="*/ 93528 h 448772"/>
                    <a:gd name="connsiteX4" fmla="*/ 179484 w 514980"/>
                    <a:gd name="connsiteY4" fmla="*/ 6248 h 448772"/>
                    <a:gd name="connsiteX5" fmla="*/ 351756 w 514980"/>
                    <a:gd name="connsiteY5" fmla="*/ 886 h 448772"/>
                    <a:gd name="connsiteX6" fmla="*/ 366640 w 514980"/>
                    <a:gd name="connsiteY6" fmla="*/ 100299 h 448772"/>
                    <a:gd name="connsiteX7" fmla="*/ 461084 w 514980"/>
                    <a:gd name="connsiteY7" fmla="*/ 143550 h 448772"/>
                    <a:gd name="connsiteX8" fmla="*/ 513665 w 514980"/>
                    <a:gd name="connsiteY8" fmla="*/ 226522 h 448772"/>
                    <a:gd name="connsiteX9" fmla="*/ 510490 w 514980"/>
                    <a:gd name="connsiteY9" fmla="*/ 448772 h 448772"/>
                    <a:gd name="connsiteX10" fmla="*/ 8840 w 514980"/>
                    <a:gd name="connsiteY10" fmla="*/ 442422 h 448772"/>
                    <a:gd name="connsiteX0" fmla="*/ 8840 w 514980"/>
                    <a:gd name="connsiteY0" fmla="*/ 442422 h 448772"/>
                    <a:gd name="connsiteX1" fmla="*/ 5665 w 514980"/>
                    <a:gd name="connsiteY1" fmla="*/ 216997 h 448772"/>
                    <a:gd name="connsiteX2" fmla="*/ 62412 w 514980"/>
                    <a:gd name="connsiteY2" fmla="*/ 129441 h 448772"/>
                    <a:gd name="connsiteX3" fmla="*/ 168766 w 514980"/>
                    <a:gd name="connsiteY3" fmla="*/ 93528 h 448772"/>
                    <a:gd name="connsiteX4" fmla="*/ 179484 w 514980"/>
                    <a:gd name="connsiteY4" fmla="*/ 6248 h 448772"/>
                    <a:gd name="connsiteX5" fmla="*/ 351756 w 514980"/>
                    <a:gd name="connsiteY5" fmla="*/ 886 h 448772"/>
                    <a:gd name="connsiteX6" fmla="*/ 357905 w 514980"/>
                    <a:gd name="connsiteY6" fmla="*/ 98112 h 448772"/>
                    <a:gd name="connsiteX7" fmla="*/ 461084 w 514980"/>
                    <a:gd name="connsiteY7" fmla="*/ 143550 h 448772"/>
                    <a:gd name="connsiteX8" fmla="*/ 513665 w 514980"/>
                    <a:gd name="connsiteY8" fmla="*/ 226522 h 448772"/>
                    <a:gd name="connsiteX9" fmla="*/ 510490 w 514980"/>
                    <a:gd name="connsiteY9" fmla="*/ 448772 h 448772"/>
                    <a:gd name="connsiteX10" fmla="*/ 8840 w 514980"/>
                    <a:gd name="connsiteY10" fmla="*/ 442422 h 448772"/>
                    <a:gd name="connsiteX0" fmla="*/ 8840 w 514980"/>
                    <a:gd name="connsiteY0" fmla="*/ 442422 h 448772"/>
                    <a:gd name="connsiteX1" fmla="*/ 5665 w 514980"/>
                    <a:gd name="connsiteY1" fmla="*/ 216997 h 448772"/>
                    <a:gd name="connsiteX2" fmla="*/ 62412 w 514980"/>
                    <a:gd name="connsiteY2" fmla="*/ 129441 h 448772"/>
                    <a:gd name="connsiteX3" fmla="*/ 168766 w 514980"/>
                    <a:gd name="connsiteY3" fmla="*/ 93528 h 448772"/>
                    <a:gd name="connsiteX4" fmla="*/ 179484 w 514980"/>
                    <a:gd name="connsiteY4" fmla="*/ 6248 h 448772"/>
                    <a:gd name="connsiteX5" fmla="*/ 351756 w 514980"/>
                    <a:gd name="connsiteY5" fmla="*/ 886 h 448772"/>
                    <a:gd name="connsiteX6" fmla="*/ 357905 w 514980"/>
                    <a:gd name="connsiteY6" fmla="*/ 98112 h 448772"/>
                    <a:gd name="connsiteX7" fmla="*/ 454533 w 514980"/>
                    <a:gd name="connsiteY7" fmla="*/ 136989 h 448772"/>
                    <a:gd name="connsiteX8" fmla="*/ 513665 w 514980"/>
                    <a:gd name="connsiteY8" fmla="*/ 226522 h 448772"/>
                    <a:gd name="connsiteX9" fmla="*/ 510490 w 514980"/>
                    <a:gd name="connsiteY9" fmla="*/ 448772 h 448772"/>
                    <a:gd name="connsiteX10" fmla="*/ 8840 w 514980"/>
                    <a:gd name="connsiteY10" fmla="*/ 442422 h 448772"/>
                    <a:gd name="connsiteX0" fmla="*/ 8840 w 514980"/>
                    <a:gd name="connsiteY0" fmla="*/ 442422 h 448772"/>
                    <a:gd name="connsiteX1" fmla="*/ 5665 w 514980"/>
                    <a:gd name="connsiteY1" fmla="*/ 216997 h 448772"/>
                    <a:gd name="connsiteX2" fmla="*/ 62412 w 514980"/>
                    <a:gd name="connsiteY2" fmla="*/ 129441 h 448772"/>
                    <a:gd name="connsiteX3" fmla="*/ 168766 w 514980"/>
                    <a:gd name="connsiteY3" fmla="*/ 93528 h 448772"/>
                    <a:gd name="connsiteX4" fmla="*/ 179484 w 514980"/>
                    <a:gd name="connsiteY4" fmla="*/ 6248 h 448772"/>
                    <a:gd name="connsiteX5" fmla="*/ 351756 w 514980"/>
                    <a:gd name="connsiteY5" fmla="*/ 886 h 448772"/>
                    <a:gd name="connsiteX6" fmla="*/ 357905 w 514980"/>
                    <a:gd name="connsiteY6" fmla="*/ 98112 h 448772"/>
                    <a:gd name="connsiteX7" fmla="*/ 454533 w 514980"/>
                    <a:gd name="connsiteY7" fmla="*/ 136989 h 448772"/>
                    <a:gd name="connsiteX8" fmla="*/ 513665 w 514980"/>
                    <a:gd name="connsiteY8" fmla="*/ 226522 h 448772"/>
                    <a:gd name="connsiteX9" fmla="*/ 510490 w 514980"/>
                    <a:gd name="connsiteY9" fmla="*/ 448772 h 448772"/>
                    <a:gd name="connsiteX10" fmla="*/ 8840 w 514980"/>
                    <a:gd name="connsiteY10" fmla="*/ 442422 h 448772"/>
                    <a:gd name="connsiteX0" fmla="*/ 8840 w 514980"/>
                    <a:gd name="connsiteY0" fmla="*/ 442422 h 448772"/>
                    <a:gd name="connsiteX1" fmla="*/ 5665 w 514980"/>
                    <a:gd name="connsiteY1" fmla="*/ 216997 h 448772"/>
                    <a:gd name="connsiteX2" fmla="*/ 62412 w 514980"/>
                    <a:gd name="connsiteY2" fmla="*/ 129441 h 448772"/>
                    <a:gd name="connsiteX3" fmla="*/ 168766 w 514980"/>
                    <a:gd name="connsiteY3" fmla="*/ 93528 h 448772"/>
                    <a:gd name="connsiteX4" fmla="*/ 179484 w 514980"/>
                    <a:gd name="connsiteY4" fmla="*/ 6248 h 448772"/>
                    <a:gd name="connsiteX5" fmla="*/ 351756 w 514980"/>
                    <a:gd name="connsiteY5" fmla="*/ 886 h 448772"/>
                    <a:gd name="connsiteX6" fmla="*/ 357905 w 514980"/>
                    <a:gd name="connsiteY6" fmla="*/ 98112 h 448772"/>
                    <a:gd name="connsiteX7" fmla="*/ 454533 w 514980"/>
                    <a:gd name="connsiteY7" fmla="*/ 136989 h 448772"/>
                    <a:gd name="connsiteX8" fmla="*/ 513665 w 514980"/>
                    <a:gd name="connsiteY8" fmla="*/ 226522 h 448772"/>
                    <a:gd name="connsiteX9" fmla="*/ 510490 w 514980"/>
                    <a:gd name="connsiteY9" fmla="*/ 448772 h 448772"/>
                    <a:gd name="connsiteX10" fmla="*/ 8840 w 514980"/>
                    <a:gd name="connsiteY10" fmla="*/ 442422 h 448772"/>
                    <a:gd name="connsiteX0" fmla="*/ 8840 w 514980"/>
                    <a:gd name="connsiteY0" fmla="*/ 442422 h 448772"/>
                    <a:gd name="connsiteX1" fmla="*/ 5665 w 514980"/>
                    <a:gd name="connsiteY1" fmla="*/ 216997 h 448772"/>
                    <a:gd name="connsiteX2" fmla="*/ 62412 w 514980"/>
                    <a:gd name="connsiteY2" fmla="*/ 129441 h 448772"/>
                    <a:gd name="connsiteX3" fmla="*/ 168766 w 514980"/>
                    <a:gd name="connsiteY3" fmla="*/ 93528 h 448772"/>
                    <a:gd name="connsiteX4" fmla="*/ 179484 w 514980"/>
                    <a:gd name="connsiteY4" fmla="*/ 6248 h 448772"/>
                    <a:gd name="connsiteX5" fmla="*/ 351756 w 514980"/>
                    <a:gd name="connsiteY5" fmla="*/ 886 h 448772"/>
                    <a:gd name="connsiteX6" fmla="*/ 353538 w 514980"/>
                    <a:gd name="connsiteY6" fmla="*/ 98112 h 448772"/>
                    <a:gd name="connsiteX7" fmla="*/ 454533 w 514980"/>
                    <a:gd name="connsiteY7" fmla="*/ 136989 h 448772"/>
                    <a:gd name="connsiteX8" fmla="*/ 513665 w 514980"/>
                    <a:gd name="connsiteY8" fmla="*/ 226522 h 448772"/>
                    <a:gd name="connsiteX9" fmla="*/ 510490 w 514980"/>
                    <a:gd name="connsiteY9" fmla="*/ 448772 h 448772"/>
                    <a:gd name="connsiteX10" fmla="*/ 8840 w 514980"/>
                    <a:gd name="connsiteY10" fmla="*/ 442422 h 448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14980" h="448772">
                      <a:moveTo>
                        <a:pt x="8840" y="442422"/>
                      </a:moveTo>
                      <a:cubicBezTo>
                        <a:pt x="-1214" y="377864"/>
                        <a:pt x="-3264" y="269160"/>
                        <a:pt x="5665" y="216997"/>
                      </a:cubicBezTo>
                      <a:cubicBezTo>
                        <a:pt x="14594" y="164834"/>
                        <a:pt x="35229" y="150019"/>
                        <a:pt x="62412" y="129441"/>
                      </a:cubicBezTo>
                      <a:cubicBezTo>
                        <a:pt x="89595" y="108863"/>
                        <a:pt x="149254" y="114060"/>
                        <a:pt x="168766" y="93528"/>
                      </a:cubicBezTo>
                      <a:cubicBezTo>
                        <a:pt x="188278" y="72996"/>
                        <a:pt x="189023" y="43922"/>
                        <a:pt x="179484" y="6248"/>
                      </a:cubicBezTo>
                      <a:cubicBezTo>
                        <a:pt x="202703" y="-7370"/>
                        <a:pt x="323111" y="6352"/>
                        <a:pt x="351756" y="886"/>
                      </a:cubicBezTo>
                      <a:cubicBezTo>
                        <a:pt x="354195" y="39159"/>
                        <a:pt x="342961" y="75428"/>
                        <a:pt x="353538" y="98112"/>
                      </a:cubicBezTo>
                      <a:cubicBezTo>
                        <a:pt x="364115" y="120796"/>
                        <a:pt x="427845" y="115587"/>
                        <a:pt x="454533" y="136989"/>
                      </a:cubicBezTo>
                      <a:cubicBezTo>
                        <a:pt x="481221" y="158391"/>
                        <a:pt x="503611" y="177839"/>
                        <a:pt x="513665" y="226522"/>
                      </a:cubicBezTo>
                      <a:cubicBezTo>
                        <a:pt x="516840" y="276264"/>
                        <a:pt x="513665" y="323360"/>
                        <a:pt x="510490" y="448772"/>
                      </a:cubicBezTo>
                      <a:lnTo>
                        <a:pt x="8840" y="442422"/>
                      </a:lnTo>
                      <a:close/>
                    </a:path>
                  </a:pathLst>
                </a:custGeom>
                <a:grpFill/>
                <a:ln w="571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148" name="Oval 147">
                  <a:extLst>
                    <a:ext uri="{FF2B5EF4-FFF2-40B4-BE49-F238E27FC236}">
                      <a16:creationId xmlns:a16="http://schemas.microsoft.com/office/drawing/2014/main" id="{1D46E0A5-2968-AA4A-A151-A26724B42D71}"/>
                    </a:ext>
                  </a:extLst>
                </p:cNvPr>
                <p:cNvSpPr/>
                <p:nvPr/>
              </p:nvSpPr>
              <p:spPr>
                <a:xfrm>
                  <a:off x="1971467" y="3508300"/>
                  <a:ext cx="282088" cy="336550"/>
                </a:xfrm>
                <a:prstGeom prst="ellipse">
                  <a:avLst/>
                </a:prstGeom>
                <a:grpFill/>
                <a:ln w="571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grpSp>
          <p:grpSp>
            <p:nvGrpSpPr>
              <p:cNvPr id="144" name="Group 143">
                <a:extLst>
                  <a:ext uri="{FF2B5EF4-FFF2-40B4-BE49-F238E27FC236}">
                    <a16:creationId xmlns:a16="http://schemas.microsoft.com/office/drawing/2014/main" id="{02509FBD-45EB-3C4D-9F15-B1D4BBEFBDD7}"/>
                  </a:ext>
                </a:extLst>
              </p:cNvPr>
              <p:cNvGrpSpPr/>
              <p:nvPr/>
            </p:nvGrpSpPr>
            <p:grpSpPr>
              <a:xfrm>
                <a:off x="1553120" y="3388644"/>
                <a:ext cx="633802" cy="938165"/>
                <a:chOff x="1806977" y="3500843"/>
                <a:chExt cx="539989" cy="738018"/>
              </a:xfrm>
            </p:grpSpPr>
            <p:sp>
              <p:nvSpPr>
                <p:cNvPr id="145" name="Freeform 144">
                  <a:extLst>
                    <a:ext uri="{FF2B5EF4-FFF2-40B4-BE49-F238E27FC236}">
                      <a16:creationId xmlns:a16="http://schemas.microsoft.com/office/drawing/2014/main" id="{F29696F6-D038-3A46-8A1A-19C298408420}"/>
                    </a:ext>
                  </a:extLst>
                </p:cNvPr>
                <p:cNvSpPr/>
                <p:nvPr/>
              </p:nvSpPr>
              <p:spPr>
                <a:xfrm>
                  <a:off x="1806977" y="3782373"/>
                  <a:ext cx="539989" cy="456488"/>
                </a:xfrm>
                <a:custGeom>
                  <a:avLst/>
                  <a:gdLst>
                    <a:gd name="connsiteX0" fmla="*/ 36807 w 576731"/>
                    <a:gd name="connsiteY0" fmla="*/ 449906 h 505924"/>
                    <a:gd name="connsiteX1" fmla="*/ 39982 w 576731"/>
                    <a:gd name="connsiteY1" fmla="*/ 214956 h 505924"/>
                    <a:gd name="connsiteX2" fmla="*/ 55857 w 576731"/>
                    <a:gd name="connsiteY2" fmla="*/ 176856 h 505924"/>
                    <a:gd name="connsiteX3" fmla="*/ 103482 w 576731"/>
                    <a:gd name="connsiteY3" fmla="*/ 160981 h 505924"/>
                    <a:gd name="connsiteX4" fmla="*/ 205082 w 576731"/>
                    <a:gd name="connsiteY4" fmla="*/ 154631 h 505924"/>
                    <a:gd name="connsiteX5" fmla="*/ 230482 w 576731"/>
                    <a:gd name="connsiteY5" fmla="*/ 151456 h 505924"/>
                    <a:gd name="connsiteX6" fmla="*/ 233657 w 576731"/>
                    <a:gd name="connsiteY6" fmla="*/ 18106 h 505924"/>
                    <a:gd name="connsiteX7" fmla="*/ 344782 w 576731"/>
                    <a:gd name="connsiteY7" fmla="*/ 14931 h 505924"/>
                    <a:gd name="connsiteX8" fmla="*/ 344782 w 576731"/>
                    <a:gd name="connsiteY8" fmla="*/ 145106 h 505924"/>
                    <a:gd name="connsiteX9" fmla="*/ 386057 w 576731"/>
                    <a:gd name="connsiteY9" fmla="*/ 151456 h 505924"/>
                    <a:gd name="connsiteX10" fmla="*/ 478132 w 576731"/>
                    <a:gd name="connsiteY10" fmla="*/ 164156 h 505924"/>
                    <a:gd name="connsiteX11" fmla="*/ 519407 w 576731"/>
                    <a:gd name="connsiteY11" fmla="*/ 189556 h 505924"/>
                    <a:gd name="connsiteX12" fmla="*/ 541632 w 576731"/>
                    <a:gd name="connsiteY12" fmla="*/ 234006 h 505924"/>
                    <a:gd name="connsiteX13" fmla="*/ 538457 w 576731"/>
                    <a:gd name="connsiteY13" fmla="*/ 488006 h 505924"/>
                    <a:gd name="connsiteX14" fmla="*/ 36807 w 576731"/>
                    <a:gd name="connsiteY14" fmla="*/ 449906 h 505924"/>
                    <a:gd name="connsiteX0" fmla="*/ 5769 w 545693"/>
                    <a:gd name="connsiteY0" fmla="*/ 449906 h 505924"/>
                    <a:gd name="connsiteX1" fmla="*/ 8944 w 545693"/>
                    <a:gd name="connsiteY1" fmla="*/ 214956 h 505924"/>
                    <a:gd name="connsiteX2" fmla="*/ 24819 w 545693"/>
                    <a:gd name="connsiteY2" fmla="*/ 176856 h 505924"/>
                    <a:gd name="connsiteX3" fmla="*/ 72444 w 545693"/>
                    <a:gd name="connsiteY3" fmla="*/ 160981 h 505924"/>
                    <a:gd name="connsiteX4" fmla="*/ 174044 w 545693"/>
                    <a:gd name="connsiteY4" fmla="*/ 154631 h 505924"/>
                    <a:gd name="connsiteX5" fmla="*/ 199444 w 545693"/>
                    <a:gd name="connsiteY5" fmla="*/ 151456 h 505924"/>
                    <a:gd name="connsiteX6" fmla="*/ 202619 w 545693"/>
                    <a:gd name="connsiteY6" fmla="*/ 18106 h 505924"/>
                    <a:gd name="connsiteX7" fmla="*/ 313744 w 545693"/>
                    <a:gd name="connsiteY7" fmla="*/ 14931 h 505924"/>
                    <a:gd name="connsiteX8" fmla="*/ 313744 w 545693"/>
                    <a:gd name="connsiteY8" fmla="*/ 145106 h 505924"/>
                    <a:gd name="connsiteX9" fmla="*/ 355019 w 545693"/>
                    <a:gd name="connsiteY9" fmla="*/ 151456 h 505924"/>
                    <a:gd name="connsiteX10" fmla="*/ 447094 w 545693"/>
                    <a:gd name="connsiteY10" fmla="*/ 164156 h 505924"/>
                    <a:gd name="connsiteX11" fmla="*/ 488369 w 545693"/>
                    <a:gd name="connsiteY11" fmla="*/ 189556 h 505924"/>
                    <a:gd name="connsiteX12" fmla="*/ 510594 w 545693"/>
                    <a:gd name="connsiteY12" fmla="*/ 234006 h 505924"/>
                    <a:gd name="connsiteX13" fmla="*/ 507419 w 545693"/>
                    <a:gd name="connsiteY13" fmla="*/ 488006 h 505924"/>
                    <a:gd name="connsiteX14" fmla="*/ 5769 w 545693"/>
                    <a:gd name="connsiteY14" fmla="*/ 449906 h 505924"/>
                    <a:gd name="connsiteX0" fmla="*/ 21286 w 561210"/>
                    <a:gd name="connsiteY0" fmla="*/ 449906 h 508025"/>
                    <a:gd name="connsiteX1" fmla="*/ 24461 w 561210"/>
                    <a:gd name="connsiteY1" fmla="*/ 214956 h 508025"/>
                    <a:gd name="connsiteX2" fmla="*/ 40336 w 561210"/>
                    <a:gd name="connsiteY2" fmla="*/ 176856 h 508025"/>
                    <a:gd name="connsiteX3" fmla="*/ 87961 w 561210"/>
                    <a:gd name="connsiteY3" fmla="*/ 160981 h 508025"/>
                    <a:gd name="connsiteX4" fmla="*/ 189561 w 561210"/>
                    <a:gd name="connsiteY4" fmla="*/ 154631 h 508025"/>
                    <a:gd name="connsiteX5" fmla="*/ 214961 w 561210"/>
                    <a:gd name="connsiteY5" fmla="*/ 151456 h 508025"/>
                    <a:gd name="connsiteX6" fmla="*/ 218136 w 561210"/>
                    <a:gd name="connsiteY6" fmla="*/ 18106 h 508025"/>
                    <a:gd name="connsiteX7" fmla="*/ 329261 w 561210"/>
                    <a:gd name="connsiteY7" fmla="*/ 14931 h 508025"/>
                    <a:gd name="connsiteX8" fmla="*/ 329261 w 561210"/>
                    <a:gd name="connsiteY8" fmla="*/ 145106 h 508025"/>
                    <a:gd name="connsiteX9" fmla="*/ 370536 w 561210"/>
                    <a:gd name="connsiteY9" fmla="*/ 151456 h 508025"/>
                    <a:gd name="connsiteX10" fmla="*/ 462611 w 561210"/>
                    <a:gd name="connsiteY10" fmla="*/ 164156 h 508025"/>
                    <a:gd name="connsiteX11" fmla="*/ 503886 w 561210"/>
                    <a:gd name="connsiteY11" fmla="*/ 189556 h 508025"/>
                    <a:gd name="connsiteX12" fmla="*/ 526111 w 561210"/>
                    <a:gd name="connsiteY12" fmla="*/ 234006 h 508025"/>
                    <a:gd name="connsiteX13" fmla="*/ 522936 w 561210"/>
                    <a:gd name="connsiteY13" fmla="*/ 488006 h 508025"/>
                    <a:gd name="connsiteX14" fmla="*/ 21286 w 561210"/>
                    <a:gd name="connsiteY14" fmla="*/ 449906 h 508025"/>
                    <a:gd name="connsiteX0" fmla="*/ 21286 w 561210"/>
                    <a:gd name="connsiteY0" fmla="*/ 449906 h 508025"/>
                    <a:gd name="connsiteX1" fmla="*/ 24461 w 561210"/>
                    <a:gd name="connsiteY1" fmla="*/ 214956 h 508025"/>
                    <a:gd name="connsiteX2" fmla="*/ 40336 w 561210"/>
                    <a:gd name="connsiteY2" fmla="*/ 176856 h 508025"/>
                    <a:gd name="connsiteX3" fmla="*/ 87961 w 561210"/>
                    <a:gd name="connsiteY3" fmla="*/ 160981 h 508025"/>
                    <a:gd name="connsiteX4" fmla="*/ 189561 w 561210"/>
                    <a:gd name="connsiteY4" fmla="*/ 154631 h 508025"/>
                    <a:gd name="connsiteX5" fmla="*/ 214961 w 561210"/>
                    <a:gd name="connsiteY5" fmla="*/ 151456 h 508025"/>
                    <a:gd name="connsiteX6" fmla="*/ 218136 w 561210"/>
                    <a:gd name="connsiteY6" fmla="*/ 18106 h 508025"/>
                    <a:gd name="connsiteX7" fmla="*/ 329261 w 561210"/>
                    <a:gd name="connsiteY7" fmla="*/ 14931 h 508025"/>
                    <a:gd name="connsiteX8" fmla="*/ 329261 w 561210"/>
                    <a:gd name="connsiteY8" fmla="*/ 145106 h 508025"/>
                    <a:gd name="connsiteX9" fmla="*/ 370536 w 561210"/>
                    <a:gd name="connsiteY9" fmla="*/ 151456 h 508025"/>
                    <a:gd name="connsiteX10" fmla="*/ 462611 w 561210"/>
                    <a:gd name="connsiteY10" fmla="*/ 164156 h 508025"/>
                    <a:gd name="connsiteX11" fmla="*/ 503886 w 561210"/>
                    <a:gd name="connsiteY11" fmla="*/ 189556 h 508025"/>
                    <a:gd name="connsiteX12" fmla="*/ 526111 w 561210"/>
                    <a:gd name="connsiteY12" fmla="*/ 234006 h 508025"/>
                    <a:gd name="connsiteX13" fmla="*/ 522936 w 561210"/>
                    <a:gd name="connsiteY13" fmla="*/ 488006 h 508025"/>
                    <a:gd name="connsiteX14" fmla="*/ 21286 w 561210"/>
                    <a:gd name="connsiteY14" fmla="*/ 449906 h 508025"/>
                    <a:gd name="connsiteX0" fmla="*/ 4360 w 544284"/>
                    <a:gd name="connsiteY0" fmla="*/ 449906 h 508025"/>
                    <a:gd name="connsiteX1" fmla="*/ 7535 w 544284"/>
                    <a:gd name="connsiteY1" fmla="*/ 214956 h 508025"/>
                    <a:gd name="connsiteX2" fmla="*/ 23410 w 544284"/>
                    <a:gd name="connsiteY2" fmla="*/ 176856 h 508025"/>
                    <a:gd name="connsiteX3" fmla="*/ 71035 w 544284"/>
                    <a:gd name="connsiteY3" fmla="*/ 160981 h 508025"/>
                    <a:gd name="connsiteX4" fmla="*/ 172635 w 544284"/>
                    <a:gd name="connsiteY4" fmla="*/ 154631 h 508025"/>
                    <a:gd name="connsiteX5" fmla="*/ 198035 w 544284"/>
                    <a:gd name="connsiteY5" fmla="*/ 151456 h 508025"/>
                    <a:gd name="connsiteX6" fmla="*/ 201210 w 544284"/>
                    <a:gd name="connsiteY6" fmla="*/ 18106 h 508025"/>
                    <a:gd name="connsiteX7" fmla="*/ 312335 w 544284"/>
                    <a:gd name="connsiteY7" fmla="*/ 14931 h 508025"/>
                    <a:gd name="connsiteX8" fmla="*/ 312335 w 544284"/>
                    <a:gd name="connsiteY8" fmla="*/ 145106 h 508025"/>
                    <a:gd name="connsiteX9" fmla="*/ 353610 w 544284"/>
                    <a:gd name="connsiteY9" fmla="*/ 151456 h 508025"/>
                    <a:gd name="connsiteX10" fmla="*/ 445685 w 544284"/>
                    <a:gd name="connsiteY10" fmla="*/ 164156 h 508025"/>
                    <a:gd name="connsiteX11" fmla="*/ 486960 w 544284"/>
                    <a:gd name="connsiteY11" fmla="*/ 189556 h 508025"/>
                    <a:gd name="connsiteX12" fmla="*/ 509185 w 544284"/>
                    <a:gd name="connsiteY12" fmla="*/ 234006 h 508025"/>
                    <a:gd name="connsiteX13" fmla="*/ 506010 w 544284"/>
                    <a:gd name="connsiteY13" fmla="*/ 488006 h 508025"/>
                    <a:gd name="connsiteX14" fmla="*/ 4360 w 544284"/>
                    <a:gd name="connsiteY14" fmla="*/ 449906 h 508025"/>
                    <a:gd name="connsiteX0" fmla="*/ 4360 w 544284"/>
                    <a:gd name="connsiteY0" fmla="*/ 449906 h 500804"/>
                    <a:gd name="connsiteX1" fmla="*/ 7535 w 544284"/>
                    <a:gd name="connsiteY1" fmla="*/ 214956 h 500804"/>
                    <a:gd name="connsiteX2" fmla="*/ 23410 w 544284"/>
                    <a:gd name="connsiteY2" fmla="*/ 176856 h 500804"/>
                    <a:gd name="connsiteX3" fmla="*/ 71035 w 544284"/>
                    <a:gd name="connsiteY3" fmla="*/ 160981 h 500804"/>
                    <a:gd name="connsiteX4" fmla="*/ 172635 w 544284"/>
                    <a:gd name="connsiteY4" fmla="*/ 154631 h 500804"/>
                    <a:gd name="connsiteX5" fmla="*/ 198035 w 544284"/>
                    <a:gd name="connsiteY5" fmla="*/ 151456 h 500804"/>
                    <a:gd name="connsiteX6" fmla="*/ 201210 w 544284"/>
                    <a:gd name="connsiteY6" fmla="*/ 18106 h 500804"/>
                    <a:gd name="connsiteX7" fmla="*/ 312335 w 544284"/>
                    <a:gd name="connsiteY7" fmla="*/ 14931 h 500804"/>
                    <a:gd name="connsiteX8" fmla="*/ 312335 w 544284"/>
                    <a:gd name="connsiteY8" fmla="*/ 145106 h 500804"/>
                    <a:gd name="connsiteX9" fmla="*/ 353610 w 544284"/>
                    <a:gd name="connsiteY9" fmla="*/ 151456 h 500804"/>
                    <a:gd name="connsiteX10" fmla="*/ 445685 w 544284"/>
                    <a:gd name="connsiteY10" fmla="*/ 164156 h 500804"/>
                    <a:gd name="connsiteX11" fmla="*/ 486960 w 544284"/>
                    <a:gd name="connsiteY11" fmla="*/ 189556 h 500804"/>
                    <a:gd name="connsiteX12" fmla="*/ 509185 w 544284"/>
                    <a:gd name="connsiteY12" fmla="*/ 234006 h 500804"/>
                    <a:gd name="connsiteX13" fmla="*/ 506010 w 544284"/>
                    <a:gd name="connsiteY13" fmla="*/ 488006 h 500804"/>
                    <a:gd name="connsiteX14" fmla="*/ 4360 w 544284"/>
                    <a:gd name="connsiteY14" fmla="*/ 449906 h 500804"/>
                    <a:gd name="connsiteX0" fmla="*/ 4360 w 544284"/>
                    <a:gd name="connsiteY0" fmla="*/ 449906 h 500804"/>
                    <a:gd name="connsiteX1" fmla="*/ 7535 w 544284"/>
                    <a:gd name="connsiteY1" fmla="*/ 214956 h 500804"/>
                    <a:gd name="connsiteX2" fmla="*/ 23410 w 544284"/>
                    <a:gd name="connsiteY2" fmla="*/ 176856 h 500804"/>
                    <a:gd name="connsiteX3" fmla="*/ 71035 w 544284"/>
                    <a:gd name="connsiteY3" fmla="*/ 160981 h 500804"/>
                    <a:gd name="connsiteX4" fmla="*/ 172635 w 544284"/>
                    <a:gd name="connsiteY4" fmla="*/ 154631 h 500804"/>
                    <a:gd name="connsiteX5" fmla="*/ 198035 w 544284"/>
                    <a:gd name="connsiteY5" fmla="*/ 151456 h 500804"/>
                    <a:gd name="connsiteX6" fmla="*/ 201210 w 544284"/>
                    <a:gd name="connsiteY6" fmla="*/ 18106 h 500804"/>
                    <a:gd name="connsiteX7" fmla="*/ 312335 w 544284"/>
                    <a:gd name="connsiteY7" fmla="*/ 14931 h 500804"/>
                    <a:gd name="connsiteX8" fmla="*/ 312335 w 544284"/>
                    <a:gd name="connsiteY8" fmla="*/ 145106 h 500804"/>
                    <a:gd name="connsiteX9" fmla="*/ 353610 w 544284"/>
                    <a:gd name="connsiteY9" fmla="*/ 151456 h 500804"/>
                    <a:gd name="connsiteX10" fmla="*/ 445685 w 544284"/>
                    <a:gd name="connsiteY10" fmla="*/ 164156 h 500804"/>
                    <a:gd name="connsiteX11" fmla="*/ 486960 w 544284"/>
                    <a:gd name="connsiteY11" fmla="*/ 189556 h 500804"/>
                    <a:gd name="connsiteX12" fmla="*/ 509185 w 544284"/>
                    <a:gd name="connsiteY12" fmla="*/ 234006 h 500804"/>
                    <a:gd name="connsiteX13" fmla="*/ 506010 w 544284"/>
                    <a:gd name="connsiteY13" fmla="*/ 488006 h 500804"/>
                    <a:gd name="connsiteX14" fmla="*/ 4360 w 544284"/>
                    <a:gd name="connsiteY14" fmla="*/ 449906 h 500804"/>
                    <a:gd name="connsiteX0" fmla="*/ 4360 w 519024"/>
                    <a:gd name="connsiteY0" fmla="*/ 449906 h 500804"/>
                    <a:gd name="connsiteX1" fmla="*/ 7535 w 519024"/>
                    <a:gd name="connsiteY1" fmla="*/ 214956 h 500804"/>
                    <a:gd name="connsiteX2" fmla="*/ 23410 w 519024"/>
                    <a:gd name="connsiteY2" fmla="*/ 176856 h 500804"/>
                    <a:gd name="connsiteX3" fmla="*/ 71035 w 519024"/>
                    <a:gd name="connsiteY3" fmla="*/ 160981 h 500804"/>
                    <a:gd name="connsiteX4" fmla="*/ 172635 w 519024"/>
                    <a:gd name="connsiteY4" fmla="*/ 154631 h 500804"/>
                    <a:gd name="connsiteX5" fmla="*/ 198035 w 519024"/>
                    <a:gd name="connsiteY5" fmla="*/ 151456 h 500804"/>
                    <a:gd name="connsiteX6" fmla="*/ 201210 w 519024"/>
                    <a:gd name="connsiteY6" fmla="*/ 18106 h 500804"/>
                    <a:gd name="connsiteX7" fmla="*/ 312335 w 519024"/>
                    <a:gd name="connsiteY7" fmla="*/ 14931 h 500804"/>
                    <a:gd name="connsiteX8" fmla="*/ 312335 w 519024"/>
                    <a:gd name="connsiteY8" fmla="*/ 145106 h 500804"/>
                    <a:gd name="connsiteX9" fmla="*/ 353610 w 519024"/>
                    <a:gd name="connsiteY9" fmla="*/ 151456 h 500804"/>
                    <a:gd name="connsiteX10" fmla="*/ 445685 w 519024"/>
                    <a:gd name="connsiteY10" fmla="*/ 164156 h 500804"/>
                    <a:gd name="connsiteX11" fmla="*/ 486960 w 519024"/>
                    <a:gd name="connsiteY11" fmla="*/ 189556 h 500804"/>
                    <a:gd name="connsiteX12" fmla="*/ 509185 w 519024"/>
                    <a:gd name="connsiteY12" fmla="*/ 234006 h 500804"/>
                    <a:gd name="connsiteX13" fmla="*/ 506010 w 519024"/>
                    <a:gd name="connsiteY13" fmla="*/ 488006 h 500804"/>
                    <a:gd name="connsiteX14" fmla="*/ 4360 w 519024"/>
                    <a:gd name="connsiteY14" fmla="*/ 449906 h 500804"/>
                    <a:gd name="connsiteX0" fmla="*/ 4360 w 519024"/>
                    <a:gd name="connsiteY0" fmla="*/ 449906 h 488006"/>
                    <a:gd name="connsiteX1" fmla="*/ 7535 w 519024"/>
                    <a:gd name="connsiteY1" fmla="*/ 214956 h 488006"/>
                    <a:gd name="connsiteX2" fmla="*/ 23410 w 519024"/>
                    <a:gd name="connsiteY2" fmla="*/ 176856 h 488006"/>
                    <a:gd name="connsiteX3" fmla="*/ 71035 w 519024"/>
                    <a:gd name="connsiteY3" fmla="*/ 160981 h 488006"/>
                    <a:gd name="connsiteX4" fmla="*/ 172635 w 519024"/>
                    <a:gd name="connsiteY4" fmla="*/ 154631 h 488006"/>
                    <a:gd name="connsiteX5" fmla="*/ 198035 w 519024"/>
                    <a:gd name="connsiteY5" fmla="*/ 151456 h 488006"/>
                    <a:gd name="connsiteX6" fmla="*/ 201210 w 519024"/>
                    <a:gd name="connsiteY6" fmla="*/ 18106 h 488006"/>
                    <a:gd name="connsiteX7" fmla="*/ 312335 w 519024"/>
                    <a:gd name="connsiteY7" fmla="*/ 14931 h 488006"/>
                    <a:gd name="connsiteX8" fmla="*/ 312335 w 519024"/>
                    <a:gd name="connsiteY8" fmla="*/ 145106 h 488006"/>
                    <a:gd name="connsiteX9" fmla="*/ 353610 w 519024"/>
                    <a:gd name="connsiteY9" fmla="*/ 151456 h 488006"/>
                    <a:gd name="connsiteX10" fmla="*/ 445685 w 519024"/>
                    <a:gd name="connsiteY10" fmla="*/ 164156 h 488006"/>
                    <a:gd name="connsiteX11" fmla="*/ 486960 w 519024"/>
                    <a:gd name="connsiteY11" fmla="*/ 189556 h 488006"/>
                    <a:gd name="connsiteX12" fmla="*/ 509185 w 519024"/>
                    <a:gd name="connsiteY12" fmla="*/ 234006 h 488006"/>
                    <a:gd name="connsiteX13" fmla="*/ 506010 w 519024"/>
                    <a:gd name="connsiteY13" fmla="*/ 488006 h 488006"/>
                    <a:gd name="connsiteX14" fmla="*/ 4360 w 519024"/>
                    <a:gd name="connsiteY14" fmla="*/ 449906 h 488006"/>
                    <a:gd name="connsiteX0" fmla="*/ 4360 w 523534"/>
                    <a:gd name="connsiteY0" fmla="*/ 449906 h 472131"/>
                    <a:gd name="connsiteX1" fmla="*/ 7535 w 523534"/>
                    <a:gd name="connsiteY1" fmla="*/ 214956 h 472131"/>
                    <a:gd name="connsiteX2" fmla="*/ 23410 w 523534"/>
                    <a:gd name="connsiteY2" fmla="*/ 176856 h 472131"/>
                    <a:gd name="connsiteX3" fmla="*/ 71035 w 523534"/>
                    <a:gd name="connsiteY3" fmla="*/ 160981 h 472131"/>
                    <a:gd name="connsiteX4" fmla="*/ 172635 w 523534"/>
                    <a:gd name="connsiteY4" fmla="*/ 154631 h 472131"/>
                    <a:gd name="connsiteX5" fmla="*/ 198035 w 523534"/>
                    <a:gd name="connsiteY5" fmla="*/ 151456 h 472131"/>
                    <a:gd name="connsiteX6" fmla="*/ 201210 w 523534"/>
                    <a:gd name="connsiteY6" fmla="*/ 18106 h 472131"/>
                    <a:gd name="connsiteX7" fmla="*/ 312335 w 523534"/>
                    <a:gd name="connsiteY7" fmla="*/ 14931 h 472131"/>
                    <a:gd name="connsiteX8" fmla="*/ 312335 w 523534"/>
                    <a:gd name="connsiteY8" fmla="*/ 145106 h 472131"/>
                    <a:gd name="connsiteX9" fmla="*/ 353610 w 523534"/>
                    <a:gd name="connsiteY9" fmla="*/ 151456 h 472131"/>
                    <a:gd name="connsiteX10" fmla="*/ 445685 w 523534"/>
                    <a:gd name="connsiteY10" fmla="*/ 164156 h 472131"/>
                    <a:gd name="connsiteX11" fmla="*/ 486960 w 523534"/>
                    <a:gd name="connsiteY11" fmla="*/ 189556 h 472131"/>
                    <a:gd name="connsiteX12" fmla="*/ 509185 w 523534"/>
                    <a:gd name="connsiteY12" fmla="*/ 234006 h 472131"/>
                    <a:gd name="connsiteX13" fmla="*/ 512360 w 523534"/>
                    <a:gd name="connsiteY13" fmla="*/ 472131 h 472131"/>
                    <a:gd name="connsiteX14" fmla="*/ 4360 w 523534"/>
                    <a:gd name="connsiteY14" fmla="*/ 449906 h 472131"/>
                    <a:gd name="connsiteX0" fmla="*/ 4360 w 513675"/>
                    <a:gd name="connsiteY0" fmla="*/ 449906 h 472131"/>
                    <a:gd name="connsiteX1" fmla="*/ 7535 w 513675"/>
                    <a:gd name="connsiteY1" fmla="*/ 214956 h 472131"/>
                    <a:gd name="connsiteX2" fmla="*/ 23410 w 513675"/>
                    <a:gd name="connsiteY2" fmla="*/ 176856 h 472131"/>
                    <a:gd name="connsiteX3" fmla="*/ 71035 w 513675"/>
                    <a:gd name="connsiteY3" fmla="*/ 160981 h 472131"/>
                    <a:gd name="connsiteX4" fmla="*/ 172635 w 513675"/>
                    <a:gd name="connsiteY4" fmla="*/ 154631 h 472131"/>
                    <a:gd name="connsiteX5" fmla="*/ 198035 w 513675"/>
                    <a:gd name="connsiteY5" fmla="*/ 151456 h 472131"/>
                    <a:gd name="connsiteX6" fmla="*/ 201210 w 513675"/>
                    <a:gd name="connsiteY6" fmla="*/ 18106 h 472131"/>
                    <a:gd name="connsiteX7" fmla="*/ 312335 w 513675"/>
                    <a:gd name="connsiteY7" fmla="*/ 14931 h 472131"/>
                    <a:gd name="connsiteX8" fmla="*/ 312335 w 513675"/>
                    <a:gd name="connsiteY8" fmla="*/ 145106 h 472131"/>
                    <a:gd name="connsiteX9" fmla="*/ 353610 w 513675"/>
                    <a:gd name="connsiteY9" fmla="*/ 151456 h 472131"/>
                    <a:gd name="connsiteX10" fmla="*/ 445685 w 513675"/>
                    <a:gd name="connsiteY10" fmla="*/ 164156 h 472131"/>
                    <a:gd name="connsiteX11" fmla="*/ 486960 w 513675"/>
                    <a:gd name="connsiteY11" fmla="*/ 189556 h 472131"/>
                    <a:gd name="connsiteX12" fmla="*/ 509185 w 513675"/>
                    <a:gd name="connsiteY12" fmla="*/ 234006 h 472131"/>
                    <a:gd name="connsiteX13" fmla="*/ 512360 w 513675"/>
                    <a:gd name="connsiteY13" fmla="*/ 472131 h 472131"/>
                    <a:gd name="connsiteX14" fmla="*/ 4360 w 513675"/>
                    <a:gd name="connsiteY14" fmla="*/ 449906 h 472131"/>
                    <a:gd name="connsiteX0" fmla="*/ 4360 w 513675"/>
                    <a:gd name="connsiteY0" fmla="*/ 446969 h 469194"/>
                    <a:gd name="connsiteX1" fmla="*/ 7535 w 513675"/>
                    <a:gd name="connsiteY1" fmla="*/ 212019 h 469194"/>
                    <a:gd name="connsiteX2" fmla="*/ 23410 w 513675"/>
                    <a:gd name="connsiteY2" fmla="*/ 173919 h 469194"/>
                    <a:gd name="connsiteX3" fmla="*/ 71035 w 513675"/>
                    <a:gd name="connsiteY3" fmla="*/ 158044 h 469194"/>
                    <a:gd name="connsiteX4" fmla="*/ 172635 w 513675"/>
                    <a:gd name="connsiteY4" fmla="*/ 151694 h 469194"/>
                    <a:gd name="connsiteX5" fmla="*/ 188510 w 513675"/>
                    <a:gd name="connsiteY5" fmla="*/ 94544 h 469194"/>
                    <a:gd name="connsiteX6" fmla="*/ 201210 w 513675"/>
                    <a:gd name="connsiteY6" fmla="*/ 15169 h 469194"/>
                    <a:gd name="connsiteX7" fmla="*/ 312335 w 513675"/>
                    <a:gd name="connsiteY7" fmla="*/ 11994 h 469194"/>
                    <a:gd name="connsiteX8" fmla="*/ 312335 w 513675"/>
                    <a:gd name="connsiteY8" fmla="*/ 142169 h 469194"/>
                    <a:gd name="connsiteX9" fmla="*/ 353610 w 513675"/>
                    <a:gd name="connsiteY9" fmla="*/ 148519 h 469194"/>
                    <a:gd name="connsiteX10" fmla="*/ 445685 w 513675"/>
                    <a:gd name="connsiteY10" fmla="*/ 161219 h 469194"/>
                    <a:gd name="connsiteX11" fmla="*/ 486960 w 513675"/>
                    <a:gd name="connsiteY11" fmla="*/ 186619 h 469194"/>
                    <a:gd name="connsiteX12" fmla="*/ 509185 w 513675"/>
                    <a:gd name="connsiteY12" fmla="*/ 231069 h 469194"/>
                    <a:gd name="connsiteX13" fmla="*/ 512360 w 513675"/>
                    <a:gd name="connsiteY13" fmla="*/ 469194 h 469194"/>
                    <a:gd name="connsiteX14" fmla="*/ 4360 w 513675"/>
                    <a:gd name="connsiteY14" fmla="*/ 446969 h 469194"/>
                    <a:gd name="connsiteX0" fmla="*/ 4360 w 513675"/>
                    <a:gd name="connsiteY0" fmla="*/ 443409 h 465634"/>
                    <a:gd name="connsiteX1" fmla="*/ 7535 w 513675"/>
                    <a:gd name="connsiteY1" fmla="*/ 208459 h 465634"/>
                    <a:gd name="connsiteX2" fmla="*/ 23410 w 513675"/>
                    <a:gd name="connsiteY2" fmla="*/ 170359 h 465634"/>
                    <a:gd name="connsiteX3" fmla="*/ 71035 w 513675"/>
                    <a:gd name="connsiteY3" fmla="*/ 154484 h 465634"/>
                    <a:gd name="connsiteX4" fmla="*/ 172635 w 513675"/>
                    <a:gd name="connsiteY4" fmla="*/ 148134 h 465634"/>
                    <a:gd name="connsiteX5" fmla="*/ 188510 w 513675"/>
                    <a:gd name="connsiteY5" fmla="*/ 90984 h 465634"/>
                    <a:gd name="connsiteX6" fmla="*/ 201210 w 513675"/>
                    <a:gd name="connsiteY6" fmla="*/ 11609 h 465634"/>
                    <a:gd name="connsiteX7" fmla="*/ 312335 w 513675"/>
                    <a:gd name="connsiteY7" fmla="*/ 8434 h 465634"/>
                    <a:gd name="connsiteX8" fmla="*/ 312335 w 513675"/>
                    <a:gd name="connsiteY8" fmla="*/ 87809 h 465634"/>
                    <a:gd name="connsiteX9" fmla="*/ 353610 w 513675"/>
                    <a:gd name="connsiteY9" fmla="*/ 144959 h 465634"/>
                    <a:gd name="connsiteX10" fmla="*/ 445685 w 513675"/>
                    <a:gd name="connsiteY10" fmla="*/ 157659 h 465634"/>
                    <a:gd name="connsiteX11" fmla="*/ 486960 w 513675"/>
                    <a:gd name="connsiteY11" fmla="*/ 183059 h 465634"/>
                    <a:gd name="connsiteX12" fmla="*/ 509185 w 513675"/>
                    <a:gd name="connsiteY12" fmla="*/ 227509 h 465634"/>
                    <a:gd name="connsiteX13" fmla="*/ 512360 w 513675"/>
                    <a:gd name="connsiteY13" fmla="*/ 465634 h 465634"/>
                    <a:gd name="connsiteX14" fmla="*/ 4360 w 513675"/>
                    <a:gd name="connsiteY14" fmla="*/ 443409 h 465634"/>
                    <a:gd name="connsiteX0" fmla="*/ 4360 w 513675"/>
                    <a:gd name="connsiteY0" fmla="*/ 443409 h 465634"/>
                    <a:gd name="connsiteX1" fmla="*/ 7535 w 513675"/>
                    <a:gd name="connsiteY1" fmla="*/ 208459 h 465634"/>
                    <a:gd name="connsiteX2" fmla="*/ 23410 w 513675"/>
                    <a:gd name="connsiteY2" fmla="*/ 170359 h 465634"/>
                    <a:gd name="connsiteX3" fmla="*/ 71035 w 513675"/>
                    <a:gd name="connsiteY3" fmla="*/ 154484 h 465634"/>
                    <a:gd name="connsiteX4" fmla="*/ 172635 w 513675"/>
                    <a:gd name="connsiteY4" fmla="*/ 148134 h 465634"/>
                    <a:gd name="connsiteX5" fmla="*/ 188510 w 513675"/>
                    <a:gd name="connsiteY5" fmla="*/ 90984 h 465634"/>
                    <a:gd name="connsiteX6" fmla="*/ 201210 w 513675"/>
                    <a:gd name="connsiteY6" fmla="*/ 11609 h 465634"/>
                    <a:gd name="connsiteX7" fmla="*/ 312335 w 513675"/>
                    <a:gd name="connsiteY7" fmla="*/ 8434 h 465634"/>
                    <a:gd name="connsiteX8" fmla="*/ 312335 w 513675"/>
                    <a:gd name="connsiteY8" fmla="*/ 87809 h 465634"/>
                    <a:gd name="connsiteX9" fmla="*/ 334560 w 513675"/>
                    <a:gd name="connsiteY9" fmla="*/ 135434 h 465634"/>
                    <a:gd name="connsiteX10" fmla="*/ 445685 w 513675"/>
                    <a:gd name="connsiteY10" fmla="*/ 157659 h 465634"/>
                    <a:gd name="connsiteX11" fmla="*/ 486960 w 513675"/>
                    <a:gd name="connsiteY11" fmla="*/ 183059 h 465634"/>
                    <a:gd name="connsiteX12" fmla="*/ 509185 w 513675"/>
                    <a:gd name="connsiteY12" fmla="*/ 227509 h 465634"/>
                    <a:gd name="connsiteX13" fmla="*/ 512360 w 513675"/>
                    <a:gd name="connsiteY13" fmla="*/ 465634 h 465634"/>
                    <a:gd name="connsiteX14" fmla="*/ 4360 w 513675"/>
                    <a:gd name="connsiteY14" fmla="*/ 443409 h 465634"/>
                    <a:gd name="connsiteX0" fmla="*/ 4360 w 510500"/>
                    <a:gd name="connsiteY0" fmla="*/ 443409 h 449759"/>
                    <a:gd name="connsiteX1" fmla="*/ 7535 w 510500"/>
                    <a:gd name="connsiteY1" fmla="*/ 208459 h 449759"/>
                    <a:gd name="connsiteX2" fmla="*/ 23410 w 510500"/>
                    <a:gd name="connsiteY2" fmla="*/ 170359 h 449759"/>
                    <a:gd name="connsiteX3" fmla="*/ 71035 w 510500"/>
                    <a:gd name="connsiteY3" fmla="*/ 154484 h 449759"/>
                    <a:gd name="connsiteX4" fmla="*/ 172635 w 510500"/>
                    <a:gd name="connsiteY4" fmla="*/ 148134 h 449759"/>
                    <a:gd name="connsiteX5" fmla="*/ 188510 w 510500"/>
                    <a:gd name="connsiteY5" fmla="*/ 90984 h 449759"/>
                    <a:gd name="connsiteX6" fmla="*/ 201210 w 510500"/>
                    <a:gd name="connsiteY6" fmla="*/ 11609 h 449759"/>
                    <a:gd name="connsiteX7" fmla="*/ 312335 w 510500"/>
                    <a:gd name="connsiteY7" fmla="*/ 8434 h 449759"/>
                    <a:gd name="connsiteX8" fmla="*/ 312335 w 510500"/>
                    <a:gd name="connsiteY8" fmla="*/ 87809 h 449759"/>
                    <a:gd name="connsiteX9" fmla="*/ 334560 w 510500"/>
                    <a:gd name="connsiteY9" fmla="*/ 135434 h 449759"/>
                    <a:gd name="connsiteX10" fmla="*/ 445685 w 510500"/>
                    <a:gd name="connsiteY10" fmla="*/ 157659 h 449759"/>
                    <a:gd name="connsiteX11" fmla="*/ 486960 w 510500"/>
                    <a:gd name="connsiteY11" fmla="*/ 183059 h 449759"/>
                    <a:gd name="connsiteX12" fmla="*/ 509185 w 510500"/>
                    <a:gd name="connsiteY12" fmla="*/ 227509 h 449759"/>
                    <a:gd name="connsiteX13" fmla="*/ 506010 w 510500"/>
                    <a:gd name="connsiteY13" fmla="*/ 449759 h 449759"/>
                    <a:gd name="connsiteX14" fmla="*/ 4360 w 510500"/>
                    <a:gd name="connsiteY14" fmla="*/ 443409 h 449759"/>
                    <a:gd name="connsiteX0" fmla="*/ 4360 w 510500"/>
                    <a:gd name="connsiteY0" fmla="*/ 443409 h 454926"/>
                    <a:gd name="connsiteX1" fmla="*/ 7535 w 510500"/>
                    <a:gd name="connsiteY1" fmla="*/ 208459 h 454926"/>
                    <a:gd name="connsiteX2" fmla="*/ 23410 w 510500"/>
                    <a:gd name="connsiteY2" fmla="*/ 170359 h 454926"/>
                    <a:gd name="connsiteX3" fmla="*/ 71035 w 510500"/>
                    <a:gd name="connsiteY3" fmla="*/ 154484 h 454926"/>
                    <a:gd name="connsiteX4" fmla="*/ 172635 w 510500"/>
                    <a:gd name="connsiteY4" fmla="*/ 148134 h 454926"/>
                    <a:gd name="connsiteX5" fmla="*/ 188510 w 510500"/>
                    <a:gd name="connsiteY5" fmla="*/ 90984 h 454926"/>
                    <a:gd name="connsiteX6" fmla="*/ 201210 w 510500"/>
                    <a:gd name="connsiteY6" fmla="*/ 11609 h 454926"/>
                    <a:gd name="connsiteX7" fmla="*/ 312335 w 510500"/>
                    <a:gd name="connsiteY7" fmla="*/ 8434 h 454926"/>
                    <a:gd name="connsiteX8" fmla="*/ 312335 w 510500"/>
                    <a:gd name="connsiteY8" fmla="*/ 87809 h 454926"/>
                    <a:gd name="connsiteX9" fmla="*/ 334560 w 510500"/>
                    <a:gd name="connsiteY9" fmla="*/ 135434 h 454926"/>
                    <a:gd name="connsiteX10" fmla="*/ 445685 w 510500"/>
                    <a:gd name="connsiteY10" fmla="*/ 157659 h 454926"/>
                    <a:gd name="connsiteX11" fmla="*/ 486960 w 510500"/>
                    <a:gd name="connsiteY11" fmla="*/ 183059 h 454926"/>
                    <a:gd name="connsiteX12" fmla="*/ 509185 w 510500"/>
                    <a:gd name="connsiteY12" fmla="*/ 227509 h 454926"/>
                    <a:gd name="connsiteX13" fmla="*/ 506010 w 510500"/>
                    <a:gd name="connsiteY13" fmla="*/ 449759 h 454926"/>
                    <a:gd name="connsiteX14" fmla="*/ 4360 w 510500"/>
                    <a:gd name="connsiteY14" fmla="*/ 443409 h 454926"/>
                    <a:gd name="connsiteX0" fmla="*/ 6473 w 512613"/>
                    <a:gd name="connsiteY0" fmla="*/ 443409 h 454926"/>
                    <a:gd name="connsiteX1" fmla="*/ 9648 w 512613"/>
                    <a:gd name="connsiteY1" fmla="*/ 208459 h 454926"/>
                    <a:gd name="connsiteX2" fmla="*/ 73148 w 512613"/>
                    <a:gd name="connsiteY2" fmla="*/ 154484 h 454926"/>
                    <a:gd name="connsiteX3" fmla="*/ 174748 w 512613"/>
                    <a:gd name="connsiteY3" fmla="*/ 148134 h 454926"/>
                    <a:gd name="connsiteX4" fmla="*/ 190623 w 512613"/>
                    <a:gd name="connsiteY4" fmla="*/ 90984 h 454926"/>
                    <a:gd name="connsiteX5" fmla="*/ 203323 w 512613"/>
                    <a:gd name="connsiteY5" fmla="*/ 11609 h 454926"/>
                    <a:gd name="connsiteX6" fmla="*/ 314448 w 512613"/>
                    <a:gd name="connsiteY6" fmla="*/ 8434 h 454926"/>
                    <a:gd name="connsiteX7" fmla="*/ 314448 w 512613"/>
                    <a:gd name="connsiteY7" fmla="*/ 87809 h 454926"/>
                    <a:gd name="connsiteX8" fmla="*/ 336673 w 512613"/>
                    <a:gd name="connsiteY8" fmla="*/ 135434 h 454926"/>
                    <a:gd name="connsiteX9" fmla="*/ 447798 w 512613"/>
                    <a:gd name="connsiteY9" fmla="*/ 157659 h 454926"/>
                    <a:gd name="connsiteX10" fmla="*/ 489073 w 512613"/>
                    <a:gd name="connsiteY10" fmla="*/ 183059 h 454926"/>
                    <a:gd name="connsiteX11" fmla="*/ 511298 w 512613"/>
                    <a:gd name="connsiteY11" fmla="*/ 227509 h 454926"/>
                    <a:gd name="connsiteX12" fmla="*/ 508123 w 512613"/>
                    <a:gd name="connsiteY12" fmla="*/ 449759 h 454926"/>
                    <a:gd name="connsiteX13" fmla="*/ 6473 w 512613"/>
                    <a:gd name="connsiteY13" fmla="*/ 443409 h 454926"/>
                    <a:gd name="connsiteX0" fmla="*/ 4049 w 510189"/>
                    <a:gd name="connsiteY0" fmla="*/ 443409 h 454926"/>
                    <a:gd name="connsiteX1" fmla="*/ 7224 w 510189"/>
                    <a:gd name="connsiteY1" fmla="*/ 208459 h 454926"/>
                    <a:gd name="connsiteX2" fmla="*/ 70724 w 510189"/>
                    <a:gd name="connsiteY2" fmla="*/ 154484 h 454926"/>
                    <a:gd name="connsiteX3" fmla="*/ 172324 w 510189"/>
                    <a:gd name="connsiteY3" fmla="*/ 148134 h 454926"/>
                    <a:gd name="connsiteX4" fmla="*/ 188199 w 510189"/>
                    <a:gd name="connsiteY4" fmla="*/ 90984 h 454926"/>
                    <a:gd name="connsiteX5" fmla="*/ 200899 w 510189"/>
                    <a:gd name="connsiteY5" fmla="*/ 11609 h 454926"/>
                    <a:gd name="connsiteX6" fmla="*/ 312024 w 510189"/>
                    <a:gd name="connsiteY6" fmla="*/ 8434 h 454926"/>
                    <a:gd name="connsiteX7" fmla="*/ 312024 w 510189"/>
                    <a:gd name="connsiteY7" fmla="*/ 87809 h 454926"/>
                    <a:gd name="connsiteX8" fmla="*/ 334249 w 510189"/>
                    <a:gd name="connsiteY8" fmla="*/ 135434 h 454926"/>
                    <a:gd name="connsiteX9" fmla="*/ 445374 w 510189"/>
                    <a:gd name="connsiteY9" fmla="*/ 157659 h 454926"/>
                    <a:gd name="connsiteX10" fmla="*/ 486649 w 510189"/>
                    <a:gd name="connsiteY10" fmla="*/ 183059 h 454926"/>
                    <a:gd name="connsiteX11" fmla="*/ 508874 w 510189"/>
                    <a:gd name="connsiteY11" fmla="*/ 227509 h 454926"/>
                    <a:gd name="connsiteX12" fmla="*/ 505699 w 510189"/>
                    <a:gd name="connsiteY12" fmla="*/ 449759 h 454926"/>
                    <a:gd name="connsiteX13" fmla="*/ 4049 w 510189"/>
                    <a:gd name="connsiteY13" fmla="*/ 443409 h 454926"/>
                    <a:gd name="connsiteX0" fmla="*/ 4049 w 510189"/>
                    <a:gd name="connsiteY0" fmla="*/ 443409 h 454926"/>
                    <a:gd name="connsiteX1" fmla="*/ 7224 w 510189"/>
                    <a:gd name="connsiteY1" fmla="*/ 208459 h 454926"/>
                    <a:gd name="connsiteX2" fmla="*/ 70724 w 510189"/>
                    <a:gd name="connsiteY2" fmla="*/ 154484 h 454926"/>
                    <a:gd name="connsiteX3" fmla="*/ 172324 w 510189"/>
                    <a:gd name="connsiteY3" fmla="*/ 148134 h 454926"/>
                    <a:gd name="connsiteX4" fmla="*/ 188199 w 510189"/>
                    <a:gd name="connsiteY4" fmla="*/ 90984 h 454926"/>
                    <a:gd name="connsiteX5" fmla="*/ 200899 w 510189"/>
                    <a:gd name="connsiteY5" fmla="*/ 11609 h 454926"/>
                    <a:gd name="connsiteX6" fmla="*/ 312024 w 510189"/>
                    <a:gd name="connsiteY6" fmla="*/ 8434 h 454926"/>
                    <a:gd name="connsiteX7" fmla="*/ 312024 w 510189"/>
                    <a:gd name="connsiteY7" fmla="*/ 87809 h 454926"/>
                    <a:gd name="connsiteX8" fmla="*/ 334249 w 510189"/>
                    <a:gd name="connsiteY8" fmla="*/ 135434 h 454926"/>
                    <a:gd name="connsiteX9" fmla="*/ 445374 w 510189"/>
                    <a:gd name="connsiteY9" fmla="*/ 157659 h 454926"/>
                    <a:gd name="connsiteX10" fmla="*/ 508874 w 510189"/>
                    <a:gd name="connsiteY10" fmla="*/ 227509 h 454926"/>
                    <a:gd name="connsiteX11" fmla="*/ 505699 w 510189"/>
                    <a:gd name="connsiteY11" fmla="*/ 449759 h 454926"/>
                    <a:gd name="connsiteX12" fmla="*/ 4049 w 510189"/>
                    <a:gd name="connsiteY12" fmla="*/ 443409 h 454926"/>
                    <a:gd name="connsiteX0" fmla="*/ 4049 w 510189"/>
                    <a:gd name="connsiteY0" fmla="*/ 443409 h 454926"/>
                    <a:gd name="connsiteX1" fmla="*/ 7224 w 510189"/>
                    <a:gd name="connsiteY1" fmla="*/ 208459 h 454926"/>
                    <a:gd name="connsiteX2" fmla="*/ 70724 w 510189"/>
                    <a:gd name="connsiteY2" fmla="*/ 154484 h 454926"/>
                    <a:gd name="connsiteX3" fmla="*/ 172324 w 510189"/>
                    <a:gd name="connsiteY3" fmla="*/ 148134 h 454926"/>
                    <a:gd name="connsiteX4" fmla="*/ 188199 w 510189"/>
                    <a:gd name="connsiteY4" fmla="*/ 90984 h 454926"/>
                    <a:gd name="connsiteX5" fmla="*/ 200899 w 510189"/>
                    <a:gd name="connsiteY5" fmla="*/ 11609 h 454926"/>
                    <a:gd name="connsiteX6" fmla="*/ 312024 w 510189"/>
                    <a:gd name="connsiteY6" fmla="*/ 8434 h 454926"/>
                    <a:gd name="connsiteX7" fmla="*/ 312024 w 510189"/>
                    <a:gd name="connsiteY7" fmla="*/ 87809 h 454926"/>
                    <a:gd name="connsiteX8" fmla="*/ 334249 w 510189"/>
                    <a:gd name="connsiteY8" fmla="*/ 135434 h 454926"/>
                    <a:gd name="connsiteX9" fmla="*/ 445374 w 510189"/>
                    <a:gd name="connsiteY9" fmla="*/ 157659 h 454926"/>
                    <a:gd name="connsiteX10" fmla="*/ 508874 w 510189"/>
                    <a:gd name="connsiteY10" fmla="*/ 227509 h 454926"/>
                    <a:gd name="connsiteX11" fmla="*/ 505699 w 510189"/>
                    <a:gd name="connsiteY11" fmla="*/ 449759 h 454926"/>
                    <a:gd name="connsiteX12" fmla="*/ 4049 w 510189"/>
                    <a:gd name="connsiteY12" fmla="*/ 443409 h 454926"/>
                    <a:gd name="connsiteX0" fmla="*/ 5987 w 512127"/>
                    <a:gd name="connsiteY0" fmla="*/ 443409 h 454926"/>
                    <a:gd name="connsiteX1" fmla="*/ 2812 w 512127"/>
                    <a:gd name="connsiteY1" fmla="*/ 217984 h 454926"/>
                    <a:gd name="connsiteX2" fmla="*/ 72662 w 512127"/>
                    <a:gd name="connsiteY2" fmla="*/ 154484 h 454926"/>
                    <a:gd name="connsiteX3" fmla="*/ 174262 w 512127"/>
                    <a:gd name="connsiteY3" fmla="*/ 148134 h 454926"/>
                    <a:gd name="connsiteX4" fmla="*/ 190137 w 512127"/>
                    <a:gd name="connsiteY4" fmla="*/ 90984 h 454926"/>
                    <a:gd name="connsiteX5" fmla="*/ 202837 w 512127"/>
                    <a:gd name="connsiteY5" fmla="*/ 11609 h 454926"/>
                    <a:gd name="connsiteX6" fmla="*/ 313962 w 512127"/>
                    <a:gd name="connsiteY6" fmla="*/ 8434 h 454926"/>
                    <a:gd name="connsiteX7" fmla="*/ 313962 w 512127"/>
                    <a:gd name="connsiteY7" fmla="*/ 87809 h 454926"/>
                    <a:gd name="connsiteX8" fmla="*/ 336187 w 512127"/>
                    <a:gd name="connsiteY8" fmla="*/ 135434 h 454926"/>
                    <a:gd name="connsiteX9" fmla="*/ 447312 w 512127"/>
                    <a:gd name="connsiteY9" fmla="*/ 157659 h 454926"/>
                    <a:gd name="connsiteX10" fmla="*/ 510812 w 512127"/>
                    <a:gd name="connsiteY10" fmla="*/ 227509 h 454926"/>
                    <a:gd name="connsiteX11" fmla="*/ 507637 w 512127"/>
                    <a:gd name="connsiteY11" fmla="*/ 449759 h 454926"/>
                    <a:gd name="connsiteX12" fmla="*/ 5987 w 512127"/>
                    <a:gd name="connsiteY12" fmla="*/ 443409 h 454926"/>
                    <a:gd name="connsiteX0" fmla="*/ 9762 w 515902"/>
                    <a:gd name="connsiteY0" fmla="*/ 443409 h 454926"/>
                    <a:gd name="connsiteX1" fmla="*/ 6587 w 515902"/>
                    <a:gd name="connsiteY1" fmla="*/ 217984 h 454926"/>
                    <a:gd name="connsiteX2" fmla="*/ 76437 w 515902"/>
                    <a:gd name="connsiteY2" fmla="*/ 154484 h 454926"/>
                    <a:gd name="connsiteX3" fmla="*/ 178037 w 515902"/>
                    <a:gd name="connsiteY3" fmla="*/ 148134 h 454926"/>
                    <a:gd name="connsiteX4" fmla="*/ 193912 w 515902"/>
                    <a:gd name="connsiteY4" fmla="*/ 90984 h 454926"/>
                    <a:gd name="connsiteX5" fmla="*/ 206612 w 515902"/>
                    <a:gd name="connsiteY5" fmla="*/ 11609 h 454926"/>
                    <a:gd name="connsiteX6" fmla="*/ 317737 w 515902"/>
                    <a:gd name="connsiteY6" fmla="*/ 8434 h 454926"/>
                    <a:gd name="connsiteX7" fmla="*/ 317737 w 515902"/>
                    <a:gd name="connsiteY7" fmla="*/ 87809 h 454926"/>
                    <a:gd name="connsiteX8" fmla="*/ 339962 w 515902"/>
                    <a:gd name="connsiteY8" fmla="*/ 135434 h 454926"/>
                    <a:gd name="connsiteX9" fmla="*/ 451087 w 515902"/>
                    <a:gd name="connsiteY9" fmla="*/ 157659 h 454926"/>
                    <a:gd name="connsiteX10" fmla="*/ 514587 w 515902"/>
                    <a:gd name="connsiteY10" fmla="*/ 227509 h 454926"/>
                    <a:gd name="connsiteX11" fmla="*/ 511412 w 515902"/>
                    <a:gd name="connsiteY11" fmla="*/ 449759 h 454926"/>
                    <a:gd name="connsiteX12" fmla="*/ 9762 w 515902"/>
                    <a:gd name="connsiteY12" fmla="*/ 443409 h 454926"/>
                    <a:gd name="connsiteX0" fmla="*/ 9762 w 515902"/>
                    <a:gd name="connsiteY0" fmla="*/ 443409 h 454926"/>
                    <a:gd name="connsiteX1" fmla="*/ 6587 w 515902"/>
                    <a:gd name="connsiteY1" fmla="*/ 217984 h 454926"/>
                    <a:gd name="connsiteX2" fmla="*/ 76437 w 515902"/>
                    <a:gd name="connsiteY2" fmla="*/ 154484 h 454926"/>
                    <a:gd name="connsiteX3" fmla="*/ 178037 w 515902"/>
                    <a:gd name="connsiteY3" fmla="*/ 148134 h 454926"/>
                    <a:gd name="connsiteX4" fmla="*/ 193912 w 515902"/>
                    <a:gd name="connsiteY4" fmla="*/ 90984 h 454926"/>
                    <a:gd name="connsiteX5" fmla="*/ 206612 w 515902"/>
                    <a:gd name="connsiteY5" fmla="*/ 11609 h 454926"/>
                    <a:gd name="connsiteX6" fmla="*/ 317737 w 515902"/>
                    <a:gd name="connsiteY6" fmla="*/ 8434 h 454926"/>
                    <a:gd name="connsiteX7" fmla="*/ 317737 w 515902"/>
                    <a:gd name="connsiteY7" fmla="*/ 87809 h 454926"/>
                    <a:gd name="connsiteX8" fmla="*/ 339962 w 515902"/>
                    <a:gd name="connsiteY8" fmla="*/ 135434 h 454926"/>
                    <a:gd name="connsiteX9" fmla="*/ 451087 w 515902"/>
                    <a:gd name="connsiteY9" fmla="*/ 157659 h 454926"/>
                    <a:gd name="connsiteX10" fmla="*/ 514587 w 515902"/>
                    <a:gd name="connsiteY10" fmla="*/ 227509 h 454926"/>
                    <a:gd name="connsiteX11" fmla="*/ 511412 w 515902"/>
                    <a:gd name="connsiteY11" fmla="*/ 449759 h 454926"/>
                    <a:gd name="connsiteX12" fmla="*/ 9762 w 515902"/>
                    <a:gd name="connsiteY12" fmla="*/ 443409 h 454926"/>
                    <a:gd name="connsiteX0" fmla="*/ 9762 w 515902"/>
                    <a:gd name="connsiteY0" fmla="*/ 443409 h 454926"/>
                    <a:gd name="connsiteX1" fmla="*/ 6587 w 515902"/>
                    <a:gd name="connsiteY1" fmla="*/ 217984 h 454926"/>
                    <a:gd name="connsiteX2" fmla="*/ 76437 w 515902"/>
                    <a:gd name="connsiteY2" fmla="*/ 154484 h 454926"/>
                    <a:gd name="connsiteX3" fmla="*/ 193912 w 515902"/>
                    <a:gd name="connsiteY3" fmla="*/ 90984 h 454926"/>
                    <a:gd name="connsiteX4" fmla="*/ 206612 w 515902"/>
                    <a:gd name="connsiteY4" fmla="*/ 11609 h 454926"/>
                    <a:gd name="connsiteX5" fmla="*/ 317737 w 515902"/>
                    <a:gd name="connsiteY5" fmla="*/ 8434 h 454926"/>
                    <a:gd name="connsiteX6" fmla="*/ 317737 w 515902"/>
                    <a:gd name="connsiteY6" fmla="*/ 87809 h 454926"/>
                    <a:gd name="connsiteX7" fmla="*/ 339962 w 515902"/>
                    <a:gd name="connsiteY7" fmla="*/ 135434 h 454926"/>
                    <a:gd name="connsiteX8" fmla="*/ 451087 w 515902"/>
                    <a:gd name="connsiteY8" fmla="*/ 157659 h 454926"/>
                    <a:gd name="connsiteX9" fmla="*/ 514587 w 515902"/>
                    <a:gd name="connsiteY9" fmla="*/ 227509 h 454926"/>
                    <a:gd name="connsiteX10" fmla="*/ 511412 w 515902"/>
                    <a:gd name="connsiteY10" fmla="*/ 449759 h 454926"/>
                    <a:gd name="connsiteX11" fmla="*/ 9762 w 515902"/>
                    <a:gd name="connsiteY11" fmla="*/ 443409 h 454926"/>
                    <a:gd name="connsiteX0" fmla="*/ 9762 w 515902"/>
                    <a:gd name="connsiteY0" fmla="*/ 446099 h 457616"/>
                    <a:gd name="connsiteX1" fmla="*/ 6587 w 515902"/>
                    <a:gd name="connsiteY1" fmla="*/ 220674 h 457616"/>
                    <a:gd name="connsiteX2" fmla="*/ 76437 w 515902"/>
                    <a:gd name="connsiteY2" fmla="*/ 157174 h 457616"/>
                    <a:gd name="connsiteX3" fmla="*/ 190737 w 515902"/>
                    <a:gd name="connsiteY3" fmla="*/ 138124 h 457616"/>
                    <a:gd name="connsiteX4" fmla="*/ 206612 w 515902"/>
                    <a:gd name="connsiteY4" fmla="*/ 14299 h 457616"/>
                    <a:gd name="connsiteX5" fmla="*/ 317737 w 515902"/>
                    <a:gd name="connsiteY5" fmla="*/ 11124 h 457616"/>
                    <a:gd name="connsiteX6" fmla="*/ 317737 w 515902"/>
                    <a:gd name="connsiteY6" fmla="*/ 90499 h 457616"/>
                    <a:gd name="connsiteX7" fmla="*/ 339962 w 515902"/>
                    <a:gd name="connsiteY7" fmla="*/ 138124 h 457616"/>
                    <a:gd name="connsiteX8" fmla="*/ 451087 w 515902"/>
                    <a:gd name="connsiteY8" fmla="*/ 160349 h 457616"/>
                    <a:gd name="connsiteX9" fmla="*/ 514587 w 515902"/>
                    <a:gd name="connsiteY9" fmla="*/ 230199 h 457616"/>
                    <a:gd name="connsiteX10" fmla="*/ 511412 w 515902"/>
                    <a:gd name="connsiteY10" fmla="*/ 452449 h 457616"/>
                    <a:gd name="connsiteX11" fmla="*/ 9762 w 515902"/>
                    <a:gd name="connsiteY11" fmla="*/ 446099 h 457616"/>
                    <a:gd name="connsiteX0" fmla="*/ 9762 w 515902"/>
                    <a:gd name="connsiteY0" fmla="*/ 446099 h 457616"/>
                    <a:gd name="connsiteX1" fmla="*/ 6587 w 515902"/>
                    <a:gd name="connsiteY1" fmla="*/ 220674 h 457616"/>
                    <a:gd name="connsiteX2" fmla="*/ 76437 w 515902"/>
                    <a:gd name="connsiteY2" fmla="*/ 157174 h 457616"/>
                    <a:gd name="connsiteX3" fmla="*/ 190737 w 515902"/>
                    <a:gd name="connsiteY3" fmla="*/ 138124 h 457616"/>
                    <a:gd name="connsiteX4" fmla="*/ 206612 w 515902"/>
                    <a:gd name="connsiteY4" fmla="*/ 14299 h 457616"/>
                    <a:gd name="connsiteX5" fmla="*/ 317737 w 515902"/>
                    <a:gd name="connsiteY5" fmla="*/ 11124 h 457616"/>
                    <a:gd name="connsiteX6" fmla="*/ 317737 w 515902"/>
                    <a:gd name="connsiteY6" fmla="*/ 90499 h 457616"/>
                    <a:gd name="connsiteX7" fmla="*/ 451087 w 515902"/>
                    <a:gd name="connsiteY7" fmla="*/ 160349 h 457616"/>
                    <a:gd name="connsiteX8" fmla="*/ 514587 w 515902"/>
                    <a:gd name="connsiteY8" fmla="*/ 230199 h 457616"/>
                    <a:gd name="connsiteX9" fmla="*/ 511412 w 515902"/>
                    <a:gd name="connsiteY9" fmla="*/ 452449 h 457616"/>
                    <a:gd name="connsiteX10" fmla="*/ 9762 w 515902"/>
                    <a:gd name="connsiteY10" fmla="*/ 446099 h 457616"/>
                    <a:gd name="connsiteX0" fmla="*/ 9762 w 515902"/>
                    <a:gd name="connsiteY0" fmla="*/ 447482 h 458999"/>
                    <a:gd name="connsiteX1" fmla="*/ 6587 w 515902"/>
                    <a:gd name="connsiteY1" fmla="*/ 222057 h 458999"/>
                    <a:gd name="connsiteX2" fmla="*/ 76437 w 515902"/>
                    <a:gd name="connsiteY2" fmla="*/ 158557 h 458999"/>
                    <a:gd name="connsiteX3" fmla="*/ 190737 w 515902"/>
                    <a:gd name="connsiteY3" fmla="*/ 139507 h 458999"/>
                    <a:gd name="connsiteX4" fmla="*/ 206612 w 515902"/>
                    <a:gd name="connsiteY4" fmla="*/ 15682 h 458999"/>
                    <a:gd name="connsiteX5" fmla="*/ 317737 w 515902"/>
                    <a:gd name="connsiteY5" fmla="*/ 12507 h 458999"/>
                    <a:gd name="connsiteX6" fmla="*/ 330437 w 515902"/>
                    <a:gd name="connsiteY6" fmla="*/ 114107 h 458999"/>
                    <a:gd name="connsiteX7" fmla="*/ 451087 w 515902"/>
                    <a:gd name="connsiteY7" fmla="*/ 161732 h 458999"/>
                    <a:gd name="connsiteX8" fmla="*/ 514587 w 515902"/>
                    <a:gd name="connsiteY8" fmla="*/ 231582 h 458999"/>
                    <a:gd name="connsiteX9" fmla="*/ 511412 w 515902"/>
                    <a:gd name="connsiteY9" fmla="*/ 453832 h 458999"/>
                    <a:gd name="connsiteX10" fmla="*/ 9762 w 515902"/>
                    <a:gd name="connsiteY10" fmla="*/ 447482 h 458999"/>
                    <a:gd name="connsiteX0" fmla="*/ 9762 w 515902"/>
                    <a:gd name="connsiteY0" fmla="*/ 446348 h 457865"/>
                    <a:gd name="connsiteX1" fmla="*/ 6587 w 515902"/>
                    <a:gd name="connsiteY1" fmla="*/ 220923 h 457865"/>
                    <a:gd name="connsiteX2" fmla="*/ 76437 w 515902"/>
                    <a:gd name="connsiteY2" fmla="*/ 157423 h 457865"/>
                    <a:gd name="connsiteX3" fmla="*/ 200262 w 515902"/>
                    <a:gd name="connsiteY3" fmla="*/ 119323 h 457865"/>
                    <a:gd name="connsiteX4" fmla="*/ 206612 w 515902"/>
                    <a:gd name="connsiteY4" fmla="*/ 14548 h 457865"/>
                    <a:gd name="connsiteX5" fmla="*/ 317737 w 515902"/>
                    <a:gd name="connsiteY5" fmla="*/ 11373 h 457865"/>
                    <a:gd name="connsiteX6" fmla="*/ 330437 w 515902"/>
                    <a:gd name="connsiteY6" fmla="*/ 112973 h 457865"/>
                    <a:gd name="connsiteX7" fmla="*/ 451087 w 515902"/>
                    <a:gd name="connsiteY7" fmla="*/ 160598 h 457865"/>
                    <a:gd name="connsiteX8" fmla="*/ 514587 w 515902"/>
                    <a:gd name="connsiteY8" fmla="*/ 230448 h 457865"/>
                    <a:gd name="connsiteX9" fmla="*/ 511412 w 515902"/>
                    <a:gd name="connsiteY9" fmla="*/ 452698 h 457865"/>
                    <a:gd name="connsiteX10" fmla="*/ 9762 w 515902"/>
                    <a:gd name="connsiteY10" fmla="*/ 446348 h 457865"/>
                    <a:gd name="connsiteX0" fmla="*/ 9762 w 515902"/>
                    <a:gd name="connsiteY0" fmla="*/ 446681 h 458198"/>
                    <a:gd name="connsiteX1" fmla="*/ 6587 w 515902"/>
                    <a:gd name="connsiteY1" fmla="*/ 221256 h 458198"/>
                    <a:gd name="connsiteX2" fmla="*/ 76437 w 515902"/>
                    <a:gd name="connsiteY2" fmla="*/ 157756 h 458198"/>
                    <a:gd name="connsiteX3" fmla="*/ 200262 w 515902"/>
                    <a:gd name="connsiteY3" fmla="*/ 119656 h 458198"/>
                    <a:gd name="connsiteX4" fmla="*/ 206612 w 515902"/>
                    <a:gd name="connsiteY4" fmla="*/ 14881 h 458198"/>
                    <a:gd name="connsiteX5" fmla="*/ 317737 w 515902"/>
                    <a:gd name="connsiteY5" fmla="*/ 11706 h 458198"/>
                    <a:gd name="connsiteX6" fmla="*/ 311502 w 515902"/>
                    <a:gd name="connsiteY6" fmla="*/ 118302 h 458198"/>
                    <a:gd name="connsiteX7" fmla="*/ 451087 w 515902"/>
                    <a:gd name="connsiteY7" fmla="*/ 160931 h 458198"/>
                    <a:gd name="connsiteX8" fmla="*/ 514587 w 515902"/>
                    <a:gd name="connsiteY8" fmla="*/ 230781 h 458198"/>
                    <a:gd name="connsiteX9" fmla="*/ 511412 w 515902"/>
                    <a:gd name="connsiteY9" fmla="*/ 453031 h 458198"/>
                    <a:gd name="connsiteX10" fmla="*/ 9762 w 515902"/>
                    <a:gd name="connsiteY10" fmla="*/ 446681 h 458198"/>
                    <a:gd name="connsiteX0" fmla="*/ 9762 w 515902"/>
                    <a:gd name="connsiteY0" fmla="*/ 446681 h 458198"/>
                    <a:gd name="connsiteX1" fmla="*/ 6587 w 515902"/>
                    <a:gd name="connsiteY1" fmla="*/ 221256 h 458198"/>
                    <a:gd name="connsiteX2" fmla="*/ 76437 w 515902"/>
                    <a:gd name="connsiteY2" fmla="*/ 157756 h 458198"/>
                    <a:gd name="connsiteX3" fmla="*/ 200262 w 515902"/>
                    <a:gd name="connsiteY3" fmla="*/ 119656 h 458198"/>
                    <a:gd name="connsiteX4" fmla="*/ 206612 w 515902"/>
                    <a:gd name="connsiteY4" fmla="*/ 14881 h 458198"/>
                    <a:gd name="connsiteX5" fmla="*/ 301506 w 515902"/>
                    <a:gd name="connsiteY5" fmla="*/ 11706 h 458198"/>
                    <a:gd name="connsiteX6" fmla="*/ 311502 w 515902"/>
                    <a:gd name="connsiteY6" fmla="*/ 118302 h 458198"/>
                    <a:gd name="connsiteX7" fmla="*/ 451087 w 515902"/>
                    <a:gd name="connsiteY7" fmla="*/ 160931 h 458198"/>
                    <a:gd name="connsiteX8" fmla="*/ 514587 w 515902"/>
                    <a:gd name="connsiteY8" fmla="*/ 230781 h 458198"/>
                    <a:gd name="connsiteX9" fmla="*/ 511412 w 515902"/>
                    <a:gd name="connsiteY9" fmla="*/ 453031 h 458198"/>
                    <a:gd name="connsiteX10" fmla="*/ 9762 w 515902"/>
                    <a:gd name="connsiteY10" fmla="*/ 446681 h 458198"/>
                    <a:gd name="connsiteX0" fmla="*/ 9762 w 515902"/>
                    <a:gd name="connsiteY0" fmla="*/ 446681 h 458198"/>
                    <a:gd name="connsiteX1" fmla="*/ 6587 w 515902"/>
                    <a:gd name="connsiteY1" fmla="*/ 221256 h 458198"/>
                    <a:gd name="connsiteX2" fmla="*/ 76437 w 515902"/>
                    <a:gd name="connsiteY2" fmla="*/ 157756 h 458198"/>
                    <a:gd name="connsiteX3" fmla="*/ 200262 w 515902"/>
                    <a:gd name="connsiteY3" fmla="*/ 119656 h 458198"/>
                    <a:gd name="connsiteX4" fmla="*/ 206612 w 515902"/>
                    <a:gd name="connsiteY4" fmla="*/ 14881 h 458198"/>
                    <a:gd name="connsiteX5" fmla="*/ 301506 w 515902"/>
                    <a:gd name="connsiteY5" fmla="*/ 11706 h 458198"/>
                    <a:gd name="connsiteX6" fmla="*/ 311502 w 515902"/>
                    <a:gd name="connsiteY6" fmla="*/ 118302 h 458198"/>
                    <a:gd name="connsiteX7" fmla="*/ 442972 w 515902"/>
                    <a:gd name="connsiteY7" fmla="*/ 180912 h 458198"/>
                    <a:gd name="connsiteX8" fmla="*/ 514587 w 515902"/>
                    <a:gd name="connsiteY8" fmla="*/ 230781 h 458198"/>
                    <a:gd name="connsiteX9" fmla="*/ 511412 w 515902"/>
                    <a:gd name="connsiteY9" fmla="*/ 453031 h 458198"/>
                    <a:gd name="connsiteX10" fmla="*/ 9762 w 515902"/>
                    <a:gd name="connsiteY10" fmla="*/ 446681 h 458198"/>
                    <a:gd name="connsiteX0" fmla="*/ 9762 w 511905"/>
                    <a:gd name="connsiteY0" fmla="*/ 446681 h 458198"/>
                    <a:gd name="connsiteX1" fmla="*/ 6587 w 511905"/>
                    <a:gd name="connsiteY1" fmla="*/ 221256 h 458198"/>
                    <a:gd name="connsiteX2" fmla="*/ 76437 w 511905"/>
                    <a:gd name="connsiteY2" fmla="*/ 157756 h 458198"/>
                    <a:gd name="connsiteX3" fmla="*/ 200262 w 511905"/>
                    <a:gd name="connsiteY3" fmla="*/ 119656 h 458198"/>
                    <a:gd name="connsiteX4" fmla="*/ 206612 w 511905"/>
                    <a:gd name="connsiteY4" fmla="*/ 14881 h 458198"/>
                    <a:gd name="connsiteX5" fmla="*/ 301506 w 511905"/>
                    <a:gd name="connsiteY5" fmla="*/ 11706 h 458198"/>
                    <a:gd name="connsiteX6" fmla="*/ 311502 w 511905"/>
                    <a:gd name="connsiteY6" fmla="*/ 118302 h 458198"/>
                    <a:gd name="connsiteX7" fmla="*/ 442972 w 511905"/>
                    <a:gd name="connsiteY7" fmla="*/ 180912 h 458198"/>
                    <a:gd name="connsiteX8" fmla="*/ 498357 w 511905"/>
                    <a:gd name="connsiteY8" fmla="*/ 250762 h 458198"/>
                    <a:gd name="connsiteX9" fmla="*/ 511412 w 511905"/>
                    <a:gd name="connsiteY9" fmla="*/ 453031 h 458198"/>
                    <a:gd name="connsiteX10" fmla="*/ 9762 w 511905"/>
                    <a:gd name="connsiteY10" fmla="*/ 446681 h 458198"/>
                    <a:gd name="connsiteX0" fmla="*/ 9762 w 511905"/>
                    <a:gd name="connsiteY0" fmla="*/ 446681 h 458198"/>
                    <a:gd name="connsiteX1" fmla="*/ 6587 w 511905"/>
                    <a:gd name="connsiteY1" fmla="*/ 221256 h 458198"/>
                    <a:gd name="connsiteX2" fmla="*/ 76437 w 511905"/>
                    <a:gd name="connsiteY2" fmla="*/ 157756 h 458198"/>
                    <a:gd name="connsiteX3" fmla="*/ 200262 w 511905"/>
                    <a:gd name="connsiteY3" fmla="*/ 119656 h 458198"/>
                    <a:gd name="connsiteX4" fmla="*/ 206612 w 511905"/>
                    <a:gd name="connsiteY4" fmla="*/ 14881 h 458198"/>
                    <a:gd name="connsiteX5" fmla="*/ 301506 w 511905"/>
                    <a:gd name="connsiteY5" fmla="*/ 11706 h 458198"/>
                    <a:gd name="connsiteX6" fmla="*/ 311502 w 511905"/>
                    <a:gd name="connsiteY6" fmla="*/ 118302 h 458198"/>
                    <a:gd name="connsiteX7" fmla="*/ 437562 w 511905"/>
                    <a:gd name="connsiteY7" fmla="*/ 198396 h 458198"/>
                    <a:gd name="connsiteX8" fmla="*/ 498357 w 511905"/>
                    <a:gd name="connsiteY8" fmla="*/ 250762 h 458198"/>
                    <a:gd name="connsiteX9" fmla="*/ 511412 w 511905"/>
                    <a:gd name="connsiteY9" fmla="*/ 453031 h 458198"/>
                    <a:gd name="connsiteX10" fmla="*/ 9762 w 511905"/>
                    <a:gd name="connsiteY10" fmla="*/ 446681 h 458198"/>
                    <a:gd name="connsiteX0" fmla="*/ 9762 w 511905"/>
                    <a:gd name="connsiteY0" fmla="*/ 446681 h 458198"/>
                    <a:gd name="connsiteX1" fmla="*/ 6587 w 511905"/>
                    <a:gd name="connsiteY1" fmla="*/ 221256 h 458198"/>
                    <a:gd name="connsiteX2" fmla="*/ 76437 w 511905"/>
                    <a:gd name="connsiteY2" fmla="*/ 157756 h 458198"/>
                    <a:gd name="connsiteX3" fmla="*/ 200262 w 511905"/>
                    <a:gd name="connsiteY3" fmla="*/ 119656 h 458198"/>
                    <a:gd name="connsiteX4" fmla="*/ 206612 w 511905"/>
                    <a:gd name="connsiteY4" fmla="*/ 14881 h 458198"/>
                    <a:gd name="connsiteX5" fmla="*/ 301506 w 511905"/>
                    <a:gd name="connsiteY5" fmla="*/ 11706 h 458198"/>
                    <a:gd name="connsiteX6" fmla="*/ 311502 w 511905"/>
                    <a:gd name="connsiteY6" fmla="*/ 118302 h 458198"/>
                    <a:gd name="connsiteX7" fmla="*/ 451087 w 511905"/>
                    <a:gd name="connsiteY7" fmla="*/ 188406 h 458198"/>
                    <a:gd name="connsiteX8" fmla="*/ 498357 w 511905"/>
                    <a:gd name="connsiteY8" fmla="*/ 250762 h 458198"/>
                    <a:gd name="connsiteX9" fmla="*/ 511412 w 511905"/>
                    <a:gd name="connsiteY9" fmla="*/ 453031 h 458198"/>
                    <a:gd name="connsiteX10" fmla="*/ 9762 w 511905"/>
                    <a:gd name="connsiteY10" fmla="*/ 446681 h 458198"/>
                    <a:gd name="connsiteX0" fmla="*/ 9762 w 511905"/>
                    <a:gd name="connsiteY0" fmla="*/ 447695 h 459212"/>
                    <a:gd name="connsiteX1" fmla="*/ 6587 w 511905"/>
                    <a:gd name="connsiteY1" fmla="*/ 222270 h 459212"/>
                    <a:gd name="connsiteX2" fmla="*/ 76437 w 511905"/>
                    <a:gd name="connsiteY2" fmla="*/ 158770 h 459212"/>
                    <a:gd name="connsiteX3" fmla="*/ 200262 w 511905"/>
                    <a:gd name="connsiteY3" fmla="*/ 120670 h 459212"/>
                    <a:gd name="connsiteX4" fmla="*/ 206612 w 511905"/>
                    <a:gd name="connsiteY4" fmla="*/ 15895 h 459212"/>
                    <a:gd name="connsiteX5" fmla="*/ 301506 w 511905"/>
                    <a:gd name="connsiteY5" fmla="*/ 12720 h 459212"/>
                    <a:gd name="connsiteX6" fmla="*/ 311502 w 511905"/>
                    <a:gd name="connsiteY6" fmla="*/ 134302 h 459212"/>
                    <a:gd name="connsiteX7" fmla="*/ 451087 w 511905"/>
                    <a:gd name="connsiteY7" fmla="*/ 189420 h 459212"/>
                    <a:gd name="connsiteX8" fmla="*/ 498357 w 511905"/>
                    <a:gd name="connsiteY8" fmla="*/ 251776 h 459212"/>
                    <a:gd name="connsiteX9" fmla="*/ 511412 w 511905"/>
                    <a:gd name="connsiteY9" fmla="*/ 454045 h 459212"/>
                    <a:gd name="connsiteX10" fmla="*/ 9762 w 511905"/>
                    <a:gd name="connsiteY10" fmla="*/ 447695 h 459212"/>
                    <a:gd name="connsiteX0" fmla="*/ 4227 w 522600"/>
                    <a:gd name="connsiteY0" fmla="*/ 455188 h 463021"/>
                    <a:gd name="connsiteX1" fmla="*/ 17282 w 522600"/>
                    <a:gd name="connsiteY1" fmla="*/ 222270 h 463021"/>
                    <a:gd name="connsiteX2" fmla="*/ 87132 w 522600"/>
                    <a:gd name="connsiteY2" fmla="*/ 158770 h 463021"/>
                    <a:gd name="connsiteX3" fmla="*/ 210957 w 522600"/>
                    <a:gd name="connsiteY3" fmla="*/ 120670 h 463021"/>
                    <a:gd name="connsiteX4" fmla="*/ 217307 w 522600"/>
                    <a:gd name="connsiteY4" fmla="*/ 15895 h 463021"/>
                    <a:gd name="connsiteX5" fmla="*/ 312201 w 522600"/>
                    <a:gd name="connsiteY5" fmla="*/ 12720 h 463021"/>
                    <a:gd name="connsiteX6" fmla="*/ 322197 w 522600"/>
                    <a:gd name="connsiteY6" fmla="*/ 134302 h 463021"/>
                    <a:gd name="connsiteX7" fmla="*/ 461782 w 522600"/>
                    <a:gd name="connsiteY7" fmla="*/ 189420 h 463021"/>
                    <a:gd name="connsiteX8" fmla="*/ 509052 w 522600"/>
                    <a:gd name="connsiteY8" fmla="*/ 251776 h 463021"/>
                    <a:gd name="connsiteX9" fmla="*/ 522107 w 522600"/>
                    <a:gd name="connsiteY9" fmla="*/ 454045 h 463021"/>
                    <a:gd name="connsiteX10" fmla="*/ 4227 w 522600"/>
                    <a:gd name="connsiteY10" fmla="*/ 455188 h 463021"/>
                    <a:gd name="connsiteX0" fmla="*/ 4227 w 522600"/>
                    <a:gd name="connsiteY0" fmla="*/ 455188 h 457596"/>
                    <a:gd name="connsiteX1" fmla="*/ 17282 w 522600"/>
                    <a:gd name="connsiteY1" fmla="*/ 222270 h 457596"/>
                    <a:gd name="connsiteX2" fmla="*/ 87132 w 522600"/>
                    <a:gd name="connsiteY2" fmla="*/ 158770 h 457596"/>
                    <a:gd name="connsiteX3" fmla="*/ 210957 w 522600"/>
                    <a:gd name="connsiteY3" fmla="*/ 120670 h 457596"/>
                    <a:gd name="connsiteX4" fmla="*/ 217307 w 522600"/>
                    <a:gd name="connsiteY4" fmla="*/ 15895 h 457596"/>
                    <a:gd name="connsiteX5" fmla="*/ 312201 w 522600"/>
                    <a:gd name="connsiteY5" fmla="*/ 12720 h 457596"/>
                    <a:gd name="connsiteX6" fmla="*/ 322197 w 522600"/>
                    <a:gd name="connsiteY6" fmla="*/ 134302 h 457596"/>
                    <a:gd name="connsiteX7" fmla="*/ 461782 w 522600"/>
                    <a:gd name="connsiteY7" fmla="*/ 189420 h 457596"/>
                    <a:gd name="connsiteX8" fmla="*/ 509052 w 522600"/>
                    <a:gd name="connsiteY8" fmla="*/ 251776 h 457596"/>
                    <a:gd name="connsiteX9" fmla="*/ 522107 w 522600"/>
                    <a:gd name="connsiteY9" fmla="*/ 454045 h 457596"/>
                    <a:gd name="connsiteX10" fmla="*/ 4227 w 522600"/>
                    <a:gd name="connsiteY10" fmla="*/ 455188 h 457596"/>
                    <a:gd name="connsiteX0" fmla="*/ 12757 w 531130"/>
                    <a:gd name="connsiteY0" fmla="*/ 455188 h 457596"/>
                    <a:gd name="connsiteX1" fmla="*/ 6876 w 531130"/>
                    <a:gd name="connsiteY1" fmla="*/ 237256 h 457596"/>
                    <a:gd name="connsiteX2" fmla="*/ 95662 w 531130"/>
                    <a:gd name="connsiteY2" fmla="*/ 158770 h 457596"/>
                    <a:gd name="connsiteX3" fmla="*/ 219487 w 531130"/>
                    <a:gd name="connsiteY3" fmla="*/ 120670 h 457596"/>
                    <a:gd name="connsiteX4" fmla="*/ 225837 w 531130"/>
                    <a:gd name="connsiteY4" fmla="*/ 15895 h 457596"/>
                    <a:gd name="connsiteX5" fmla="*/ 320731 w 531130"/>
                    <a:gd name="connsiteY5" fmla="*/ 12720 h 457596"/>
                    <a:gd name="connsiteX6" fmla="*/ 330727 w 531130"/>
                    <a:gd name="connsiteY6" fmla="*/ 134302 h 457596"/>
                    <a:gd name="connsiteX7" fmla="*/ 470312 w 531130"/>
                    <a:gd name="connsiteY7" fmla="*/ 189420 h 457596"/>
                    <a:gd name="connsiteX8" fmla="*/ 517582 w 531130"/>
                    <a:gd name="connsiteY8" fmla="*/ 251776 h 457596"/>
                    <a:gd name="connsiteX9" fmla="*/ 530637 w 531130"/>
                    <a:gd name="connsiteY9" fmla="*/ 454045 h 457596"/>
                    <a:gd name="connsiteX10" fmla="*/ 12757 w 531130"/>
                    <a:gd name="connsiteY10" fmla="*/ 455188 h 457596"/>
                    <a:gd name="connsiteX0" fmla="*/ 7226 w 536419"/>
                    <a:gd name="connsiteY0" fmla="*/ 447695 h 456315"/>
                    <a:gd name="connsiteX1" fmla="*/ 12165 w 536419"/>
                    <a:gd name="connsiteY1" fmla="*/ 237256 h 456315"/>
                    <a:gd name="connsiteX2" fmla="*/ 100951 w 536419"/>
                    <a:gd name="connsiteY2" fmla="*/ 158770 h 456315"/>
                    <a:gd name="connsiteX3" fmla="*/ 224776 w 536419"/>
                    <a:gd name="connsiteY3" fmla="*/ 120670 h 456315"/>
                    <a:gd name="connsiteX4" fmla="*/ 231126 w 536419"/>
                    <a:gd name="connsiteY4" fmla="*/ 15895 h 456315"/>
                    <a:gd name="connsiteX5" fmla="*/ 326020 w 536419"/>
                    <a:gd name="connsiteY5" fmla="*/ 12720 h 456315"/>
                    <a:gd name="connsiteX6" fmla="*/ 336016 w 536419"/>
                    <a:gd name="connsiteY6" fmla="*/ 134302 h 456315"/>
                    <a:gd name="connsiteX7" fmla="*/ 475601 w 536419"/>
                    <a:gd name="connsiteY7" fmla="*/ 189420 h 456315"/>
                    <a:gd name="connsiteX8" fmla="*/ 522871 w 536419"/>
                    <a:gd name="connsiteY8" fmla="*/ 251776 h 456315"/>
                    <a:gd name="connsiteX9" fmla="*/ 535926 w 536419"/>
                    <a:gd name="connsiteY9" fmla="*/ 454045 h 456315"/>
                    <a:gd name="connsiteX10" fmla="*/ 7226 w 536419"/>
                    <a:gd name="connsiteY10" fmla="*/ 447695 h 456315"/>
                    <a:gd name="connsiteX0" fmla="*/ 7226 w 528834"/>
                    <a:gd name="connsiteY0" fmla="*/ 447695 h 456315"/>
                    <a:gd name="connsiteX1" fmla="*/ 12165 w 528834"/>
                    <a:gd name="connsiteY1" fmla="*/ 237256 h 456315"/>
                    <a:gd name="connsiteX2" fmla="*/ 100951 w 528834"/>
                    <a:gd name="connsiteY2" fmla="*/ 158770 h 456315"/>
                    <a:gd name="connsiteX3" fmla="*/ 224776 w 528834"/>
                    <a:gd name="connsiteY3" fmla="*/ 120670 h 456315"/>
                    <a:gd name="connsiteX4" fmla="*/ 231126 w 528834"/>
                    <a:gd name="connsiteY4" fmla="*/ 15895 h 456315"/>
                    <a:gd name="connsiteX5" fmla="*/ 326020 w 528834"/>
                    <a:gd name="connsiteY5" fmla="*/ 12720 h 456315"/>
                    <a:gd name="connsiteX6" fmla="*/ 336016 w 528834"/>
                    <a:gd name="connsiteY6" fmla="*/ 134302 h 456315"/>
                    <a:gd name="connsiteX7" fmla="*/ 475601 w 528834"/>
                    <a:gd name="connsiteY7" fmla="*/ 189420 h 456315"/>
                    <a:gd name="connsiteX8" fmla="*/ 522871 w 528834"/>
                    <a:gd name="connsiteY8" fmla="*/ 251776 h 456315"/>
                    <a:gd name="connsiteX9" fmla="*/ 527811 w 528834"/>
                    <a:gd name="connsiteY9" fmla="*/ 454045 h 456315"/>
                    <a:gd name="connsiteX10" fmla="*/ 7226 w 528834"/>
                    <a:gd name="connsiteY10" fmla="*/ 447695 h 456315"/>
                    <a:gd name="connsiteX0" fmla="*/ 7226 w 528834"/>
                    <a:gd name="connsiteY0" fmla="*/ 447695 h 456315"/>
                    <a:gd name="connsiteX1" fmla="*/ 12165 w 528834"/>
                    <a:gd name="connsiteY1" fmla="*/ 237256 h 456315"/>
                    <a:gd name="connsiteX2" fmla="*/ 100951 w 528834"/>
                    <a:gd name="connsiteY2" fmla="*/ 158770 h 456315"/>
                    <a:gd name="connsiteX3" fmla="*/ 224776 w 528834"/>
                    <a:gd name="connsiteY3" fmla="*/ 120670 h 456315"/>
                    <a:gd name="connsiteX4" fmla="*/ 231126 w 528834"/>
                    <a:gd name="connsiteY4" fmla="*/ 15895 h 456315"/>
                    <a:gd name="connsiteX5" fmla="*/ 326020 w 528834"/>
                    <a:gd name="connsiteY5" fmla="*/ 12720 h 456315"/>
                    <a:gd name="connsiteX6" fmla="*/ 336016 w 528834"/>
                    <a:gd name="connsiteY6" fmla="*/ 134302 h 456315"/>
                    <a:gd name="connsiteX7" fmla="*/ 462076 w 528834"/>
                    <a:gd name="connsiteY7" fmla="*/ 184425 h 456315"/>
                    <a:gd name="connsiteX8" fmla="*/ 522871 w 528834"/>
                    <a:gd name="connsiteY8" fmla="*/ 251776 h 456315"/>
                    <a:gd name="connsiteX9" fmla="*/ 527811 w 528834"/>
                    <a:gd name="connsiteY9" fmla="*/ 454045 h 456315"/>
                    <a:gd name="connsiteX10" fmla="*/ 7226 w 528834"/>
                    <a:gd name="connsiteY10" fmla="*/ 447695 h 456315"/>
                    <a:gd name="connsiteX0" fmla="*/ 8515 w 530123"/>
                    <a:gd name="connsiteY0" fmla="*/ 447695 h 456315"/>
                    <a:gd name="connsiteX1" fmla="*/ 10749 w 530123"/>
                    <a:gd name="connsiteY1" fmla="*/ 244749 h 456315"/>
                    <a:gd name="connsiteX2" fmla="*/ 102240 w 530123"/>
                    <a:gd name="connsiteY2" fmla="*/ 158770 h 456315"/>
                    <a:gd name="connsiteX3" fmla="*/ 226065 w 530123"/>
                    <a:gd name="connsiteY3" fmla="*/ 120670 h 456315"/>
                    <a:gd name="connsiteX4" fmla="*/ 232415 w 530123"/>
                    <a:gd name="connsiteY4" fmla="*/ 15895 h 456315"/>
                    <a:gd name="connsiteX5" fmla="*/ 327309 w 530123"/>
                    <a:gd name="connsiteY5" fmla="*/ 12720 h 456315"/>
                    <a:gd name="connsiteX6" fmla="*/ 337305 w 530123"/>
                    <a:gd name="connsiteY6" fmla="*/ 134302 h 456315"/>
                    <a:gd name="connsiteX7" fmla="*/ 463365 w 530123"/>
                    <a:gd name="connsiteY7" fmla="*/ 184425 h 456315"/>
                    <a:gd name="connsiteX8" fmla="*/ 524160 w 530123"/>
                    <a:gd name="connsiteY8" fmla="*/ 251776 h 456315"/>
                    <a:gd name="connsiteX9" fmla="*/ 529100 w 530123"/>
                    <a:gd name="connsiteY9" fmla="*/ 454045 h 456315"/>
                    <a:gd name="connsiteX10" fmla="*/ 8515 w 530123"/>
                    <a:gd name="connsiteY10" fmla="*/ 447695 h 456315"/>
                    <a:gd name="connsiteX0" fmla="*/ 7671 w 529279"/>
                    <a:gd name="connsiteY0" fmla="*/ 447695 h 456315"/>
                    <a:gd name="connsiteX1" fmla="*/ 9905 w 529279"/>
                    <a:gd name="connsiteY1" fmla="*/ 244749 h 456315"/>
                    <a:gd name="connsiteX2" fmla="*/ 87870 w 529279"/>
                    <a:gd name="connsiteY2" fmla="*/ 166263 h 456315"/>
                    <a:gd name="connsiteX3" fmla="*/ 225221 w 529279"/>
                    <a:gd name="connsiteY3" fmla="*/ 120670 h 456315"/>
                    <a:gd name="connsiteX4" fmla="*/ 231571 w 529279"/>
                    <a:gd name="connsiteY4" fmla="*/ 15895 h 456315"/>
                    <a:gd name="connsiteX5" fmla="*/ 326465 w 529279"/>
                    <a:gd name="connsiteY5" fmla="*/ 12720 h 456315"/>
                    <a:gd name="connsiteX6" fmla="*/ 336461 w 529279"/>
                    <a:gd name="connsiteY6" fmla="*/ 134302 h 456315"/>
                    <a:gd name="connsiteX7" fmla="*/ 462521 w 529279"/>
                    <a:gd name="connsiteY7" fmla="*/ 184425 h 456315"/>
                    <a:gd name="connsiteX8" fmla="*/ 523316 w 529279"/>
                    <a:gd name="connsiteY8" fmla="*/ 251776 h 456315"/>
                    <a:gd name="connsiteX9" fmla="*/ 528256 w 529279"/>
                    <a:gd name="connsiteY9" fmla="*/ 454045 h 456315"/>
                    <a:gd name="connsiteX10" fmla="*/ 7671 w 529279"/>
                    <a:gd name="connsiteY10" fmla="*/ 447695 h 456315"/>
                    <a:gd name="connsiteX0" fmla="*/ 7671 w 529279"/>
                    <a:gd name="connsiteY0" fmla="*/ 447558 h 456178"/>
                    <a:gd name="connsiteX1" fmla="*/ 9905 w 529279"/>
                    <a:gd name="connsiteY1" fmla="*/ 244612 h 456178"/>
                    <a:gd name="connsiteX2" fmla="*/ 87870 w 529279"/>
                    <a:gd name="connsiteY2" fmla="*/ 166126 h 456178"/>
                    <a:gd name="connsiteX3" fmla="*/ 206285 w 529279"/>
                    <a:gd name="connsiteY3" fmla="*/ 118035 h 456178"/>
                    <a:gd name="connsiteX4" fmla="*/ 231571 w 529279"/>
                    <a:gd name="connsiteY4" fmla="*/ 15758 h 456178"/>
                    <a:gd name="connsiteX5" fmla="*/ 326465 w 529279"/>
                    <a:gd name="connsiteY5" fmla="*/ 12583 h 456178"/>
                    <a:gd name="connsiteX6" fmla="*/ 336461 w 529279"/>
                    <a:gd name="connsiteY6" fmla="*/ 134165 h 456178"/>
                    <a:gd name="connsiteX7" fmla="*/ 462521 w 529279"/>
                    <a:gd name="connsiteY7" fmla="*/ 184288 h 456178"/>
                    <a:gd name="connsiteX8" fmla="*/ 523316 w 529279"/>
                    <a:gd name="connsiteY8" fmla="*/ 251639 h 456178"/>
                    <a:gd name="connsiteX9" fmla="*/ 528256 w 529279"/>
                    <a:gd name="connsiteY9" fmla="*/ 453908 h 456178"/>
                    <a:gd name="connsiteX10" fmla="*/ 7671 w 529279"/>
                    <a:gd name="connsiteY10" fmla="*/ 447558 h 456178"/>
                    <a:gd name="connsiteX0" fmla="*/ 14544 w 536152"/>
                    <a:gd name="connsiteY0" fmla="*/ 447558 h 456178"/>
                    <a:gd name="connsiteX1" fmla="*/ 5958 w 536152"/>
                    <a:gd name="connsiteY1" fmla="*/ 247109 h 456178"/>
                    <a:gd name="connsiteX2" fmla="*/ 94743 w 536152"/>
                    <a:gd name="connsiteY2" fmla="*/ 166126 h 456178"/>
                    <a:gd name="connsiteX3" fmla="*/ 213158 w 536152"/>
                    <a:gd name="connsiteY3" fmla="*/ 118035 h 456178"/>
                    <a:gd name="connsiteX4" fmla="*/ 238444 w 536152"/>
                    <a:gd name="connsiteY4" fmla="*/ 15758 h 456178"/>
                    <a:gd name="connsiteX5" fmla="*/ 333338 w 536152"/>
                    <a:gd name="connsiteY5" fmla="*/ 12583 h 456178"/>
                    <a:gd name="connsiteX6" fmla="*/ 343334 w 536152"/>
                    <a:gd name="connsiteY6" fmla="*/ 134165 h 456178"/>
                    <a:gd name="connsiteX7" fmla="*/ 469394 w 536152"/>
                    <a:gd name="connsiteY7" fmla="*/ 184288 h 456178"/>
                    <a:gd name="connsiteX8" fmla="*/ 530189 w 536152"/>
                    <a:gd name="connsiteY8" fmla="*/ 251639 h 456178"/>
                    <a:gd name="connsiteX9" fmla="*/ 535129 w 536152"/>
                    <a:gd name="connsiteY9" fmla="*/ 453908 h 456178"/>
                    <a:gd name="connsiteX10" fmla="*/ 14544 w 536152"/>
                    <a:gd name="connsiteY10" fmla="*/ 447558 h 456178"/>
                    <a:gd name="connsiteX0" fmla="*/ 7226 w 542359"/>
                    <a:gd name="connsiteY0" fmla="*/ 450055 h 456488"/>
                    <a:gd name="connsiteX1" fmla="*/ 12165 w 542359"/>
                    <a:gd name="connsiteY1" fmla="*/ 247109 h 456488"/>
                    <a:gd name="connsiteX2" fmla="*/ 100950 w 542359"/>
                    <a:gd name="connsiteY2" fmla="*/ 166126 h 456488"/>
                    <a:gd name="connsiteX3" fmla="*/ 219365 w 542359"/>
                    <a:gd name="connsiteY3" fmla="*/ 118035 h 456488"/>
                    <a:gd name="connsiteX4" fmla="*/ 244651 w 542359"/>
                    <a:gd name="connsiteY4" fmla="*/ 15758 h 456488"/>
                    <a:gd name="connsiteX5" fmla="*/ 339545 w 542359"/>
                    <a:gd name="connsiteY5" fmla="*/ 12583 h 456488"/>
                    <a:gd name="connsiteX6" fmla="*/ 349541 w 542359"/>
                    <a:gd name="connsiteY6" fmla="*/ 134165 h 456488"/>
                    <a:gd name="connsiteX7" fmla="*/ 475601 w 542359"/>
                    <a:gd name="connsiteY7" fmla="*/ 184288 h 456488"/>
                    <a:gd name="connsiteX8" fmla="*/ 536396 w 542359"/>
                    <a:gd name="connsiteY8" fmla="*/ 251639 h 456488"/>
                    <a:gd name="connsiteX9" fmla="*/ 541336 w 542359"/>
                    <a:gd name="connsiteY9" fmla="*/ 453908 h 456488"/>
                    <a:gd name="connsiteX10" fmla="*/ 7226 w 542359"/>
                    <a:gd name="connsiteY10" fmla="*/ 450055 h 456488"/>
                    <a:gd name="connsiteX0" fmla="*/ 7226 w 542359"/>
                    <a:gd name="connsiteY0" fmla="*/ 450055 h 456488"/>
                    <a:gd name="connsiteX1" fmla="*/ 12165 w 542359"/>
                    <a:gd name="connsiteY1" fmla="*/ 247109 h 456488"/>
                    <a:gd name="connsiteX2" fmla="*/ 100950 w 542359"/>
                    <a:gd name="connsiteY2" fmla="*/ 166126 h 456488"/>
                    <a:gd name="connsiteX3" fmla="*/ 219365 w 542359"/>
                    <a:gd name="connsiteY3" fmla="*/ 118035 h 456488"/>
                    <a:gd name="connsiteX4" fmla="*/ 244651 w 542359"/>
                    <a:gd name="connsiteY4" fmla="*/ 15758 h 456488"/>
                    <a:gd name="connsiteX5" fmla="*/ 331430 w 542359"/>
                    <a:gd name="connsiteY5" fmla="*/ 12583 h 456488"/>
                    <a:gd name="connsiteX6" fmla="*/ 349541 w 542359"/>
                    <a:gd name="connsiteY6" fmla="*/ 134165 h 456488"/>
                    <a:gd name="connsiteX7" fmla="*/ 475601 w 542359"/>
                    <a:gd name="connsiteY7" fmla="*/ 184288 h 456488"/>
                    <a:gd name="connsiteX8" fmla="*/ 536396 w 542359"/>
                    <a:gd name="connsiteY8" fmla="*/ 251639 h 456488"/>
                    <a:gd name="connsiteX9" fmla="*/ 541336 w 542359"/>
                    <a:gd name="connsiteY9" fmla="*/ 453908 h 456488"/>
                    <a:gd name="connsiteX10" fmla="*/ 7226 w 542359"/>
                    <a:gd name="connsiteY10" fmla="*/ 450055 h 456488"/>
                    <a:gd name="connsiteX0" fmla="*/ 7226 w 542359"/>
                    <a:gd name="connsiteY0" fmla="*/ 450055 h 456488"/>
                    <a:gd name="connsiteX1" fmla="*/ 12165 w 542359"/>
                    <a:gd name="connsiteY1" fmla="*/ 247109 h 456488"/>
                    <a:gd name="connsiteX2" fmla="*/ 100950 w 542359"/>
                    <a:gd name="connsiteY2" fmla="*/ 166126 h 456488"/>
                    <a:gd name="connsiteX3" fmla="*/ 219365 w 542359"/>
                    <a:gd name="connsiteY3" fmla="*/ 118035 h 456488"/>
                    <a:gd name="connsiteX4" fmla="*/ 244651 w 542359"/>
                    <a:gd name="connsiteY4" fmla="*/ 15758 h 456488"/>
                    <a:gd name="connsiteX5" fmla="*/ 331430 w 542359"/>
                    <a:gd name="connsiteY5" fmla="*/ 12583 h 456488"/>
                    <a:gd name="connsiteX6" fmla="*/ 349541 w 542359"/>
                    <a:gd name="connsiteY6" fmla="*/ 134165 h 456488"/>
                    <a:gd name="connsiteX7" fmla="*/ 483716 w 542359"/>
                    <a:gd name="connsiteY7" fmla="*/ 179293 h 456488"/>
                    <a:gd name="connsiteX8" fmla="*/ 536396 w 542359"/>
                    <a:gd name="connsiteY8" fmla="*/ 251639 h 456488"/>
                    <a:gd name="connsiteX9" fmla="*/ 541336 w 542359"/>
                    <a:gd name="connsiteY9" fmla="*/ 453908 h 456488"/>
                    <a:gd name="connsiteX10" fmla="*/ 7226 w 542359"/>
                    <a:gd name="connsiteY10" fmla="*/ 450055 h 456488"/>
                    <a:gd name="connsiteX0" fmla="*/ 6630 w 541763"/>
                    <a:gd name="connsiteY0" fmla="*/ 450055 h 456488"/>
                    <a:gd name="connsiteX1" fmla="*/ 11569 w 541763"/>
                    <a:gd name="connsiteY1" fmla="*/ 247109 h 456488"/>
                    <a:gd name="connsiteX2" fmla="*/ 89534 w 541763"/>
                    <a:gd name="connsiteY2" fmla="*/ 166126 h 456488"/>
                    <a:gd name="connsiteX3" fmla="*/ 218769 w 541763"/>
                    <a:gd name="connsiteY3" fmla="*/ 118035 h 456488"/>
                    <a:gd name="connsiteX4" fmla="*/ 244055 w 541763"/>
                    <a:gd name="connsiteY4" fmla="*/ 15758 h 456488"/>
                    <a:gd name="connsiteX5" fmla="*/ 330834 w 541763"/>
                    <a:gd name="connsiteY5" fmla="*/ 12583 h 456488"/>
                    <a:gd name="connsiteX6" fmla="*/ 348945 w 541763"/>
                    <a:gd name="connsiteY6" fmla="*/ 134165 h 456488"/>
                    <a:gd name="connsiteX7" fmla="*/ 483120 w 541763"/>
                    <a:gd name="connsiteY7" fmla="*/ 179293 h 456488"/>
                    <a:gd name="connsiteX8" fmla="*/ 535800 w 541763"/>
                    <a:gd name="connsiteY8" fmla="*/ 251639 h 456488"/>
                    <a:gd name="connsiteX9" fmla="*/ 540740 w 541763"/>
                    <a:gd name="connsiteY9" fmla="*/ 453908 h 456488"/>
                    <a:gd name="connsiteX10" fmla="*/ 6630 w 541763"/>
                    <a:gd name="connsiteY10" fmla="*/ 450055 h 456488"/>
                    <a:gd name="connsiteX0" fmla="*/ 4856 w 539989"/>
                    <a:gd name="connsiteY0" fmla="*/ 450055 h 456488"/>
                    <a:gd name="connsiteX1" fmla="*/ 15205 w 539989"/>
                    <a:gd name="connsiteY1" fmla="*/ 227128 h 456488"/>
                    <a:gd name="connsiteX2" fmla="*/ 87760 w 539989"/>
                    <a:gd name="connsiteY2" fmla="*/ 166126 h 456488"/>
                    <a:gd name="connsiteX3" fmla="*/ 216995 w 539989"/>
                    <a:gd name="connsiteY3" fmla="*/ 118035 h 456488"/>
                    <a:gd name="connsiteX4" fmla="*/ 242281 w 539989"/>
                    <a:gd name="connsiteY4" fmla="*/ 15758 h 456488"/>
                    <a:gd name="connsiteX5" fmla="*/ 329060 w 539989"/>
                    <a:gd name="connsiteY5" fmla="*/ 12583 h 456488"/>
                    <a:gd name="connsiteX6" fmla="*/ 347171 w 539989"/>
                    <a:gd name="connsiteY6" fmla="*/ 134165 h 456488"/>
                    <a:gd name="connsiteX7" fmla="*/ 481346 w 539989"/>
                    <a:gd name="connsiteY7" fmla="*/ 179293 h 456488"/>
                    <a:gd name="connsiteX8" fmla="*/ 534026 w 539989"/>
                    <a:gd name="connsiteY8" fmla="*/ 251639 h 456488"/>
                    <a:gd name="connsiteX9" fmla="*/ 538966 w 539989"/>
                    <a:gd name="connsiteY9" fmla="*/ 453908 h 456488"/>
                    <a:gd name="connsiteX10" fmla="*/ 4856 w 539989"/>
                    <a:gd name="connsiteY10" fmla="*/ 450055 h 4564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39989" h="456488">
                      <a:moveTo>
                        <a:pt x="4856" y="450055"/>
                      </a:moveTo>
                      <a:cubicBezTo>
                        <a:pt x="-5198" y="385497"/>
                        <a:pt x="1388" y="274449"/>
                        <a:pt x="15205" y="227128"/>
                      </a:cubicBezTo>
                      <a:cubicBezTo>
                        <a:pt x="29022" y="179807"/>
                        <a:pt x="54128" y="184308"/>
                        <a:pt x="87760" y="166126"/>
                      </a:cubicBezTo>
                      <a:cubicBezTo>
                        <a:pt x="121392" y="147944"/>
                        <a:pt x="191242" y="143096"/>
                        <a:pt x="216995" y="118035"/>
                      </a:cubicBezTo>
                      <a:cubicBezTo>
                        <a:pt x="242748" y="92974"/>
                        <a:pt x="223604" y="33333"/>
                        <a:pt x="242281" y="15758"/>
                      </a:cubicBezTo>
                      <a:cubicBezTo>
                        <a:pt x="260958" y="-1817"/>
                        <a:pt x="311578" y="-7151"/>
                        <a:pt x="329060" y="12583"/>
                      </a:cubicBezTo>
                      <a:cubicBezTo>
                        <a:pt x="346542" y="32317"/>
                        <a:pt x="321790" y="106380"/>
                        <a:pt x="347171" y="134165"/>
                      </a:cubicBezTo>
                      <a:cubicBezTo>
                        <a:pt x="372552" y="161950"/>
                        <a:pt x="450204" y="159714"/>
                        <a:pt x="481346" y="179293"/>
                      </a:cubicBezTo>
                      <a:cubicBezTo>
                        <a:pt x="512489" y="198872"/>
                        <a:pt x="523972" y="202956"/>
                        <a:pt x="534026" y="251639"/>
                      </a:cubicBezTo>
                      <a:cubicBezTo>
                        <a:pt x="537201" y="301381"/>
                        <a:pt x="542141" y="328496"/>
                        <a:pt x="538966" y="453908"/>
                      </a:cubicBezTo>
                      <a:cubicBezTo>
                        <a:pt x="307191" y="461845"/>
                        <a:pt x="250800" y="448827"/>
                        <a:pt x="4856" y="450055"/>
                      </a:cubicBezTo>
                      <a:close/>
                    </a:path>
                  </a:pathLst>
                </a:custGeom>
                <a:solidFill>
                  <a:schemeClr val="bg1"/>
                </a:solidFill>
                <a:ln w="57150">
                  <a:solidFill>
                    <a:schemeClr val="tx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146" name="Oval 145">
                  <a:extLst>
                    <a:ext uri="{FF2B5EF4-FFF2-40B4-BE49-F238E27FC236}">
                      <a16:creationId xmlns:a16="http://schemas.microsoft.com/office/drawing/2014/main" id="{7445C7AB-2F8D-2841-B494-E19E58698191}"/>
                    </a:ext>
                  </a:extLst>
                </p:cNvPr>
                <p:cNvSpPr/>
                <p:nvPr/>
              </p:nvSpPr>
              <p:spPr>
                <a:xfrm>
                  <a:off x="1964431" y="3500843"/>
                  <a:ext cx="259337" cy="299858"/>
                </a:xfrm>
                <a:prstGeom prst="ellipse">
                  <a:avLst/>
                </a:prstGeom>
                <a:solidFill>
                  <a:schemeClr val="bg1"/>
                </a:solidFill>
                <a:ln w="57150">
                  <a:solidFill>
                    <a:schemeClr val="tx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grpSp>
        </p:grpSp>
        <p:grpSp>
          <p:nvGrpSpPr>
            <p:cNvPr id="137" name="Group 136">
              <a:extLst>
                <a:ext uri="{FF2B5EF4-FFF2-40B4-BE49-F238E27FC236}">
                  <a16:creationId xmlns:a16="http://schemas.microsoft.com/office/drawing/2014/main" id="{01D2F088-31AD-C14B-905B-F3B2A5EF341B}"/>
                </a:ext>
              </a:extLst>
            </p:cNvPr>
            <p:cNvGrpSpPr/>
            <p:nvPr/>
          </p:nvGrpSpPr>
          <p:grpSpPr>
            <a:xfrm>
              <a:off x="2495712" y="4589934"/>
              <a:ext cx="1256698" cy="510604"/>
              <a:chOff x="2495712" y="4589934"/>
              <a:chExt cx="1256698" cy="510604"/>
            </a:xfrm>
            <a:solidFill>
              <a:schemeClr val="tx1">
                <a:lumMod val="50000"/>
              </a:schemeClr>
            </a:solidFill>
          </p:grpSpPr>
          <p:sp>
            <p:nvSpPr>
              <p:cNvPr id="139" name="Rounded Rectangle 138">
                <a:extLst>
                  <a:ext uri="{FF2B5EF4-FFF2-40B4-BE49-F238E27FC236}">
                    <a16:creationId xmlns:a16="http://schemas.microsoft.com/office/drawing/2014/main" id="{5BD208DC-B116-3240-A95D-81614E2E5832}"/>
                  </a:ext>
                </a:extLst>
              </p:cNvPr>
              <p:cNvSpPr/>
              <p:nvPr/>
            </p:nvSpPr>
            <p:spPr>
              <a:xfrm>
                <a:off x="2495712" y="4589934"/>
                <a:ext cx="1256697" cy="251941"/>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140" name="Rectangle 139">
                <a:extLst>
                  <a:ext uri="{FF2B5EF4-FFF2-40B4-BE49-F238E27FC236}">
                    <a16:creationId xmlns:a16="http://schemas.microsoft.com/office/drawing/2014/main" id="{B2BE441C-DA17-3E49-8D42-E5A41276E1B9}"/>
                  </a:ext>
                </a:extLst>
              </p:cNvPr>
              <p:cNvSpPr/>
              <p:nvPr/>
            </p:nvSpPr>
            <p:spPr>
              <a:xfrm>
                <a:off x="2498725" y="4797790"/>
                <a:ext cx="1253685" cy="13315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141" name="Rectangle 140">
                <a:extLst>
                  <a:ext uri="{FF2B5EF4-FFF2-40B4-BE49-F238E27FC236}">
                    <a16:creationId xmlns:a16="http://schemas.microsoft.com/office/drawing/2014/main" id="{A24079BA-FBD5-8243-82F7-1FEC5872C326}"/>
                  </a:ext>
                </a:extLst>
              </p:cNvPr>
              <p:cNvSpPr/>
              <p:nvPr/>
            </p:nvSpPr>
            <p:spPr>
              <a:xfrm>
                <a:off x="2546350" y="4923041"/>
                <a:ext cx="109152" cy="17749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142" name="Rectangle 141">
                <a:extLst>
                  <a:ext uri="{FF2B5EF4-FFF2-40B4-BE49-F238E27FC236}">
                    <a16:creationId xmlns:a16="http://schemas.microsoft.com/office/drawing/2014/main" id="{BA90B901-23CA-2047-9C24-5C61DF7BEAE5}"/>
                  </a:ext>
                </a:extLst>
              </p:cNvPr>
              <p:cNvSpPr/>
              <p:nvPr/>
            </p:nvSpPr>
            <p:spPr>
              <a:xfrm>
                <a:off x="3610945" y="4923041"/>
                <a:ext cx="109152" cy="17749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grpSp>
        <p:sp>
          <p:nvSpPr>
            <p:cNvPr id="138" name="Trapezoid 137">
              <a:extLst>
                <a:ext uri="{FF2B5EF4-FFF2-40B4-BE49-F238E27FC236}">
                  <a16:creationId xmlns:a16="http://schemas.microsoft.com/office/drawing/2014/main" id="{F9013B34-8EB3-8C4B-BC29-0DD5C0BFB837}"/>
                </a:ext>
              </a:extLst>
            </p:cNvPr>
            <p:cNvSpPr/>
            <p:nvPr/>
          </p:nvSpPr>
          <p:spPr>
            <a:xfrm>
              <a:off x="2655502" y="4181475"/>
              <a:ext cx="958850" cy="363303"/>
            </a:xfrm>
            <a:prstGeom prst="trapezoid">
              <a:avLst/>
            </a:prstGeom>
            <a:solidFill>
              <a:schemeClr val="tx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grpSp>
      <p:grpSp>
        <p:nvGrpSpPr>
          <p:cNvPr id="149" name="Group 148">
            <a:extLst>
              <a:ext uri="{FF2B5EF4-FFF2-40B4-BE49-F238E27FC236}">
                <a16:creationId xmlns:a16="http://schemas.microsoft.com/office/drawing/2014/main" id="{32D31BFC-F369-8243-820A-E3D4388E0DF5}"/>
              </a:ext>
            </a:extLst>
          </p:cNvPr>
          <p:cNvGrpSpPr/>
          <p:nvPr/>
        </p:nvGrpSpPr>
        <p:grpSpPr>
          <a:xfrm>
            <a:off x="10555349" y="3977876"/>
            <a:ext cx="1025213" cy="1261037"/>
            <a:chOff x="2441771" y="3385414"/>
            <a:chExt cx="1325481" cy="1781019"/>
          </a:xfrm>
        </p:grpSpPr>
        <p:pic>
          <p:nvPicPr>
            <p:cNvPr id="150" name="Picture 149">
              <a:extLst>
                <a:ext uri="{FF2B5EF4-FFF2-40B4-BE49-F238E27FC236}">
                  <a16:creationId xmlns:a16="http://schemas.microsoft.com/office/drawing/2014/main" id="{D098B7B6-1FAB-C248-B959-8C12DE0B5EE7}"/>
                </a:ext>
              </a:extLst>
            </p:cNvPr>
            <p:cNvPicPr>
              <a:picLocks noChangeAspect="1"/>
            </p:cNvPicPr>
            <p:nvPr/>
          </p:nvPicPr>
          <p:blipFill rotWithShape="1">
            <a:blip r:embed="rId2"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a:xfrm>
              <a:off x="2441771" y="3385414"/>
              <a:ext cx="1325481" cy="1781019"/>
            </a:xfrm>
            <a:prstGeom prst="rect">
              <a:avLst/>
            </a:prstGeom>
          </p:spPr>
        </p:pic>
        <p:sp>
          <p:nvSpPr>
            <p:cNvPr id="151" name="Rounded Rectangle 150">
              <a:extLst>
                <a:ext uri="{FF2B5EF4-FFF2-40B4-BE49-F238E27FC236}">
                  <a16:creationId xmlns:a16="http://schemas.microsoft.com/office/drawing/2014/main" id="{86712B8F-E120-B24E-B208-D663AC571AA1}"/>
                </a:ext>
              </a:extLst>
            </p:cNvPr>
            <p:cNvSpPr/>
            <p:nvPr/>
          </p:nvSpPr>
          <p:spPr>
            <a:xfrm>
              <a:off x="2655502" y="3670300"/>
              <a:ext cx="958850" cy="436656"/>
            </a:xfrm>
            <a:prstGeom prst="roundRect">
              <a:avLst/>
            </a:prstGeom>
            <a:solidFill>
              <a:schemeClr val="tx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grpSp>
          <p:nvGrpSpPr>
            <p:cNvPr id="152" name="Group 151">
              <a:extLst>
                <a:ext uri="{FF2B5EF4-FFF2-40B4-BE49-F238E27FC236}">
                  <a16:creationId xmlns:a16="http://schemas.microsoft.com/office/drawing/2014/main" id="{92BF644F-007E-C14D-8ADD-9C3B269E6A0E}"/>
                </a:ext>
              </a:extLst>
            </p:cNvPr>
            <p:cNvGrpSpPr/>
            <p:nvPr/>
          </p:nvGrpSpPr>
          <p:grpSpPr>
            <a:xfrm>
              <a:off x="2776471" y="3456093"/>
              <a:ext cx="748710" cy="1056883"/>
              <a:chOff x="1496718" y="3334932"/>
              <a:chExt cx="748710" cy="1056883"/>
            </a:xfrm>
          </p:grpSpPr>
          <p:grpSp>
            <p:nvGrpSpPr>
              <p:cNvPr id="159" name="Group 158">
                <a:extLst>
                  <a:ext uri="{FF2B5EF4-FFF2-40B4-BE49-F238E27FC236}">
                    <a16:creationId xmlns:a16="http://schemas.microsoft.com/office/drawing/2014/main" id="{327F0CE3-18F5-EA4F-88AA-F4A0BC13A3E9}"/>
                  </a:ext>
                </a:extLst>
              </p:cNvPr>
              <p:cNvGrpSpPr/>
              <p:nvPr/>
            </p:nvGrpSpPr>
            <p:grpSpPr>
              <a:xfrm>
                <a:off x="1496718" y="3334932"/>
                <a:ext cx="748710" cy="1056883"/>
                <a:chOff x="1843570" y="3508300"/>
                <a:chExt cx="514980" cy="727982"/>
              </a:xfrm>
              <a:solidFill>
                <a:schemeClr val="bg1"/>
              </a:solidFill>
            </p:grpSpPr>
            <p:sp>
              <p:nvSpPr>
                <p:cNvPr id="163" name="Freeform 162">
                  <a:extLst>
                    <a:ext uri="{FF2B5EF4-FFF2-40B4-BE49-F238E27FC236}">
                      <a16:creationId xmlns:a16="http://schemas.microsoft.com/office/drawing/2014/main" id="{323DC6E5-67D9-3C47-A2D6-1F9AB7334576}"/>
                    </a:ext>
                  </a:extLst>
                </p:cNvPr>
                <p:cNvSpPr/>
                <p:nvPr/>
              </p:nvSpPr>
              <p:spPr>
                <a:xfrm>
                  <a:off x="1843570" y="3787509"/>
                  <a:ext cx="514980" cy="448773"/>
                </a:xfrm>
                <a:custGeom>
                  <a:avLst/>
                  <a:gdLst>
                    <a:gd name="connsiteX0" fmla="*/ 36807 w 576731"/>
                    <a:gd name="connsiteY0" fmla="*/ 449906 h 505924"/>
                    <a:gd name="connsiteX1" fmla="*/ 39982 w 576731"/>
                    <a:gd name="connsiteY1" fmla="*/ 214956 h 505924"/>
                    <a:gd name="connsiteX2" fmla="*/ 55857 w 576731"/>
                    <a:gd name="connsiteY2" fmla="*/ 176856 h 505924"/>
                    <a:gd name="connsiteX3" fmla="*/ 103482 w 576731"/>
                    <a:gd name="connsiteY3" fmla="*/ 160981 h 505924"/>
                    <a:gd name="connsiteX4" fmla="*/ 205082 w 576731"/>
                    <a:gd name="connsiteY4" fmla="*/ 154631 h 505924"/>
                    <a:gd name="connsiteX5" fmla="*/ 230482 w 576731"/>
                    <a:gd name="connsiteY5" fmla="*/ 151456 h 505924"/>
                    <a:gd name="connsiteX6" fmla="*/ 233657 w 576731"/>
                    <a:gd name="connsiteY6" fmla="*/ 18106 h 505924"/>
                    <a:gd name="connsiteX7" fmla="*/ 344782 w 576731"/>
                    <a:gd name="connsiteY7" fmla="*/ 14931 h 505924"/>
                    <a:gd name="connsiteX8" fmla="*/ 344782 w 576731"/>
                    <a:gd name="connsiteY8" fmla="*/ 145106 h 505924"/>
                    <a:gd name="connsiteX9" fmla="*/ 386057 w 576731"/>
                    <a:gd name="connsiteY9" fmla="*/ 151456 h 505924"/>
                    <a:gd name="connsiteX10" fmla="*/ 478132 w 576731"/>
                    <a:gd name="connsiteY10" fmla="*/ 164156 h 505924"/>
                    <a:gd name="connsiteX11" fmla="*/ 519407 w 576731"/>
                    <a:gd name="connsiteY11" fmla="*/ 189556 h 505924"/>
                    <a:gd name="connsiteX12" fmla="*/ 541632 w 576731"/>
                    <a:gd name="connsiteY12" fmla="*/ 234006 h 505924"/>
                    <a:gd name="connsiteX13" fmla="*/ 538457 w 576731"/>
                    <a:gd name="connsiteY13" fmla="*/ 488006 h 505924"/>
                    <a:gd name="connsiteX14" fmla="*/ 36807 w 576731"/>
                    <a:gd name="connsiteY14" fmla="*/ 449906 h 505924"/>
                    <a:gd name="connsiteX0" fmla="*/ 5769 w 545693"/>
                    <a:gd name="connsiteY0" fmla="*/ 449906 h 505924"/>
                    <a:gd name="connsiteX1" fmla="*/ 8944 w 545693"/>
                    <a:gd name="connsiteY1" fmla="*/ 214956 h 505924"/>
                    <a:gd name="connsiteX2" fmla="*/ 24819 w 545693"/>
                    <a:gd name="connsiteY2" fmla="*/ 176856 h 505924"/>
                    <a:gd name="connsiteX3" fmla="*/ 72444 w 545693"/>
                    <a:gd name="connsiteY3" fmla="*/ 160981 h 505924"/>
                    <a:gd name="connsiteX4" fmla="*/ 174044 w 545693"/>
                    <a:gd name="connsiteY4" fmla="*/ 154631 h 505924"/>
                    <a:gd name="connsiteX5" fmla="*/ 199444 w 545693"/>
                    <a:gd name="connsiteY5" fmla="*/ 151456 h 505924"/>
                    <a:gd name="connsiteX6" fmla="*/ 202619 w 545693"/>
                    <a:gd name="connsiteY6" fmla="*/ 18106 h 505924"/>
                    <a:gd name="connsiteX7" fmla="*/ 313744 w 545693"/>
                    <a:gd name="connsiteY7" fmla="*/ 14931 h 505924"/>
                    <a:gd name="connsiteX8" fmla="*/ 313744 w 545693"/>
                    <a:gd name="connsiteY8" fmla="*/ 145106 h 505924"/>
                    <a:gd name="connsiteX9" fmla="*/ 355019 w 545693"/>
                    <a:gd name="connsiteY9" fmla="*/ 151456 h 505924"/>
                    <a:gd name="connsiteX10" fmla="*/ 447094 w 545693"/>
                    <a:gd name="connsiteY10" fmla="*/ 164156 h 505924"/>
                    <a:gd name="connsiteX11" fmla="*/ 488369 w 545693"/>
                    <a:gd name="connsiteY11" fmla="*/ 189556 h 505924"/>
                    <a:gd name="connsiteX12" fmla="*/ 510594 w 545693"/>
                    <a:gd name="connsiteY12" fmla="*/ 234006 h 505924"/>
                    <a:gd name="connsiteX13" fmla="*/ 507419 w 545693"/>
                    <a:gd name="connsiteY13" fmla="*/ 488006 h 505924"/>
                    <a:gd name="connsiteX14" fmla="*/ 5769 w 545693"/>
                    <a:gd name="connsiteY14" fmla="*/ 449906 h 505924"/>
                    <a:gd name="connsiteX0" fmla="*/ 21286 w 561210"/>
                    <a:gd name="connsiteY0" fmla="*/ 449906 h 508025"/>
                    <a:gd name="connsiteX1" fmla="*/ 24461 w 561210"/>
                    <a:gd name="connsiteY1" fmla="*/ 214956 h 508025"/>
                    <a:gd name="connsiteX2" fmla="*/ 40336 w 561210"/>
                    <a:gd name="connsiteY2" fmla="*/ 176856 h 508025"/>
                    <a:gd name="connsiteX3" fmla="*/ 87961 w 561210"/>
                    <a:gd name="connsiteY3" fmla="*/ 160981 h 508025"/>
                    <a:gd name="connsiteX4" fmla="*/ 189561 w 561210"/>
                    <a:gd name="connsiteY4" fmla="*/ 154631 h 508025"/>
                    <a:gd name="connsiteX5" fmla="*/ 214961 w 561210"/>
                    <a:gd name="connsiteY5" fmla="*/ 151456 h 508025"/>
                    <a:gd name="connsiteX6" fmla="*/ 218136 w 561210"/>
                    <a:gd name="connsiteY6" fmla="*/ 18106 h 508025"/>
                    <a:gd name="connsiteX7" fmla="*/ 329261 w 561210"/>
                    <a:gd name="connsiteY7" fmla="*/ 14931 h 508025"/>
                    <a:gd name="connsiteX8" fmla="*/ 329261 w 561210"/>
                    <a:gd name="connsiteY8" fmla="*/ 145106 h 508025"/>
                    <a:gd name="connsiteX9" fmla="*/ 370536 w 561210"/>
                    <a:gd name="connsiteY9" fmla="*/ 151456 h 508025"/>
                    <a:gd name="connsiteX10" fmla="*/ 462611 w 561210"/>
                    <a:gd name="connsiteY10" fmla="*/ 164156 h 508025"/>
                    <a:gd name="connsiteX11" fmla="*/ 503886 w 561210"/>
                    <a:gd name="connsiteY11" fmla="*/ 189556 h 508025"/>
                    <a:gd name="connsiteX12" fmla="*/ 526111 w 561210"/>
                    <a:gd name="connsiteY12" fmla="*/ 234006 h 508025"/>
                    <a:gd name="connsiteX13" fmla="*/ 522936 w 561210"/>
                    <a:gd name="connsiteY13" fmla="*/ 488006 h 508025"/>
                    <a:gd name="connsiteX14" fmla="*/ 21286 w 561210"/>
                    <a:gd name="connsiteY14" fmla="*/ 449906 h 508025"/>
                    <a:gd name="connsiteX0" fmla="*/ 21286 w 561210"/>
                    <a:gd name="connsiteY0" fmla="*/ 449906 h 508025"/>
                    <a:gd name="connsiteX1" fmla="*/ 24461 w 561210"/>
                    <a:gd name="connsiteY1" fmla="*/ 214956 h 508025"/>
                    <a:gd name="connsiteX2" fmla="*/ 40336 w 561210"/>
                    <a:gd name="connsiteY2" fmla="*/ 176856 h 508025"/>
                    <a:gd name="connsiteX3" fmla="*/ 87961 w 561210"/>
                    <a:gd name="connsiteY3" fmla="*/ 160981 h 508025"/>
                    <a:gd name="connsiteX4" fmla="*/ 189561 w 561210"/>
                    <a:gd name="connsiteY4" fmla="*/ 154631 h 508025"/>
                    <a:gd name="connsiteX5" fmla="*/ 214961 w 561210"/>
                    <a:gd name="connsiteY5" fmla="*/ 151456 h 508025"/>
                    <a:gd name="connsiteX6" fmla="*/ 218136 w 561210"/>
                    <a:gd name="connsiteY6" fmla="*/ 18106 h 508025"/>
                    <a:gd name="connsiteX7" fmla="*/ 329261 w 561210"/>
                    <a:gd name="connsiteY7" fmla="*/ 14931 h 508025"/>
                    <a:gd name="connsiteX8" fmla="*/ 329261 w 561210"/>
                    <a:gd name="connsiteY8" fmla="*/ 145106 h 508025"/>
                    <a:gd name="connsiteX9" fmla="*/ 370536 w 561210"/>
                    <a:gd name="connsiteY9" fmla="*/ 151456 h 508025"/>
                    <a:gd name="connsiteX10" fmla="*/ 462611 w 561210"/>
                    <a:gd name="connsiteY10" fmla="*/ 164156 h 508025"/>
                    <a:gd name="connsiteX11" fmla="*/ 503886 w 561210"/>
                    <a:gd name="connsiteY11" fmla="*/ 189556 h 508025"/>
                    <a:gd name="connsiteX12" fmla="*/ 526111 w 561210"/>
                    <a:gd name="connsiteY12" fmla="*/ 234006 h 508025"/>
                    <a:gd name="connsiteX13" fmla="*/ 522936 w 561210"/>
                    <a:gd name="connsiteY13" fmla="*/ 488006 h 508025"/>
                    <a:gd name="connsiteX14" fmla="*/ 21286 w 561210"/>
                    <a:gd name="connsiteY14" fmla="*/ 449906 h 508025"/>
                    <a:gd name="connsiteX0" fmla="*/ 4360 w 544284"/>
                    <a:gd name="connsiteY0" fmla="*/ 449906 h 508025"/>
                    <a:gd name="connsiteX1" fmla="*/ 7535 w 544284"/>
                    <a:gd name="connsiteY1" fmla="*/ 214956 h 508025"/>
                    <a:gd name="connsiteX2" fmla="*/ 23410 w 544284"/>
                    <a:gd name="connsiteY2" fmla="*/ 176856 h 508025"/>
                    <a:gd name="connsiteX3" fmla="*/ 71035 w 544284"/>
                    <a:gd name="connsiteY3" fmla="*/ 160981 h 508025"/>
                    <a:gd name="connsiteX4" fmla="*/ 172635 w 544284"/>
                    <a:gd name="connsiteY4" fmla="*/ 154631 h 508025"/>
                    <a:gd name="connsiteX5" fmla="*/ 198035 w 544284"/>
                    <a:gd name="connsiteY5" fmla="*/ 151456 h 508025"/>
                    <a:gd name="connsiteX6" fmla="*/ 201210 w 544284"/>
                    <a:gd name="connsiteY6" fmla="*/ 18106 h 508025"/>
                    <a:gd name="connsiteX7" fmla="*/ 312335 w 544284"/>
                    <a:gd name="connsiteY7" fmla="*/ 14931 h 508025"/>
                    <a:gd name="connsiteX8" fmla="*/ 312335 w 544284"/>
                    <a:gd name="connsiteY8" fmla="*/ 145106 h 508025"/>
                    <a:gd name="connsiteX9" fmla="*/ 353610 w 544284"/>
                    <a:gd name="connsiteY9" fmla="*/ 151456 h 508025"/>
                    <a:gd name="connsiteX10" fmla="*/ 445685 w 544284"/>
                    <a:gd name="connsiteY10" fmla="*/ 164156 h 508025"/>
                    <a:gd name="connsiteX11" fmla="*/ 486960 w 544284"/>
                    <a:gd name="connsiteY11" fmla="*/ 189556 h 508025"/>
                    <a:gd name="connsiteX12" fmla="*/ 509185 w 544284"/>
                    <a:gd name="connsiteY12" fmla="*/ 234006 h 508025"/>
                    <a:gd name="connsiteX13" fmla="*/ 506010 w 544284"/>
                    <a:gd name="connsiteY13" fmla="*/ 488006 h 508025"/>
                    <a:gd name="connsiteX14" fmla="*/ 4360 w 544284"/>
                    <a:gd name="connsiteY14" fmla="*/ 449906 h 508025"/>
                    <a:gd name="connsiteX0" fmla="*/ 4360 w 544284"/>
                    <a:gd name="connsiteY0" fmla="*/ 449906 h 500804"/>
                    <a:gd name="connsiteX1" fmla="*/ 7535 w 544284"/>
                    <a:gd name="connsiteY1" fmla="*/ 214956 h 500804"/>
                    <a:gd name="connsiteX2" fmla="*/ 23410 w 544284"/>
                    <a:gd name="connsiteY2" fmla="*/ 176856 h 500804"/>
                    <a:gd name="connsiteX3" fmla="*/ 71035 w 544284"/>
                    <a:gd name="connsiteY3" fmla="*/ 160981 h 500804"/>
                    <a:gd name="connsiteX4" fmla="*/ 172635 w 544284"/>
                    <a:gd name="connsiteY4" fmla="*/ 154631 h 500804"/>
                    <a:gd name="connsiteX5" fmla="*/ 198035 w 544284"/>
                    <a:gd name="connsiteY5" fmla="*/ 151456 h 500804"/>
                    <a:gd name="connsiteX6" fmla="*/ 201210 w 544284"/>
                    <a:gd name="connsiteY6" fmla="*/ 18106 h 500804"/>
                    <a:gd name="connsiteX7" fmla="*/ 312335 w 544284"/>
                    <a:gd name="connsiteY7" fmla="*/ 14931 h 500804"/>
                    <a:gd name="connsiteX8" fmla="*/ 312335 w 544284"/>
                    <a:gd name="connsiteY8" fmla="*/ 145106 h 500804"/>
                    <a:gd name="connsiteX9" fmla="*/ 353610 w 544284"/>
                    <a:gd name="connsiteY9" fmla="*/ 151456 h 500804"/>
                    <a:gd name="connsiteX10" fmla="*/ 445685 w 544284"/>
                    <a:gd name="connsiteY10" fmla="*/ 164156 h 500804"/>
                    <a:gd name="connsiteX11" fmla="*/ 486960 w 544284"/>
                    <a:gd name="connsiteY11" fmla="*/ 189556 h 500804"/>
                    <a:gd name="connsiteX12" fmla="*/ 509185 w 544284"/>
                    <a:gd name="connsiteY12" fmla="*/ 234006 h 500804"/>
                    <a:gd name="connsiteX13" fmla="*/ 506010 w 544284"/>
                    <a:gd name="connsiteY13" fmla="*/ 488006 h 500804"/>
                    <a:gd name="connsiteX14" fmla="*/ 4360 w 544284"/>
                    <a:gd name="connsiteY14" fmla="*/ 449906 h 500804"/>
                    <a:gd name="connsiteX0" fmla="*/ 4360 w 544284"/>
                    <a:gd name="connsiteY0" fmla="*/ 449906 h 500804"/>
                    <a:gd name="connsiteX1" fmla="*/ 7535 w 544284"/>
                    <a:gd name="connsiteY1" fmla="*/ 214956 h 500804"/>
                    <a:gd name="connsiteX2" fmla="*/ 23410 w 544284"/>
                    <a:gd name="connsiteY2" fmla="*/ 176856 h 500804"/>
                    <a:gd name="connsiteX3" fmla="*/ 71035 w 544284"/>
                    <a:gd name="connsiteY3" fmla="*/ 160981 h 500804"/>
                    <a:gd name="connsiteX4" fmla="*/ 172635 w 544284"/>
                    <a:gd name="connsiteY4" fmla="*/ 154631 h 500804"/>
                    <a:gd name="connsiteX5" fmla="*/ 198035 w 544284"/>
                    <a:gd name="connsiteY5" fmla="*/ 151456 h 500804"/>
                    <a:gd name="connsiteX6" fmla="*/ 201210 w 544284"/>
                    <a:gd name="connsiteY6" fmla="*/ 18106 h 500804"/>
                    <a:gd name="connsiteX7" fmla="*/ 312335 w 544284"/>
                    <a:gd name="connsiteY7" fmla="*/ 14931 h 500804"/>
                    <a:gd name="connsiteX8" fmla="*/ 312335 w 544284"/>
                    <a:gd name="connsiteY8" fmla="*/ 145106 h 500804"/>
                    <a:gd name="connsiteX9" fmla="*/ 353610 w 544284"/>
                    <a:gd name="connsiteY9" fmla="*/ 151456 h 500804"/>
                    <a:gd name="connsiteX10" fmla="*/ 445685 w 544284"/>
                    <a:gd name="connsiteY10" fmla="*/ 164156 h 500804"/>
                    <a:gd name="connsiteX11" fmla="*/ 486960 w 544284"/>
                    <a:gd name="connsiteY11" fmla="*/ 189556 h 500804"/>
                    <a:gd name="connsiteX12" fmla="*/ 509185 w 544284"/>
                    <a:gd name="connsiteY12" fmla="*/ 234006 h 500804"/>
                    <a:gd name="connsiteX13" fmla="*/ 506010 w 544284"/>
                    <a:gd name="connsiteY13" fmla="*/ 488006 h 500804"/>
                    <a:gd name="connsiteX14" fmla="*/ 4360 w 544284"/>
                    <a:gd name="connsiteY14" fmla="*/ 449906 h 500804"/>
                    <a:gd name="connsiteX0" fmla="*/ 4360 w 519024"/>
                    <a:gd name="connsiteY0" fmla="*/ 449906 h 500804"/>
                    <a:gd name="connsiteX1" fmla="*/ 7535 w 519024"/>
                    <a:gd name="connsiteY1" fmla="*/ 214956 h 500804"/>
                    <a:gd name="connsiteX2" fmla="*/ 23410 w 519024"/>
                    <a:gd name="connsiteY2" fmla="*/ 176856 h 500804"/>
                    <a:gd name="connsiteX3" fmla="*/ 71035 w 519024"/>
                    <a:gd name="connsiteY3" fmla="*/ 160981 h 500804"/>
                    <a:gd name="connsiteX4" fmla="*/ 172635 w 519024"/>
                    <a:gd name="connsiteY4" fmla="*/ 154631 h 500804"/>
                    <a:gd name="connsiteX5" fmla="*/ 198035 w 519024"/>
                    <a:gd name="connsiteY5" fmla="*/ 151456 h 500804"/>
                    <a:gd name="connsiteX6" fmla="*/ 201210 w 519024"/>
                    <a:gd name="connsiteY6" fmla="*/ 18106 h 500804"/>
                    <a:gd name="connsiteX7" fmla="*/ 312335 w 519024"/>
                    <a:gd name="connsiteY7" fmla="*/ 14931 h 500804"/>
                    <a:gd name="connsiteX8" fmla="*/ 312335 w 519024"/>
                    <a:gd name="connsiteY8" fmla="*/ 145106 h 500804"/>
                    <a:gd name="connsiteX9" fmla="*/ 353610 w 519024"/>
                    <a:gd name="connsiteY9" fmla="*/ 151456 h 500804"/>
                    <a:gd name="connsiteX10" fmla="*/ 445685 w 519024"/>
                    <a:gd name="connsiteY10" fmla="*/ 164156 h 500804"/>
                    <a:gd name="connsiteX11" fmla="*/ 486960 w 519024"/>
                    <a:gd name="connsiteY11" fmla="*/ 189556 h 500804"/>
                    <a:gd name="connsiteX12" fmla="*/ 509185 w 519024"/>
                    <a:gd name="connsiteY12" fmla="*/ 234006 h 500804"/>
                    <a:gd name="connsiteX13" fmla="*/ 506010 w 519024"/>
                    <a:gd name="connsiteY13" fmla="*/ 488006 h 500804"/>
                    <a:gd name="connsiteX14" fmla="*/ 4360 w 519024"/>
                    <a:gd name="connsiteY14" fmla="*/ 449906 h 500804"/>
                    <a:gd name="connsiteX0" fmla="*/ 4360 w 519024"/>
                    <a:gd name="connsiteY0" fmla="*/ 449906 h 488006"/>
                    <a:gd name="connsiteX1" fmla="*/ 7535 w 519024"/>
                    <a:gd name="connsiteY1" fmla="*/ 214956 h 488006"/>
                    <a:gd name="connsiteX2" fmla="*/ 23410 w 519024"/>
                    <a:gd name="connsiteY2" fmla="*/ 176856 h 488006"/>
                    <a:gd name="connsiteX3" fmla="*/ 71035 w 519024"/>
                    <a:gd name="connsiteY3" fmla="*/ 160981 h 488006"/>
                    <a:gd name="connsiteX4" fmla="*/ 172635 w 519024"/>
                    <a:gd name="connsiteY4" fmla="*/ 154631 h 488006"/>
                    <a:gd name="connsiteX5" fmla="*/ 198035 w 519024"/>
                    <a:gd name="connsiteY5" fmla="*/ 151456 h 488006"/>
                    <a:gd name="connsiteX6" fmla="*/ 201210 w 519024"/>
                    <a:gd name="connsiteY6" fmla="*/ 18106 h 488006"/>
                    <a:gd name="connsiteX7" fmla="*/ 312335 w 519024"/>
                    <a:gd name="connsiteY7" fmla="*/ 14931 h 488006"/>
                    <a:gd name="connsiteX8" fmla="*/ 312335 w 519024"/>
                    <a:gd name="connsiteY8" fmla="*/ 145106 h 488006"/>
                    <a:gd name="connsiteX9" fmla="*/ 353610 w 519024"/>
                    <a:gd name="connsiteY9" fmla="*/ 151456 h 488006"/>
                    <a:gd name="connsiteX10" fmla="*/ 445685 w 519024"/>
                    <a:gd name="connsiteY10" fmla="*/ 164156 h 488006"/>
                    <a:gd name="connsiteX11" fmla="*/ 486960 w 519024"/>
                    <a:gd name="connsiteY11" fmla="*/ 189556 h 488006"/>
                    <a:gd name="connsiteX12" fmla="*/ 509185 w 519024"/>
                    <a:gd name="connsiteY12" fmla="*/ 234006 h 488006"/>
                    <a:gd name="connsiteX13" fmla="*/ 506010 w 519024"/>
                    <a:gd name="connsiteY13" fmla="*/ 488006 h 488006"/>
                    <a:gd name="connsiteX14" fmla="*/ 4360 w 519024"/>
                    <a:gd name="connsiteY14" fmla="*/ 449906 h 488006"/>
                    <a:gd name="connsiteX0" fmla="*/ 4360 w 523534"/>
                    <a:gd name="connsiteY0" fmla="*/ 449906 h 472131"/>
                    <a:gd name="connsiteX1" fmla="*/ 7535 w 523534"/>
                    <a:gd name="connsiteY1" fmla="*/ 214956 h 472131"/>
                    <a:gd name="connsiteX2" fmla="*/ 23410 w 523534"/>
                    <a:gd name="connsiteY2" fmla="*/ 176856 h 472131"/>
                    <a:gd name="connsiteX3" fmla="*/ 71035 w 523534"/>
                    <a:gd name="connsiteY3" fmla="*/ 160981 h 472131"/>
                    <a:gd name="connsiteX4" fmla="*/ 172635 w 523534"/>
                    <a:gd name="connsiteY4" fmla="*/ 154631 h 472131"/>
                    <a:gd name="connsiteX5" fmla="*/ 198035 w 523534"/>
                    <a:gd name="connsiteY5" fmla="*/ 151456 h 472131"/>
                    <a:gd name="connsiteX6" fmla="*/ 201210 w 523534"/>
                    <a:gd name="connsiteY6" fmla="*/ 18106 h 472131"/>
                    <a:gd name="connsiteX7" fmla="*/ 312335 w 523534"/>
                    <a:gd name="connsiteY7" fmla="*/ 14931 h 472131"/>
                    <a:gd name="connsiteX8" fmla="*/ 312335 w 523534"/>
                    <a:gd name="connsiteY8" fmla="*/ 145106 h 472131"/>
                    <a:gd name="connsiteX9" fmla="*/ 353610 w 523534"/>
                    <a:gd name="connsiteY9" fmla="*/ 151456 h 472131"/>
                    <a:gd name="connsiteX10" fmla="*/ 445685 w 523534"/>
                    <a:gd name="connsiteY10" fmla="*/ 164156 h 472131"/>
                    <a:gd name="connsiteX11" fmla="*/ 486960 w 523534"/>
                    <a:gd name="connsiteY11" fmla="*/ 189556 h 472131"/>
                    <a:gd name="connsiteX12" fmla="*/ 509185 w 523534"/>
                    <a:gd name="connsiteY12" fmla="*/ 234006 h 472131"/>
                    <a:gd name="connsiteX13" fmla="*/ 512360 w 523534"/>
                    <a:gd name="connsiteY13" fmla="*/ 472131 h 472131"/>
                    <a:gd name="connsiteX14" fmla="*/ 4360 w 523534"/>
                    <a:gd name="connsiteY14" fmla="*/ 449906 h 472131"/>
                    <a:gd name="connsiteX0" fmla="*/ 4360 w 513675"/>
                    <a:gd name="connsiteY0" fmla="*/ 449906 h 472131"/>
                    <a:gd name="connsiteX1" fmla="*/ 7535 w 513675"/>
                    <a:gd name="connsiteY1" fmla="*/ 214956 h 472131"/>
                    <a:gd name="connsiteX2" fmla="*/ 23410 w 513675"/>
                    <a:gd name="connsiteY2" fmla="*/ 176856 h 472131"/>
                    <a:gd name="connsiteX3" fmla="*/ 71035 w 513675"/>
                    <a:gd name="connsiteY3" fmla="*/ 160981 h 472131"/>
                    <a:gd name="connsiteX4" fmla="*/ 172635 w 513675"/>
                    <a:gd name="connsiteY4" fmla="*/ 154631 h 472131"/>
                    <a:gd name="connsiteX5" fmla="*/ 198035 w 513675"/>
                    <a:gd name="connsiteY5" fmla="*/ 151456 h 472131"/>
                    <a:gd name="connsiteX6" fmla="*/ 201210 w 513675"/>
                    <a:gd name="connsiteY6" fmla="*/ 18106 h 472131"/>
                    <a:gd name="connsiteX7" fmla="*/ 312335 w 513675"/>
                    <a:gd name="connsiteY7" fmla="*/ 14931 h 472131"/>
                    <a:gd name="connsiteX8" fmla="*/ 312335 w 513675"/>
                    <a:gd name="connsiteY8" fmla="*/ 145106 h 472131"/>
                    <a:gd name="connsiteX9" fmla="*/ 353610 w 513675"/>
                    <a:gd name="connsiteY9" fmla="*/ 151456 h 472131"/>
                    <a:gd name="connsiteX10" fmla="*/ 445685 w 513675"/>
                    <a:gd name="connsiteY10" fmla="*/ 164156 h 472131"/>
                    <a:gd name="connsiteX11" fmla="*/ 486960 w 513675"/>
                    <a:gd name="connsiteY11" fmla="*/ 189556 h 472131"/>
                    <a:gd name="connsiteX12" fmla="*/ 509185 w 513675"/>
                    <a:gd name="connsiteY12" fmla="*/ 234006 h 472131"/>
                    <a:gd name="connsiteX13" fmla="*/ 512360 w 513675"/>
                    <a:gd name="connsiteY13" fmla="*/ 472131 h 472131"/>
                    <a:gd name="connsiteX14" fmla="*/ 4360 w 513675"/>
                    <a:gd name="connsiteY14" fmla="*/ 449906 h 472131"/>
                    <a:gd name="connsiteX0" fmla="*/ 4360 w 513675"/>
                    <a:gd name="connsiteY0" fmla="*/ 446969 h 469194"/>
                    <a:gd name="connsiteX1" fmla="*/ 7535 w 513675"/>
                    <a:gd name="connsiteY1" fmla="*/ 212019 h 469194"/>
                    <a:gd name="connsiteX2" fmla="*/ 23410 w 513675"/>
                    <a:gd name="connsiteY2" fmla="*/ 173919 h 469194"/>
                    <a:gd name="connsiteX3" fmla="*/ 71035 w 513675"/>
                    <a:gd name="connsiteY3" fmla="*/ 158044 h 469194"/>
                    <a:gd name="connsiteX4" fmla="*/ 172635 w 513675"/>
                    <a:gd name="connsiteY4" fmla="*/ 151694 h 469194"/>
                    <a:gd name="connsiteX5" fmla="*/ 188510 w 513675"/>
                    <a:gd name="connsiteY5" fmla="*/ 94544 h 469194"/>
                    <a:gd name="connsiteX6" fmla="*/ 201210 w 513675"/>
                    <a:gd name="connsiteY6" fmla="*/ 15169 h 469194"/>
                    <a:gd name="connsiteX7" fmla="*/ 312335 w 513675"/>
                    <a:gd name="connsiteY7" fmla="*/ 11994 h 469194"/>
                    <a:gd name="connsiteX8" fmla="*/ 312335 w 513675"/>
                    <a:gd name="connsiteY8" fmla="*/ 142169 h 469194"/>
                    <a:gd name="connsiteX9" fmla="*/ 353610 w 513675"/>
                    <a:gd name="connsiteY9" fmla="*/ 148519 h 469194"/>
                    <a:gd name="connsiteX10" fmla="*/ 445685 w 513675"/>
                    <a:gd name="connsiteY10" fmla="*/ 161219 h 469194"/>
                    <a:gd name="connsiteX11" fmla="*/ 486960 w 513675"/>
                    <a:gd name="connsiteY11" fmla="*/ 186619 h 469194"/>
                    <a:gd name="connsiteX12" fmla="*/ 509185 w 513675"/>
                    <a:gd name="connsiteY12" fmla="*/ 231069 h 469194"/>
                    <a:gd name="connsiteX13" fmla="*/ 512360 w 513675"/>
                    <a:gd name="connsiteY13" fmla="*/ 469194 h 469194"/>
                    <a:gd name="connsiteX14" fmla="*/ 4360 w 513675"/>
                    <a:gd name="connsiteY14" fmla="*/ 446969 h 469194"/>
                    <a:gd name="connsiteX0" fmla="*/ 4360 w 513675"/>
                    <a:gd name="connsiteY0" fmla="*/ 443409 h 465634"/>
                    <a:gd name="connsiteX1" fmla="*/ 7535 w 513675"/>
                    <a:gd name="connsiteY1" fmla="*/ 208459 h 465634"/>
                    <a:gd name="connsiteX2" fmla="*/ 23410 w 513675"/>
                    <a:gd name="connsiteY2" fmla="*/ 170359 h 465634"/>
                    <a:gd name="connsiteX3" fmla="*/ 71035 w 513675"/>
                    <a:gd name="connsiteY3" fmla="*/ 154484 h 465634"/>
                    <a:gd name="connsiteX4" fmla="*/ 172635 w 513675"/>
                    <a:gd name="connsiteY4" fmla="*/ 148134 h 465634"/>
                    <a:gd name="connsiteX5" fmla="*/ 188510 w 513675"/>
                    <a:gd name="connsiteY5" fmla="*/ 90984 h 465634"/>
                    <a:gd name="connsiteX6" fmla="*/ 201210 w 513675"/>
                    <a:gd name="connsiteY6" fmla="*/ 11609 h 465634"/>
                    <a:gd name="connsiteX7" fmla="*/ 312335 w 513675"/>
                    <a:gd name="connsiteY7" fmla="*/ 8434 h 465634"/>
                    <a:gd name="connsiteX8" fmla="*/ 312335 w 513675"/>
                    <a:gd name="connsiteY8" fmla="*/ 87809 h 465634"/>
                    <a:gd name="connsiteX9" fmla="*/ 353610 w 513675"/>
                    <a:gd name="connsiteY9" fmla="*/ 144959 h 465634"/>
                    <a:gd name="connsiteX10" fmla="*/ 445685 w 513675"/>
                    <a:gd name="connsiteY10" fmla="*/ 157659 h 465634"/>
                    <a:gd name="connsiteX11" fmla="*/ 486960 w 513675"/>
                    <a:gd name="connsiteY11" fmla="*/ 183059 h 465634"/>
                    <a:gd name="connsiteX12" fmla="*/ 509185 w 513675"/>
                    <a:gd name="connsiteY12" fmla="*/ 227509 h 465634"/>
                    <a:gd name="connsiteX13" fmla="*/ 512360 w 513675"/>
                    <a:gd name="connsiteY13" fmla="*/ 465634 h 465634"/>
                    <a:gd name="connsiteX14" fmla="*/ 4360 w 513675"/>
                    <a:gd name="connsiteY14" fmla="*/ 443409 h 465634"/>
                    <a:gd name="connsiteX0" fmla="*/ 4360 w 513675"/>
                    <a:gd name="connsiteY0" fmla="*/ 443409 h 465634"/>
                    <a:gd name="connsiteX1" fmla="*/ 7535 w 513675"/>
                    <a:gd name="connsiteY1" fmla="*/ 208459 h 465634"/>
                    <a:gd name="connsiteX2" fmla="*/ 23410 w 513675"/>
                    <a:gd name="connsiteY2" fmla="*/ 170359 h 465634"/>
                    <a:gd name="connsiteX3" fmla="*/ 71035 w 513675"/>
                    <a:gd name="connsiteY3" fmla="*/ 154484 h 465634"/>
                    <a:gd name="connsiteX4" fmla="*/ 172635 w 513675"/>
                    <a:gd name="connsiteY4" fmla="*/ 148134 h 465634"/>
                    <a:gd name="connsiteX5" fmla="*/ 188510 w 513675"/>
                    <a:gd name="connsiteY5" fmla="*/ 90984 h 465634"/>
                    <a:gd name="connsiteX6" fmla="*/ 201210 w 513675"/>
                    <a:gd name="connsiteY6" fmla="*/ 11609 h 465634"/>
                    <a:gd name="connsiteX7" fmla="*/ 312335 w 513675"/>
                    <a:gd name="connsiteY7" fmla="*/ 8434 h 465634"/>
                    <a:gd name="connsiteX8" fmla="*/ 312335 w 513675"/>
                    <a:gd name="connsiteY8" fmla="*/ 87809 h 465634"/>
                    <a:gd name="connsiteX9" fmla="*/ 334560 w 513675"/>
                    <a:gd name="connsiteY9" fmla="*/ 135434 h 465634"/>
                    <a:gd name="connsiteX10" fmla="*/ 445685 w 513675"/>
                    <a:gd name="connsiteY10" fmla="*/ 157659 h 465634"/>
                    <a:gd name="connsiteX11" fmla="*/ 486960 w 513675"/>
                    <a:gd name="connsiteY11" fmla="*/ 183059 h 465634"/>
                    <a:gd name="connsiteX12" fmla="*/ 509185 w 513675"/>
                    <a:gd name="connsiteY12" fmla="*/ 227509 h 465634"/>
                    <a:gd name="connsiteX13" fmla="*/ 512360 w 513675"/>
                    <a:gd name="connsiteY13" fmla="*/ 465634 h 465634"/>
                    <a:gd name="connsiteX14" fmla="*/ 4360 w 513675"/>
                    <a:gd name="connsiteY14" fmla="*/ 443409 h 465634"/>
                    <a:gd name="connsiteX0" fmla="*/ 4360 w 510500"/>
                    <a:gd name="connsiteY0" fmla="*/ 443409 h 449759"/>
                    <a:gd name="connsiteX1" fmla="*/ 7535 w 510500"/>
                    <a:gd name="connsiteY1" fmla="*/ 208459 h 449759"/>
                    <a:gd name="connsiteX2" fmla="*/ 23410 w 510500"/>
                    <a:gd name="connsiteY2" fmla="*/ 170359 h 449759"/>
                    <a:gd name="connsiteX3" fmla="*/ 71035 w 510500"/>
                    <a:gd name="connsiteY3" fmla="*/ 154484 h 449759"/>
                    <a:gd name="connsiteX4" fmla="*/ 172635 w 510500"/>
                    <a:gd name="connsiteY4" fmla="*/ 148134 h 449759"/>
                    <a:gd name="connsiteX5" fmla="*/ 188510 w 510500"/>
                    <a:gd name="connsiteY5" fmla="*/ 90984 h 449759"/>
                    <a:gd name="connsiteX6" fmla="*/ 201210 w 510500"/>
                    <a:gd name="connsiteY6" fmla="*/ 11609 h 449759"/>
                    <a:gd name="connsiteX7" fmla="*/ 312335 w 510500"/>
                    <a:gd name="connsiteY7" fmla="*/ 8434 h 449759"/>
                    <a:gd name="connsiteX8" fmla="*/ 312335 w 510500"/>
                    <a:gd name="connsiteY8" fmla="*/ 87809 h 449759"/>
                    <a:gd name="connsiteX9" fmla="*/ 334560 w 510500"/>
                    <a:gd name="connsiteY9" fmla="*/ 135434 h 449759"/>
                    <a:gd name="connsiteX10" fmla="*/ 445685 w 510500"/>
                    <a:gd name="connsiteY10" fmla="*/ 157659 h 449759"/>
                    <a:gd name="connsiteX11" fmla="*/ 486960 w 510500"/>
                    <a:gd name="connsiteY11" fmla="*/ 183059 h 449759"/>
                    <a:gd name="connsiteX12" fmla="*/ 509185 w 510500"/>
                    <a:gd name="connsiteY12" fmla="*/ 227509 h 449759"/>
                    <a:gd name="connsiteX13" fmla="*/ 506010 w 510500"/>
                    <a:gd name="connsiteY13" fmla="*/ 449759 h 449759"/>
                    <a:gd name="connsiteX14" fmla="*/ 4360 w 510500"/>
                    <a:gd name="connsiteY14" fmla="*/ 443409 h 449759"/>
                    <a:gd name="connsiteX0" fmla="*/ 4360 w 510500"/>
                    <a:gd name="connsiteY0" fmla="*/ 443409 h 454926"/>
                    <a:gd name="connsiteX1" fmla="*/ 7535 w 510500"/>
                    <a:gd name="connsiteY1" fmla="*/ 208459 h 454926"/>
                    <a:gd name="connsiteX2" fmla="*/ 23410 w 510500"/>
                    <a:gd name="connsiteY2" fmla="*/ 170359 h 454926"/>
                    <a:gd name="connsiteX3" fmla="*/ 71035 w 510500"/>
                    <a:gd name="connsiteY3" fmla="*/ 154484 h 454926"/>
                    <a:gd name="connsiteX4" fmla="*/ 172635 w 510500"/>
                    <a:gd name="connsiteY4" fmla="*/ 148134 h 454926"/>
                    <a:gd name="connsiteX5" fmla="*/ 188510 w 510500"/>
                    <a:gd name="connsiteY5" fmla="*/ 90984 h 454926"/>
                    <a:gd name="connsiteX6" fmla="*/ 201210 w 510500"/>
                    <a:gd name="connsiteY6" fmla="*/ 11609 h 454926"/>
                    <a:gd name="connsiteX7" fmla="*/ 312335 w 510500"/>
                    <a:gd name="connsiteY7" fmla="*/ 8434 h 454926"/>
                    <a:gd name="connsiteX8" fmla="*/ 312335 w 510500"/>
                    <a:gd name="connsiteY8" fmla="*/ 87809 h 454926"/>
                    <a:gd name="connsiteX9" fmla="*/ 334560 w 510500"/>
                    <a:gd name="connsiteY9" fmla="*/ 135434 h 454926"/>
                    <a:gd name="connsiteX10" fmla="*/ 445685 w 510500"/>
                    <a:gd name="connsiteY10" fmla="*/ 157659 h 454926"/>
                    <a:gd name="connsiteX11" fmla="*/ 486960 w 510500"/>
                    <a:gd name="connsiteY11" fmla="*/ 183059 h 454926"/>
                    <a:gd name="connsiteX12" fmla="*/ 509185 w 510500"/>
                    <a:gd name="connsiteY12" fmla="*/ 227509 h 454926"/>
                    <a:gd name="connsiteX13" fmla="*/ 506010 w 510500"/>
                    <a:gd name="connsiteY13" fmla="*/ 449759 h 454926"/>
                    <a:gd name="connsiteX14" fmla="*/ 4360 w 510500"/>
                    <a:gd name="connsiteY14" fmla="*/ 443409 h 454926"/>
                    <a:gd name="connsiteX0" fmla="*/ 6473 w 512613"/>
                    <a:gd name="connsiteY0" fmla="*/ 443409 h 454926"/>
                    <a:gd name="connsiteX1" fmla="*/ 9648 w 512613"/>
                    <a:gd name="connsiteY1" fmla="*/ 208459 h 454926"/>
                    <a:gd name="connsiteX2" fmla="*/ 73148 w 512613"/>
                    <a:gd name="connsiteY2" fmla="*/ 154484 h 454926"/>
                    <a:gd name="connsiteX3" fmla="*/ 174748 w 512613"/>
                    <a:gd name="connsiteY3" fmla="*/ 148134 h 454926"/>
                    <a:gd name="connsiteX4" fmla="*/ 190623 w 512613"/>
                    <a:gd name="connsiteY4" fmla="*/ 90984 h 454926"/>
                    <a:gd name="connsiteX5" fmla="*/ 203323 w 512613"/>
                    <a:gd name="connsiteY5" fmla="*/ 11609 h 454926"/>
                    <a:gd name="connsiteX6" fmla="*/ 314448 w 512613"/>
                    <a:gd name="connsiteY6" fmla="*/ 8434 h 454926"/>
                    <a:gd name="connsiteX7" fmla="*/ 314448 w 512613"/>
                    <a:gd name="connsiteY7" fmla="*/ 87809 h 454926"/>
                    <a:gd name="connsiteX8" fmla="*/ 336673 w 512613"/>
                    <a:gd name="connsiteY8" fmla="*/ 135434 h 454926"/>
                    <a:gd name="connsiteX9" fmla="*/ 447798 w 512613"/>
                    <a:gd name="connsiteY9" fmla="*/ 157659 h 454926"/>
                    <a:gd name="connsiteX10" fmla="*/ 489073 w 512613"/>
                    <a:gd name="connsiteY10" fmla="*/ 183059 h 454926"/>
                    <a:gd name="connsiteX11" fmla="*/ 511298 w 512613"/>
                    <a:gd name="connsiteY11" fmla="*/ 227509 h 454926"/>
                    <a:gd name="connsiteX12" fmla="*/ 508123 w 512613"/>
                    <a:gd name="connsiteY12" fmla="*/ 449759 h 454926"/>
                    <a:gd name="connsiteX13" fmla="*/ 6473 w 512613"/>
                    <a:gd name="connsiteY13" fmla="*/ 443409 h 454926"/>
                    <a:gd name="connsiteX0" fmla="*/ 4049 w 510189"/>
                    <a:gd name="connsiteY0" fmla="*/ 443409 h 454926"/>
                    <a:gd name="connsiteX1" fmla="*/ 7224 w 510189"/>
                    <a:gd name="connsiteY1" fmla="*/ 208459 h 454926"/>
                    <a:gd name="connsiteX2" fmla="*/ 70724 w 510189"/>
                    <a:gd name="connsiteY2" fmla="*/ 154484 h 454926"/>
                    <a:gd name="connsiteX3" fmla="*/ 172324 w 510189"/>
                    <a:gd name="connsiteY3" fmla="*/ 148134 h 454926"/>
                    <a:gd name="connsiteX4" fmla="*/ 188199 w 510189"/>
                    <a:gd name="connsiteY4" fmla="*/ 90984 h 454926"/>
                    <a:gd name="connsiteX5" fmla="*/ 200899 w 510189"/>
                    <a:gd name="connsiteY5" fmla="*/ 11609 h 454926"/>
                    <a:gd name="connsiteX6" fmla="*/ 312024 w 510189"/>
                    <a:gd name="connsiteY6" fmla="*/ 8434 h 454926"/>
                    <a:gd name="connsiteX7" fmla="*/ 312024 w 510189"/>
                    <a:gd name="connsiteY7" fmla="*/ 87809 h 454926"/>
                    <a:gd name="connsiteX8" fmla="*/ 334249 w 510189"/>
                    <a:gd name="connsiteY8" fmla="*/ 135434 h 454926"/>
                    <a:gd name="connsiteX9" fmla="*/ 445374 w 510189"/>
                    <a:gd name="connsiteY9" fmla="*/ 157659 h 454926"/>
                    <a:gd name="connsiteX10" fmla="*/ 486649 w 510189"/>
                    <a:gd name="connsiteY10" fmla="*/ 183059 h 454926"/>
                    <a:gd name="connsiteX11" fmla="*/ 508874 w 510189"/>
                    <a:gd name="connsiteY11" fmla="*/ 227509 h 454926"/>
                    <a:gd name="connsiteX12" fmla="*/ 505699 w 510189"/>
                    <a:gd name="connsiteY12" fmla="*/ 449759 h 454926"/>
                    <a:gd name="connsiteX13" fmla="*/ 4049 w 510189"/>
                    <a:gd name="connsiteY13" fmla="*/ 443409 h 454926"/>
                    <a:gd name="connsiteX0" fmla="*/ 4049 w 510189"/>
                    <a:gd name="connsiteY0" fmla="*/ 443409 h 454926"/>
                    <a:gd name="connsiteX1" fmla="*/ 7224 w 510189"/>
                    <a:gd name="connsiteY1" fmla="*/ 208459 h 454926"/>
                    <a:gd name="connsiteX2" fmla="*/ 70724 w 510189"/>
                    <a:gd name="connsiteY2" fmla="*/ 154484 h 454926"/>
                    <a:gd name="connsiteX3" fmla="*/ 172324 w 510189"/>
                    <a:gd name="connsiteY3" fmla="*/ 148134 h 454926"/>
                    <a:gd name="connsiteX4" fmla="*/ 188199 w 510189"/>
                    <a:gd name="connsiteY4" fmla="*/ 90984 h 454926"/>
                    <a:gd name="connsiteX5" fmla="*/ 200899 w 510189"/>
                    <a:gd name="connsiteY5" fmla="*/ 11609 h 454926"/>
                    <a:gd name="connsiteX6" fmla="*/ 312024 w 510189"/>
                    <a:gd name="connsiteY6" fmla="*/ 8434 h 454926"/>
                    <a:gd name="connsiteX7" fmla="*/ 312024 w 510189"/>
                    <a:gd name="connsiteY7" fmla="*/ 87809 h 454926"/>
                    <a:gd name="connsiteX8" fmla="*/ 334249 w 510189"/>
                    <a:gd name="connsiteY8" fmla="*/ 135434 h 454926"/>
                    <a:gd name="connsiteX9" fmla="*/ 445374 w 510189"/>
                    <a:gd name="connsiteY9" fmla="*/ 157659 h 454926"/>
                    <a:gd name="connsiteX10" fmla="*/ 508874 w 510189"/>
                    <a:gd name="connsiteY10" fmla="*/ 227509 h 454926"/>
                    <a:gd name="connsiteX11" fmla="*/ 505699 w 510189"/>
                    <a:gd name="connsiteY11" fmla="*/ 449759 h 454926"/>
                    <a:gd name="connsiteX12" fmla="*/ 4049 w 510189"/>
                    <a:gd name="connsiteY12" fmla="*/ 443409 h 454926"/>
                    <a:gd name="connsiteX0" fmla="*/ 4049 w 510189"/>
                    <a:gd name="connsiteY0" fmla="*/ 443409 h 454926"/>
                    <a:gd name="connsiteX1" fmla="*/ 7224 w 510189"/>
                    <a:gd name="connsiteY1" fmla="*/ 208459 h 454926"/>
                    <a:gd name="connsiteX2" fmla="*/ 70724 w 510189"/>
                    <a:gd name="connsiteY2" fmla="*/ 154484 h 454926"/>
                    <a:gd name="connsiteX3" fmla="*/ 172324 w 510189"/>
                    <a:gd name="connsiteY3" fmla="*/ 148134 h 454926"/>
                    <a:gd name="connsiteX4" fmla="*/ 188199 w 510189"/>
                    <a:gd name="connsiteY4" fmla="*/ 90984 h 454926"/>
                    <a:gd name="connsiteX5" fmla="*/ 200899 w 510189"/>
                    <a:gd name="connsiteY5" fmla="*/ 11609 h 454926"/>
                    <a:gd name="connsiteX6" fmla="*/ 312024 w 510189"/>
                    <a:gd name="connsiteY6" fmla="*/ 8434 h 454926"/>
                    <a:gd name="connsiteX7" fmla="*/ 312024 w 510189"/>
                    <a:gd name="connsiteY7" fmla="*/ 87809 h 454926"/>
                    <a:gd name="connsiteX8" fmla="*/ 334249 w 510189"/>
                    <a:gd name="connsiteY8" fmla="*/ 135434 h 454926"/>
                    <a:gd name="connsiteX9" fmla="*/ 445374 w 510189"/>
                    <a:gd name="connsiteY9" fmla="*/ 157659 h 454926"/>
                    <a:gd name="connsiteX10" fmla="*/ 508874 w 510189"/>
                    <a:gd name="connsiteY10" fmla="*/ 227509 h 454926"/>
                    <a:gd name="connsiteX11" fmla="*/ 505699 w 510189"/>
                    <a:gd name="connsiteY11" fmla="*/ 449759 h 454926"/>
                    <a:gd name="connsiteX12" fmla="*/ 4049 w 510189"/>
                    <a:gd name="connsiteY12" fmla="*/ 443409 h 454926"/>
                    <a:gd name="connsiteX0" fmla="*/ 5987 w 512127"/>
                    <a:gd name="connsiteY0" fmla="*/ 443409 h 454926"/>
                    <a:gd name="connsiteX1" fmla="*/ 2812 w 512127"/>
                    <a:gd name="connsiteY1" fmla="*/ 217984 h 454926"/>
                    <a:gd name="connsiteX2" fmla="*/ 72662 w 512127"/>
                    <a:gd name="connsiteY2" fmla="*/ 154484 h 454926"/>
                    <a:gd name="connsiteX3" fmla="*/ 174262 w 512127"/>
                    <a:gd name="connsiteY3" fmla="*/ 148134 h 454926"/>
                    <a:gd name="connsiteX4" fmla="*/ 190137 w 512127"/>
                    <a:gd name="connsiteY4" fmla="*/ 90984 h 454926"/>
                    <a:gd name="connsiteX5" fmla="*/ 202837 w 512127"/>
                    <a:gd name="connsiteY5" fmla="*/ 11609 h 454926"/>
                    <a:gd name="connsiteX6" fmla="*/ 313962 w 512127"/>
                    <a:gd name="connsiteY6" fmla="*/ 8434 h 454926"/>
                    <a:gd name="connsiteX7" fmla="*/ 313962 w 512127"/>
                    <a:gd name="connsiteY7" fmla="*/ 87809 h 454926"/>
                    <a:gd name="connsiteX8" fmla="*/ 336187 w 512127"/>
                    <a:gd name="connsiteY8" fmla="*/ 135434 h 454926"/>
                    <a:gd name="connsiteX9" fmla="*/ 447312 w 512127"/>
                    <a:gd name="connsiteY9" fmla="*/ 157659 h 454926"/>
                    <a:gd name="connsiteX10" fmla="*/ 510812 w 512127"/>
                    <a:gd name="connsiteY10" fmla="*/ 227509 h 454926"/>
                    <a:gd name="connsiteX11" fmla="*/ 507637 w 512127"/>
                    <a:gd name="connsiteY11" fmla="*/ 449759 h 454926"/>
                    <a:gd name="connsiteX12" fmla="*/ 5987 w 512127"/>
                    <a:gd name="connsiteY12" fmla="*/ 443409 h 454926"/>
                    <a:gd name="connsiteX0" fmla="*/ 9762 w 515902"/>
                    <a:gd name="connsiteY0" fmla="*/ 443409 h 454926"/>
                    <a:gd name="connsiteX1" fmla="*/ 6587 w 515902"/>
                    <a:gd name="connsiteY1" fmla="*/ 217984 h 454926"/>
                    <a:gd name="connsiteX2" fmla="*/ 76437 w 515902"/>
                    <a:gd name="connsiteY2" fmla="*/ 154484 h 454926"/>
                    <a:gd name="connsiteX3" fmla="*/ 178037 w 515902"/>
                    <a:gd name="connsiteY3" fmla="*/ 148134 h 454926"/>
                    <a:gd name="connsiteX4" fmla="*/ 193912 w 515902"/>
                    <a:gd name="connsiteY4" fmla="*/ 90984 h 454926"/>
                    <a:gd name="connsiteX5" fmla="*/ 206612 w 515902"/>
                    <a:gd name="connsiteY5" fmla="*/ 11609 h 454926"/>
                    <a:gd name="connsiteX6" fmla="*/ 317737 w 515902"/>
                    <a:gd name="connsiteY6" fmla="*/ 8434 h 454926"/>
                    <a:gd name="connsiteX7" fmla="*/ 317737 w 515902"/>
                    <a:gd name="connsiteY7" fmla="*/ 87809 h 454926"/>
                    <a:gd name="connsiteX8" fmla="*/ 339962 w 515902"/>
                    <a:gd name="connsiteY8" fmla="*/ 135434 h 454926"/>
                    <a:gd name="connsiteX9" fmla="*/ 451087 w 515902"/>
                    <a:gd name="connsiteY9" fmla="*/ 157659 h 454926"/>
                    <a:gd name="connsiteX10" fmla="*/ 514587 w 515902"/>
                    <a:gd name="connsiteY10" fmla="*/ 227509 h 454926"/>
                    <a:gd name="connsiteX11" fmla="*/ 511412 w 515902"/>
                    <a:gd name="connsiteY11" fmla="*/ 449759 h 454926"/>
                    <a:gd name="connsiteX12" fmla="*/ 9762 w 515902"/>
                    <a:gd name="connsiteY12" fmla="*/ 443409 h 454926"/>
                    <a:gd name="connsiteX0" fmla="*/ 9762 w 515902"/>
                    <a:gd name="connsiteY0" fmla="*/ 443409 h 454926"/>
                    <a:gd name="connsiteX1" fmla="*/ 6587 w 515902"/>
                    <a:gd name="connsiteY1" fmla="*/ 217984 h 454926"/>
                    <a:gd name="connsiteX2" fmla="*/ 76437 w 515902"/>
                    <a:gd name="connsiteY2" fmla="*/ 154484 h 454926"/>
                    <a:gd name="connsiteX3" fmla="*/ 178037 w 515902"/>
                    <a:gd name="connsiteY3" fmla="*/ 148134 h 454926"/>
                    <a:gd name="connsiteX4" fmla="*/ 193912 w 515902"/>
                    <a:gd name="connsiteY4" fmla="*/ 90984 h 454926"/>
                    <a:gd name="connsiteX5" fmla="*/ 206612 w 515902"/>
                    <a:gd name="connsiteY5" fmla="*/ 11609 h 454926"/>
                    <a:gd name="connsiteX6" fmla="*/ 317737 w 515902"/>
                    <a:gd name="connsiteY6" fmla="*/ 8434 h 454926"/>
                    <a:gd name="connsiteX7" fmla="*/ 317737 w 515902"/>
                    <a:gd name="connsiteY7" fmla="*/ 87809 h 454926"/>
                    <a:gd name="connsiteX8" fmla="*/ 339962 w 515902"/>
                    <a:gd name="connsiteY8" fmla="*/ 135434 h 454926"/>
                    <a:gd name="connsiteX9" fmla="*/ 451087 w 515902"/>
                    <a:gd name="connsiteY9" fmla="*/ 157659 h 454926"/>
                    <a:gd name="connsiteX10" fmla="*/ 514587 w 515902"/>
                    <a:gd name="connsiteY10" fmla="*/ 227509 h 454926"/>
                    <a:gd name="connsiteX11" fmla="*/ 511412 w 515902"/>
                    <a:gd name="connsiteY11" fmla="*/ 449759 h 454926"/>
                    <a:gd name="connsiteX12" fmla="*/ 9762 w 515902"/>
                    <a:gd name="connsiteY12" fmla="*/ 443409 h 454926"/>
                    <a:gd name="connsiteX0" fmla="*/ 9762 w 515902"/>
                    <a:gd name="connsiteY0" fmla="*/ 443409 h 454926"/>
                    <a:gd name="connsiteX1" fmla="*/ 6587 w 515902"/>
                    <a:gd name="connsiteY1" fmla="*/ 217984 h 454926"/>
                    <a:gd name="connsiteX2" fmla="*/ 76437 w 515902"/>
                    <a:gd name="connsiteY2" fmla="*/ 154484 h 454926"/>
                    <a:gd name="connsiteX3" fmla="*/ 193912 w 515902"/>
                    <a:gd name="connsiteY3" fmla="*/ 90984 h 454926"/>
                    <a:gd name="connsiteX4" fmla="*/ 206612 w 515902"/>
                    <a:gd name="connsiteY4" fmla="*/ 11609 h 454926"/>
                    <a:gd name="connsiteX5" fmla="*/ 317737 w 515902"/>
                    <a:gd name="connsiteY5" fmla="*/ 8434 h 454926"/>
                    <a:gd name="connsiteX6" fmla="*/ 317737 w 515902"/>
                    <a:gd name="connsiteY6" fmla="*/ 87809 h 454926"/>
                    <a:gd name="connsiteX7" fmla="*/ 339962 w 515902"/>
                    <a:gd name="connsiteY7" fmla="*/ 135434 h 454926"/>
                    <a:gd name="connsiteX8" fmla="*/ 451087 w 515902"/>
                    <a:gd name="connsiteY8" fmla="*/ 157659 h 454926"/>
                    <a:gd name="connsiteX9" fmla="*/ 514587 w 515902"/>
                    <a:gd name="connsiteY9" fmla="*/ 227509 h 454926"/>
                    <a:gd name="connsiteX10" fmla="*/ 511412 w 515902"/>
                    <a:gd name="connsiteY10" fmla="*/ 449759 h 454926"/>
                    <a:gd name="connsiteX11" fmla="*/ 9762 w 515902"/>
                    <a:gd name="connsiteY11" fmla="*/ 443409 h 454926"/>
                    <a:gd name="connsiteX0" fmla="*/ 9762 w 515902"/>
                    <a:gd name="connsiteY0" fmla="*/ 446099 h 457616"/>
                    <a:gd name="connsiteX1" fmla="*/ 6587 w 515902"/>
                    <a:gd name="connsiteY1" fmla="*/ 220674 h 457616"/>
                    <a:gd name="connsiteX2" fmla="*/ 76437 w 515902"/>
                    <a:gd name="connsiteY2" fmla="*/ 157174 h 457616"/>
                    <a:gd name="connsiteX3" fmla="*/ 190737 w 515902"/>
                    <a:gd name="connsiteY3" fmla="*/ 138124 h 457616"/>
                    <a:gd name="connsiteX4" fmla="*/ 206612 w 515902"/>
                    <a:gd name="connsiteY4" fmla="*/ 14299 h 457616"/>
                    <a:gd name="connsiteX5" fmla="*/ 317737 w 515902"/>
                    <a:gd name="connsiteY5" fmla="*/ 11124 h 457616"/>
                    <a:gd name="connsiteX6" fmla="*/ 317737 w 515902"/>
                    <a:gd name="connsiteY6" fmla="*/ 90499 h 457616"/>
                    <a:gd name="connsiteX7" fmla="*/ 339962 w 515902"/>
                    <a:gd name="connsiteY7" fmla="*/ 138124 h 457616"/>
                    <a:gd name="connsiteX8" fmla="*/ 451087 w 515902"/>
                    <a:gd name="connsiteY8" fmla="*/ 160349 h 457616"/>
                    <a:gd name="connsiteX9" fmla="*/ 514587 w 515902"/>
                    <a:gd name="connsiteY9" fmla="*/ 230199 h 457616"/>
                    <a:gd name="connsiteX10" fmla="*/ 511412 w 515902"/>
                    <a:gd name="connsiteY10" fmla="*/ 452449 h 457616"/>
                    <a:gd name="connsiteX11" fmla="*/ 9762 w 515902"/>
                    <a:gd name="connsiteY11" fmla="*/ 446099 h 457616"/>
                    <a:gd name="connsiteX0" fmla="*/ 9762 w 515902"/>
                    <a:gd name="connsiteY0" fmla="*/ 446099 h 457616"/>
                    <a:gd name="connsiteX1" fmla="*/ 6587 w 515902"/>
                    <a:gd name="connsiteY1" fmla="*/ 220674 h 457616"/>
                    <a:gd name="connsiteX2" fmla="*/ 76437 w 515902"/>
                    <a:gd name="connsiteY2" fmla="*/ 157174 h 457616"/>
                    <a:gd name="connsiteX3" fmla="*/ 190737 w 515902"/>
                    <a:gd name="connsiteY3" fmla="*/ 138124 h 457616"/>
                    <a:gd name="connsiteX4" fmla="*/ 206612 w 515902"/>
                    <a:gd name="connsiteY4" fmla="*/ 14299 h 457616"/>
                    <a:gd name="connsiteX5" fmla="*/ 317737 w 515902"/>
                    <a:gd name="connsiteY5" fmla="*/ 11124 h 457616"/>
                    <a:gd name="connsiteX6" fmla="*/ 317737 w 515902"/>
                    <a:gd name="connsiteY6" fmla="*/ 90499 h 457616"/>
                    <a:gd name="connsiteX7" fmla="*/ 451087 w 515902"/>
                    <a:gd name="connsiteY7" fmla="*/ 160349 h 457616"/>
                    <a:gd name="connsiteX8" fmla="*/ 514587 w 515902"/>
                    <a:gd name="connsiteY8" fmla="*/ 230199 h 457616"/>
                    <a:gd name="connsiteX9" fmla="*/ 511412 w 515902"/>
                    <a:gd name="connsiteY9" fmla="*/ 452449 h 457616"/>
                    <a:gd name="connsiteX10" fmla="*/ 9762 w 515902"/>
                    <a:gd name="connsiteY10" fmla="*/ 446099 h 457616"/>
                    <a:gd name="connsiteX0" fmla="*/ 9762 w 515902"/>
                    <a:gd name="connsiteY0" fmla="*/ 447482 h 458999"/>
                    <a:gd name="connsiteX1" fmla="*/ 6587 w 515902"/>
                    <a:gd name="connsiteY1" fmla="*/ 222057 h 458999"/>
                    <a:gd name="connsiteX2" fmla="*/ 76437 w 515902"/>
                    <a:gd name="connsiteY2" fmla="*/ 158557 h 458999"/>
                    <a:gd name="connsiteX3" fmla="*/ 190737 w 515902"/>
                    <a:gd name="connsiteY3" fmla="*/ 139507 h 458999"/>
                    <a:gd name="connsiteX4" fmla="*/ 206612 w 515902"/>
                    <a:gd name="connsiteY4" fmla="*/ 15682 h 458999"/>
                    <a:gd name="connsiteX5" fmla="*/ 317737 w 515902"/>
                    <a:gd name="connsiteY5" fmla="*/ 12507 h 458999"/>
                    <a:gd name="connsiteX6" fmla="*/ 330437 w 515902"/>
                    <a:gd name="connsiteY6" fmla="*/ 114107 h 458999"/>
                    <a:gd name="connsiteX7" fmla="*/ 451087 w 515902"/>
                    <a:gd name="connsiteY7" fmla="*/ 161732 h 458999"/>
                    <a:gd name="connsiteX8" fmla="*/ 514587 w 515902"/>
                    <a:gd name="connsiteY8" fmla="*/ 231582 h 458999"/>
                    <a:gd name="connsiteX9" fmla="*/ 511412 w 515902"/>
                    <a:gd name="connsiteY9" fmla="*/ 453832 h 458999"/>
                    <a:gd name="connsiteX10" fmla="*/ 9762 w 515902"/>
                    <a:gd name="connsiteY10" fmla="*/ 447482 h 458999"/>
                    <a:gd name="connsiteX0" fmla="*/ 9762 w 515902"/>
                    <a:gd name="connsiteY0" fmla="*/ 446348 h 457865"/>
                    <a:gd name="connsiteX1" fmla="*/ 6587 w 515902"/>
                    <a:gd name="connsiteY1" fmla="*/ 220923 h 457865"/>
                    <a:gd name="connsiteX2" fmla="*/ 76437 w 515902"/>
                    <a:gd name="connsiteY2" fmla="*/ 157423 h 457865"/>
                    <a:gd name="connsiteX3" fmla="*/ 200262 w 515902"/>
                    <a:gd name="connsiteY3" fmla="*/ 119323 h 457865"/>
                    <a:gd name="connsiteX4" fmla="*/ 206612 w 515902"/>
                    <a:gd name="connsiteY4" fmla="*/ 14548 h 457865"/>
                    <a:gd name="connsiteX5" fmla="*/ 317737 w 515902"/>
                    <a:gd name="connsiteY5" fmla="*/ 11373 h 457865"/>
                    <a:gd name="connsiteX6" fmla="*/ 330437 w 515902"/>
                    <a:gd name="connsiteY6" fmla="*/ 112973 h 457865"/>
                    <a:gd name="connsiteX7" fmla="*/ 451087 w 515902"/>
                    <a:gd name="connsiteY7" fmla="*/ 160598 h 457865"/>
                    <a:gd name="connsiteX8" fmla="*/ 514587 w 515902"/>
                    <a:gd name="connsiteY8" fmla="*/ 230448 h 457865"/>
                    <a:gd name="connsiteX9" fmla="*/ 511412 w 515902"/>
                    <a:gd name="connsiteY9" fmla="*/ 452698 h 457865"/>
                    <a:gd name="connsiteX10" fmla="*/ 9762 w 515902"/>
                    <a:gd name="connsiteY10" fmla="*/ 446348 h 457865"/>
                    <a:gd name="connsiteX0" fmla="*/ 8840 w 514980"/>
                    <a:gd name="connsiteY0" fmla="*/ 446348 h 457865"/>
                    <a:gd name="connsiteX1" fmla="*/ 5665 w 514980"/>
                    <a:gd name="connsiteY1" fmla="*/ 220923 h 457865"/>
                    <a:gd name="connsiteX2" fmla="*/ 62412 w 514980"/>
                    <a:gd name="connsiteY2" fmla="*/ 133367 h 457865"/>
                    <a:gd name="connsiteX3" fmla="*/ 199340 w 514980"/>
                    <a:gd name="connsiteY3" fmla="*/ 119323 h 457865"/>
                    <a:gd name="connsiteX4" fmla="*/ 205690 w 514980"/>
                    <a:gd name="connsiteY4" fmla="*/ 14548 h 457865"/>
                    <a:gd name="connsiteX5" fmla="*/ 316815 w 514980"/>
                    <a:gd name="connsiteY5" fmla="*/ 11373 h 457865"/>
                    <a:gd name="connsiteX6" fmla="*/ 329515 w 514980"/>
                    <a:gd name="connsiteY6" fmla="*/ 112973 h 457865"/>
                    <a:gd name="connsiteX7" fmla="*/ 450165 w 514980"/>
                    <a:gd name="connsiteY7" fmla="*/ 160598 h 457865"/>
                    <a:gd name="connsiteX8" fmla="*/ 513665 w 514980"/>
                    <a:gd name="connsiteY8" fmla="*/ 230448 h 457865"/>
                    <a:gd name="connsiteX9" fmla="*/ 510490 w 514980"/>
                    <a:gd name="connsiteY9" fmla="*/ 452698 h 457865"/>
                    <a:gd name="connsiteX10" fmla="*/ 8840 w 514980"/>
                    <a:gd name="connsiteY10" fmla="*/ 446348 h 457865"/>
                    <a:gd name="connsiteX0" fmla="*/ 8840 w 514980"/>
                    <a:gd name="connsiteY0" fmla="*/ 445015 h 456532"/>
                    <a:gd name="connsiteX1" fmla="*/ 5665 w 514980"/>
                    <a:gd name="connsiteY1" fmla="*/ 219590 h 456532"/>
                    <a:gd name="connsiteX2" fmla="*/ 62412 w 514980"/>
                    <a:gd name="connsiteY2" fmla="*/ 132034 h 456532"/>
                    <a:gd name="connsiteX3" fmla="*/ 186237 w 514980"/>
                    <a:gd name="connsiteY3" fmla="*/ 93934 h 456532"/>
                    <a:gd name="connsiteX4" fmla="*/ 205690 w 514980"/>
                    <a:gd name="connsiteY4" fmla="*/ 13215 h 456532"/>
                    <a:gd name="connsiteX5" fmla="*/ 316815 w 514980"/>
                    <a:gd name="connsiteY5" fmla="*/ 10040 h 456532"/>
                    <a:gd name="connsiteX6" fmla="*/ 329515 w 514980"/>
                    <a:gd name="connsiteY6" fmla="*/ 111640 h 456532"/>
                    <a:gd name="connsiteX7" fmla="*/ 450165 w 514980"/>
                    <a:gd name="connsiteY7" fmla="*/ 159265 h 456532"/>
                    <a:gd name="connsiteX8" fmla="*/ 513665 w 514980"/>
                    <a:gd name="connsiteY8" fmla="*/ 229115 h 456532"/>
                    <a:gd name="connsiteX9" fmla="*/ 510490 w 514980"/>
                    <a:gd name="connsiteY9" fmla="*/ 451365 h 456532"/>
                    <a:gd name="connsiteX10" fmla="*/ 8840 w 514980"/>
                    <a:gd name="connsiteY10" fmla="*/ 445015 h 456532"/>
                    <a:gd name="connsiteX0" fmla="*/ 8840 w 514980"/>
                    <a:gd name="connsiteY0" fmla="*/ 445015 h 456532"/>
                    <a:gd name="connsiteX1" fmla="*/ 5665 w 514980"/>
                    <a:gd name="connsiteY1" fmla="*/ 219590 h 456532"/>
                    <a:gd name="connsiteX2" fmla="*/ 62412 w 514980"/>
                    <a:gd name="connsiteY2" fmla="*/ 132034 h 456532"/>
                    <a:gd name="connsiteX3" fmla="*/ 186237 w 514980"/>
                    <a:gd name="connsiteY3" fmla="*/ 93934 h 456532"/>
                    <a:gd name="connsiteX4" fmla="*/ 205690 w 514980"/>
                    <a:gd name="connsiteY4" fmla="*/ 13215 h 456532"/>
                    <a:gd name="connsiteX5" fmla="*/ 316815 w 514980"/>
                    <a:gd name="connsiteY5" fmla="*/ 10040 h 456532"/>
                    <a:gd name="connsiteX6" fmla="*/ 329515 w 514980"/>
                    <a:gd name="connsiteY6" fmla="*/ 111640 h 456532"/>
                    <a:gd name="connsiteX7" fmla="*/ 461084 w 514980"/>
                    <a:gd name="connsiteY7" fmla="*/ 146143 h 456532"/>
                    <a:gd name="connsiteX8" fmla="*/ 513665 w 514980"/>
                    <a:gd name="connsiteY8" fmla="*/ 229115 h 456532"/>
                    <a:gd name="connsiteX9" fmla="*/ 510490 w 514980"/>
                    <a:gd name="connsiteY9" fmla="*/ 451365 h 456532"/>
                    <a:gd name="connsiteX10" fmla="*/ 8840 w 514980"/>
                    <a:gd name="connsiteY10" fmla="*/ 445015 h 456532"/>
                    <a:gd name="connsiteX0" fmla="*/ 8840 w 514980"/>
                    <a:gd name="connsiteY0" fmla="*/ 444105 h 455622"/>
                    <a:gd name="connsiteX1" fmla="*/ 5665 w 514980"/>
                    <a:gd name="connsiteY1" fmla="*/ 218680 h 455622"/>
                    <a:gd name="connsiteX2" fmla="*/ 62412 w 514980"/>
                    <a:gd name="connsiteY2" fmla="*/ 131124 h 455622"/>
                    <a:gd name="connsiteX3" fmla="*/ 186237 w 514980"/>
                    <a:gd name="connsiteY3" fmla="*/ 93024 h 455622"/>
                    <a:gd name="connsiteX4" fmla="*/ 205690 w 514980"/>
                    <a:gd name="connsiteY4" fmla="*/ 12305 h 455622"/>
                    <a:gd name="connsiteX5" fmla="*/ 316815 w 514980"/>
                    <a:gd name="connsiteY5" fmla="*/ 9130 h 455622"/>
                    <a:gd name="connsiteX6" fmla="*/ 351353 w 514980"/>
                    <a:gd name="connsiteY6" fmla="*/ 97608 h 455622"/>
                    <a:gd name="connsiteX7" fmla="*/ 461084 w 514980"/>
                    <a:gd name="connsiteY7" fmla="*/ 145233 h 455622"/>
                    <a:gd name="connsiteX8" fmla="*/ 513665 w 514980"/>
                    <a:gd name="connsiteY8" fmla="*/ 228205 h 455622"/>
                    <a:gd name="connsiteX9" fmla="*/ 510490 w 514980"/>
                    <a:gd name="connsiteY9" fmla="*/ 450455 h 455622"/>
                    <a:gd name="connsiteX10" fmla="*/ 8840 w 514980"/>
                    <a:gd name="connsiteY10" fmla="*/ 444105 h 455622"/>
                    <a:gd name="connsiteX0" fmla="*/ 8840 w 514980"/>
                    <a:gd name="connsiteY0" fmla="*/ 442755 h 454272"/>
                    <a:gd name="connsiteX1" fmla="*/ 5665 w 514980"/>
                    <a:gd name="connsiteY1" fmla="*/ 217330 h 454272"/>
                    <a:gd name="connsiteX2" fmla="*/ 62412 w 514980"/>
                    <a:gd name="connsiteY2" fmla="*/ 129774 h 454272"/>
                    <a:gd name="connsiteX3" fmla="*/ 186237 w 514980"/>
                    <a:gd name="connsiteY3" fmla="*/ 91674 h 454272"/>
                    <a:gd name="connsiteX4" fmla="*/ 205690 w 514980"/>
                    <a:gd name="connsiteY4" fmla="*/ 10955 h 454272"/>
                    <a:gd name="connsiteX5" fmla="*/ 325550 w 514980"/>
                    <a:gd name="connsiteY5" fmla="*/ 9967 h 454272"/>
                    <a:gd name="connsiteX6" fmla="*/ 351353 w 514980"/>
                    <a:gd name="connsiteY6" fmla="*/ 96258 h 454272"/>
                    <a:gd name="connsiteX7" fmla="*/ 461084 w 514980"/>
                    <a:gd name="connsiteY7" fmla="*/ 143883 h 454272"/>
                    <a:gd name="connsiteX8" fmla="*/ 513665 w 514980"/>
                    <a:gd name="connsiteY8" fmla="*/ 226855 h 454272"/>
                    <a:gd name="connsiteX9" fmla="*/ 510490 w 514980"/>
                    <a:gd name="connsiteY9" fmla="*/ 449105 h 454272"/>
                    <a:gd name="connsiteX10" fmla="*/ 8840 w 514980"/>
                    <a:gd name="connsiteY10" fmla="*/ 442755 h 454272"/>
                    <a:gd name="connsiteX0" fmla="*/ 8840 w 514980"/>
                    <a:gd name="connsiteY0" fmla="*/ 442755 h 454272"/>
                    <a:gd name="connsiteX1" fmla="*/ 5665 w 514980"/>
                    <a:gd name="connsiteY1" fmla="*/ 217330 h 454272"/>
                    <a:gd name="connsiteX2" fmla="*/ 62412 w 514980"/>
                    <a:gd name="connsiteY2" fmla="*/ 129774 h 454272"/>
                    <a:gd name="connsiteX3" fmla="*/ 186237 w 514980"/>
                    <a:gd name="connsiteY3" fmla="*/ 91674 h 454272"/>
                    <a:gd name="connsiteX4" fmla="*/ 205690 w 514980"/>
                    <a:gd name="connsiteY4" fmla="*/ 10955 h 454272"/>
                    <a:gd name="connsiteX5" fmla="*/ 325550 w 514980"/>
                    <a:gd name="connsiteY5" fmla="*/ 9967 h 454272"/>
                    <a:gd name="connsiteX6" fmla="*/ 351353 w 514980"/>
                    <a:gd name="connsiteY6" fmla="*/ 96258 h 454272"/>
                    <a:gd name="connsiteX7" fmla="*/ 461084 w 514980"/>
                    <a:gd name="connsiteY7" fmla="*/ 143883 h 454272"/>
                    <a:gd name="connsiteX8" fmla="*/ 513665 w 514980"/>
                    <a:gd name="connsiteY8" fmla="*/ 226855 h 454272"/>
                    <a:gd name="connsiteX9" fmla="*/ 510490 w 514980"/>
                    <a:gd name="connsiteY9" fmla="*/ 449105 h 454272"/>
                    <a:gd name="connsiteX10" fmla="*/ 8840 w 514980"/>
                    <a:gd name="connsiteY10" fmla="*/ 442755 h 454272"/>
                    <a:gd name="connsiteX0" fmla="*/ 8840 w 514980"/>
                    <a:gd name="connsiteY0" fmla="*/ 442755 h 454272"/>
                    <a:gd name="connsiteX1" fmla="*/ 5665 w 514980"/>
                    <a:gd name="connsiteY1" fmla="*/ 217330 h 454272"/>
                    <a:gd name="connsiteX2" fmla="*/ 62412 w 514980"/>
                    <a:gd name="connsiteY2" fmla="*/ 129774 h 454272"/>
                    <a:gd name="connsiteX3" fmla="*/ 186237 w 514980"/>
                    <a:gd name="connsiteY3" fmla="*/ 91674 h 454272"/>
                    <a:gd name="connsiteX4" fmla="*/ 205690 w 514980"/>
                    <a:gd name="connsiteY4" fmla="*/ 10955 h 454272"/>
                    <a:gd name="connsiteX5" fmla="*/ 325550 w 514980"/>
                    <a:gd name="connsiteY5" fmla="*/ 9967 h 454272"/>
                    <a:gd name="connsiteX6" fmla="*/ 351353 w 514980"/>
                    <a:gd name="connsiteY6" fmla="*/ 96258 h 454272"/>
                    <a:gd name="connsiteX7" fmla="*/ 461084 w 514980"/>
                    <a:gd name="connsiteY7" fmla="*/ 143883 h 454272"/>
                    <a:gd name="connsiteX8" fmla="*/ 513665 w 514980"/>
                    <a:gd name="connsiteY8" fmla="*/ 226855 h 454272"/>
                    <a:gd name="connsiteX9" fmla="*/ 510490 w 514980"/>
                    <a:gd name="connsiteY9" fmla="*/ 449105 h 454272"/>
                    <a:gd name="connsiteX10" fmla="*/ 8840 w 514980"/>
                    <a:gd name="connsiteY10" fmla="*/ 442755 h 454272"/>
                    <a:gd name="connsiteX0" fmla="*/ 8840 w 514980"/>
                    <a:gd name="connsiteY0" fmla="*/ 442755 h 454272"/>
                    <a:gd name="connsiteX1" fmla="*/ 5665 w 514980"/>
                    <a:gd name="connsiteY1" fmla="*/ 217330 h 454272"/>
                    <a:gd name="connsiteX2" fmla="*/ 62412 w 514980"/>
                    <a:gd name="connsiteY2" fmla="*/ 129774 h 454272"/>
                    <a:gd name="connsiteX3" fmla="*/ 186237 w 514980"/>
                    <a:gd name="connsiteY3" fmla="*/ 91674 h 454272"/>
                    <a:gd name="connsiteX4" fmla="*/ 205690 w 514980"/>
                    <a:gd name="connsiteY4" fmla="*/ 10955 h 454272"/>
                    <a:gd name="connsiteX5" fmla="*/ 325550 w 514980"/>
                    <a:gd name="connsiteY5" fmla="*/ 9967 h 454272"/>
                    <a:gd name="connsiteX6" fmla="*/ 351353 w 514980"/>
                    <a:gd name="connsiteY6" fmla="*/ 96258 h 454272"/>
                    <a:gd name="connsiteX7" fmla="*/ 461084 w 514980"/>
                    <a:gd name="connsiteY7" fmla="*/ 143883 h 454272"/>
                    <a:gd name="connsiteX8" fmla="*/ 513665 w 514980"/>
                    <a:gd name="connsiteY8" fmla="*/ 226855 h 454272"/>
                    <a:gd name="connsiteX9" fmla="*/ 510490 w 514980"/>
                    <a:gd name="connsiteY9" fmla="*/ 449105 h 454272"/>
                    <a:gd name="connsiteX10" fmla="*/ 8840 w 514980"/>
                    <a:gd name="connsiteY10" fmla="*/ 442755 h 454272"/>
                    <a:gd name="connsiteX0" fmla="*/ 8840 w 514980"/>
                    <a:gd name="connsiteY0" fmla="*/ 436996 h 448513"/>
                    <a:gd name="connsiteX1" fmla="*/ 5665 w 514980"/>
                    <a:gd name="connsiteY1" fmla="*/ 211571 h 448513"/>
                    <a:gd name="connsiteX2" fmla="*/ 62412 w 514980"/>
                    <a:gd name="connsiteY2" fmla="*/ 124015 h 448513"/>
                    <a:gd name="connsiteX3" fmla="*/ 186237 w 514980"/>
                    <a:gd name="connsiteY3" fmla="*/ 85915 h 448513"/>
                    <a:gd name="connsiteX4" fmla="*/ 205690 w 514980"/>
                    <a:gd name="connsiteY4" fmla="*/ 5196 h 448513"/>
                    <a:gd name="connsiteX5" fmla="*/ 325550 w 514980"/>
                    <a:gd name="connsiteY5" fmla="*/ 4208 h 448513"/>
                    <a:gd name="connsiteX6" fmla="*/ 351353 w 514980"/>
                    <a:gd name="connsiteY6" fmla="*/ 90499 h 448513"/>
                    <a:gd name="connsiteX7" fmla="*/ 461084 w 514980"/>
                    <a:gd name="connsiteY7" fmla="*/ 138124 h 448513"/>
                    <a:gd name="connsiteX8" fmla="*/ 513665 w 514980"/>
                    <a:gd name="connsiteY8" fmla="*/ 221096 h 448513"/>
                    <a:gd name="connsiteX9" fmla="*/ 510490 w 514980"/>
                    <a:gd name="connsiteY9" fmla="*/ 443346 h 448513"/>
                    <a:gd name="connsiteX10" fmla="*/ 8840 w 514980"/>
                    <a:gd name="connsiteY10" fmla="*/ 436996 h 448513"/>
                    <a:gd name="connsiteX0" fmla="*/ 8840 w 514980"/>
                    <a:gd name="connsiteY0" fmla="*/ 436996 h 448513"/>
                    <a:gd name="connsiteX1" fmla="*/ 5665 w 514980"/>
                    <a:gd name="connsiteY1" fmla="*/ 211571 h 448513"/>
                    <a:gd name="connsiteX2" fmla="*/ 62412 w 514980"/>
                    <a:gd name="connsiteY2" fmla="*/ 124015 h 448513"/>
                    <a:gd name="connsiteX3" fmla="*/ 186237 w 514980"/>
                    <a:gd name="connsiteY3" fmla="*/ 85915 h 448513"/>
                    <a:gd name="connsiteX4" fmla="*/ 205690 w 514980"/>
                    <a:gd name="connsiteY4" fmla="*/ 5196 h 448513"/>
                    <a:gd name="connsiteX5" fmla="*/ 325550 w 514980"/>
                    <a:gd name="connsiteY5" fmla="*/ 4208 h 448513"/>
                    <a:gd name="connsiteX6" fmla="*/ 351353 w 514980"/>
                    <a:gd name="connsiteY6" fmla="*/ 90499 h 448513"/>
                    <a:gd name="connsiteX7" fmla="*/ 461084 w 514980"/>
                    <a:gd name="connsiteY7" fmla="*/ 138124 h 448513"/>
                    <a:gd name="connsiteX8" fmla="*/ 513665 w 514980"/>
                    <a:gd name="connsiteY8" fmla="*/ 221096 h 448513"/>
                    <a:gd name="connsiteX9" fmla="*/ 510490 w 514980"/>
                    <a:gd name="connsiteY9" fmla="*/ 443346 h 448513"/>
                    <a:gd name="connsiteX10" fmla="*/ 8840 w 514980"/>
                    <a:gd name="connsiteY10" fmla="*/ 436996 h 448513"/>
                    <a:gd name="connsiteX0" fmla="*/ 8840 w 514980"/>
                    <a:gd name="connsiteY0" fmla="*/ 436996 h 448513"/>
                    <a:gd name="connsiteX1" fmla="*/ 5665 w 514980"/>
                    <a:gd name="connsiteY1" fmla="*/ 211571 h 448513"/>
                    <a:gd name="connsiteX2" fmla="*/ 62412 w 514980"/>
                    <a:gd name="connsiteY2" fmla="*/ 124015 h 448513"/>
                    <a:gd name="connsiteX3" fmla="*/ 186237 w 514980"/>
                    <a:gd name="connsiteY3" fmla="*/ 85915 h 448513"/>
                    <a:gd name="connsiteX4" fmla="*/ 205690 w 514980"/>
                    <a:gd name="connsiteY4" fmla="*/ 5196 h 448513"/>
                    <a:gd name="connsiteX5" fmla="*/ 325550 w 514980"/>
                    <a:gd name="connsiteY5" fmla="*/ 4208 h 448513"/>
                    <a:gd name="connsiteX6" fmla="*/ 351353 w 514980"/>
                    <a:gd name="connsiteY6" fmla="*/ 90499 h 448513"/>
                    <a:gd name="connsiteX7" fmla="*/ 461084 w 514980"/>
                    <a:gd name="connsiteY7" fmla="*/ 138124 h 448513"/>
                    <a:gd name="connsiteX8" fmla="*/ 513665 w 514980"/>
                    <a:gd name="connsiteY8" fmla="*/ 221096 h 448513"/>
                    <a:gd name="connsiteX9" fmla="*/ 510490 w 514980"/>
                    <a:gd name="connsiteY9" fmla="*/ 443346 h 448513"/>
                    <a:gd name="connsiteX10" fmla="*/ 8840 w 514980"/>
                    <a:gd name="connsiteY10" fmla="*/ 436996 h 448513"/>
                    <a:gd name="connsiteX0" fmla="*/ 8840 w 514980"/>
                    <a:gd name="connsiteY0" fmla="*/ 436996 h 448513"/>
                    <a:gd name="connsiteX1" fmla="*/ 5665 w 514980"/>
                    <a:gd name="connsiteY1" fmla="*/ 211571 h 448513"/>
                    <a:gd name="connsiteX2" fmla="*/ 62412 w 514980"/>
                    <a:gd name="connsiteY2" fmla="*/ 124015 h 448513"/>
                    <a:gd name="connsiteX3" fmla="*/ 168766 w 514980"/>
                    <a:gd name="connsiteY3" fmla="*/ 88102 h 448513"/>
                    <a:gd name="connsiteX4" fmla="*/ 205690 w 514980"/>
                    <a:gd name="connsiteY4" fmla="*/ 5196 h 448513"/>
                    <a:gd name="connsiteX5" fmla="*/ 325550 w 514980"/>
                    <a:gd name="connsiteY5" fmla="*/ 4208 h 448513"/>
                    <a:gd name="connsiteX6" fmla="*/ 351353 w 514980"/>
                    <a:gd name="connsiteY6" fmla="*/ 90499 h 448513"/>
                    <a:gd name="connsiteX7" fmla="*/ 461084 w 514980"/>
                    <a:gd name="connsiteY7" fmla="*/ 138124 h 448513"/>
                    <a:gd name="connsiteX8" fmla="*/ 513665 w 514980"/>
                    <a:gd name="connsiteY8" fmla="*/ 221096 h 448513"/>
                    <a:gd name="connsiteX9" fmla="*/ 510490 w 514980"/>
                    <a:gd name="connsiteY9" fmla="*/ 443346 h 448513"/>
                    <a:gd name="connsiteX10" fmla="*/ 8840 w 514980"/>
                    <a:gd name="connsiteY10" fmla="*/ 436996 h 448513"/>
                    <a:gd name="connsiteX0" fmla="*/ 8840 w 514980"/>
                    <a:gd name="connsiteY0" fmla="*/ 440628 h 452145"/>
                    <a:gd name="connsiteX1" fmla="*/ 5665 w 514980"/>
                    <a:gd name="connsiteY1" fmla="*/ 215203 h 452145"/>
                    <a:gd name="connsiteX2" fmla="*/ 62412 w 514980"/>
                    <a:gd name="connsiteY2" fmla="*/ 127647 h 452145"/>
                    <a:gd name="connsiteX3" fmla="*/ 168766 w 514980"/>
                    <a:gd name="connsiteY3" fmla="*/ 91734 h 452145"/>
                    <a:gd name="connsiteX4" fmla="*/ 179484 w 514980"/>
                    <a:gd name="connsiteY4" fmla="*/ 4454 h 452145"/>
                    <a:gd name="connsiteX5" fmla="*/ 325550 w 514980"/>
                    <a:gd name="connsiteY5" fmla="*/ 7840 h 452145"/>
                    <a:gd name="connsiteX6" fmla="*/ 351353 w 514980"/>
                    <a:gd name="connsiteY6" fmla="*/ 94131 h 452145"/>
                    <a:gd name="connsiteX7" fmla="*/ 461084 w 514980"/>
                    <a:gd name="connsiteY7" fmla="*/ 141756 h 452145"/>
                    <a:gd name="connsiteX8" fmla="*/ 513665 w 514980"/>
                    <a:gd name="connsiteY8" fmla="*/ 224728 h 452145"/>
                    <a:gd name="connsiteX9" fmla="*/ 510490 w 514980"/>
                    <a:gd name="connsiteY9" fmla="*/ 446978 h 452145"/>
                    <a:gd name="connsiteX10" fmla="*/ 8840 w 514980"/>
                    <a:gd name="connsiteY10" fmla="*/ 440628 h 452145"/>
                    <a:gd name="connsiteX0" fmla="*/ 8840 w 514980"/>
                    <a:gd name="connsiteY0" fmla="*/ 442422 h 453939"/>
                    <a:gd name="connsiteX1" fmla="*/ 5665 w 514980"/>
                    <a:gd name="connsiteY1" fmla="*/ 216997 h 453939"/>
                    <a:gd name="connsiteX2" fmla="*/ 62412 w 514980"/>
                    <a:gd name="connsiteY2" fmla="*/ 129441 h 453939"/>
                    <a:gd name="connsiteX3" fmla="*/ 168766 w 514980"/>
                    <a:gd name="connsiteY3" fmla="*/ 93528 h 453939"/>
                    <a:gd name="connsiteX4" fmla="*/ 179484 w 514980"/>
                    <a:gd name="connsiteY4" fmla="*/ 6248 h 453939"/>
                    <a:gd name="connsiteX5" fmla="*/ 351756 w 514980"/>
                    <a:gd name="connsiteY5" fmla="*/ 886 h 453939"/>
                    <a:gd name="connsiteX6" fmla="*/ 351353 w 514980"/>
                    <a:gd name="connsiteY6" fmla="*/ 95925 h 453939"/>
                    <a:gd name="connsiteX7" fmla="*/ 461084 w 514980"/>
                    <a:gd name="connsiteY7" fmla="*/ 143550 h 453939"/>
                    <a:gd name="connsiteX8" fmla="*/ 513665 w 514980"/>
                    <a:gd name="connsiteY8" fmla="*/ 226522 h 453939"/>
                    <a:gd name="connsiteX9" fmla="*/ 510490 w 514980"/>
                    <a:gd name="connsiteY9" fmla="*/ 448772 h 453939"/>
                    <a:gd name="connsiteX10" fmla="*/ 8840 w 514980"/>
                    <a:gd name="connsiteY10" fmla="*/ 442422 h 453939"/>
                    <a:gd name="connsiteX0" fmla="*/ 8840 w 514980"/>
                    <a:gd name="connsiteY0" fmla="*/ 442422 h 453939"/>
                    <a:gd name="connsiteX1" fmla="*/ 5665 w 514980"/>
                    <a:gd name="connsiteY1" fmla="*/ 216997 h 453939"/>
                    <a:gd name="connsiteX2" fmla="*/ 62412 w 514980"/>
                    <a:gd name="connsiteY2" fmla="*/ 129441 h 453939"/>
                    <a:gd name="connsiteX3" fmla="*/ 168766 w 514980"/>
                    <a:gd name="connsiteY3" fmla="*/ 93528 h 453939"/>
                    <a:gd name="connsiteX4" fmla="*/ 179484 w 514980"/>
                    <a:gd name="connsiteY4" fmla="*/ 6248 h 453939"/>
                    <a:gd name="connsiteX5" fmla="*/ 351756 w 514980"/>
                    <a:gd name="connsiteY5" fmla="*/ 886 h 453939"/>
                    <a:gd name="connsiteX6" fmla="*/ 366640 w 514980"/>
                    <a:gd name="connsiteY6" fmla="*/ 100299 h 453939"/>
                    <a:gd name="connsiteX7" fmla="*/ 461084 w 514980"/>
                    <a:gd name="connsiteY7" fmla="*/ 143550 h 453939"/>
                    <a:gd name="connsiteX8" fmla="*/ 513665 w 514980"/>
                    <a:gd name="connsiteY8" fmla="*/ 226522 h 453939"/>
                    <a:gd name="connsiteX9" fmla="*/ 510490 w 514980"/>
                    <a:gd name="connsiteY9" fmla="*/ 448772 h 453939"/>
                    <a:gd name="connsiteX10" fmla="*/ 8840 w 514980"/>
                    <a:gd name="connsiteY10" fmla="*/ 442422 h 453939"/>
                    <a:gd name="connsiteX0" fmla="*/ 8840 w 514980"/>
                    <a:gd name="connsiteY0" fmla="*/ 442422 h 450476"/>
                    <a:gd name="connsiteX1" fmla="*/ 5665 w 514980"/>
                    <a:gd name="connsiteY1" fmla="*/ 216997 h 450476"/>
                    <a:gd name="connsiteX2" fmla="*/ 62412 w 514980"/>
                    <a:gd name="connsiteY2" fmla="*/ 129441 h 450476"/>
                    <a:gd name="connsiteX3" fmla="*/ 168766 w 514980"/>
                    <a:gd name="connsiteY3" fmla="*/ 93528 h 450476"/>
                    <a:gd name="connsiteX4" fmla="*/ 179484 w 514980"/>
                    <a:gd name="connsiteY4" fmla="*/ 6248 h 450476"/>
                    <a:gd name="connsiteX5" fmla="*/ 351756 w 514980"/>
                    <a:gd name="connsiteY5" fmla="*/ 886 h 450476"/>
                    <a:gd name="connsiteX6" fmla="*/ 366640 w 514980"/>
                    <a:gd name="connsiteY6" fmla="*/ 100299 h 450476"/>
                    <a:gd name="connsiteX7" fmla="*/ 461084 w 514980"/>
                    <a:gd name="connsiteY7" fmla="*/ 143550 h 450476"/>
                    <a:gd name="connsiteX8" fmla="*/ 513665 w 514980"/>
                    <a:gd name="connsiteY8" fmla="*/ 226522 h 450476"/>
                    <a:gd name="connsiteX9" fmla="*/ 510490 w 514980"/>
                    <a:gd name="connsiteY9" fmla="*/ 448772 h 450476"/>
                    <a:gd name="connsiteX10" fmla="*/ 8840 w 514980"/>
                    <a:gd name="connsiteY10" fmla="*/ 442422 h 450476"/>
                    <a:gd name="connsiteX0" fmla="*/ 8840 w 514980"/>
                    <a:gd name="connsiteY0" fmla="*/ 442422 h 448772"/>
                    <a:gd name="connsiteX1" fmla="*/ 5665 w 514980"/>
                    <a:gd name="connsiteY1" fmla="*/ 216997 h 448772"/>
                    <a:gd name="connsiteX2" fmla="*/ 62412 w 514980"/>
                    <a:gd name="connsiteY2" fmla="*/ 129441 h 448772"/>
                    <a:gd name="connsiteX3" fmla="*/ 168766 w 514980"/>
                    <a:gd name="connsiteY3" fmla="*/ 93528 h 448772"/>
                    <a:gd name="connsiteX4" fmla="*/ 179484 w 514980"/>
                    <a:gd name="connsiteY4" fmla="*/ 6248 h 448772"/>
                    <a:gd name="connsiteX5" fmla="*/ 351756 w 514980"/>
                    <a:gd name="connsiteY5" fmla="*/ 886 h 448772"/>
                    <a:gd name="connsiteX6" fmla="*/ 366640 w 514980"/>
                    <a:gd name="connsiteY6" fmla="*/ 100299 h 448772"/>
                    <a:gd name="connsiteX7" fmla="*/ 461084 w 514980"/>
                    <a:gd name="connsiteY7" fmla="*/ 143550 h 448772"/>
                    <a:gd name="connsiteX8" fmla="*/ 513665 w 514980"/>
                    <a:gd name="connsiteY8" fmla="*/ 226522 h 448772"/>
                    <a:gd name="connsiteX9" fmla="*/ 510490 w 514980"/>
                    <a:gd name="connsiteY9" fmla="*/ 448772 h 448772"/>
                    <a:gd name="connsiteX10" fmla="*/ 8840 w 514980"/>
                    <a:gd name="connsiteY10" fmla="*/ 442422 h 448772"/>
                    <a:gd name="connsiteX0" fmla="*/ 8840 w 514980"/>
                    <a:gd name="connsiteY0" fmla="*/ 442422 h 448772"/>
                    <a:gd name="connsiteX1" fmla="*/ 5665 w 514980"/>
                    <a:gd name="connsiteY1" fmla="*/ 216997 h 448772"/>
                    <a:gd name="connsiteX2" fmla="*/ 62412 w 514980"/>
                    <a:gd name="connsiteY2" fmla="*/ 129441 h 448772"/>
                    <a:gd name="connsiteX3" fmla="*/ 168766 w 514980"/>
                    <a:gd name="connsiteY3" fmla="*/ 93528 h 448772"/>
                    <a:gd name="connsiteX4" fmla="*/ 179484 w 514980"/>
                    <a:gd name="connsiteY4" fmla="*/ 6248 h 448772"/>
                    <a:gd name="connsiteX5" fmla="*/ 351756 w 514980"/>
                    <a:gd name="connsiteY5" fmla="*/ 886 h 448772"/>
                    <a:gd name="connsiteX6" fmla="*/ 357905 w 514980"/>
                    <a:gd name="connsiteY6" fmla="*/ 98112 h 448772"/>
                    <a:gd name="connsiteX7" fmla="*/ 461084 w 514980"/>
                    <a:gd name="connsiteY7" fmla="*/ 143550 h 448772"/>
                    <a:gd name="connsiteX8" fmla="*/ 513665 w 514980"/>
                    <a:gd name="connsiteY8" fmla="*/ 226522 h 448772"/>
                    <a:gd name="connsiteX9" fmla="*/ 510490 w 514980"/>
                    <a:gd name="connsiteY9" fmla="*/ 448772 h 448772"/>
                    <a:gd name="connsiteX10" fmla="*/ 8840 w 514980"/>
                    <a:gd name="connsiteY10" fmla="*/ 442422 h 448772"/>
                    <a:gd name="connsiteX0" fmla="*/ 8840 w 514980"/>
                    <a:gd name="connsiteY0" fmla="*/ 442422 h 448772"/>
                    <a:gd name="connsiteX1" fmla="*/ 5665 w 514980"/>
                    <a:gd name="connsiteY1" fmla="*/ 216997 h 448772"/>
                    <a:gd name="connsiteX2" fmla="*/ 62412 w 514980"/>
                    <a:gd name="connsiteY2" fmla="*/ 129441 h 448772"/>
                    <a:gd name="connsiteX3" fmla="*/ 168766 w 514980"/>
                    <a:gd name="connsiteY3" fmla="*/ 93528 h 448772"/>
                    <a:gd name="connsiteX4" fmla="*/ 179484 w 514980"/>
                    <a:gd name="connsiteY4" fmla="*/ 6248 h 448772"/>
                    <a:gd name="connsiteX5" fmla="*/ 351756 w 514980"/>
                    <a:gd name="connsiteY5" fmla="*/ 886 h 448772"/>
                    <a:gd name="connsiteX6" fmla="*/ 357905 w 514980"/>
                    <a:gd name="connsiteY6" fmla="*/ 98112 h 448772"/>
                    <a:gd name="connsiteX7" fmla="*/ 454533 w 514980"/>
                    <a:gd name="connsiteY7" fmla="*/ 136989 h 448772"/>
                    <a:gd name="connsiteX8" fmla="*/ 513665 w 514980"/>
                    <a:gd name="connsiteY8" fmla="*/ 226522 h 448772"/>
                    <a:gd name="connsiteX9" fmla="*/ 510490 w 514980"/>
                    <a:gd name="connsiteY9" fmla="*/ 448772 h 448772"/>
                    <a:gd name="connsiteX10" fmla="*/ 8840 w 514980"/>
                    <a:gd name="connsiteY10" fmla="*/ 442422 h 448772"/>
                    <a:gd name="connsiteX0" fmla="*/ 8840 w 514980"/>
                    <a:gd name="connsiteY0" fmla="*/ 442422 h 448772"/>
                    <a:gd name="connsiteX1" fmla="*/ 5665 w 514980"/>
                    <a:gd name="connsiteY1" fmla="*/ 216997 h 448772"/>
                    <a:gd name="connsiteX2" fmla="*/ 62412 w 514980"/>
                    <a:gd name="connsiteY2" fmla="*/ 129441 h 448772"/>
                    <a:gd name="connsiteX3" fmla="*/ 168766 w 514980"/>
                    <a:gd name="connsiteY3" fmla="*/ 93528 h 448772"/>
                    <a:gd name="connsiteX4" fmla="*/ 179484 w 514980"/>
                    <a:gd name="connsiteY4" fmla="*/ 6248 h 448772"/>
                    <a:gd name="connsiteX5" fmla="*/ 351756 w 514980"/>
                    <a:gd name="connsiteY5" fmla="*/ 886 h 448772"/>
                    <a:gd name="connsiteX6" fmla="*/ 357905 w 514980"/>
                    <a:gd name="connsiteY6" fmla="*/ 98112 h 448772"/>
                    <a:gd name="connsiteX7" fmla="*/ 454533 w 514980"/>
                    <a:gd name="connsiteY7" fmla="*/ 136989 h 448772"/>
                    <a:gd name="connsiteX8" fmla="*/ 513665 w 514980"/>
                    <a:gd name="connsiteY8" fmla="*/ 226522 h 448772"/>
                    <a:gd name="connsiteX9" fmla="*/ 510490 w 514980"/>
                    <a:gd name="connsiteY9" fmla="*/ 448772 h 448772"/>
                    <a:gd name="connsiteX10" fmla="*/ 8840 w 514980"/>
                    <a:gd name="connsiteY10" fmla="*/ 442422 h 448772"/>
                    <a:gd name="connsiteX0" fmla="*/ 8840 w 514980"/>
                    <a:gd name="connsiteY0" fmla="*/ 442422 h 448772"/>
                    <a:gd name="connsiteX1" fmla="*/ 5665 w 514980"/>
                    <a:gd name="connsiteY1" fmla="*/ 216997 h 448772"/>
                    <a:gd name="connsiteX2" fmla="*/ 62412 w 514980"/>
                    <a:gd name="connsiteY2" fmla="*/ 129441 h 448772"/>
                    <a:gd name="connsiteX3" fmla="*/ 168766 w 514980"/>
                    <a:gd name="connsiteY3" fmla="*/ 93528 h 448772"/>
                    <a:gd name="connsiteX4" fmla="*/ 179484 w 514980"/>
                    <a:gd name="connsiteY4" fmla="*/ 6248 h 448772"/>
                    <a:gd name="connsiteX5" fmla="*/ 351756 w 514980"/>
                    <a:gd name="connsiteY5" fmla="*/ 886 h 448772"/>
                    <a:gd name="connsiteX6" fmla="*/ 357905 w 514980"/>
                    <a:gd name="connsiteY6" fmla="*/ 98112 h 448772"/>
                    <a:gd name="connsiteX7" fmla="*/ 454533 w 514980"/>
                    <a:gd name="connsiteY7" fmla="*/ 136989 h 448772"/>
                    <a:gd name="connsiteX8" fmla="*/ 513665 w 514980"/>
                    <a:gd name="connsiteY8" fmla="*/ 226522 h 448772"/>
                    <a:gd name="connsiteX9" fmla="*/ 510490 w 514980"/>
                    <a:gd name="connsiteY9" fmla="*/ 448772 h 448772"/>
                    <a:gd name="connsiteX10" fmla="*/ 8840 w 514980"/>
                    <a:gd name="connsiteY10" fmla="*/ 442422 h 448772"/>
                    <a:gd name="connsiteX0" fmla="*/ 8840 w 514980"/>
                    <a:gd name="connsiteY0" fmla="*/ 442422 h 448772"/>
                    <a:gd name="connsiteX1" fmla="*/ 5665 w 514980"/>
                    <a:gd name="connsiteY1" fmla="*/ 216997 h 448772"/>
                    <a:gd name="connsiteX2" fmla="*/ 62412 w 514980"/>
                    <a:gd name="connsiteY2" fmla="*/ 129441 h 448772"/>
                    <a:gd name="connsiteX3" fmla="*/ 168766 w 514980"/>
                    <a:gd name="connsiteY3" fmla="*/ 93528 h 448772"/>
                    <a:gd name="connsiteX4" fmla="*/ 179484 w 514980"/>
                    <a:gd name="connsiteY4" fmla="*/ 6248 h 448772"/>
                    <a:gd name="connsiteX5" fmla="*/ 351756 w 514980"/>
                    <a:gd name="connsiteY5" fmla="*/ 886 h 448772"/>
                    <a:gd name="connsiteX6" fmla="*/ 353538 w 514980"/>
                    <a:gd name="connsiteY6" fmla="*/ 98112 h 448772"/>
                    <a:gd name="connsiteX7" fmla="*/ 454533 w 514980"/>
                    <a:gd name="connsiteY7" fmla="*/ 136989 h 448772"/>
                    <a:gd name="connsiteX8" fmla="*/ 513665 w 514980"/>
                    <a:gd name="connsiteY8" fmla="*/ 226522 h 448772"/>
                    <a:gd name="connsiteX9" fmla="*/ 510490 w 514980"/>
                    <a:gd name="connsiteY9" fmla="*/ 448772 h 448772"/>
                    <a:gd name="connsiteX10" fmla="*/ 8840 w 514980"/>
                    <a:gd name="connsiteY10" fmla="*/ 442422 h 448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14980" h="448772">
                      <a:moveTo>
                        <a:pt x="8840" y="442422"/>
                      </a:moveTo>
                      <a:cubicBezTo>
                        <a:pt x="-1214" y="377864"/>
                        <a:pt x="-3264" y="269160"/>
                        <a:pt x="5665" y="216997"/>
                      </a:cubicBezTo>
                      <a:cubicBezTo>
                        <a:pt x="14594" y="164834"/>
                        <a:pt x="35229" y="150019"/>
                        <a:pt x="62412" y="129441"/>
                      </a:cubicBezTo>
                      <a:cubicBezTo>
                        <a:pt x="89595" y="108863"/>
                        <a:pt x="149254" y="114060"/>
                        <a:pt x="168766" y="93528"/>
                      </a:cubicBezTo>
                      <a:cubicBezTo>
                        <a:pt x="188278" y="72996"/>
                        <a:pt x="189023" y="43922"/>
                        <a:pt x="179484" y="6248"/>
                      </a:cubicBezTo>
                      <a:cubicBezTo>
                        <a:pt x="202703" y="-7370"/>
                        <a:pt x="323111" y="6352"/>
                        <a:pt x="351756" y="886"/>
                      </a:cubicBezTo>
                      <a:cubicBezTo>
                        <a:pt x="354195" y="39159"/>
                        <a:pt x="342961" y="75428"/>
                        <a:pt x="353538" y="98112"/>
                      </a:cubicBezTo>
                      <a:cubicBezTo>
                        <a:pt x="364115" y="120796"/>
                        <a:pt x="427845" y="115587"/>
                        <a:pt x="454533" y="136989"/>
                      </a:cubicBezTo>
                      <a:cubicBezTo>
                        <a:pt x="481221" y="158391"/>
                        <a:pt x="503611" y="177839"/>
                        <a:pt x="513665" y="226522"/>
                      </a:cubicBezTo>
                      <a:cubicBezTo>
                        <a:pt x="516840" y="276264"/>
                        <a:pt x="513665" y="323360"/>
                        <a:pt x="510490" y="448772"/>
                      </a:cubicBezTo>
                      <a:lnTo>
                        <a:pt x="8840" y="442422"/>
                      </a:lnTo>
                      <a:close/>
                    </a:path>
                  </a:pathLst>
                </a:custGeom>
                <a:grpFill/>
                <a:ln w="571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164" name="Oval 163">
                  <a:extLst>
                    <a:ext uri="{FF2B5EF4-FFF2-40B4-BE49-F238E27FC236}">
                      <a16:creationId xmlns:a16="http://schemas.microsoft.com/office/drawing/2014/main" id="{9B141066-155C-3542-B1C6-714BB3E8DA8D}"/>
                    </a:ext>
                  </a:extLst>
                </p:cNvPr>
                <p:cNvSpPr/>
                <p:nvPr/>
              </p:nvSpPr>
              <p:spPr>
                <a:xfrm>
                  <a:off x="1971467" y="3508300"/>
                  <a:ext cx="282088" cy="336550"/>
                </a:xfrm>
                <a:prstGeom prst="ellipse">
                  <a:avLst/>
                </a:prstGeom>
                <a:grpFill/>
                <a:ln w="571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grpSp>
          <p:grpSp>
            <p:nvGrpSpPr>
              <p:cNvPr id="160" name="Group 159">
                <a:extLst>
                  <a:ext uri="{FF2B5EF4-FFF2-40B4-BE49-F238E27FC236}">
                    <a16:creationId xmlns:a16="http://schemas.microsoft.com/office/drawing/2014/main" id="{B5D762B0-1200-1B44-8C39-6E3FA6ED7696}"/>
                  </a:ext>
                </a:extLst>
              </p:cNvPr>
              <p:cNvGrpSpPr/>
              <p:nvPr/>
            </p:nvGrpSpPr>
            <p:grpSpPr>
              <a:xfrm>
                <a:off x="1553120" y="3388644"/>
                <a:ext cx="633802" cy="938165"/>
                <a:chOff x="1806977" y="3500843"/>
                <a:chExt cx="539989" cy="738018"/>
              </a:xfrm>
            </p:grpSpPr>
            <p:sp>
              <p:nvSpPr>
                <p:cNvPr id="161" name="Freeform 160">
                  <a:extLst>
                    <a:ext uri="{FF2B5EF4-FFF2-40B4-BE49-F238E27FC236}">
                      <a16:creationId xmlns:a16="http://schemas.microsoft.com/office/drawing/2014/main" id="{1B185F12-73E2-BD43-A0E7-6C1649BE9618}"/>
                    </a:ext>
                  </a:extLst>
                </p:cNvPr>
                <p:cNvSpPr/>
                <p:nvPr/>
              </p:nvSpPr>
              <p:spPr>
                <a:xfrm>
                  <a:off x="1806977" y="3782373"/>
                  <a:ext cx="539989" cy="456488"/>
                </a:xfrm>
                <a:custGeom>
                  <a:avLst/>
                  <a:gdLst>
                    <a:gd name="connsiteX0" fmla="*/ 36807 w 576731"/>
                    <a:gd name="connsiteY0" fmla="*/ 449906 h 505924"/>
                    <a:gd name="connsiteX1" fmla="*/ 39982 w 576731"/>
                    <a:gd name="connsiteY1" fmla="*/ 214956 h 505924"/>
                    <a:gd name="connsiteX2" fmla="*/ 55857 w 576731"/>
                    <a:gd name="connsiteY2" fmla="*/ 176856 h 505924"/>
                    <a:gd name="connsiteX3" fmla="*/ 103482 w 576731"/>
                    <a:gd name="connsiteY3" fmla="*/ 160981 h 505924"/>
                    <a:gd name="connsiteX4" fmla="*/ 205082 w 576731"/>
                    <a:gd name="connsiteY4" fmla="*/ 154631 h 505924"/>
                    <a:gd name="connsiteX5" fmla="*/ 230482 w 576731"/>
                    <a:gd name="connsiteY5" fmla="*/ 151456 h 505924"/>
                    <a:gd name="connsiteX6" fmla="*/ 233657 w 576731"/>
                    <a:gd name="connsiteY6" fmla="*/ 18106 h 505924"/>
                    <a:gd name="connsiteX7" fmla="*/ 344782 w 576731"/>
                    <a:gd name="connsiteY7" fmla="*/ 14931 h 505924"/>
                    <a:gd name="connsiteX8" fmla="*/ 344782 w 576731"/>
                    <a:gd name="connsiteY8" fmla="*/ 145106 h 505924"/>
                    <a:gd name="connsiteX9" fmla="*/ 386057 w 576731"/>
                    <a:gd name="connsiteY9" fmla="*/ 151456 h 505924"/>
                    <a:gd name="connsiteX10" fmla="*/ 478132 w 576731"/>
                    <a:gd name="connsiteY10" fmla="*/ 164156 h 505924"/>
                    <a:gd name="connsiteX11" fmla="*/ 519407 w 576731"/>
                    <a:gd name="connsiteY11" fmla="*/ 189556 h 505924"/>
                    <a:gd name="connsiteX12" fmla="*/ 541632 w 576731"/>
                    <a:gd name="connsiteY12" fmla="*/ 234006 h 505924"/>
                    <a:gd name="connsiteX13" fmla="*/ 538457 w 576731"/>
                    <a:gd name="connsiteY13" fmla="*/ 488006 h 505924"/>
                    <a:gd name="connsiteX14" fmla="*/ 36807 w 576731"/>
                    <a:gd name="connsiteY14" fmla="*/ 449906 h 505924"/>
                    <a:gd name="connsiteX0" fmla="*/ 5769 w 545693"/>
                    <a:gd name="connsiteY0" fmla="*/ 449906 h 505924"/>
                    <a:gd name="connsiteX1" fmla="*/ 8944 w 545693"/>
                    <a:gd name="connsiteY1" fmla="*/ 214956 h 505924"/>
                    <a:gd name="connsiteX2" fmla="*/ 24819 w 545693"/>
                    <a:gd name="connsiteY2" fmla="*/ 176856 h 505924"/>
                    <a:gd name="connsiteX3" fmla="*/ 72444 w 545693"/>
                    <a:gd name="connsiteY3" fmla="*/ 160981 h 505924"/>
                    <a:gd name="connsiteX4" fmla="*/ 174044 w 545693"/>
                    <a:gd name="connsiteY4" fmla="*/ 154631 h 505924"/>
                    <a:gd name="connsiteX5" fmla="*/ 199444 w 545693"/>
                    <a:gd name="connsiteY5" fmla="*/ 151456 h 505924"/>
                    <a:gd name="connsiteX6" fmla="*/ 202619 w 545693"/>
                    <a:gd name="connsiteY6" fmla="*/ 18106 h 505924"/>
                    <a:gd name="connsiteX7" fmla="*/ 313744 w 545693"/>
                    <a:gd name="connsiteY7" fmla="*/ 14931 h 505924"/>
                    <a:gd name="connsiteX8" fmla="*/ 313744 w 545693"/>
                    <a:gd name="connsiteY8" fmla="*/ 145106 h 505924"/>
                    <a:gd name="connsiteX9" fmla="*/ 355019 w 545693"/>
                    <a:gd name="connsiteY9" fmla="*/ 151456 h 505924"/>
                    <a:gd name="connsiteX10" fmla="*/ 447094 w 545693"/>
                    <a:gd name="connsiteY10" fmla="*/ 164156 h 505924"/>
                    <a:gd name="connsiteX11" fmla="*/ 488369 w 545693"/>
                    <a:gd name="connsiteY11" fmla="*/ 189556 h 505924"/>
                    <a:gd name="connsiteX12" fmla="*/ 510594 w 545693"/>
                    <a:gd name="connsiteY12" fmla="*/ 234006 h 505924"/>
                    <a:gd name="connsiteX13" fmla="*/ 507419 w 545693"/>
                    <a:gd name="connsiteY13" fmla="*/ 488006 h 505924"/>
                    <a:gd name="connsiteX14" fmla="*/ 5769 w 545693"/>
                    <a:gd name="connsiteY14" fmla="*/ 449906 h 505924"/>
                    <a:gd name="connsiteX0" fmla="*/ 21286 w 561210"/>
                    <a:gd name="connsiteY0" fmla="*/ 449906 h 508025"/>
                    <a:gd name="connsiteX1" fmla="*/ 24461 w 561210"/>
                    <a:gd name="connsiteY1" fmla="*/ 214956 h 508025"/>
                    <a:gd name="connsiteX2" fmla="*/ 40336 w 561210"/>
                    <a:gd name="connsiteY2" fmla="*/ 176856 h 508025"/>
                    <a:gd name="connsiteX3" fmla="*/ 87961 w 561210"/>
                    <a:gd name="connsiteY3" fmla="*/ 160981 h 508025"/>
                    <a:gd name="connsiteX4" fmla="*/ 189561 w 561210"/>
                    <a:gd name="connsiteY4" fmla="*/ 154631 h 508025"/>
                    <a:gd name="connsiteX5" fmla="*/ 214961 w 561210"/>
                    <a:gd name="connsiteY5" fmla="*/ 151456 h 508025"/>
                    <a:gd name="connsiteX6" fmla="*/ 218136 w 561210"/>
                    <a:gd name="connsiteY6" fmla="*/ 18106 h 508025"/>
                    <a:gd name="connsiteX7" fmla="*/ 329261 w 561210"/>
                    <a:gd name="connsiteY7" fmla="*/ 14931 h 508025"/>
                    <a:gd name="connsiteX8" fmla="*/ 329261 w 561210"/>
                    <a:gd name="connsiteY8" fmla="*/ 145106 h 508025"/>
                    <a:gd name="connsiteX9" fmla="*/ 370536 w 561210"/>
                    <a:gd name="connsiteY9" fmla="*/ 151456 h 508025"/>
                    <a:gd name="connsiteX10" fmla="*/ 462611 w 561210"/>
                    <a:gd name="connsiteY10" fmla="*/ 164156 h 508025"/>
                    <a:gd name="connsiteX11" fmla="*/ 503886 w 561210"/>
                    <a:gd name="connsiteY11" fmla="*/ 189556 h 508025"/>
                    <a:gd name="connsiteX12" fmla="*/ 526111 w 561210"/>
                    <a:gd name="connsiteY12" fmla="*/ 234006 h 508025"/>
                    <a:gd name="connsiteX13" fmla="*/ 522936 w 561210"/>
                    <a:gd name="connsiteY13" fmla="*/ 488006 h 508025"/>
                    <a:gd name="connsiteX14" fmla="*/ 21286 w 561210"/>
                    <a:gd name="connsiteY14" fmla="*/ 449906 h 508025"/>
                    <a:gd name="connsiteX0" fmla="*/ 21286 w 561210"/>
                    <a:gd name="connsiteY0" fmla="*/ 449906 h 508025"/>
                    <a:gd name="connsiteX1" fmla="*/ 24461 w 561210"/>
                    <a:gd name="connsiteY1" fmla="*/ 214956 h 508025"/>
                    <a:gd name="connsiteX2" fmla="*/ 40336 w 561210"/>
                    <a:gd name="connsiteY2" fmla="*/ 176856 h 508025"/>
                    <a:gd name="connsiteX3" fmla="*/ 87961 w 561210"/>
                    <a:gd name="connsiteY3" fmla="*/ 160981 h 508025"/>
                    <a:gd name="connsiteX4" fmla="*/ 189561 w 561210"/>
                    <a:gd name="connsiteY4" fmla="*/ 154631 h 508025"/>
                    <a:gd name="connsiteX5" fmla="*/ 214961 w 561210"/>
                    <a:gd name="connsiteY5" fmla="*/ 151456 h 508025"/>
                    <a:gd name="connsiteX6" fmla="*/ 218136 w 561210"/>
                    <a:gd name="connsiteY6" fmla="*/ 18106 h 508025"/>
                    <a:gd name="connsiteX7" fmla="*/ 329261 w 561210"/>
                    <a:gd name="connsiteY7" fmla="*/ 14931 h 508025"/>
                    <a:gd name="connsiteX8" fmla="*/ 329261 w 561210"/>
                    <a:gd name="connsiteY8" fmla="*/ 145106 h 508025"/>
                    <a:gd name="connsiteX9" fmla="*/ 370536 w 561210"/>
                    <a:gd name="connsiteY9" fmla="*/ 151456 h 508025"/>
                    <a:gd name="connsiteX10" fmla="*/ 462611 w 561210"/>
                    <a:gd name="connsiteY10" fmla="*/ 164156 h 508025"/>
                    <a:gd name="connsiteX11" fmla="*/ 503886 w 561210"/>
                    <a:gd name="connsiteY11" fmla="*/ 189556 h 508025"/>
                    <a:gd name="connsiteX12" fmla="*/ 526111 w 561210"/>
                    <a:gd name="connsiteY12" fmla="*/ 234006 h 508025"/>
                    <a:gd name="connsiteX13" fmla="*/ 522936 w 561210"/>
                    <a:gd name="connsiteY13" fmla="*/ 488006 h 508025"/>
                    <a:gd name="connsiteX14" fmla="*/ 21286 w 561210"/>
                    <a:gd name="connsiteY14" fmla="*/ 449906 h 508025"/>
                    <a:gd name="connsiteX0" fmla="*/ 4360 w 544284"/>
                    <a:gd name="connsiteY0" fmla="*/ 449906 h 508025"/>
                    <a:gd name="connsiteX1" fmla="*/ 7535 w 544284"/>
                    <a:gd name="connsiteY1" fmla="*/ 214956 h 508025"/>
                    <a:gd name="connsiteX2" fmla="*/ 23410 w 544284"/>
                    <a:gd name="connsiteY2" fmla="*/ 176856 h 508025"/>
                    <a:gd name="connsiteX3" fmla="*/ 71035 w 544284"/>
                    <a:gd name="connsiteY3" fmla="*/ 160981 h 508025"/>
                    <a:gd name="connsiteX4" fmla="*/ 172635 w 544284"/>
                    <a:gd name="connsiteY4" fmla="*/ 154631 h 508025"/>
                    <a:gd name="connsiteX5" fmla="*/ 198035 w 544284"/>
                    <a:gd name="connsiteY5" fmla="*/ 151456 h 508025"/>
                    <a:gd name="connsiteX6" fmla="*/ 201210 w 544284"/>
                    <a:gd name="connsiteY6" fmla="*/ 18106 h 508025"/>
                    <a:gd name="connsiteX7" fmla="*/ 312335 w 544284"/>
                    <a:gd name="connsiteY7" fmla="*/ 14931 h 508025"/>
                    <a:gd name="connsiteX8" fmla="*/ 312335 w 544284"/>
                    <a:gd name="connsiteY8" fmla="*/ 145106 h 508025"/>
                    <a:gd name="connsiteX9" fmla="*/ 353610 w 544284"/>
                    <a:gd name="connsiteY9" fmla="*/ 151456 h 508025"/>
                    <a:gd name="connsiteX10" fmla="*/ 445685 w 544284"/>
                    <a:gd name="connsiteY10" fmla="*/ 164156 h 508025"/>
                    <a:gd name="connsiteX11" fmla="*/ 486960 w 544284"/>
                    <a:gd name="connsiteY11" fmla="*/ 189556 h 508025"/>
                    <a:gd name="connsiteX12" fmla="*/ 509185 w 544284"/>
                    <a:gd name="connsiteY12" fmla="*/ 234006 h 508025"/>
                    <a:gd name="connsiteX13" fmla="*/ 506010 w 544284"/>
                    <a:gd name="connsiteY13" fmla="*/ 488006 h 508025"/>
                    <a:gd name="connsiteX14" fmla="*/ 4360 w 544284"/>
                    <a:gd name="connsiteY14" fmla="*/ 449906 h 508025"/>
                    <a:gd name="connsiteX0" fmla="*/ 4360 w 544284"/>
                    <a:gd name="connsiteY0" fmla="*/ 449906 h 500804"/>
                    <a:gd name="connsiteX1" fmla="*/ 7535 w 544284"/>
                    <a:gd name="connsiteY1" fmla="*/ 214956 h 500804"/>
                    <a:gd name="connsiteX2" fmla="*/ 23410 w 544284"/>
                    <a:gd name="connsiteY2" fmla="*/ 176856 h 500804"/>
                    <a:gd name="connsiteX3" fmla="*/ 71035 w 544284"/>
                    <a:gd name="connsiteY3" fmla="*/ 160981 h 500804"/>
                    <a:gd name="connsiteX4" fmla="*/ 172635 w 544284"/>
                    <a:gd name="connsiteY4" fmla="*/ 154631 h 500804"/>
                    <a:gd name="connsiteX5" fmla="*/ 198035 w 544284"/>
                    <a:gd name="connsiteY5" fmla="*/ 151456 h 500804"/>
                    <a:gd name="connsiteX6" fmla="*/ 201210 w 544284"/>
                    <a:gd name="connsiteY6" fmla="*/ 18106 h 500804"/>
                    <a:gd name="connsiteX7" fmla="*/ 312335 w 544284"/>
                    <a:gd name="connsiteY7" fmla="*/ 14931 h 500804"/>
                    <a:gd name="connsiteX8" fmla="*/ 312335 w 544284"/>
                    <a:gd name="connsiteY8" fmla="*/ 145106 h 500804"/>
                    <a:gd name="connsiteX9" fmla="*/ 353610 w 544284"/>
                    <a:gd name="connsiteY9" fmla="*/ 151456 h 500804"/>
                    <a:gd name="connsiteX10" fmla="*/ 445685 w 544284"/>
                    <a:gd name="connsiteY10" fmla="*/ 164156 h 500804"/>
                    <a:gd name="connsiteX11" fmla="*/ 486960 w 544284"/>
                    <a:gd name="connsiteY11" fmla="*/ 189556 h 500804"/>
                    <a:gd name="connsiteX12" fmla="*/ 509185 w 544284"/>
                    <a:gd name="connsiteY12" fmla="*/ 234006 h 500804"/>
                    <a:gd name="connsiteX13" fmla="*/ 506010 w 544284"/>
                    <a:gd name="connsiteY13" fmla="*/ 488006 h 500804"/>
                    <a:gd name="connsiteX14" fmla="*/ 4360 w 544284"/>
                    <a:gd name="connsiteY14" fmla="*/ 449906 h 500804"/>
                    <a:gd name="connsiteX0" fmla="*/ 4360 w 544284"/>
                    <a:gd name="connsiteY0" fmla="*/ 449906 h 500804"/>
                    <a:gd name="connsiteX1" fmla="*/ 7535 w 544284"/>
                    <a:gd name="connsiteY1" fmla="*/ 214956 h 500804"/>
                    <a:gd name="connsiteX2" fmla="*/ 23410 w 544284"/>
                    <a:gd name="connsiteY2" fmla="*/ 176856 h 500804"/>
                    <a:gd name="connsiteX3" fmla="*/ 71035 w 544284"/>
                    <a:gd name="connsiteY3" fmla="*/ 160981 h 500804"/>
                    <a:gd name="connsiteX4" fmla="*/ 172635 w 544284"/>
                    <a:gd name="connsiteY4" fmla="*/ 154631 h 500804"/>
                    <a:gd name="connsiteX5" fmla="*/ 198035 w 544284"/>
                    <a:gd name="connsiteY5" fmla="*/ 151456 h 500804"/>
                    <a:gd name="connsiteX6" fmla="*/ 201210 w 544284"/>
                    <a:gd name="connsiteY6" fmla="*/ 18106 h 500804"/>
                    <a:gd name="connsiteX7" fmla="*/ 312335 w 544284"/>
                    <a:gd name="connsiteY7" fmla="*/ 14931 h 500804"/>
                    <a:gd name="connsiteX8" fmla="*/ 312335 w 544284"/>
                    <a:gd name="connsiteY8" fmla="*/ 145106 h 500804"/>
                    <a:gd name="connsiteX9" fmla="*/ 353610 w 544284"/>
                    <a:gd name="connsiteY9" fmla="*/ 151456 h 500804"/>
                    <a:gd name="connsiteX10" fmla="*/ 445685 w 544284"/>
                    <a:gd name="connsiteY10" fmla="*/ 164156 h 500804"/>
                    <a:gd name="connsiteX11" fmla="*/ 486960 w 544284"/>
                    <a:gd name="connsiteY11" fmla="*/ 189556 h 500804"/>
                    <a:gd name="connsiteX12" fmla="*/ 509185 w 544284"/>
                    <a:gd name="connsiteY12" fmla="*/ 234006 h 500804"/>
                    <a:gd name="connsiteX13" fmla="*/ 506010 w 544284"/>
                    <a:gd name="connsiteY13" fmla="*/ 488006 h 500804"/>
                    <a:gd name="connsiteX14" fmla="*/ 4360 w 544284"/>
                    <a:gd name="connsiteY14" fmla="*/ 449906 h 500804"/>
                    <a:gd name="connsiteX0" fmla="*/ 4360 w 519024"/>
                    <a:gd name="connsiteY0" fmla="*/ 449906 h 500804"/>
                    <a:gd name="connsiteX1" fmla="*/ 7535 w 519024"/>
                    <a:gd name="connsiteY1" fmla="*/ 214956 h 500804"/>
                    <a:gd name="connsiteX2" fmla="*/ 23410 w 519024"/>
                    <a:gd name="connsiteY2" fmla="*/ 176856 h 500804"/>
                    <a:gd name="connsiteX3" fmla="*/ 71035 w 519024"/>
                    <a:gd name="connsiteY3" fmla="*/ 160981 h 500804"/>
                    <a:gd name="connsiteX4" fmla="*/ 172635 w 519024"/>
                    <a:gd name="connsiteY4" fmla="*/ 154631 h 500804"/>
                    <a:gd name="connsiteX5" fmla="*/ 198035 w 519024"/>
                    <a:gd name="connsiteY5" fmla="*/ 151456 h 500804"/>
                    <a:gd name="connsiteX6" fmla="*/ 201210 w 519024"/>
                    <a:gd name="connsiteY6" fmla="*/ 18106 h 500804"/>
                    <a:gd name="connsiteX7" fmla="*/ 312335 w 519024"/>
                    <a:gd name="connsiteY7" fmla="*/ 14931 h 500804"/>
                    <a:gd name="connsiteX8" fmla="*/ 312335 w 519024"/>
                    <a:gd name="connsiteY8" fmla="*/ 145106 h 500804"/>
                    <a:gd name="connsiteX9" fmla="*/ 353610 w 519024"/>
                    <a:gd name="connsiteY9" fmla="*/ 151456 h 500804"/>
                    <a:gd name="connsiteX10" fmla="*/ 445685 w 519024"/>
                    <a:gd name="connsiteY10" fmla="*/ 164156 h 500804"/>
                    <a:gd name="connsiteX11" fmla="*/ 486960 w 519024"/>
                    <a:gd name="connsiteY11" fmla="*/ 189556 h 500804"/>
                    <a:gd name="connsiteX12" fmla="*/ 509185 w 519024"/>
                    <a:gd name="connsiteY12" fmla="*/ 234006 h 500804"/>
                    <a:gd name="connsiteX13" fmla="*/ 506010 w 519024"/>
                    <a:gd name="connsiteY13" fmla="*/ 488006 h 500804"/>
                    <a:gd name="connsiteX14" fmla="*/ 4360 w 519024"/>
                    <a:gd name="connsiteY14" fmla="*/ 449906 h 500804"/>
                    <a:gd name="connsiteX0" fmla="*/ 4360 w 519024"/>
                    <a:gd name="connsiteY0" fmla="*/ 449906 h 488006"/>
                    <a:gd name="connsiteX1" fmla="*/ 7535 w 519024"/>
                    <a:gd name="connsiteY1" fmla="*/ 214956 h 488006"/>
                    <a:gd name="connsiteX2" fmla="*/ 23410 w 519024"/>
                    <a:gd name="connsiteY2" fmla="*/ 176856 h 488006"/>
                    <a:gd name="connsiteX3" fmla="*/ 71035 w 519024"/>
                    <a:gd name="connsiteY3" fmla="*/ 160981 h 488006"/>
                    <a:gd name="connsiteX4" fmla="*/ 172635 w 519024"/>
                    <a:gd name="connsiteY4" fmla="*/ 154631 h 488006"/>
                    <a:gd name="connsiteX5" fmla="*/ 198035 w 519024"/>
                    <a:gd name="connsiteY5" fmla="*/ 151456 h 488006"/>
                    <a:gd name="connsiteX6" fmla="*/ 201210 w 519024"/>
                    <a:gd name="connsiteY6" fmla="*/ 18106 h 488006"/>
                    <a:gd name="connsiteX7" fmla="*/ 312335 w 519024"/>
                    <a:gd name="connsiteY7" fmla="*/ 14931 h 488006"/>
                    <a:gd name="connsiteX8" fmla="*/ 312335 w 519024"/>
                    <a:gd name="connsiteY8" fmla="*/ 145106 h 488006"/>
                    <a:gd name="connsiteX9" fmla="*/ 353610 w 519024"/>
                    <a:gd name="connsiteY9" fmla="*/ 151456 h 488006"/>
                    <a:gd name="connsiteX10" fmla="*/ 445685 w 519024"/>
                    <a:gd name="connsiteY10" fmla="*/ 164156 h 488006"/>
                    <a:gd name="connsiteX11" fmla="*/ 486960 w 519024"/>
                    <a:gd name="connsiteY11" fmla="*/ 189556 h 488006"/>
                    <a:gd name="connsiteX12" fmla="*/ 509185 w 519024"/>
                    <a:gd name="connsiteY12" fmla="*/ 234006 h 488006"/>
                    <a:gd name="connsiteX13" fmla="*/ 506010 w 519024"/>
                    <a:gd name="connsiteY13" fmla="*/ 488006 h 488006"/>
                    <a:gd name="connsiteX14" fmla="*/ 4360 w 519024"/>
                    <a:gd name="connsiteY14" fmla="*/ 449906 h 488006"/>
                    <a:gd name="connsiteX0" fmla="*/ 4360 w 523534"/>
                    <a:gd name="connsiteY0" fmla="*/ 449906 h 472131"/>
                    <a:gd name="connsiteX1" fmla="*/ 7535 w 523534"/>
                    <a:gd name="connsiteY1" fmla="*/ 214956 h 472131"/>
                    <a:gd name="connsiteX2" fmla="*/ 23410 w 523534"/>
                    <a:gd name="connsiteY2" fmla="*/ 176856 h 472131"/>
                    <a:gd name="connsiteX3" fmla="*/ 71035 w 523534"/>
                    <a:gd name="connsiteY3" fmla="*/ 160981 h 472131"/>
                    <a:gd name="connsiteX4" fmla="*/ 172635 w 523534"/>
                    <a:gd name="connsiteY4" fmla="*/ 154631 h 472131"/>
                    <a:gd name="connsiteX5" fmla="*/ 198035 w 523534"/>
                    <a:gd name="connsiteY5" fmla="*/ 151456 h 472131"/>
                    <a:gd name="connsiteX6" fmla="*/ 201210 w 523534"/>
                    <a:gd name="connsiteY6" fmla="*/ 18106 h 472131"/>
                    <a:gd name="connsiteX7" fmla="*/ 312335 w 523534"/>
                    <a:gd name="connsiteY7" fmla="*/ 14931 h 472131"/>
                    <a:gd name="connsiteX8" fmla="*/ 312335 w 523534"/>
                    <a:gd name="connsiteY8" fmla="*/ 145106 h 472131"/>
                    <a:gd name="connsiteX9" fmla="*/ 353610 w 523534"/>
                    <a:gd name="connsiteY9" fmla="*/ 151456 h 472131"/>
                    <a:gd name="connsiteX10" fmla="*/ 445685 w 523534"/>
                    <a:gd name="connsiteY10" fmla="*/ 164156 h 472131"/>
                    <a:gd name="connsiteX11" fmla="*/ 486960 w 523534"/>
                    <a:gd name="connsiteY11" fmla="*/ 189556 h 472131"/>
                    <a:gd name="connsiteX12" fmla="*/ 509185 w 523534"/>
                    <a:gd name="connsiteY12" fmla="*/ 234006 h 472131"/>
                    <a:gd name="connsiteX13" fmla="*/ 512360 w 523534"/>
                    <a:gd name="connsiteY13" fmla="*/ 472131 h 472131"/>
                    <a:gd name="connsiteX14" fmla="*/ 4360 w 523534"/>
                    <a:gd name="connsiteY14" fmla="*/ 449906 h 472131"/>
                    <a:gd name="connsiteX0" fmla="*/ 4360 w 513675"/>
                    <a:gd name="connsiteY0" fmla="*/ 449906 h 472131"/>
                    <a:gd name="connsiteX1" fmla="*/ 7535 w 513675"/>
                    <a:gd name="connsiteY1" fmla="*/ 214956 h 472131"/>
                    <a:gd name="connsiteX2" fmla="*/ 23410 w 513675"/>
                    <a:gd name="connsiteY2" fmla="*/ 176856 h 472131"/>
                    <a:gd name="connsiteX3" fmla="*/ 71035 w 513675"/>
                    <a:gd name="connsiteY3" fmla="*/ 160981 h 472131"/>
                    <a:gd name="connsiteX4" fmla="*/ 172635 w 513675"/>
                    <a:gd name="connsiteY4" fmla="*/ 154631 h 472131"/>
                    <a:gd name="connsiteX5" fmla="*/ 198035 w 513675"/>
                    <a:gd name="connsiteY5" fmla="*/ 151456 h 472131"/>
                    <a:gd name="connsiteX6" fmla="*/ 201210 w 513675"/>
                    <a:gd name="connsiteY6" fmla="*/ 18106 h 472131"/>
                    <a:gd name="connsiteX7" fmla="*/ 312335 w 513675"/>
                    <a:gd name="connsiteY7" fmla="*/ 14931 h 472131"/>
                    <a:gd name="connsiteX8" fmla="*/ 312335 w 513675"/>
                    <a:gd name="connsiteY8" fmla="*/ 145106 h 472131"/>
                    <a:gd name="connsiteX9" fmla="*/ 353610 w 513675"/>
                    <a:gd name="connsiteY9" fmla="*/ 151456 h 472131"/>
                    <a:gd name="connsiteX10" fmla="*/ 445685 w 513675"/>
                    <a:gd name="connsiteY10" fmla="*/ 164156 h 472131"/>
                    <a:gd name="connsiteX11" fmla="*/ 486960 w 513675"/>
                    <a:gd name="connsiteY11" fmla="*/ 189556 h 472131"/>
                    <a:gd name="connsiteX12" fmla="*/ 509185 w 513675"/>
                    <a:gd name="connsiteY12" fmla="*/ 234006 h 472131"/>
                    <a:gd name="connsiteX13" fmla="*/ 512360 w 513675"/>
                    <a:gd name="connsiteY13" fmla="*/ 472131 h 472131"/>
                    <a:gd name="connsiteX14" fmla="*/ 4360 w 513675"/>
                    <a:gd name="connsiteY14" fmla="*/ 449906 h 472131"/>
                    <a:gd name="connsiteX0" fmla="*/ 4360 w 513675"/>
                    <a:gd name="connsiteY0" fmla="*/ 446969 h 469194"/>
                    <a:gd name="connsiteX1" fmla="*/ 7535 w 513675"/>
                    <a:gd name="connsiteY1" fmla="*/ 212019 h 469194"/>
                    <a:gd name="connsiteX2" fmla="*/ 23410 w 513675"/>
                    <a:gd name="connsiteY2" fmla="*/ 173919 h 469194"/>
                    <a:gd name="connsiteX3" fmla="*/ 71035 w 513675"/>
                    <a:gd name="connsiteY3" fmla="*/ 158044 h 469194"/>
                    <a:gd name="connsiteX4" fmla="*/ 172635 w 513675"/>
                    <a:gd name="connsiteY4" fmla="*/ 151694 h 469194"/>
                    <a:gd name="connsiteX5" fmla="*/ 188510 w 513675"/>
                    <a:gd name="connsiteY5" fmla="*/ 94544 h 469194"/>
                    <a:gd name="connsiteX6" fmla="*/ 201210 w 513675"/>
                    <a:gd name="connsiteY6" fmla="*/ 15169 h 469194"/>
                    <a:gd name="connsiteX7" fmla="*/ 312335 w 513675"/>
                    <a:gd name="connsiteY7" fmla="*/ 11994 h 469194"/>
                    <a:gd name="connsiteX8" fmla="*/ 312335 w 513675"/>
                    <a:gd name="connsiteY8" fmla="*/ 142169 h 469194"/>
                    <a:gd name="connsiteX9" fmla="*/ 353610 w 513675"/>
                    <a:gd name="connsiteY9" fmla="*/ 148519 h 469194"/>
                    <a:gd name="connsiteX10" fmla="*/ 445685 w 513675"/>
                    <a:gd name="connsiteY10" fmla="*/ 161219 h 469194"/>
                    <a:gd name="connsiteX11" fmla="*/ 486960 w 513675"/>
                    <a:gd name="connsiteY11" fmla="*/ 186619 h 469194"/>
                    <a:gd name="connsiteX12" fmla="*/ 509185 w 513675"/>
                    <a:gd name="connsiteY12" fmla="*/ 231069 h 469194"/>
                    <a:gd name="connsiteX13" fmla="*/ 512360 w 513675"/>
                    <a:gd name="connsiteY13" fmla="*/ 469194 h 469194"/>
                    <a:gd name="connsiteX14" fmla="*/ 4360 w 513675"/>
                    <a:gd name="connsiteY14" fmla="*/ 446969 h 469194"/>
                    <a:gd name="connsiteX0" fmla="*/ 4360 w 513675"/>
                    <a:gd name="connsiteY0" fmla="*/ 443409 h 465634"/>
                    <a:gd name="connsiteX1" fmla="*/ 7535 w 513675"/>
                    <a:gd name="connsiteY1" fmla="*/ 208459 h 465634"/>
                    <a:gd name="connsiteX2" fmla="*/ 23410 w 513675"/>
                    <a:gd name="connsiteY2" fmla="*/ 170359 h 465634"/>
                    <a:gd name="connsiteX3" fmla="*/ 71035 w 513675"/>
                    <a:gd name="connsiteY3" fmla="*/ 154484 h 465634"/>
                    <a:gd name="connsiteX4" fmla="*/ 172635 w 513675"/>
                    <a:gd name="connsiteY4" fmla="*/ 148134 h 465634"/>
                    <a:gd name="connsiteX5" fmla="*/ 188510 w 513675"/>
                    <a:gd name="connsiteY5" fmla="*/ 90984 h 465634"/>
                    <a:gd name="connsiteX6" fmla="*/ 201210 w 513675"/>
                    <a:gd name="connsiteY6" fmla="*/ 11609 h 465634"/>
                    <a:gd name="connsiteX7" fmla="*/ 312335 w 513675"/>
                    <a:gd name="connsiteY7" fmla="*/ 8434 h 465634"/>
                    <a:gd name="connsiteX8" fmla="*/ 312335 w 513675"/>
                    <a:gd name="connsiteY8" fmla="*/ 87809 h 465634"/>
                    <a:gd name="connsiteX9" fmla="*/ 353610 w 513675"/>
                    <a:gd name="connsiteY9" fmla="*/ 144959 h 465634"/>
                    <a:gd name="connsiteX10" fmla="*/ 445685 w 513675"/>
                    <a:gd name="connsiteY10" fmla="*/ 157659 h 465634"/>
                    <a:gd name="connsiteX11" fmla="*/ 486960 w 513675"/>
                    <a:gd name="connsiteY11" fmla="*/ 183059 h 465634"/>
                    <a:gd name="connsiteX12" fmla="*/ 509185 w 513675"/>
                    <a:gd name="connsiteY12" fmla="*/ 227509 h 465634"/>
                    <a:gd name="connsiteX13" fmla="*/ 512360 w 513675"/>
                    <a:gd name="connsiteY13" fmla="*/ 465634 h 465634"/>
                    <a:gd name="connsiteX14" fmla="*/ 4360 w 513675"/>
                    <a:gd name="connsiteY14" fmla="*/ 443409 h 465634"/>
                    <a:gd name="connsiteX0" fmla="*/ 4360 w 513675"/>
                    <a:gd name="connsiteY0" fmla="*/ 443409 h 465634"/>
                    <a:gd name="connsiteX1" fmla="*/ 7535 w 513675"/>
                    <a:gd name="connsiteY1" fmla="*/ 208459 h 465634"/>
                    <a:gd name="connsiteX2" fmla="*/ 23410 w 513675"/>
                    <a:gd name="connsiteY2" fmla="*/ 170359 h 465634"/>
                    <a:gd name="connsiteX3" fmla="*/ 71035 w 513675"/>
                    <a:gd name="connsiteY3" fmla="*/ 154484 h 465634"/>
                    <a:gd name="connsiteX4" fmla="*/ 172635 w 513675"/>
                    <a:gd name="connsiteY4" fmla="*/ 148134 h 465634"/>
                    <a:gd name="connsiteX5" fmla="*/ 188510 w 513675"/>
                    <a:gd name="connsiteY5" fmla="*/ 90984 h 465634"/>
                    <a:gd name="connsiteX6" fmla="*/ 201210 w 513675"/>
                    <a:gd name="connsiteY6" fmla="*/ 11609 h 465634"/>
                    <a:gd name="connsiteX7" fmla="*/ 312335 w 513675"/>
                    <a:gd name="connsiteY7" fmla="*/ 8434 h 465634"/>
                    <a:gd name="connsiteX8" fmla="*/ 312335 w 513675"/>
                    <a:gd name="connsiteY8" fmla="*/ 87809 h 465634"/>
                    <a:gd name="connsiteX9" fmla="*/ 334560 w 513675"/>
                    <a:gd name="connsiteY9" fmla="*/ 135434 h 465634"/>
                    <a:gd name="connsiteX10" fmla="*/ 445685 w 513675"/>
                    <a:gd name="connsiteY10" fmla="*/ 157659 h 465634"/>
                    <a:gd name="connsiteX11" fmla="*/ 486960 w 513675"/>
                    <a:gd name="connsiteY11" fmla="*/ 183059 h 465634"/>
                    <a:gd name="connsiteX12" fmla="*/ 509185 w 513675"/>
                    <a:gd name="connsiteY12" fmla="*/ 227509 h 465634"/>
                    <a:gd name="connsiteX13" fmla="*/ 512360 w 513675"/>
                    <a:gd name="connsiteY13" fmla="*/ 465634 h 465634"/>
                    <a:gd name="connsiteX14" fmla="*/ 4360 w 513675"/>
                    <a:gd name="connsiteY14" fmla="*/ 443409 h 465634"/>
                    <a:gd name="connsiteX0" fmla="*/ 4360 w 510500"/>
                    <a:gd name="connsiteY0" fmla="*/ 443409 h 449759"/>
                    <a:gd name="connsiteX1" fmla="*/ 7535 w 510500"/>
                    <a:gd name="connsiteY1" fmla="*/ 208459 h 449759"/>
                    <a:gd name="connsiteX2" fmla="*/ 23410 w 510500"/>
                    <a:gd name="connsiteY2" fmla="*/ 170359 h 449759"/>
                    <a:gd name="connsiteX3" fmla="*/ 71035 w 510500"/>
                    <a:gd name="connsiteY3" fmla="*/ 154484 h 449759"/>
                    <a:gd name="connsiteX4" fmla="*/ 172635 w 510500"/>
                    <a:gd name="connsiteY4" fmla="*/ 148134 h 449759"/>
                    <a:gd name="connsiteX5" fmla="*/ 188510 w 510500"/>
                    <a:gd name="connsiteY5" fmla="*/ 90984 h 449759"/>
                    <a:gd name="connsiteX6" fmla="*/ 201210 w 510500"/>
                    <a:gd name="connsiteY6" fmla="*/ 11609 h 449759"/>
                    <a:gd name="connsiteX7" fmla="*/ 312335 w 510500"/>
                    <a:gd name="connsiteY7" fmla="*/ 8434 h 449759"/>
                    <a:gd name="connsiteX8" fmla="*/ 312335 w 510500"/>
                    <a:gd name="connsiteY8" fmla="*/ 87809 h 449759"/>
                    <a:gd name="connsiteX9" fmla="*/ 334560 w 510500"/>
                    <a:gd name="connsiteY9" fmla="*/ 135434 h 449759"/>
                    <a:gd name="connsiteX10" fmla="*/ 445685 w 510500"/>
                    <a:gd name="connsiteY10" fmla="*/ 157659 h 449759"/>
                    <a:gd name="connsiteX11" fmla="*/ 486960 w 510500"/>
                    <a:gd name="connsiteY11" fmla="*/ 183059 h 449759"/>
                    <a:gd name="connsiteX12" fmla="*/ 509185 w 510500"/>
                    <a:gd name="connsiteY12" fmla="*/ 227509 h 449759"/>
                    <a:gd name="connsiteX13" fmla="*/ 506010 w 510500"/>
                    <a:gd name="connsiteY13" fmla="*/ 449759 h 449759"/>
                    <a:gd name="connsiteX14" fmla="*/ 4360 w 510500"/>
                    <a:gd name="connsiteY14" fmla="*/ 443409 h 449759"/>
                    <a:gd name="connsiteX0" fmla="*/ 4360 w 510500"/>
                    <a:gd name="connsiteY0" fmla="*/ 443409 h 454926"/>
                    <a:gd name="connsiteX1" fmla="*/ 7535 w 510500"/>
                    <a:gd name="connsiteY1" fmla="*/ 208459 h 454926"/>
                    <a:gd name="connsiteX2" fmla="*/ 23410 w 510500"/>
                    <a:gd name="connsiteY2" fmla="*/ 170359 h 454926"/>
                    <a:gd name="connsiteX3" fmla="*/ 71035 w 510500"/>
                    <a:gd name="connsiteY3" fmla="*/ 154484 h 454926"/>
                    <a:gd name="connsiteX4" fmla="*/ 172635 w 510500"/>
                    <a:gd name="connsiteY4" fmla="*/ 148134 h 454926"/>
                    <a:gd name="connsiteX5" fmla="*/ 188510 w 510500"/>
                    <a:gd name="connsiteY5" fmla="*/ 90984 h 454926"/>
                    <a:gd name="connsiteX6" fmla="*/ 201210 w 510500"/>
                    <a:gd name="connsiteY6" fmla="*/ 11609 h 454926"/>
                    <a:gd name="connsiteX7" fmla="*/ 312335 w 510500"/>
                    <a:gd name="connsiteY7" fmla="*/ 8434 h 454926"/>
                    <a:gd name="connsiteX8" fmla="*/ 312335 w 510500"/>
                    <a:gd name="connsiteY8" fmla="*/ 87809 h 454926"/>
                    <a:gd name="connsiteX9" fmla="*/ 334560 w 510500"/>
                    <a:gd name="connsiteY9" fmla="*/ 135434 h 454926"/>
                    <a:gd name="connsiteX10" fmla="*/ 445685 w 510500"/>
                    <a:gd name="connsiteY10" fmla="*/ 157659 h 454926"/>
                    <a:gd name="connsiteX11" fmla="*/ 486960 w 510500"/>
                    <a:gd name="connsiteY11" fmla="*/ 183059 h 454926"/>
                    <a:gd name="connsiteX12" fmla="*/ 509185 w 510500"/>
                    <a:gd name="connsiteY12" fmla="*/ 227509 h 454926"/>
                    <a:gd name="connsiteX13" fmla="*/ 506010 w 510500"/>
                    <a:gd name="connsiteY13" fmla="*/ 449759 h 454926"/>
                    <a:gd name="connsiteX14" fmla="*/ 4360 w 510500"/>
                    <a:gd name="connsiteY14" fmla="*/ 443409 h 454926"/>
                    <a:gd name="connsiteX0" fmla="*/ 6473 w 512613"/>
                    <a:gd name="connsiteY0" fmla="*/ 443409 h 454926"/>
                    <a:gd name="connsiteX1" fmla="*/ 9648 w 512613"/>
                    <a:gd name="connsiteY1" fmla="*/ 208459 h 454926"/>
                    <a:gd name="connsiteX2" fmla="*/ 73148 w 512613"/>
                    <a:gd name="connsiteY2" fmla="*/ 154484 h 454926"/>
                    <a:gd name="connsiteX3" fmla="*/ 174748 w 512613"/>
                    <a:gd name="connsiteY3" fmla="*/ 148134 h 454926"/>
                    <a:gd name="connsiteX4" fmla="*/ 190623 w 512613"/>
                    <a:gd name="connsiteY4" fmla="*/ 90984 h 454926"/>
                    <a:gd name="connsiteX5" fmla="*/ 203323 w 512613"/>
                    <a:gd name="connsiteY5" fmla="*/ 11609 h 454926"/>
                    <a:gd name="connsiteX6" fmla="*/ 314448 w 512613"/>
                    <a:gd name="connsiteY6" fmla="*/ 8434 h 454926"/>
                    <a:gd name="connsiteX7" fmla="*/ 314448 w 512613"/>
                    <a:gd name="connsiteY7" fmla="*/ 87809 h 454926"/>
                    <a:gd name="connsiteX8" fmla="*/ 336673 w 512613"/>
                    <a:gd name="connsiteY8" fmla="*/ 135434 h 454926"/>
                    <a:gd name="connsiteX9" fmla="*/ 447798 w 512613"/>
                    <a:gd name="connsiteY9" fmla="*/ 157659 h 454926"/>
                    <a:gd name="connsiteX10" fmla="*/ 489073 w 512613"/>
                    <a:gd name="connsiteY10" fmla="*/ 183059 h 454926"/>
                    <a:gd name="connsiteX11" fmla="*/ 511298 w 512613"/>
                    <a:gd name="connsiteY11" fmla="*/ 227509 h 454926"/>
                    <a:gd name="connsiteX12" fmla="*/ 508123 w 512613"/>
                    <a:gd name="connsiteY12" fmla="*/ 449759 h 454926"/>
                    <a:gd name="connsiteX13" fmla="*/ 6473 w 512613"/>
                    <a:gd name="connsiteY13" fmla="*/ 443409 h 454926"/>
                    <a:gd name="connsiteX0" fmla="*/ 4049 w 510189"/>
                    <a:gd name="connsiteY0" fmla="*/ 443409 h 454926"/>
                    <a:gd name="connsiteX1" fmla="*/ 7224 w 510189"/>
                    <a:gd name="connsiteY1" fmla="*/ 208459 h 454926"/>
                    <a:gd name="connsiteX2" fmla="*/ 70724 w 510189"/>
                    <a:gd name="connsiteY2" fmla="*/ 154484 h 454926"/>
                    <a:gd name="connsiteX3" fmla="*/ 172324 w 510189"/>
                    <a:gd name="connsiteY3" fmla="*/ 148134 h 454926"/>
                    <a:gd name="connsiteX4" fmla="*/ 188199 w 510189"/>
                    <a:gd name="connsiteY4" fmla="*/ 90984 h 454926"/>
                    <a:gd name="connsiteX5" fmla="*/ 200899 w 510189"/>
                    <a:gd name="connsiteY5" fmla="*/ 11609 h 454926"/>
                    <a:gd name="connsiteX6" fmla="*/ 312024 w 510189"/>
                    <a:gd name="connsiteY6" fmla="*/ 8434 h 454926"/>
                    <a:gd name="connsiteX7" fmla="*/ 312024 w 510189"/>
                    <a:gd name="connsiteY7" fmla="*/ 87809 h 454926"/>
                    <a:gd name="connsiteX8" fmla="*/ 334249 w 510189"/>
                    <a:gd name="connsiteY8" fmla="*/ 135434 h 454926"/>
                    <a:gd name="connsiteX9" fmla="*/ 445374 w 510189"/>
                    <a:gd name="connsiteY9" fmla="*/ 157659 h 454926"/>
                    <a:gd name="connsiteX10" fmla="*/ 486649 w 510189"/>
                    <a:gd name="connsiteY10" fmla="*/ 183059 h 454926"/>
                    <a:gd name="connsiteX11" fmla="*/ 508874 w 510189"/>
                    <a:gd name="connsiteY11" fmla="*/ 227509 h 454926"/>
                    <a:gd name="connsiteX12" fmla="*/ 505699 w 510189"/>
                    <a:gd name="connsiteY12" fmla="*/ 449759 h 454926"/>
                    <a:gd name="connsiteX13" fmla="*/ 4049 w 510189"/>
                    <a:gd name="connsiteY13" fmla="*/ 443409 h 454926"/>
                    <a:gd name="connsiteX0" fmla="*/ 4049 w 510189"/>
                    <a:gd name="connsiteY0" fmla="*/ 443409 h 454926"/>
                    <a:gd name="connsiteX1" fmla="*/ 7224 w 510189"/>
                    <a:gd name="connsiteY1" fmla="*/ 208459 h 454926"/>
                    <a:gd name="connsiteX2" fmla="*/ 70724 w 510189"/>
                    <a:gd name="connsiteY2" fmla="*/ 154484 h 454926"/>
                    <a:gd name="connsiteX3" fmla="*/ 172324 w 510189"/>
                    <a:gd name="connsiteY3" fmla="*/ 148134 h 454926"/>
                    <a:gd name="connsiteX4" fmla="*/ 188199 w 510189"/>
                    <a:gd name="connsiteY4" fmla="*/ 90984 h 454926"/>
                    <a:gd name="connsiteX5" fmla="*/ 200899 w 510189"/>
                    <a:gd name="connsiteY5" fmla="*/ 11609 h 454926"/>
                    <a:gd name="connsiteX6" fmla="*/ 312024 w 510189"/>
                    <a:gd name="connsiteY6" fmla="*/ 8434 h 454926"/>
                    <a:gd name="connsiteX7" fmla="*/ 312024 w 510189"/>
                    <a:gd name="connsiteY7" fmla="*/ 87809 h 454926"/>
                    <a:gd name="connsiteX8" fmla="*/ 334249 w 510189"/>
                    <a:gd name="connsiteY8" fmla="*/ 135434 h 454926"/>
                    <a:gd name="connsiteX9" fmla="*/ 445374 w 510189"/>
                    <a:gd name="connsiteY9" fmla="*/ 157659 h 454926"/>
                    <a:gd name="connsiteX10" fmla="*/ 508874 w 510189"/>
                    <a:gd name="connsiteY10" fmla="*/ 227509 h 454926"/>
                    <a:gd name="connsiteX11" fmla="*/ 505699 w 510189"/>
                    <a:gd name="connsiteY11" fmla="*/ 449759 h 454926"/>
                    <a:gd name="connsiteX12" fmla="*/ 4049 w 510189"/>
                    <a:gd name="connsiteY12" fmla="*/ 443409 h 454926"/>
                    <a:gd name="connsiteX0" fmla="*/ 4049 w 510189"/>
                    <a:gd name="connsiteY0" fmla="*/ 443409 h 454926"/>
                    <a:gd name="connsiteX1" fmla="*/ 7224 w 510189"/>
                    <a:gd name="connsiteY1" fmla="*/ 208459 h 454926"/>
                    <a:gd name="connsiteX2" fmla="*/ 70724 w 510189"/>
                    <a:gd name="connsiteY2" fmla="*/ 154484 h 454926"/>
                    <a:gd name="connsiteX3" fmla="*/ 172324 w 510189"/>
                    <a:gd name="connsiteY3" fmla="*/ 148134 h 454926"/>
                    <a:gd name="connsiteX4" fmla="*/ 188199 w 510189"/>
                    <a:gd name="connsiteY4" fmla="*/ 90984 h 454926"/>
                    <a:gd name="connsiteX5" fmla="*/ 200899 w 510189"/>
                    <a:gd name="connsiteY5" fmla="*/ 11609 h 454926"/>
                    <a:gd name="connsiteX6" fmla="*/ 312024 w 510189"/>
                    <a:gd name="connsiteY6" fmla="*/ 8434 h 454926"/>
                    <a:gd name="connsiteX7" fmla="*/ 312024 w 510189"/>
                    <a:gd name="connsiteY7" fmla="*/ 87809 h 454926"/>
                    <a:gd name="connsiteX8" fmla="*/ 334249 w 510189"/>
                    <a:gd name="connsiteY8" fmla="*/ 135434 h 454926"/>
                    <a:gd name="connsiteX9" fmla="*/ 445374 w 510189"/>
                    <a:gd name="connsiteY9" fmla="*/ 157659 h 454926"/>
                    <a:gd name="connsiteX10" fmla="*/ 508874 w 510189"/>
                    <a:gd name="connsiteY10" fmla="*/ 227509 h 454926"/>
                    <a:gd name="connsiteX11" fmla="*/ 505699 w 510189"/>
                    <a:gd name="connsiteY11" fmla="*/ 449759 h 454926"/>
                    <a:gd name="connsiteX12" fmla="*/ 4049 w 510189"/>
                    <a:gd name="connsiteY12" fmla="*/ 443409 h 454926"/>
                    <a:gd name="connsiteX0" fmla="*/ 5987 w 512127"/>
                    <a:gd name="connsiteY0" fmla="*/ 443409 h 454926"/>
                    <a:gd name="connsiteX1" fmla="*/ 2812 w 512127"/>
                    <a:gd name="connsiteY1" fmla="*/ 217984 h 454926"/>
                    <a:gd name="connsiteX2" fmla="*/ 72662 w 512127"/>
                    <a:gd name="connsiteY2" fmla="*/ 154484 h 454926"/>
                    <a:gd name="connsiteX3" fmla="*/ 174262 w 512127"/>
                    <a:gd name="connsiteY3" fmla="*/ 148134 h 454926"/>
                    <a:gd name="connsiteX4" fmla="*/ 190137 w 512127"/>
                    <a:gd name="connsiteY4" fmla="*/ 90984 h 454926"/>
                    <a:gd name="connsiteX5" fmla="*/ 202837 w 512127"/>
                    <a:gd name="connsiteY5" fmla="*/ 11609 h 454926"/>
                    <a:gd name="connsiteX6" fmla="*/ 313962 w 512127"/>
                    <a:gd name="connsiteY6" fmla="*/ 8434 h 454926"/>
                    <a:gd name="connsiteX7" fmla="*/ 313962 w 512127"/>
                    <a:gd name="connsiteY7" fmla="*/ 87809 h 454926"/>
                    <a:gd name="connsiteX8" fmla="*/ 336187 w 512127"/>
                    <a:gd name="connsiteY8" fmla="*/ 135434 h 454926"/>
                    <a:gd name="connsiteX9" fmla="*/ 447312 w 512127"/>
                    <a:gd name="connsiteY9" fmla="*/ 157659 h 454926"/>
                    <a:gd name="connsiteX10" fmla="*/ 510812 w 512127"/>
                    <a:gd name="connsiteY10" fmla="*/ 227509 h 454926"/>
                    <a:gd name="connsiteX11" fmla="*/ 507637 w 512127"/>
                    <a:gd name="connsiteY11" fmla="*/ 449759 h 454926"/>
                    <a:gd name="connsiteX12" fmla="*/ 5987 w 512127"/>
                    <a:gd name="connsiteY12" fmla="*/ 443409 h 454926"/>
                    <a:gd name="connsiteX0" fmla="*/ 9762 w 515902"/>
                    <a:gd name="connsiteY0" fmla="*/ 443409 h 454926"/>
                    <a:gd name="connsiteX1" fmla="*/ 6587 w 515902"/>
                    <a:gd name="connsiteY1" fmla="*/ 217984 h 454926"/>
                    <a:gd name="connsiteX2" fmla="*/ 76437 w 515902"/>
                    <a:gd name="connsiteY2" fmla="*/ 154484 h 454926"/>
                    <a:gd name="connsiteX3" fmla="*/ 178037 w 515902"/>
                    <a:gd name="connsiteY3" fmla="*/ 148134 h 454926"/>
                    <a:gd name="connsiteX4" fmla="*/ 193912 w 515902"/>
                    <a:gd name="connsiteY4" fmla="*/ 90984 h 454926"/>
                    <a:gd name="connsiteX5" fmla="*/ 206612 w 515902"/>
                    <a:gd name="connsiteY5" fmla="*/ 11609 h 454926"/>
                    <a:gd name="connsiteX6" fmla="*/ 317737 w 515902"/>
                    <a:gd name="connsiteY6" fmla="*/ 8434 h 454926"/>
                    <a:gd name="connsiteX7" fmla="*/ 317737 w 515902"/>
                    <a:gd name="connsiteY7" fmla="*/ 87809 h 454926"/>
                    <a:gd name="connsiteX8" fmla="*/ 339962 w 515902"/>
                    <a:gd name="connsiteY8" fmla="*/ 135434 h 454926"/>
                    <a:gd name="connsiteX9" fmla="*/ 451087 w 515902"/>
                    <a:gd name="connsiteY9" fmla="*/ 157659 h 454926"/>
                    <a:gd name="connsiteX10" fmla="*/ 514587 w 515902"/>
                    <a:gd name="connsiteY10" fmla="*/ 227509 h 454926"/>
                    <a:gd name="connsiteX11" fmla="*/ 511412 w 515902"/>
                    <a:gd name="connsiteY11" fmla="*/ 449759 h 454926"/>
                    <a:gd name="connsiteX12" fmla="*/ 9762 w 515902"/>
                    <a:gd name="connsiteY12" fmla="*/ 443409 h 454926"/>
                    <a:gd name="connsiteX0" fmla="*/ 9762 w 515902"/>
                    <a:gd name="connsiteY0" fmla="*/ 443409 h 454926"/>
                    <a:gd name="connsiteX1" fmla="*/ 6587 w 515902"/>
                    <a:gd name="connsiteY1" fmla="*/ 217984 h 454926"/>
                    <a:gd name="connsiteX2" fmla="*/ 76437 w 515902"/>
                    <a:gd name="connsiteY2" fmla="*/ 154484 h 454926"/>
                    <a:gd name="connsiteX3" fmla="*/ 178037 w 515902"/>
                    <a:gd name="connsiteY3" fmla="*/ 148134 h 454926"/>
                    <a:gd name="connsiteX4" fmla="*/ 193912 w 515902"/>
                    <a:gd name="connsiteY4" fmla="*/ 90984 h 454926"/>
                    <a:gd name="connsiteX5" fmla="*/ 206612 w 515902"/>
                    <a:gd name="connsiteY5" fmla="*/ 11609 h 454926"/>
                    <a:gd name="connsiteX6" fmla="*/ 317737 w 515902"/>
                    <a:gd name="connsiteY6" fmla="*/ 8434 h 454926"/>
                    <a:gd name="connsiteX7" fmla="*/ 317737 w 515902"/>
                    <a:gd name="connsiteY7" fmla="*/ 87809 h 454926"/>
                    <a:gd name="connsiteX8" fmla="*/ 339962 w 515902"/>
                    <a:gd name="connsiteY8" fmla="*/ 135434 h 454926"/>
                    <a:gd name="connsiteX9" fmla="*/ 451087 w 515902"/>
                    <a:gd name="connsiteY9" fmla="*/ 157659 h 454926"/>
                    <a:gd name="connsiteX10" fmla="*/ 514587 w 515902"/>
                    <a:gd name="connsiteY10" fmla="*/ 227509 h 454926"/>
                    <a:gd name="connsiteX11" fmla="*/ 511412 w 515902"/>
                    <a:gd name="connsiteY11" fmla="*/ 449759 h 454926"/>
                    <a:gd name="connsiteX12" fmla="*/ 9762 w 515902"/>
                    <a:gd name="connsiteY12" fmla="*/ 443409 h 454926"/>
                    <a:gd name="connsiteX0" fmla="*/ 9762 w 515902"/>
                    <a:gd name="connsiteY0" fmla="*/ 443409 h 454926"/>
                    <a:gd name="connsiteX1" fmla="*/ 6587 w 515902"/>
                    <a:gd name="connsiteY1" fmla="*/ 217984 h 454926"/>
                    <a:gd name="connsiteX2" fmla="*/ 76437 w 515902"/>
                    <a:gd name="connsiteY2" fmla="*/ 154484 h 454926"/>
                    <a:gd name="connsiteX3" fmla="*/ 193912 w 515902"/>
                    <a:gd name="connsiteY3" fmla="*/ 90984 h 454926"/>
                    <a:gd name="connsiteX4" fmla="*/ 206612 w 515902"/>
                    <a:gd name="connsiteY4" fmla="*/ 11609 h 454926"/>
                    <a:gd name="connsiteX5" fmla="*/ 317737 w 515902"/>
                    <a:gd name="connsiteY5" fmla="*/ 8434 h 454926"/>
                    <a:gd name="connsiteX6" fmla="*/ 317737 w 515902"/>
                    <a:gd name="connsiteY6" fmla="*/ 87809 h 454926"/>
                    <a:gd name="connsiteX7" fmla="*/ 339962 w 515902"/>
                    <a:gd name="connsiteY7" fmla="*/ 135434 h 454926"/>
                    <a:gd name="connsiteX8" fmla="*/ 451087 w 515902"/>
                    <a:gd name="connsiteY8" fmla="*/ 157659 h 454926"/>
                    <a:gd name="connsiteX9" fmla="*/ 514587 w 515902"/>
                    <a:gd name="connsiteY9" fmla="*/ 227509 h 454926"/>
                    <a:gd name="connsiteX10" fmla="*/ 511412 w 515902"/>
                    <a:gd name="connsiteY10" fmla="*/ 449759 h 454926"/>
                    <a:gd name="connsiteX11" fmla="*/ 9762 w 515902"/>
                    <a:gd name="connsiteY11" fmla="*/ 443409 h 454926"/>
                    <a:gd name="connsiteX0" fmla="*/ 9762 w 515902"/>
                    <a:gd name="connsiteY0" fmla="*/ 446099 h 457616"/>
                    <a:gd name="connsiteX1" fmla="*/ 6587 w 515902"/>
                    <a:gd name="connsiteY1" fmla="*/ 220674 h 457616"/>
                    <a:gd name="connsiteX2" fmla="*/ 76437 w 515902"/>
                    <a:gd name="connsiteY2" fmla="*/ 157174 h 457616"/>
                    <a:gd name="connsiteX3" fmla="*/ 190737 w 515902"/>
                    <a:gd name="connsiteY3" fmla="*/ 138124 h 457616"/>
                    <a:gd name="connsiteX4" fmla="*/ 206612 w 515902"/>
                    <a:gd name="connsiteY4" fmla="*/ 14299 h 457616"/>
                    <a:gd name="connsiteX5" fmla="*/ 317737 w 515902"/>
                    <a:gd name="connsiteY5" fmla="*/ 11124 h 457616"/>
                    <a:gd name="connsiteX6" fmla="*/ 317737 w 515902"/>
                    <a:gd name="connsiteY6" fmla="*/ 90499 h 457616"/>
                    <a:gd name="connsiteX7" fmla="*/ 339962 w 515902"/>
                    <a:gd name="connsiteY7" fmla="*/ 138124 h 457616"/>
                    <a:gd name="connsiteX8" fmla="*/ 451087 w 515902"/>
                    <a:gd name="connsiteY8" fmla="*/ 160349 h 457616"/>
                    <a:gd name="connsiteX9" fmla="*/ 514587 w 515902"/>
                    <a:gd name="connsiteY9" fmla="*/ 230199 h 457616"/>
                    <a:gd name="connsiteX10" fmla="*/ 511412 w 515902"/>
                    <a:gd name="connsiteY10" fmla="*/ 452449 h 457616"/>
                    <a:gd name="connsiteX11" fmla="*/ 9762 w 515902"/>
                    <a:gd name="connsiteY11" fmla="*/ 446099 h 457616"/>
                    <a:gd name="connsiteX0" fmla="*/ 9762 w 515902"/>
                    <a:gd name="connsiteY0" fmla="*/ 446099 h 457616"/>
                    <a:gd name="connsiteX1" fmla="*/ 6587 w 515902"/>
                    <a:gd name="connsiteY1" fmla="*/ 220674 h 457616"/>
                    <a:gd name="connsiteX2" fmla="*/ 76437 w 515902"/>
                    <a:gd name="connsiteY2" fmla="*/ 157174 h 457616"/>
                    <a:gd name="connsiteX3" fmla="*/ 190737 w 515902"/>
                    <a:gd name="connsiteY3" fmla="*/ 138124 h 457616"/>
                    <a:gd name="connsiteX4" fmla="*/ 206612 w 515902"/>
                    <a:gd name="connsiteY4" fmla="*/ 14299 h 457616"/>
                    <a:gd name="connsiteX5" fmla="*/ 317737 w 515902"/>
                    <a:gd name="connsiteY5" fmla="*/ 11124 h 457616"/>
                    <a:gd name="connsiteX6" fmla="*/ 317737 w 515902"/>
                    <a:gd name="connsiteY6" fmla="*/ 90499 h 457616"/>
                    <a:gd name="connsiteX7" fmla="*/ 451087 w 515902"/>
                    <a:gd name="connsiteY7" fmla="*/ 160349 h 457616"/>
                    <a:gd name="connsiteX8" fmla="*/ 514587 w 515902"/>
                    <a:gd name="connsiteY8" fmla="*/ 230199 h 457616"/>
                    <a:gd name="connsiteX9" fmla="*/ 511412 w 515902"/>
                    <a:gd name="connsiteY9" fmla="*/ 452449 h 457616"/>
                    <a:gd name="connsiteX10" fmla="*/ 9762 w 515902"/>
                    <a:gd name="connsiteY10" fmla="*/ 446099 h 457616"/>
                    <a:gd name="connsiteX0" fmla="*/ 9762 w 515902"/>
                    <a:gd name="connsiteY0" fmla="*/ 447482 h 458999"/>
                    <a:gd name="connsiteX1" fmla="*/ 6587 w 515902"/>
                    <a:gd name="connsiteY1" fmla="*/ 222057 h 458999"/>
                    <a:gd name="connsiteX2" fmla="*/ 76437 w 515902"/>
                    <a:gd name="connsiteY2" fmla="*/ 158557 h 458999"/>
                    <a:gd name="connsiteX3" fmla="*/ 190737 w 515902"/>
                    <a:gd name="connsiteY3" fmla="*/ 139507 h 458999"/>
                    <a:gd name="connsiteX4" fmla="*/ 206612 w 515902"/>
                    <a:gd name="connsiteY4" fmla="*/ 15682 h 458999"/>
                    <a:gd name="connsiteX5" fmla="*/ 317737 w 515902"/>
                    <a:gd name="connsiteY5" fmla="*/ 12507 h 458999"/>
                    <a:gd name="connsiteX6" fmla="*/ 330437 w 515902"/>
                    <a:gd name="connsiteY6" fmla="*/ 114107 h 458999"/>
                    <a:gd name="connsiteX7" fmla="*/ 451087 w 515902"/>
                    <a:gd name="connsiteY7" fmla="*/ 161732 h 458999"/>
                    <a:gd name="connsiteX8" fmla="*/ 514587 w 515902"/>
                    <a:gd name="connsiteY8" fmla="*/ 231582 h 458999"/>
                    <a:gd name="connsiteX9" fmla="*/ 511412 w 515902"/>
                    <a:gd name="connsiteY9" fmla="*/ 453832 h 458999"/>
                    <a:gd name="connsiteX10" fmla="*/ 9762 w 515902"/>
                    <a:gd name="connsiteY10" fmla="*/ 447482 h 458999"/>
                    <a:gd name="connsiteX0" fmla="*/ 9762 w 515902"/>
                    <a:gd name="connsiteY0" fmla="*/ 446348 h 457865"/>
                    <a:gd name="connsiteX1" fmla="*/ 6587 w 515902"/>
                    <a:gd name="connsiteY1" fmla="*/ 220923 h 457865"/>
                    <a:gd name="connsiteX2" fmla="*/ 76437 w 515902"/>
                    <a:gd name="connsiteY2" fmla="*/ 157423 h 457865"/>
                    <a:gd name="connsiteX3" fmla="*/ 200262 w 515902"/>
                    <a:gd name="connsiteY3" fmla="*/ 119323 h 457865"/>
                    <a:gd name="connsiteX4" fmla="*/ 206612 w 515902"/>
                    <a:gd name="connsiteY4" fmla="*/ 14548 h 457865"/>
                    <a:gd name="connsiteX5" fmla="*/ 317737 w 515902"/>
                    <a:gd name="connsiteY5" fmla="*/ 11373 h 457865"/>
                    <a:gd name="connsiteX6" fmla="*/ 330437 w 515902"/>
                    <a:gd name="connsiteY6" fmla="*/ 112973 h 457865"/>
                    <a:gd name="connsiteX7" fmla="*/ 451087 w 515902"/>
                    <a:gd name="connsiteY7" fmla="*/ 160598 h 457865"/>
                    <a:gd name="connsiteX8" fmla="*/ 514587 w 515902"/>
                    <a:gd name="connsiteY8" fmla="*/ 230448 h 457865"/>
                    <a:gd name="connsiteX9" fmla="*/ 511412 w 515902"/>
                    <a:gd name="connsiteY9" fmla="*/ 452698 h 457865"/>
                    <a:gd name="connsiteX10" fmla="*/ 9762 w 515902"/>
                    <a:gd name="connsiteY10" fmla="*/ 446348 h 457865"/>
                    <a:gd name="connsiteX0" fmla="*/ 9762 w 515902"/>
                    <a:gd name="connsiteY0" fmla="*/ 446681 h 458198"/>
                    <a:gd name="connsiteX1" fmla="*/ 6587 w 515902"/>
                    <a:gd name="connsiteY1" fmla="*/ 221256 h 458198"/>
                    <a:gd name="connsiteX2" fmla="*/ 76437 w 515902"/>
                    <a:gd name="connsiteY2" fmla="*/ 157756 h 458198"/>
                    <a:gd name="connsiteX3" fmla="*/ 200262 w 515902"/>
                    <a:gd name="connsiteY3" fmla="*/ 119656 h 458198"/>
                    <a:gd name="connsiteX4" fmla="*/ 206612 w 515902"/>
                    <a:gd name="connsiteY4" fmla="*/ 14881 h 458198"/>
                    <a:gd name="connsiteX5" fmla="*/ 317737 w 515902"/>
                    <a:gd name="connsiteY5" fmla="*/ 11706 h 458198"/>
                    <a:gd name="connsiteX6" fmla="*/ 311502 w 515902"/>
                    <a:gd name="connsiteY6" fmla="*/ 118302 h 458198"/>
                    <a:gd name="connsiteX7" fmla="*/ 451087 w 515902"/>
                    <a:gd name="connsiteY7" fmla="*/ 160931 h 458198"/>
                    <a:gd name="connsiteX8" fmla="*/ 514587 w 515902"/>
                    <a:gd name="connsiteY8" fmla="*/ 230781 h 458198"/>
                    <a:gd name="connsiteX9" fmla="*/ 511412 w 515902"/>
                    <a:gd name="connsiteY9" fmla="*/ 453031 h 458198"/>
                    <a:gd name="connsiteX10" fmla="*/ 9762 w 515902"/>
                    <a:gd name="connsiteY10" fmla="*/ 446681 h 458198"/>
                    <a:gd name="connsiteX0" fmla="*/ 9762 w 515902"/>
                    <a:gd name="connsiteY0" fmla="*/ 446681 h 458198"/>
                    <a:gd name="connsiteX1" fmla="*/ 6587 w 515902"/>
                    <a:gd name="connsiteY1" fmla="*/ 221256 h 458198"/>
                    <a:gd name="connsiteX2" fmla="*/ 76437 w 515902"/>
                    <a:gd name="connsiteY2" fmla="*/ 157756 h 458198"/>
                    <a:gd name="connsiteX3" fmla="*/ 200262 w 515902"/>
                    <a:gd name="connsiteY3" fmla="*/ 119656 h 458198"/>
                    <a:gd name="connsiteX4" fmla="*/ 206612 w 515902"/>
                    <a:gd name="connsiteY4" fmla="*/ 14881 h 458198"/>
                    <a:gd name="connsiteX5" fmla="*/ 301506 w 515902"/>
                    <a:gd name="connsiteY5" fmla="*/ 11706 h 458198"/>
                    <a:gd name="connsiteX6" fmla="*/ 311502 w 515902"/>
                    <a:gd name="connsiteY6" fmla="*/ 118302 h 458198"/>
                    <a:gd name="connsiteX7" fmla="*/ 451087 w 515902"/>
                    <a:gd name="connsiteY7" fmla="*/ 160931 h 458198"/>
                    <a:gd name="connsiteX8" fmla="*/ 514587 w 515902"/>
                    <a:gd name="connsiteY8" fmla="*/ 230781 h 458198"/>
                    <a:gd name="connsiteX9" fmla="*/ 511412 w 515902"/>
                    <a:gd name="connsiteY9" fmla="*/ 453031 h 458198"/>
                    <a:gd name="connsiteX10" fmla="*/ 9762 w 515902"/>
                    <a:gd name="connsiteY10" fmla="*/ 446681 h 458198"/>
                    <a:gd name="connsiteX0" fmla="*/ 9762 w 515902"/>
                    <a:gd name="connsiteY0" fmla="*/ 446681 h 458198"/>
                    <a:gd name="connsiteX1" fmla="*/ 6587 w 515902"/>
                    <a:gd name="connsiteY1" fmla="*/ 221256 h 458198"/>
                    <a:gd name="connsiteX2" fmla="*/ 76437 w 515902"/>
                    <a:gd name="connsiteY2" fmla="*/ 157756 h 458198"/>
                    <a:gd name="connsiteX3" fmla="*/ 200262 w 515902"/>
                    <a:gd name="connsiteY3" fmla="*/ 119656 h 458198"/>
                    <a:gd name="connsiteX4" fmla="*/ 206612 w 515902"/>
                    <a:gd name="connsiteY4" fmla="*/ 14881 h 458198"/>
                    <a:gd name="connsiteX5" fmla="*/ 301506 w 515902"/>
                    <a:gd name="connsiteY5" fmla="*/ 11706 h 458198"/>
                    <a:gd name="connsiteX6" fmla="*/ 311502 w 515902"/>
                    <a:gd name="connsiteY6" fmla="*/ 118302 h 458198"/>
                    <a:gd name="connsiteX7" fmla="*/ 442972 w 515902"/>
                    <a:gd name="connsiteY7" fmla="*/ 180912 h 458198"/>
                    <a:gd name="connsiteX8" fmla="*/ 514587 w 515902"/>
                    <a:gd name="connsiteY8" fmla="*/ 230781 h 458198"/>
                    <a:gd name="connsiteX9" fmla="*/ 511412 w 515902"/>
                    <a:gd name="connsiteY9" fmla="*/ 453031 h 458198"/>
                    <a:gd name="connsiteX10" fmla="*/ 9762 w 515902"/>
                    <a:gd name="connsiteY10" fmla="*/ 446681 h 458198"/>
                    <a:gd name="connsiteX0" fmla="*/ 9762 w 511905"/>
                    <a:gd name="connsiteY0" fmla="*/ 446681 h 458198"/>
                    <a:gd name="connsiteX1" fmla="*/ 6587 w 511905"/>
                    <a:gd name="connsiteY1" fmla="*/ 221256 h 458198"/>
                    <a:gd name="connsiteX2" fmla="*/ 76437 w 511905"/>
                    <a:gd name="connsiteY2" fmla="*/ 157756 h 458198"/>
                    <a:gd name="connsiteX3" fmla="*/ 200262 w 511905"/>
                    <a:gd name="connsiteY3" fmla="*/ 119656 h 458198"/>
                    <a:gd name="connsiteX4" fmla="*/ 206612 w 511905"/>
                    <a:gd name="connsiteY4" fmla="*/ 14881 h 458198"/>
                    <a:gd name="connsiteX5" fmla="*/ 301506 w 511905"/>
                    <a:gd name="connsiteY5" fmla="*/ 11706 h 458198"/>
                    <a:gd name="connsiteX6" fmla="*/ 311502 w 511905"/>
                    <a:gd name="connsiteY6" fmla="*/ 118302 h 458198"/>
                    <a:gd name="connsiteX7" fmla="*/ 442972 w 511905"/>
                    <a:gd name="connsiteY7" fmla="*/ 180912 h 458198"/>
                    <a:gd name="connsiteX8" fmla="*/ 498357 w 511905"/>
                    <a:gd name="connsiteY8" fmla="*/ 250762 h 458198"/>
                    <a:gd name="connsiteX9" fmla="*/ 511412 w 511905"/>
                    <a:gd name="connsiteY9" fmla="*/ 453031 h 458198"/>
                    <a:gd name="connsiteX10" fmla="*/ 9762 w 511905"/>
                    <a:gd name="connsiteY10" fmla="*/ 446681 h 458198"/>
                    <a:gd name="connsiteX0" fmla="*/ 9762 w 511905"/>
                    <a:gd name="connsiteY0" fmla="*/ 446681 h 458198"/>
                    <a:gd name="connsiteX1" fmla="*/ 6587 w 511905"/>
                    <a:gd name="connsiteY1" fmla="*/ 221256 h 458198"/>
                    <a:gd name="connsiteX2" fmla="*/ 76437 w 511905"/>
                    <a:gd name="connsiteY2" fmla="*/ 157756 h 458198"/>
                    <a:gd name="connsiteX3" fmla="*/ 200262 w 511905"/>
                    <a:gd name="connsiteY3" fmla="*/ 119656 h 458198"/>
                    <a:gd name="connsiteX4" fmla="*/ 206612 w 511905"/>
                    <a:gd name="connsiteY4" fmla="*/ 14881 h 458198"/>
                    <a:gd name="connsiteX5" fmla="*/ 301506 w 511905"/>
                    <a:gd name="connsiteY5" fmla="*/ 11706 h 458198"/>
                    <a:gd name="connsiteX6" fmla="*/ 311502 w 511905"/>
                    <a:gd name="connsiteY6" fmla="*/ 118302 h 458198"/>
                    <a:gd name="connsiteX7" fmla="*/ 437562 w 511905"/>
                    <a:gd name="connsiteY7" fmla="*/ 198396 h 458198"/>
                    <a:gd name="connsiteX8" fmla="*/ 498357 w 511905"/>
                    <a:gd name="connsiteY8" fmla="*/ 250762 h 458198"/>
                    <a:gd name="connsiteX9" fmla="*/ 511412 w 511905"/>
                    <a:gd name="connsiteY9" fmla="*/ 453031 h 458198"/>
                    <a:gd name="connsiteX10" fmla="*/ 9762 w 511905"/>
                    <a:gd name="connsiteY10" fmla="*/ 446681 h 458198"/>
                    <a:gd name="connsiteX0" fmla="*/ 9762 w 511905"/>
                    <a:gd name="connsiteY0" fmla="*/ 446681 h 458198"/>
                    <a:gd name="connsiteX1" fmla="*/ 6587 w 511905"/>
                    <a:gd name="connsiteY1" fmla="*/ 221256 h 458198"/>
                    <a:gd name="connsiteX2" fmla="*/ 76437 w 511905"/>
                    <a:gd name="connsiteY2" fmla="*/ 157756 h 458198"/>
                    <a:gd name="connsiteX3" fmla="*/ 200262 w 511905"/>
                    <a:gd name="connsiteY3" fmla="*/ 119656 h 458198"/>
                    <a:gd name="connsiteX4" fmla="*/ 206612 w 511905"/>
                    <a:gd name="connsiteY4" fmla="*/ 14881 h 458198"/>
                    <a:gd name="connsiteX5" fmla="*/ 301506 w 511905"/>
                    <a:gd name="connsiteY5" fmla="*/ 11706 h 458198"/>
                    <a:gd name="connsiteX6" fmla="*/ 311502 w 511905"/>
                    <a:gd name="connsiteY6" fmla="*/ 118302 h 458198"/>
                    <a:gd name="connsiteX7" fmla="*/ 451087 w 511905"/>
                    <a:gd name="connsiteY7" fmla="*/ 188406 h 458198"/>
                    <a:gd name="connsiteX8" fmla="*/ 498357 w 511905"/>
                    <a:gd name="connsiteY8" fmla="*/ 250762 h 458198"/>
                    <a:gd name="connsiteX9" fmla="*/ 511412 w 511905"/>
                    <a:gd name="connsiteY9" fmla="*/ 453031 h 458198"/>
                    <a:gd name="connsiteX10" fmla="*/ 9762 w 511905"/>
                    <a:gd name="connsiteY10" fmla="*/ 446681 h 458198"/>
                    <a:gd name="connsiteX0" fmla="*/ 9762 w 511905"/>
                    <a:gd name="connsiteY0" fmla="*/ 447695 h 459212"/>
                    <a:gd name="connsiteX1" fmla="*/ 6587 w 511905"/>
                    <a:gd name="connsiteY1" fmla="*/ 222270 h 459212"/>
                    <a:gd name="connsiteX2" fmla="*/ 76437 w 511905"/>
                    <a:gd name="connsiteY2" fmla="*/ 158770 h 459212"/>
                    <a:gd name="connsiteX3" fmla="*/ 200262 w 511905"/>
                    <a:gd name="connsiteY3" fmla="*/ 120670 h 459212"/>
                    <a:gd name="connsiteX4" fmla="*/ 206612 w 511905"/>
                    <a:gd name="connsiteY4" fmla="*/ 15895 h 459212"/>
                    <a:gd name="connsiteX5" fmla="*/ 301506 w 511905"/>
                    <a:gd name="connsiteY5" fmla="*/ 12720 h 459212"/>
                    <a:gd name="connsiteX6" fmla="*/ 311502 w 511905"/>
                    <a:gd name="connsiteY6" fmla="*/ 134302 h 459212"/>
                    <a:gd name="connsiteX7" fmla="*/ 451087 w 511905"/>
                    <a:gd name="connsiteY7" fmla="*/ 189420 h 459212"/>
                    <a:gd name="connsiteX8" fmla="*/ 498357 w 511905"/>
                    <a:gd name="connsiteY8" fmla="*/ 251776 h 459212"/>
                    <a:gd name="connsiteX9" fmla="*/ 511412 w 511905"/>
                    <a:gd name="connsiteY9" fmla="*/ 454045 h 459212"/>
                    <a:gd name="connsiteX10" fmla="*/ 9762 w 511905"/>
                    <a:gd name="connsiteY10" fmla="*/ 447695 h 459212"/>
                    <a:gd name="connsiteX0" fmla="*/ 4227 w 522600"/>
                    <a:gd name="connsiteY0" fmla="*/ 455188 h 463021"/>
                    <a:gd name="connsiteX1" fmla="*/ 17282 w 522600"/>
                    <a:gd name="connsiteY1" fmla="*/ 222270 h 463021"/>
                    <a:gd name="connsiteX2" fmla="*/ 87132 w 522600"/>
                    <a:gd name="connsiteY2" fmla="*/ 158770 h 463021"/>
                    <a:gd name="connsiteX3" fmla="*/ 210957 w 522600"/>
                    <a:gd name="connsiteY3" fmla="*/ 120670 h 463021"/>
                    <a:gd name="connsiteX4" fmla="*/ 217307 w 522600"/>
                    <a:gd name="connsiteY4" fmla="*/ 15895 h 463021"/>
                    <a:gd name="connsiteX5" fmla="*/ 312201 w 522600"/>
                    <a:gd name="connsiteY5" fmla="*/ 12720 h 463021"/>
                    <a:gd name="connsiteX6" fmla="*/ 322197 w 522600"/>
                    <a:gd name="connsiteY6" fmla="*/ 134302 h 463021"/>
                    <a:gd name="connsiteX7" fmla="*/ 461782 w 522600"/>
                    <a:gd name="connsiteY7" fmla="*/ 189420 h 463021"/>
                    <a:gd name="connsiteX8" fmla="*/ 509052 w 522600"/>
                    <a:gd name="connsiteY8" fmla="*/ 251776 h 463021"/>
                    <a:gd name="connsiteX9" fmla="*/ 522107 w 522600"/>
                    <a:gd name="connsiteY9" fmla="*/ 454045 h 463021"/>
                    <a:gd name="connsiteX10" fmla="*/ 4227 w 522600"/>
                    <a:gd name="connsiteY10" fmla="*/ 455188 h 463021"/>
                    <a:gd name="connsiteX0" fmla="*/ 4227 w 522600"/>
                    <a:gd name="connsiteY0" fmla="*/ 455188 h 457596"/>
                    <a:gd name="connsiteX1" fmla="*/ 17282 w 522600"/>
                    <a:gd name="connsiteY1" fmla="*/ 222270 h 457596"/>
                    <a:gd name="connsiteX2" fmla="*/ 87132 w 522600"/>
                    <a:gd name="connsiteY2" fmla="*/ 158770 h 457596"/>
                    <a:gd name="connsiteX3" fmla="*/ 210957 w 522600"/>
                    <a:gd name="connsiteY3" fmla="*/ 120670 h 457596"/>
                    <a:gd name="connsiteX4" fmla="*/ 217307 w 522600"/>
                    <a:gd name="connsiteY4" fmla="*/ 15895 h 457596"/>
                    <a:gd name="connsiteX5" fmla="*/ 312201 w 522600"/>
                    <a:gd name="connsiteY5" fmla="*/ 12720 h 457596"/>
                    <a:gd name="connsiteX6" fmla="*/ 322197 w 522600"/>
                    <a:gd name="connsiteY6" fmla="*/ 134302 h 457596"/>
                    <a:gd name="connsiteX7" fmla="*/ 461782 w 522600"/>
                    <a:gd name="connsiteY7" fmla="*/ 189420 h 457596"/>
                    <a:gd name="connsiteX8" fmla="*/ 509052 w 522600"/>
                    <a:gd name="connsiteY8" fmla="*/ 251776 h 457596"/>
                    <a:gd name="connsiteX9" fmla="*/ 522107 w 522600"/>
                    <a:gd name="connsiteY9" fmla="*/ 454045 h 457596"/>
                    <a:gd name="connsiteX10" fmla="*/ 4227 w 522600"/>
                    <a:gd name="connsiteY10" fmla="*/ 455188 h 457596"/>
                    <a:gd name="connsiteX0" fmla="*/ 12757 w 531130"/>
                    <a:gd name="connsiteY0" fmla="*/ 455188 h 457596"/>
                    <a:gd name="connsiteX1" fmla="*/ 6876 w 531130"/>
                    <a:gd name="connsiteY1" fmla="*/ 237256 h 457596"/>
                    <a:gd name="connsiteX2" fmla="*/ 95662 w 531130"/>
                    <a:gd name="connsiteY2" fmla="*/ 158770 h 457596"/>
                    <a:gd name="connsiteX3" fmla="*/ 219487 w 531130"/>
                    <a:gd name="connsiteY3" fmla="*/ 120670 h 457596"/>
                    <a:gd name="connsiteX4" fmla="*/ 225837 w 531130"/>
                    <a:gd name="connsiteY4" fmla="*/ 15895 h 457596"/>
                    <a:gd name="connsiteX5" fmla="*/ 320731 w 531130"/>
                    <a:gd name="connsiteY5" fmla="*/ 12720 h 457596"/>
                    <a:gd name="connsiteX6" fmla="*/ 330727 w 531130"/>
                    <a:gd name="connsiteY6" fmla="*/ 134302 h 457596"/>
                    <a:gd name="connsiteX7" fmla="*/ 470312 w 531130"/>
                    <a:gd name="connsiteY7" fmla="*/ 189420 h 457596"/>
                    <a:gd name="connsiteX8" fmla="*/ 517582 w 531130"/>
                    <a:gd name="connsiteY8" fmla="*/ 251776 h 457596"/>
                    <a:gd name="connsiteX9" fmla="*/ 530637 w 531130"/>
                    <a:gd name="connsiteY9" fmla="*/ 454045 h 457596"/>
                    <a:gd name="connsiteX10" fmla="*/ 12757 w 531130"/>
                    <a:gd name="connsiteY10" fmla="*/ 455188 h 457596"/>
                    <a:gd name="connsiteX0" fmla="*/ 7226 w 536419"/>
                    <a:gd name="connsiteY0" fmla="*/ 447695 h 456315"/>
                    <a:gd name="connsiteX1" fmla="*/ 12165 w 536419"/>
                    <a:gd name="connsiteY1" fmla="*/ 237256 h 456315"/>
                    <a:gd name="connsiteX2" fmla="*/ 100951 w 536419"/>
                    <a:gd name="connsiteY2" fmla="*/ 158770 h 456315"/>
                    <a:gd name="connsiteX3" fmla="*/ 224776 w 536419"/>
                    <a:gd name="connsiteY3" fmla="*/ 120670 h 456315"/>
                    <a:gd name="connsiteX4" fmla="*/ 231126 w 536419"/>
                    <a:gd name="connsiteY4" fmla="*/ 15895 h 456315"/>
                    <a:gd name="connsiteX5" fmla="*/ 326020 w 536419"/>
                    <a:gd name="connsiteY5" fmla="*/ 12720 h 456315"/>
                    <a:gd name="connsiteX6" fmla="*/ 336016 w 536419"/>
                    <a:gd name="connsiteY6" fmla="*/ 134302 h 456315"/>
                    <a:gd name="connsiteX7" fmla="*/ 475601 w 536419"/>
                    <a:gd name="connsiteY7" fmla="*/ 189420 h 456315"/>
                    <a:gd name="connsiteX8" fmla="*/ 522871 w 536419"/>
                    <a:gd name="connsiteY8" fmla="*/ 251776 h 456315"/>
                    <a:gd name="connsiteX9" fmla="*/ 535926 w 536419"/>
                    <a:gd name="connsiteY9" fmla="*/ 454045 h 456315"/>
                    <a:gd name="connsiteX10" fmla="*/ 7226 w 536419"/>
                    <a:gd name="connsiteY10" fmla="*/ 447695 h 456315"/>
                    <a:gd name="connsiteX0" fmla="*/ 7226 w 528834"/>
                    <a:gd name="connsiteY0" fmla="*/ 447695 h 456315"/>
                    <a:gd name="connsiteX1" fmla="*/ 12165 w 528834"/>
                    <a:gd name="connsiteY1" fmla="*/ 237256 h 456315"/>
                    <a:gd name="connsiteX2" fmla="*/ 100951 w 528834"/>
                    <a:gd name="connsiteY2" fmla="*/ 158770 h 456315"/>
                    <a:gd name="connsiteX3" fmla="*/ 224776 w 528834"/>
                    <a:gd name="connsiteY3" fmla="*/ 120670 h 456315"/>
                    <a:gd name="connsiteX4" fmla="*/ 231126 w 528834"/>
                    <a:gd name="connsiteY4" fmla="*/ 15895 h 456315"/>
                    <a:gd name="connsiteX5" fmla="*/ 326020 w 528834"/>
                    <a:gd name="connsiteY5" fmla="*/ 12720 h 456315"/>
                    <a:gd name="connsiteX6" fmla="*/ 336016 w 528834"/>
                    <a:gd name="connsiteY6" fmla="*/ 134302 h 456315"/>
                    <a:gd name="connsiteX7" fmla="*/ 475601 w 528834"/>
                    <a:gd name="connsiteY7" fmla="*/ 189420 h 456315"/>
                    <a:gd name="connsiteX8" fmla="*/ 522871 w 528834"/>
                    <a:gd name="connsiteY8" fmla="*/ 251776 h 456315"/>
                    <a:gd name="connsiteX9" fmla="*/ 527811 w 528834"/>
                    <a:gd name="connsiteY9" fmla="*/ 454045 h 456315"/>
                    <a:gd name="connsiteX10" fmla="*/ 7226 w 528834"/>
                    <a:gd name="connsiteY10" fmla="*/ 447695 h 456315"/>
                    <a:gd name="connsiteX0" fmla="*/ 7226 w 528834"/>
                    <a:gd name="connsiteY0" fmla="*/ 447695 h 456315"/>
                    <a:gd name="connsiteX1" fmla="*/ 12165 w 528834"/>
                    <a:gd name="connsiteY1" fmla="*/ 237256 h 456315"/>
                    <a:gd name="connsiteX2" fmla="*/ 100951 w 528834"/>
                    <a:gd name="connsiteY2" fmla="*/ 158770 h 456315"/>
                    <a:gd name="connsiteX3" fmla="*/ 224776 w 528834"/>
                    <a:gd name="connsiteY3" fmla="*/ 120670 h 456315"/>
                    <a:gd name="connsiteX4" fmla="*/ 231126 w 528834"/>
                    <a:gd name="connsiteY4" fmla="*/ 15895 h 456315"/>
                    <a:gd name="connsiteX5" fmla="*/ 326020 w 528834"/>
                    <a:gd name="connsiteY5" fmla="*/ 12720 h 456315"/>
                    <a:gd name="connsiteX6" fmla="*/ 336016 w 528834"/>
                    <a:gd name="connsiteY6" fmla="*/ 134302 h 456315"/>
                    <a:gd name="connsiteX7" fmla="*/ 462076 w 528834"/>
                    <a:gd name="connsiteY7" fmla="*/ 184425 h 456315"/>
                    <a:gd name="connsiteX8" fmla="*/ 522871 w 528834"/>
                    <a:gd name="connsiteY8" fmla="*/ 251776 h 456315"/>
                    <a:gd name="connsiteX9" fmla="*/ 527811 w 528834"/>
                    <a:gd name="connsiteY9" fmla="*/ 454045 h 456315"/>
                    <a:gd name="connsiteX10" fmla="*/ 7226 w 528834"/>
                    <a:gd name="connsiteY10" fmla="*/ 447695 h 456315"/>
                    <a:gd name="connsiteX0" fmla="*/ 8515 w 530123"/>
                    <a:gd name="connsiteY0" fmla="*/ 447695 h 456315"/>
                    <a:gd name="connsiteX1" fmla="*/ 10749 w 530123"/>
                    <a:gd name="connsiteY1" fmla="*/ 244749 h 456315"/>
                    <a:gd name="connsiteX2" fmla="*/ 102240 w 530123"/>
                    <a:gd name="connsiteY2" fmla="*/ 158770 h 456315"/>
                    <a:gd name="connsiteX3" fmla="*/ 226065 w 530123"/>
                    <a:gd name="connsiteY3" fmla="*/ 120670 h 456315"/>
                    <a:gd name="connsiteX4" fmla="*/ 232415 w 530123"/>
                    <a:gd name="connsiteY4" fmla="*/ 15895 h 456315"/>
                    <a:gd name="connsiteX5" fmla="*/ 327309 w 530123"/>
                    <a:gd name="connsiteY5" fmla="*/ 12720 h 456315"/>
                    <a:gd name="connsiteX6" fmla="*/ 337305 w 530123"/>
                    <a:gd name="connsiteY6" fmla="*/ 134302 h 456315"/>
                    <a:gd name="connsiteX7" fmla="*/ 463365 w 530123"/>
                    <a:gd name="connsiteY7" fmla="*/ 184425 h 456315"/>
                    <a:gd name="connsiteX8" fmla="*/ 524160 w 530123"/>
                    <a:gd name="connsiteY8" fmla="*/ 251776 h 456315"/>
                    <a:gd name="connsiteX9" fmla="*/ 529100 w 530123"/>
                    <a:gd name="connsiteY9" fmla="*/ 454045 h 456315"/>
                    <a:gd name="connsiteX10" fmla="*/ 8515 w 530123"/>
                    <a:gd name="connsiteY10" fmla="*/ 447695 h 456315"/>
                    <a:gd name="connsiteX0" fmla="*/ 7671 w 529279"/>
                    <a:gd name="connsiteY0" fmla="*/ 447695 h 456315"/>
                    <a:gd name="connsiteX1" fmla="*/ 9905 w 529279"/>
                    <a:gd name="connsiteY1" fmla="*/ 244749 h 456315"/>
                    <a:gd name="connsiteX2" fmla="*/ 87870 w 529279"/>
                    <a:gd name="connsiteY2" fmla="*/ 166263 h 456315"/>
                    <a:gd name="connsiteX3" fmla="*/ 225221 w 529279"/>
                    <a:gd name="connsiteY3" fmla="*/ 120670 h 456315"/>
                    <a:gd name="connsiteX4" fmla="*/ 231571 w 529279"/>
                    <a:gd name="connsiteY4" fmla="*/ 15895 h 456315"/>
                    <a:gd name="connsiteX5" fmla="*/ 326465 w 529279"/>
                    <a:gd name="connsiteY5" fmla="*/ 12720 h 456315"/>
                    <a:gd name="connsiteX6" fmla="*/ 336461 w 529279"/>
                    <a:gd name="connsiteY6" fmla="*/ 134302 h 456315"/>
                    <a:gd name="connsiteX7" fmla="*/ 462521 w 529279"/>
                    <a:gd name="connsiteY7" fmla="*/ 184425 h 456315"/>
                    <a:gd name="connsiteX8" fmla="*/ 523316 w 529279"/>
                    <a:gd name="connsiteY8" fmla="*/ 251776 h 456315"/>
                    <a:gd name="connsiteX9" fmla="*/ 528256 w 529279"/>
                    <a:gd name="connsiteY9" fmla="*/ 454045 h 456315"/>
                    <a:gd name="connsiteX10" fmla="*/ 7671 w 529279"/>
                    <a:gd name="connsiteY10" fmla="*/ 447695 h 456315"/>
                    <a:gd name="connsiteX0" fmla="*/ 7671 w 529279"/>
                    <a:gd name="connsiteY0" fmla="*/ 447558 h 456178"/>
                    <a:gd name="connsiteX1" fmla="*/ 9905 w 529279"/>
                    <a:gd name="connsiteY1" fmla="*/ 244612 h 456178"/>
                    <a:gd name="connsiteX2" fmla="*/ 87870 w 529279"/>
                    <a:gd name="connsiteY2" fmla="*/ 166126 h 456178"/>
                    <a:gd name="connsiteX3" fmla="*/ 206285 w 529279"/>
                    <a:gd name="connsiteY3" fmla="*/ 118035 h 456178"/>
                    <a:gd name="connsiteX4" fmla="*/ 231571 w 529279"/>
                    <a:gd name="connsiteY4" fmla="*/ 15758 h 456178"/>
                    <a:gd name="connsiteX5" fmla="*/ 326465 w 529279"/>
                    <a:gd name="connsiteY5" fmla="*/ 12583 h 456178"/>
                    <a:gd name="connsiteX6" fmla="*/ 336461 w 529279"/>
                    <a:gd name="connsiteY6" fmla="*/ 134165 h 456178"/>
                    <a:gd name="connsiteX7" fmla="*/ 462521 w 529279"/>
                    <a:gd name="connsiteY7" fmla="*/ 184288 h 456178"/>
                    <a:gd name="connsiteX8" fmla="*/ 523316 w 529279"/>
                    <a:gd name="connsiteY8" fmla="*/ 251639 h 456178"/>
                    <a:gd name="connsiteX9" fmla="*/ 528256 w 529279"/>
                    <a:gd name="connsiteY9" fmla="*/ 453908 h 456178"/>
                    <a:gd name="connsiteX10" fmla="*/ 7671 w 529279"/>
                    <a:gd name="connsiteY10" fmla="*/ 447558 h 456178"/>
                    <a:gd name="connsiteX0" fmla="*/ 14544 w 536152"/>
                    <a:gd name="connsiteY0" fmla="*/ 447558 h 456178"/>
                    <a:gd name="connsiteX1" fmla="*/ 5958 w 536152"/>
                    <a:gd name="connsiteY1" fmla="*/ 247109 h 456178"/>
                    <a:gd name="connsiteX2" fmla="*/ 94743 w 536152"/>
                    <a:gd name="connsiteY2" fmla="*/ 166126 h 456178"/>
                    <a:gd name="connsiteX3" fmla="*/ 213158 w 536152"/>
                    <a:gd name="connsiteY3" fmla="*/ 118035 h 456178"/>
                    <a:gd name="connsiteX4" fmla="*/ 238444 w 536152"/>
                    <a:gd name="connsiteY4" fmla="*/ 15758 h 456178"/>
                    <a:gd name="connsiteX5" fmla="*/ 333338 w 536152"/>
                    <a:gd name="connsiteY5" fmla="*/ 12583 h 456178"/>
                    <a:gd name="connsiteX6" fmla="*/ 343334 w 536152"/>
                    <a:gd name="connsiteY6" fmla="*/ 134165 h 456178"/>
                    <a:gd name="connsiteX7" fmla="*/ 469394 w 536152"/>
                    <a:gd name="connsiteY7" fmla="*/ 184288 h 456178"/>
                    <a:gd name="connsiteX8" fmla="*/ 530189 w 536152"/>
                    <a:gd name="connsiteY8" fmla="*/ 251639 h 456178"/>
                    <a:gd name="connsiteX9" fmla="*/ 535129 w 536152"/>
                    <a:gd name="connsiteY9" fmla="*/ 453908 h 456178"/>
                    <a:gd name="connsiteX10" fmla="*/ 14544 w 536152"/>
                    <a:gd name="connsiteY10" fmla="*/ 447558 h 456178"/>
                    <a:gd name="connsiteX0" fmla="*/ 7226 w 542359"/>
                    <a:gd name="connsiteY0" fmla="*/ 450055 h 456488"/>
                    <a:gd name="connsiteX1" fmla="*/ 12165 w 542359"/>
                    <a:gd name="connsiteY1" fmla="*/ 247109 h 456488"/>
                    <a:gd name="connsiteX2" fmla="*/ 100950 w 542359"/>
                    <a:gd name="connsiteY2" fmla="*/ 166126 h 456488"/>
                    <a:gd name="connsiteX3" fmla="*/ 219365 w 542359"/>
                    <a:gd name="connsiteY3" fmla="*/ 118035 h 456488"/>
                    <a:gd name="connsiteX4" fmla="*/ 244651 w 542359"/>
                    <a:gd name="connsiteY4" fmla="*/ 15758 h 456488"/>
                    <a:gd name="connsiteX5" fmla="*/ 339545 w 542359"/>
                    <a:gd name="connsiteY5" fmla="*/ 12583 h 456488"/>
                    <a:gd name="connsiteX6" fmla="*/ 349541 w 542359"/>
                    <a:gd name="connsiteY6" fmla="*/ 134165 h 456488"/>
                    <a:gd name="connsiteX7" fmla="*/ 475601 w 542359"/>
                    <a:gd name="connsiteY7" fmla="*/ 184288 h 456488"/>
                    <a:gd name="connsiteX8" fmla="*/ 536396 w 542359"/>
                    <a:gd name="connsiteY8" fmla="*/ 251639 h 456488"/>
                    <a:gd name="connsiteX9" fmla="*/ 541336 w 542359"/>
                    <a:gd name="connsiteY9" fmla="*/ 453908 h 456488"/>
                    <a:gd name="connsiteX10" fmla="*/ 7226 w 542359"/>
                    <a:gd name="connsiteY10" fmla="*/ 450055 h 456488"/>
                    <a:gd name="connsiteX0" fmla="*/ 7226 w 542359"/>
                    <a:gd name="connsiteY0" fmla="*/ 450055 h 456488"/>
                    <a:gd name="connsiteX1" fmla="*/ 12165 w 542359"/>
                    <a:gd name="connsiteY1" fmla="*/ 247109 h 456488"/>
                    <a:gd name="connsiteX2" fmla="*/ 100950 w 542359"/>
                    <a:gd name="connsiteY2" fmla="*/ 166126 h 456488"/>
                    <a:gd name="connsiteX3" fmla="*/ 219365 w 542359"/>
                    <a:gd name="connsiteY3" fmla="*/ 118035 h 456488"/>
                    <a:gd name="connsiteX4" fmla="*/ 244651 w 542359"/>
                    <a:gd name="connsiteY4" fmla="*/ 15758 h 456488"/>
                    <a:gd name="connsiteX5" fmla="*/ 331430 w 542359"/>
                    <a:gd name="connsiteY5" fmla="*/ 12583 h 456488"/>
                    <a:gd name="connsiteX6" fmla="*/ 349541 w 542359"/>
                    <a:gd name="connsiteY6" fmla="*/ 134165 h 456488"/>
                    <a:gd name="connsiteX7" fmla="*/ 475601 w 542359"/>
                    <a:gd name="connsiteY7" fmla="*/ 184288 h 456488"/>
                    <a:gd name="connsiteX8" fmla="*/ 536396 w 542359"/>
                    <a:gd name="connsiteY8" fmla="*/ 251639 h 456488"/>
                    <a:gd name="connsiteX9" fmla="*/ 541336 w 542359"/>
                    <a:gd name="connsiteY9" fmla="*/ 453908 h 456488"/>
                    <a:gd name="connsiteX10" fmla="*/ 7226 w 542359"/>
                    <a:gd name="connsiteY10" fmla="*/ 450055 h 456488"/>
                    <a:gd name="connsiteX0" fmla="*/ 7226 w 542359"/>
                    <a:gd name="connsiteY0" fmla="*/ 450055 h 456488"/>
                    <a:gd name="connsiteX1" fmla="*/ 12165 w 542359"/>
                    <a:gd name="connsiteY1" fmla="*/ 247109 h 456488"/>
                    <a:gd name="connsiteX2" fmla="*/ 100950 w 542359"/>
                    <a:gd name="connsiteY2" fmla="*/ 166126 h 456488"/>
                    <a:gd name="connsiteX3" fmla="*/ 219365 w 542359"/>
                    <a:gd name="connsiteY3" fmla="*/ 118035 h 456488"/>
                    <a:gd name="connsiteX4" fmla="*/ 244651 w 542359"/>
                    <a:gd name="connsiteY4" fmla="*/ 15758 h 456488"/>
                    <a:gd name="connsiteX5" fmla="*/ 331430 w 542359"/>
                    <a:gd name="connsiteY5" fmla="*/ 12583 h 456488"/>
                    <a:gd name="connsiteX6" fmla="*/ 349541 w 542359"/>
                    <a:gd name="connsiteY6" fmla="*/ 134165 h 456488"/>
                    <a:gd name="connsiteX7" fmla="*/ 483716 w 542359"/>
                    <a:gd name="connsiteY7" fmla="*/ 179293 h 456488"/>
                    <a:gd name="connsiteX8" fmla="*/ 536396 w 542359"/>
                    <a:gd name="connsiteY8" fmla="*/ 251639 h 456488"/>
                    <a:gd name="connsiteX9" fmla="*/ 541336 w 542359"/>
                    <a:gd name="connsiteY9" fmla="*/ 453908 h 456488"/>
                    <a:gd name="connsiteX10" fmla="*/ 7226 w 542359"/>
                    <a:gd name="connsiteY10" fmla="*/ 450055 h 456488"/>
                    <a:gd name="connsiteX0" fmla="*/ 6630 w 541763"/>
                    <a:gd name="connsiteY0" fmla="*/ 450055 h 456488"/>
                    <a:gd name="connsiteX1" fmla="*/ 11569 w 541763"/>
                    <a:gd name="connsiteY1" fmla="*/ 247109 h 456488"/>
                    <a:gd name="connsiteX2" fmla="*/ 89534 w 541763"/>
                    <a:gd name="connsiteY2" fmla="*/ 166126 h 456488"/>
                    <a:gd name="connsiteX3" fmla="*/ 218769 w 541763"/>
                    <a:gd name="connsiteY3" fmla="*/ 118035 h 456488"/>
                    <a:gd name="connsiteX4" fmla="*/ 244055 w 541763"/>
                    <a:gd name="connsiteY4" fmla="*/ 15758 h 456488"/>
                    <a:gd name="connsiteX5" fmla="*/ 330834 w 541763"/>
                    <a:gd name="connsiteY5" fmla="*/ 12583 h 456488"/>
                    <a:gd name="connsiteX6" fmla="*/ 348945 w 541763"/>
                    <a:gd name="connsiteY6" fmla="*/ 134165 h 456488"/>
                    <a:gd name="connsiteX7" fmla="*/ 483120 w 541763"/>
                    <a:gd name="connsiteY7" fmla="*/ 179293 h 456488"/>
                    <a:gd name="connsiteX8" fmla="*/ 535800 w 541763"/>
                    <a:gd name="connsiteY8" fmla="*/ 251639 h 456488"/>
                    <a:gd name="connsiteX9" fmla="*/ 540740 w 541763"/>
                    <a:gd name="connsiteY9" fmla="*/ 453908 h 456488"/>
                    <a:gd name="connsiteX10" fmla="*/ 6630 w 541763"/>
                    <a:gd name="connsiteY10" fmla="*/ 450055 h 456488"/>
                    <a:gd name="connsiteX0" fmla="*/ 4856 w 539989"/>
                    <a:gd name="connsiteY0" fmla="*/ 450055 h 456488"/>
                    <a:gd name="connsiteX1" fmla="*/ 15205 w 539989"/>
                    <a:gd name="connsiteY1" fmla="*/ 227128 h 456488"/>
                    <a:gd name="connsiteX2" fmla="*/ 87760 w 539989"/>
                    <a:gd name="connsiteY2" fmla="*/ 166126 h 456488"/>
                    <a:gd name="connsiteX3" fmla="*/ 216995 w 539989"/>
                    <a:gd name="connsiteY3" fmla="*/ 118035 h 456488"/>
                    <a:gd name="connsiteX4" fmla="*/ 242281 w 539989"/>
                    <a:gd name="connsiteY4" fmla="*/ 15758 h 456488"/>
                    <a:gd name="connsiteX5" fmla="*/ 329060 w 539989"/>
                    <a:gd name="connsiteY5" fmla="*/ 12583 h 456488"/>
                    <a:gd name="connsiteX6" fmla="*/ 347171 w 539989"/>
                    <a:gd name="connsiteY6" fmla="*/ 134165 h 456488"/>
                    <a:gd name="connsiteX7" fmla="*/ 481346 w 539989"/>
                    <a:gd name="connsiteY7" fmla="*/ 179293 h 456488"/>
                    <a:gd name="connsiteX8" fmla="*/ 534026 w 539989"/>
                    <a:gd name="connsiteY8" fmla="*/ 251639 h 456488"/>
                    <a:gd name="connsiteX9" fmla="*/ 538966 w 539989"/>
                    <a:gd name="connsiteY9" fmla="*/ 453908 h 456488"/>
                    <a:gd name="connsiteX10" fmla="*/ 4856 w 539989"/>
                    <a:gd name="connsiteY10" fmla="*/ 450055 h 4564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39989" h="456488">
                      <a:moveTo>
                        <a:pt x="4856" y="450055"/>
                      </a:moveTo>
                      <a:cubicBezTo>
                        <a:pt x="-5198" y="385497"/>
                        <a:pt x="1388" y="274449"/>
                        <a:pt x="15205" y="227128"/>
                      </a:cubicBezTo>
                      <a:cubicBezTo>
                        <a:pt x="29022" y="179807"/>
                        <a:pt x="54128" y="184308"/>
                        <a:pt x="87760" y="166126"/>
                      </a:cubicBezTo>
                      <a:cubicBezTo>
                        <a:pt x="121392" y="147944"/>
                        <a:pt x="191242" y="143096"/>
                        <a:pt x="216995" y="118035"/>
                      </a:cubicBezTo>
                      <a:cubicBezTo>
                        <a:pt x="242748" y="92974"/>
                        <a:pt x="223604" y="33333"/>
                        <a:pt x="242281" y="15758"/>
                      </a:cubicBezTo>
                      <a:cubicBezTo>
                        <a:pt x="260958" y="-1817"/>
                        <a:pt x="311578" y="-7151"/>
                        <a:pt x="329060" y="12583"/>
                      </a:cubicBezTo>
                      <a:cubicBezTo>
                        <a:pt x="346542" y="32317"/>
                        <a:pt x="321790" y="106380"/>
                        <a:pt x="347171" y="134165"/>
                      </a:cubicBezTo>
                      <a:cubicBezTo>
                        <a:pt x="372552" y="161950"/>
                        <a:pt x="450204" y="159714"/>
                        <a:pt x="481346" y="179293"/>
                      </a:cubicBezTo>
                      <a:cubicBezTo>
                        <a:pt x="512489" y="198872"/>
                        <a:pt x="523972" y="202956"/>
                        <a:pt x="534026" y="251639"/>
                      </a:cubicBezTo>
                      <a:cubicBezTo>
                        <a:pt x="537201" y="301381"/>
                        <a:pt x="542141" y="328496"/>
                        <a:pt x="538966" y="453908"/>
                      </a:cubicBezTo>
                      <a:cubicBezTo>
                        <a:pt x="307191" y="461845"/>
                        <a:pt x="250800" y="448827"/>
                        <a:pt x="4856" y="450055"/>
                      </a:cubicBezTo>
                      <a:close/>
                    </a:path>
                  </a:pathLst>
                </a:custGeom>
                <a:solidFill>
                  <a:schemeClr val="bg1"/>
                </a:solidFill>
                <a:ln w="57150">
                  <a:solidFill>
                    <a:schemeClr val="tx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162" name="Oval 161">
                  <a:extLst>
                    <a:ext uri="{FF2B5EF4-FFF2-40B4-BE49-F238E27FC236}">
                      <a16:creationId xmlns:a16="http://schemas.microsoft.com/office/drawing/2014/main" id="{75BFBBCC-CD4A-0F44-ABB2-EA0F9FCD9927}"/>
                    </a:ext>
                  </a:extLst>
                </p:cNvPr>
                <p:cNvSpPr/>
                <p:nvPr/>
              </p:nvSpPr>
              <p:spPr>
                <a:xfrm>
                  <a:off x="1964431" y="3500843"/>
                  <a:ext cx="259337" cy="299858"/>
                </a:xfrm>
                <a:prstGeom prst="ellipse">
                  <a:avLst/>
                </a:prstGeom>
                <a:solidFill>
                  <a:schemeClr val="bg1"/>
                </a:solidFill>
                <a:ln w="57150">
                  <a:solidFill>
                    <a:schemeClr val="tx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grpSp>
        </p:grpSp>
        <p:grpSp>
          <p:nvGrpSpPr>
            <p:cNvPr id="153" name="Group 152">
              <a:extLst>
                <a:ext uri="{FF2B5EF4-FFF2-40B4-BE49-F238E27FC236}">
                  <a16:creationId xmlns:a16="http://schemas.microsoft.com/office/drawing/2014/main" id="{D0707515-76D4-0444-AC4C-A2D2A3448C13}"/>
                </a:ext>
              </a:extLst>
            </p:cNvPr>
            <p:cNvGrpSpPr/>
            <p:nvPr/>
          </p:nvGrpSpPr>
          <p:grpSpPr>
            <a:xfrm>
              <a:off x="2495712" y="4589934"/>
              <a:ext cx="1256698" cy="510604"/>
              <a:chOff x="2495712" y="4589934"/>
              <a:chExt cx="1256698" cy="510604"/>
            </a:xfrm>
            <a:solidFill>
              <a:schemeClr val="tx1">
                <a:lumMod val="50000"/>
              </a:schemeClr>
            </a:solidFill>
          </p:grpSpPr>
          <p:sp>
            <p:nvSpPr>
              <p:cNvPr id="155" name="Rounded Rectangle 154">
                <a:extLst>
                  <a:ext uri="{FF2B5EF4-FFF2-40B4-BE49-F238E27FC236}">
                    <a16:creationId xmlns:a16="http://schemas.microsoft.com/office/drawing/2014/main" id="{4DDBEB20-4AED-6943-A1FE-50E2F2FE669B}"/>
                  </a:ext>
                </a:extLst>
              </p:cNvPr>
              <p:cNvSpPr/>
              <p:nvPr/>
            </p:nvSpPr>
            <p:spPr>
              <a:xfrm>
                <a:off x="2495712" y="4589934"/>
                <a:ext cx="1256697" cy="251941"/>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156" name="Rectangle 155">
                <a:extLst>
                  <a:ext uri="{FF2B5EF4-FFF2-40B4-BE49-F238E27FC236}">
                    <a16:creationId xmlns:a16="http://schemas.microsoft.com/office/drawing/2014/main" id="{65F0B4F9-94DE-3543-B305-6EE31AFB5BC3}"/>
                  </a:ext>
                </a:extLst>
              </p:cNvPr>
              <p:cNvSpPr/>
              <p:nvPr/>
            </p:nvSpPr>
            <p:spPr>
              <a:xfrm>
                <a:off x="2498725" y="4797790"/>
                <a:ext cx="1253685" cy="13315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157" name="Rectangle 156">
                <a:extLst>
                  <a:ext uri="{FF2B5EF4-FFF2-40B4-BE49-F238E27FC236}">
                    <a16:creationId xmlns:a16="http://schemas.microsoft.com/office/drawing/2014/main" id="{99DB351F-D164-FC4E-85FB-5E22C15FC498}"/>
                  </a:ext>
                </a:extLst>
              </p:cNvPr>
              <p:cNvSpPr/>
              <p:nvPr/>
            </p:nvSpPr>
            <p:spPr>
              <a:xfrm>
                <a:off x="2546350" y="4923041"/>
                <a:ext cx="109152" cy="17749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158" name="Rectangle 157">
                <a:extLst>
                  <a:ext uri="{FF2B5EF4-FFF2-40B4-BE49-F238E27FC236}">
                    <a16:creationId xmlns:a16="http://schemas.microsoft.com/office/drawing/2014/main" id="{6DAEE91D-92F2-5F4D-BF86-2D56D108C198}"/>
                  </a:ext>
                </a:extLst>
              </p:cNvPr>
              <p:cNvSpPr/>
              <p:nvPr/>
            </p:nvSpPr>
            <p:spPr>
              <a:xfrm>
                <a:off x="3610945" y="4923041"/>
                <a:ext cx="109152" cy="17749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grpSp>
        <p:sp>
          <p:nvSpPr>
            <p:cNvPr id="154" name="Trapezoid 153">
              <a:extLst>
                <a:ext uri="{FF2B5EF4-FFF2-40B4-BE49-F238E27FC236}">
                  <a16:creationId xmlns:a16="http://schemas.microsoft.com/office/drawing/2014/main" id="{4F68AE5E-9834-0F4F-AF36-C6EB39D55C88}"/>
                </a:ext>
              </a:extLst>
            </p:cNvPr>
            <p:cNvSpPr/>
            <p:nvPr/>
          </p:nvSpPr>
          <p:spPr>
            <a:xfrm>
              <a:off x="2655502" y="4181475"/>
              <a:ext cx="958850" cy="363303"/>
            </a:xfrm>
            <a:prstGeom prst="trapezoid">
              <a:avLst/>
            </a:prstGeom>
            <a:solidFill>
              <a:schemeClr val="tx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grpSp>
      <p:grpSp>
        <p:nvGrpSpPr>
          <p:cNvPr id="165" name="Group 164">
            <a:extLst>
              <a:ext uri="{FF2B5EF4-FFF2-40B4-BE49-F238E27FC236}">
                <a16:creationId xmlns:a16="http://schemas.microsoft.com/office/drawing/2014/main" id="{A120FEB3-E489-F347-8126-6D150B5DB0CB}"/>
              </a:ext>
            </a:extLst>
          </p:cNvPr>
          <p:cNvGrpSpPr/>
          <p:nvPr/>
        </p:nvGrpSpPr>
        <p:grpSpPr>
          <a:xfrm>
            <a:off x="11683291" y="3932505"/>
            <a:ext cx="1025213" cy="1261037"/>
            <a:chOff x="2441771" y="3385414"/>
            <a:chExt cx="1325481" cy="1781019"/>
          </a:xfrm>
        </p:grpSpPr>
        <p:pic>
          <p:nvPicPr>
            <p:cNvPr id="166" name="Picture 165">
              <a:extLst>
                <a:ext uri="{FF2B5EF4-FFF2-40B4-BE49-F238E27FC236}">
                  <a16:creationId xmlns:a16="http://schemas.microsoft.com/office/drawing/2014/main" id="{A269C55A-9930-E148-B705-8C17A6A74126}"/>
                </a:ext>
              </a:extLst>
            </p:cNvPr>
            <p:cNvPicPr>
              <a:picLocks noChangeAspect="1"/>
            </p:cNvPicPr>
            <p:nvPr/>
          </p:nvPicPr>
          <p:blipFill rotWithShape="1">
            <a:blip r:embed="rId2"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a:xfrm>
              <a:off x="2441771" y="3385414"/>
              <a:ext cx="1325481" cy="1781019"/>
            </a:xfrm>
            <a:prstGeom prst="rect">
              <a:avLst/>
            </a:prstGeom>
          </p:spPr>
        </p:pic>
        <p:sp>
          <p:nvSpPr>
            <p:cNvPr id="167" name="Rounded Rectangle 166">
              <a:extLst>
                <a:ext uri="{FF2B5EF4-FFF2-40B4-BE49-F238E27FC236}">
                  <a16:creationId xmlns:a16="http://schemas.microsoft.com/office/drawing/2014/main" id="{5E312A27-6C69-AB45-8855-2F6EE3EC7D8F}"/>
                </a:ext>
              </a:extLst>
            </p:cNvPr>
            <p:cNvSpPr/>
            <p:nvPr/>
          </p:nvSpPr>
          <p:spPr>
            <a:xfrm>
              <a:off x="2655502" y="3670300"/>
              <a:ext cx="958850" cy="436656"/>
            </a:xfrm>
            <a:prstGeom prst="roundRect">
              <a:avLst/>
            </a:prstGeom>
            <a:solidFill>
              <a:schemeClr val="tx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grpSp>
          <p:nvGrpSpPr>
            <p:cNvPr id="168" name="Group 167">
              <a:extLst>
                <a:ext uri="{FF2B5EF4-FFF2-40B4-BE49-F238E27FC236}">
                  <a16:creationId xmlns:a16="http://schemas.microsoft.com/office/drawing/2014/main" id="{2B73D163-32E9-D048-8DD7-7A90ABE6E2BC}"/>
                </a:ext>
              </a:extLst>
            </p:cNvPr>
            <p:cNvGrpSpPr/>
            <p:nvPr/>
          </p:nvGrpSpPr>
          <p:grpSpPr>
            <a:xfrm>
              <a:off x="2776471" y="3456093"/>
              <a:ext cx="748710" cy="1056883"/>
              <a:chOff x="1496718" y="3334932"/>
              <a:chExt cx="748710" cy="1056883"/>
            </a:xfrm>
          </p:grpSpPr>
          <p:grpSp>
            <p:nvGrpSpPr>
              <p:cNvPr id="175" name="Group 174">
                <a:extLst>
                  <a:ext uri="{FF2B5EF4-FFF2-40B4-BE49-F238E27FC236}">
                    <a16:creationId xmlns:a16="http://schemas.microsoft.com/office/drawing/2014/main" id="{B99AEAD0-DA73-2B49-845F-798A276F402C}"/>
                  </a:ext>
                </a:extLst>
              </p:cNvPr>
              <p:cNvGrpSpPr/>
              <p:nvPr/>
            </p:nvGrpSpPr>
            <p:grpSpPr>
              <a:xfrm>
                <a:off x="1496718" y="3334932"/>
                <a:ext cx="748710" cy="1056883"/>
                <a:chOff x="1843570" y="3508300"/>
                <a:chExt cx="514980" cy="727982"/>
              </a:xfrm>
              <a:solidFill>
                <a:schemeClr val="bg1"/>
              </a:solidFill>
            </p:grpSpPr>
            <p:sp>
              <p:nvSpPr>
                <p:cNvPr id="179" name="Freeform 178">
                  <a:extLst>
                    <a:ext uri="{FF2B5EF4-FFF2-40B4-BE49-F238E27FC236}">
                      <a16:creationId xmlns:a16="http://schemas.microsoft.com/office/drawing/2014/main" id="{807D4281-10CF-FF4D-80F8-865723B7731F}"/>
                    </a:ext>
                  </a:extLst>
                </p:cNvPr>
                <p:cNvSpPr/>
                <p:nvPr/>
              </p:nvSpPr>
              <p:spPr>
                <a:xfrm>
                  <a:off x="1843570" y="3787509"/>
                  <a:ext cx="514980" cy="448773"/>
                </a:xfrm>
                <a:custGeom>
                  <a:avLst/>
                  <a:gdLst>
                    <a:gd name="connsiteX0" fmla="*/ 36807 w 576731"/>
                    <a:gd name="connsiteY0" fmla="*/ 449906 h 505924"/>
                    <a:gd name="connsiteX1" fmla="*/ 39982 w 576731"/>
                    <a:gd name="connsiteY1" fmla="*/ 214956 h 505924"/>
                    <a:gd name="connsiteX2" fmla="*/ 55857 w 576731"/>
                    <a:gd name="connsiteY2" fmla="*/ 176856 h 505924"/>
                    <a:gd name="connsiteX3" fmla="*/ 103482 w 576731"/>
                    <a:gd name="connsiteY3" fmla="*/ 160981 h 505924"/>
                    <a:gd name="connsiteX4" fmla="*/ 205082 w 576731"/>
                    <a:gd name="connsiteY4" fmla="*/ 154631 h 505924"/>
                    <a:gd name="connsiteX5" fmla="*/ 230482 w 576731"/>
                    <a:gd name="connsiteY5" fmla="*/ 151456 h 505924"/>
                    <a:gd name="connsiteX6" fmla="*/ 233657 w 576731"/>
                    <a:gd name="connsiteY6" fmla="*/ 18106 h 505924"/>
                    <a:gd name="connsiteX7" fmla="*/ 344782 w 576731"/>
                    <a:gd name="connsiteY7" fmla="*/ 14931 h 505924"/>
                    <a:gd name="connsiteX8" fmla="*/ 344782 w 576731"/>
                    <a:gd name="connsiteY8" fmla="*/ 145106 h 505924"/>
                    <a:gd name="connsiteX9" fmla="*/ 386057 w 576731"/>
                    <a:gd name="connsiteY9" fmla="*/ 151456 h 505924"/>
                    <a:gd name="connsiteX10" fmla="*/ 478132 w 576731"/>
                    <a:gd name="connsiteY10" fmla="*/ 164156 h 505924"/>
                    <a:gd name="connsiteX11" fmla="*/ 519407 w 576731"/>
                    <a:gd name="connsiteY11" fmla="*/ 189556 h 505924"/>
                    <a:gd name="connsiteX12" fmla="*/ 541632 w 576731"/>
                    <a:gd name="connsiteY12" fmla="*/ 234006 h 505924"/>
                    <a:gd name="connsiteX13" fmla="*/ 538457 w 576731"/>
                    <a:gd name="connsiteY13" fmla="*/ 488006 h 505924"/>
                    <a:gd name="connsiteX14" fmla="*/ 36807 w 576731"/>
                    <a:gd name="connsiteY14" fmla="*/ 449906 h 505924"/>
                    <a:gd name="connsiteX0" fmla="*/ 5769 w 545693"/>
                    <a:gd name="connsiteY0" fmla="*/ 449906 h 505924"/>
                    <a:gd name="connsiteX1" fmla="*/ 8944 w 545693"/>
                    <a:gd name="connsiteY1" fmla="*/ 214956 h 505924"/>
                    <a:gd name="connsiteX2" fmla="*/ 24819 w 545693"/>
                    <a:gd name="connsiteY2" fmla="*/ 176856 h 505924"/>
                    <a:gd name="connsiteX3" fmla="*/ 72444 w 545693"/>
                    <a:gd name="connsiteY3" fmla="*/ 160981 h 505924"/>
                    <a:gd name="connsiteX4" fmla="*/ 174044 w 545693"/>
                    <a:gd name="connsiteY4" fmla="*/ 154631 h 505924"/>
                    <a:gd name="connsiteX5" fmla="*/ 199444 w 545693"/>
                    <a:gd name="connsiteY5" fmla="*/ 151456 h 505924"/>
                    <a:gd name="connsiteX6" fmla="*/ 202619 w 545693"/>
                    <a:gd name="connsiteY6" fmla="*/ 18106 h 505924"/>
                    <a:gd name="connsiteX7" fmla="*/ 313744 w 545693"/>
                    <a:gd name="connsiteY7" fmla="*/ 14931 h 505924"/>
                    <a:gd name="connsiteX8" fmla="*/ 313744 w 545693"/>
                    <a:gd name="connsiteY8" fmla="*/ 145106 h 505924"/>
                    <a:gd name="connsiteX9" fmla="*/ 355019 w 545693"/>
                    <a:gd name="connsiteY9" fmla="*/ 151456 h 505924"/>
                    <a:gd name="connsiteX10" fmla="*/ 447094 w 545693"/>
                    <a:gd name="connsiteY10" fmla="*/ 164156 h 505924"/>
                    <a:gd name="connsiteX11" fmla="*/ 488369 w 545693"/>
                    <a:gd name="connsiteY11" fmla="*/ 189556 h 505924"/>
                    <a:gd name="connsiteX12" fmla="*/ 510594 w 545693"/>
                    <a:gd name="connsiteY12" fmla="*/ 234006 h 505924"/>
                    <a:gd name="connsiteX13" fmla="*/ 507419 w 545693"/>
                    <a:gd name="connsiteY13" fmla="*/ 488006 h 505924"/>
                    <a:gd name="connsiteX14" fmla="*/ 5769 w 545693"/>
                    <a:gd name="connsiteY14" fmla="*/ 449906 h 505924"/>
                    <a:gd name="connsiteX0" fmla="*/ 21286 w 561210"/>
                    <a:gd name="connsiteY0" fmla="*/ 449906 h 508025"/>
                    <a:gd name="connsiteX1" fmla="*/ 24461 w 561210"/>
                    <a:gd name="connsiteY1" fmla="*/ 214956 h 508025"/>
                    <a:gd name="connsiteX2" fmla="*/ 40336 w 561210"/>
                    <a:gd name="connsiteY2" fmla="*/ 176856 h 508025"/>
                    <a:gd name="connsiteX3" fmla="*/ 87961 w 561210"/>
                    <a:gd name="connsiteY3" fmla="*/ 160981 h 508025"/>
                    <a:gd name="connsiteX4" fmla="*/ 189561 w 561210"/>
                    <a:gd name="connsiteY4" fmla="*/ 154631 h 508025"/>
                    <a:gd name="connsiteX5" fmla="*/ 214961 w 561210"/>
                    <a:gd name="connsiteY5" fmla="*/ 151456 h 508025"/>
                    <a:gd name="connsiteX6" fmla="*/ 218136 w 561210"/>
                    <a:gd name="connsiteY6" fmla="*/ 18106 h 508025"/>
                    <a:gd name="connsiteX7" fmla="*/ 329261 w 561210"/>
                    <a:gd name="connsiteY7" fmla="*/ 14931 h 508025"/>
                    <a:gd name="connsiteX8" fmla="*/ 329261 w 561210"/>
                    <a:gd name="connsiteY8" fmla="*/ 145106 h 508025"/>
                    <a:gd name="connsiteX9" fmla="*/ 370536 w 561210"/>
                    <a:gd name="connsiteY9" fmla="*/ 151456 h 508025"/>
                    <a:gd name="connsiteX10" fmla="*/ 462611 w 561210"/>
                    <a:gd name="connsiteY10" fmla="*/ 164156 h 508025"/>
                    <a:gd name="connsiteX11" fmla="*/ 503886 w 561210"/>
                    <a:gd name="connsiteY11" fmla="*/ 189556 h 508025"/>
                    <a:gd name="connsiteX12" fmla="*/ 526111 w 561210"/>
                    <a:gd name="connsiteY12" fmla="*/ 234006 h 508025"/>
                    <a:gd name="connsiteX13" fmla="*/ 522936 w 561210"/>
                    <a:gd name="connsiteY13" fmla="*/ 488006 h 508025"/>
                    <a:gd name="connsiteX14" fmla="*/ 21286 w 561210"/>
                    <a:gd name="connsiteY14" fmla="*/ 449906 h 508025"/>
                    <a:gd name="connsiteX0" fmla="*/ 21286 w 561210"/>
                    <a:gd name="connsiteY0" fmla="*/ 449906 h 508025"/>
                    <a:gd name="connsiteX1" fmla="*/ 24461 w 561210"/>
                    <a:gd name="connsiteY1" fmla="*/ 214956 h 508025"/>
                    <a:gd name="connsiteX2" fmla="*/ 40336 w 561210"/>
                    <a:gd name="connsiteY2" fmla="*/ 176856 h 508025"/>
                    <a:gd name="connsiteX3" fmla="*/ 87961 w 561210"/>
                    <a:gd name="connsiteY3" fmla="*/ 160981 h 508025"/>
                    <a:gd name="connsiteX4" fmla="*/ 189561 w 561210"/>
                    <a:gd name="connsiteY4" fmla="*/ 154631 h 508025"/>
                    <a:gd name="connsiteX5" fmla="*/ 214961 w 561210"/>
                    <a:gd name="connsiteY5" fmla="*/ 151456 h 508025"/>
                    <a:gd name="connsiteX6" fmla="*/ 218136 w 561210"/>
                    <a:gd name="connsiteY6" fmla="*/ 18106 h 508025"/>
                    <a:gd name="connsiteX7" fmla="*/ 329261 w 561210"/>
                    <a:gd name="connsiteY7" fmla="*/ 14931 h 508025"/>
                    <a:gd name="connsiteX8" fmla="*/ 329261 w 561210"/>
                    <a:gd name="connsiteY8" fmla="*/ 145106 h 508025"/>
                    <a:gd name="connsiteX9" fmla="*/ 370536 w 561210"/>
                    <a:gd name="connsiteY9" fmla="*/ 151456 h 508025"/>
                    <a:gd name="connsiteX10" fmla="*/ 462611 w 561210"/>
                    <a:gd name="connsiteY10" fmla="*/ 164156 h 508025"/>
                    <a:gd name="connsiteX11" fmla="*/ 503886 w 561210"/>
                    <a:gd name="connsiteY11" fmla="*/ 189556 h 508025"/>
                    <a:gd name="connsiteX12" fmla="*/ 526111 w 561210"/>
                    <a:gd name="connsiteY12" fmla="*/ 234006 h 508025"/>
                    <a:gd name="connsiteX13" fmla="*/ 522936 w 561210"/>
                    <a:gd name="connsiteY13" fmla="*/ 488006 h 508025"/>
                    <a:gd name="connsiteX14" fmla="*/ 21286 w 561210"/>
                    <a:gd name="connsiteY14" fmla="*/ 449906 h 508025"/>
                    <a:gd name="connsiteX0" fmla="*/ 4360 w 544284"/>
                    <a:gd name="connsiteY0" fmla="*/ 449906 h 508025"/>
                    <a:gd name="connsiteX1" fmla="*/ 7535 w 544284"/>
                    <a:gd name="connsiteY1" fmla="*/ 214956 h 508025"/>
                    <a:gd name="connsiteX2" fmla="*/ 23410 w 544284"/>
                    <a:gd name="connsiteY2" fmla="*/ 176856 h 508025"/>
                    <a:gd name="connsiteX3" fmla="*/ 71035 w 544284"/>
                    <a:gd name="connsiteY3" fmla="*/ 160981 h 508025"/>
                    <a:gd name="connsiteX4" fmla="*/ 172635 w 544284"/>
                    <a:gd name="connsiteY4" fmla="*/ 154631 h 508025"/>
                    <a:gd name="connsiteX5" fmla="*/ 198035 w 544284"/>
                    <a:gd name="connsiteY5" fmla="*/ 151456 h 508025"/>
                    <a:gd name="connsiteX6" fmla="*/ 201210 w 544284"/>
                    <a:gd name="connsiteY6" fmla="*/ 18106 h 508025"/>
                    <a:gd name="connsiteX7" fmla="*/ 312335 w 544284"/>
                    <a:gd name="connsiteY7" fmla="*/ 14931 h 508025"/>
                    <a:gd name="connsiteX8" fmla="*/ 312335 w 544284"/>
                    <a:gd name="connsiteY8" fmla="*/ 145106 h 508025"/>
                    <a:gd name="connsiteX9" fmla="*/ 353610 w 544284"/>
                    <a:gd name="connsiteY9" fmla="*/ 151456 h 508025"/>
                    <a:gd name="connsiteX10" fmla="*/ 445685 w 544284"/>
                    <a:gd name="connsiteY10" fmla="*/ 164156 h 508025"/>
                    <a:gd name="connsiteX11" fmla="*/ 486960 w 544284"/>
                    <a:gd name="connsiteY11" fmla="*/ 189556 h 508025"/>
                    <a:gd name="connsiteX12" fmla="*/ 509185 w 544284"/>
                    <a:gd name="connsiteY12" fmla="*/ 234006 h 508025"/>
                    <a:gd name="connsiteX13" fmla="*/ 506010 w 544284"/>
                    <a:gd name="connsiteY13" fmla="*/ 488006 h 508025"/>
                    <a:gd name="connsiteX14" fmla="*/ 4360 w 544284"/>
                    <a:gd name="connsiteY14" fmla="*/ 449906 h 508025"/>
                    <a:gd name="connsiteX0" fmla="*/ 4360 w 544284"/>
                    <a:gd name="connsiteY0" fmla="*/ 449906 h 500804"/>
                    <a:gd name="connsiteX1" fmla="*/ 7535 w 544284"/>
                    <a:gd name="connsiteY1" fmla="*/ 214956 h 500804"/>
                    <a:gd name="connsiteX2" fmla="*/ 23410 w 544284"/>
                    <a:gd name="connsiteY2" fmla="*/ 176856 h 500804"/>
                    <a:gd name="connsiteX3" fmla="*/ 71035 w 544284"/>
                    <a:gd name="connsiteY3" fmla="*/ 160981 h 500804"/>
                    <a:gd name="connsiteX4" fmla="*/ 172635 w 544284"/>
                    <a:gd name="connsiteY4" fmla="*/ 154631 h 500804"/>
                    <a:gd name="connsiteX5" fmla="*/ 198035 w 544284"/>
                    <a:gd name="connsiteY5" fmla="*/ 151456 h 500804"/>
                    <a:gd name="connsiteX6" fmla="*/ 201210 w 544284"/>
                    <a:gd name="connsiteY6" fmla="*/ 18106 h 500804"/>
                    <a:gd name="connsiteX7" fmla="*/ 312335 w 544284"/>
                    <a:gd name="connsiteY7" fmla="*/ 14931 h 500804"/>
                    <a:gd name="connsiteX8" fmla="*/ 312335 w 544284"/>
                    <a:gd name="connsiteY8" fmla="*/ 145106 h 500804"/>
                    <a:gd name="connsiteX9" fmla="*/ 353610 w 544284"/>
                    <a:gd name="connsiteY9" fmla="*/ 151456 h 500804"/>
                    <a:gd name="connsiteX10" fmla="*/ 445685 w 544284"/>
                    <a:gd name="connsiteY10" fmla="*/ 164156 h 500804"/>
                    <a:gd name="connsiteX11" fmla="*/ 486960 w 544284"/>
                    <a:gd name="connsiteY11" fmla="*/ 189556 h 500804"/>
                    <a:gd name="connsiteX12" fmla="*/ 509185 w 544284"/>
                    <a:gd name="connsiteY12" fmla="*/ 234006 h 500804"/>
                    <a:gd name="connsiteX13" fmla="*/ 506010 w 544284"/>
                    <a:gd name="connsiteY13" fmla="*/ 488006 h 500804"/>
                    <a:gd name="connsiteX14" fmla="*/ 4360 w 544284"/>
                    <a:gd name="connsiteY14" fmla="*/ 449906 h 500804"/>
                    <a:gd name="connsiteX0" fmla="*/ 4360 w 544284"/>
                    <a:gd name="connsiteY0" fmla="*/ 449906 h 500804"/>
                    <a:gd name="connsiteX1" fmla="*/ 7535 w 544284"/>
                    <a:gd name="connsiteY1" fmla="*/ 214956 h 500804"/>
                    <a:gd name="connsiteX2" fmla="*/ 23410 w 544284"/>
                    <a:gd name="connsiteY2" fmla="*/ 176856 h 500804"/>
                    <a:gd name="connsiteX3" fmla="*/ 71035 w 544284"/>
                    <a:gd name="connsiteY3" fmla="*/ 160981 h 500804"/>
                    <a:gd name="connsiteX4" fmla="*/ 172635 w 544284"/>
                    <a:gd name="connsiteY4" fmla="*/ 154631 h 500804"/>
                    <a:gd name="connsiteX5" fmla="*/ 198035 w 544284"/>
                    <a:gd name="connsiteY5" fmla="*/ 151456 h 500804"/>
                    <a:gd name="connsiteX6" fmla="*/ 201210 w 544284"/>
                    <a:gd name="connsiteY6" fmla="*/ 18106 h 500804"/>
                    <a:gd name="connsiteX7" fmla="*/ 312335 w 544284"/>
                    <a:gd name="connsiteY7" fmla="*/ 14931 h 500804"/>
                    <a:gd name="connsiteX8" fmla="*/ 312335 w 544284"/>
                    <a:gd name="connsiteY8" fmla="*/ 145106 h 500804"/>
                    <a:gd name="connsiteX9" fmla="*/ 353610 w 544284"/>
                    <a:gd name="connsiteY9" fmla="*/ 151456 h 500804"/>
                    <a:gd name="connsiteX10" fmla="*/ 445685 w 544284"/>
                    <a:gd name="connsiteY10" fmla="*/ 164156 h 500804"/>
                    <a:gd name="connsiteX11" fmla="*/ 486960 w 544284"/>
                    <a:gd name="connsiteY11" fmla="*/ 189556 h 500804"/>
                    <a:gd name="connsiteX12" fmla="*/ 509185 w 544284"/>
                    <a:gd name="connsiteY12" fmla="*/ 234006 h 500804"/>
                    <a:gd name="connsiteX13" fmla="*/ 506010 w 544284"/>
                    <a:gd name="connsiteY13" fmla="*/ 488006 h 500804"/>
                    <a:gd name="connsiteX14" fmla="*/ 4360 w 544284"/>
                    <a:gd name="connsiteY14" fmla="*/ 449906 h 500804"/>
                    <a:gd name="connsiteX0" fmla="*/ 4360 w 519024"/>
                    <a:gd name="connsiteY0" fmla="*/ 449906 h 500804"/>
                    <a:gd name="connsiteX1" fmla="*/ 7535 w 519024"/>
                    <a:gd name="connsiteY1" fmla="*/ 214956 h 500804"/>
                    <a:gd name="connsiteX2" fmla="*/ 23410 w 519024"/>
                    <a:gd name="connsiteY2" fmla="*/ 176856 h 500804"/>
                    <a:gd name="connsiteX3" fmla="*/ 71035 w 519024"/>
                    <a:gd name="connsiteY3" fmla="*/ 160981 h 500804"/>
                    <a:gd name="connsiteX4" fmla="*/ 172635 w 519024"/>
                    <a:gd name="connsiteY4" fmla="*/ 154631 h 500804"/>
                    <a:gd name="connsiteX5" fmla="*/ 198035 w 519024"/>
                    <a:gd name="connsiteY5" fmla="*/ 151456 h 500804"/>
                    <a:gd name="connsiteX6" fmla="*/ 201210 w 519024"/>
                    <a:gd name="connsiteY6" fmla="*/ 18106 h 500804"/>
                    <a:gd name="connsiteX7" fmla="*/ 312335 w 519024"/>
                    <a:gd name="connsiteY7" fmla="*/ 14931 h 500804"/>
                    <a:gd name="connsiteX8" fmla="*/ 312335 w 519024"/>
                    <a:gd name="connsiteY8" fmla="*/ 145106 h 500804"/>
                    <a:gd name="connsiteX9" fmla="*/ 353610 w 519024"/>
                    <a:gd name="connsiteY9" fmla="*/ 151456 h 500804"/>
                    <a:gd name="connsiteX10" fmla="*/ 445685 w 519024"/>
                    <a:gd name="connsiteY10" fmla="*/ 164156 h 500804"/>
                    <a:gd name="connsiteX11" fmla="*/ 486960 w 519024"/>
                    <a:gd name="connsiteY11" fmla="*/ 189556 h 500804"/>
                    <a:gd name="connsiteX12" fmla="*/ 509185 w 519024"/>
                    <a:gd name="connsiteY12" fmla="*/ 234006 h 500804"/>
                    <a:gd name="connsiteX13" fmla="*/ 506010 w 519024"/>
                    <a:gd name="connsiteY13" fmla="*/ 488006 h 500804"/>
                    <a:gd name="connsiteX14" fmla="*/ 4360 w 519024"/>
                    <a:gd name="connsiteY14" fmla="*/ 449906 h 500804"/>
                    <a:gd name="connsiteX0" fmla="*/ 4360 w 519024"/>
                    <a:gd name="connsiteY0" fmla="*/ 449906 h 488006"/>
                    <a:gd name="connsiteX1" fmla="*/ 7535 w 519024"/>
                    <a:gd name="connsiteY1" fmla="*/ 214956 h 488006"/>
                    <a:gd name="connsiteX2" fmla="*/ 23410 w 519024"/>
                    <a:gd name="connsiteY2" fmla="*/ 176856 h 488006"/>
                    <a:gd name="connsiteX3" fmla="*/ 71035 w 519024"/>
                    <a:gd name="connsiteY3" fmla="*/ 160981 h 488006"/>
                    <a:gd name="connsiteX4" fmla="*/ 172635 w 519024"/>
                    <a:gd name="connsiteY4" fmla="*/ 154631 h 488006"/>
                    <a:gd name="connsiteX5" fmla="*/ 198035 w 519024"/>
                    <a:gd name="connsiteY5" fmla="*/ 151456 h 488006"/>
                    <a:gd name="connsiteX6" fmla="*/ 201210 w 519024"/>
                    <a:gd name="connsiteY6" fmla="*/ 18106 h 488006"/>
                    <a:gd name="connsiteX7" fmla="*/ 312335 w 519024"/>
                    <a:gd name="connsiteY7" fmla="*/ 14931 h 488006"/>
                    <a:gd name="connsiteX8" fmla="*/ 312335 w 519024"/>
                    <a:gd name="connsiteY8" fmla="*/ 145106 h 488006"/>
                    <a:gd name="connsiteX9" fmla="*/ 353610 w 519024"/>
                    <a:gd name="connsiteY9" fmla="*/ 151456 h 488006"/>
                    <a:gd name="connsiteX10" fmla="*/ 445685 w 519024"/>
                    <a:gd name="connsiteY10" fmla="*/ 164156 h 488006"/>
                    <a:gd name="connsiteX11" fmla="*/ 486960 w 519024"/>
                    <a:gd name="connsiteY11" fmla="*/ 189556 h 488006"/>
                    <a:gd name="connsiteX12" fmla="*/ 509185 w 519024"/>
                    <a:gd name="connsiteY12" fmla="*/ 234006 h 488006"/>
                    <a:gd name="connsiteX13" fmla="*/ 506010 w 519024"/>
                    <a:gd name="connsiteY13" fmla="*/ 488006 h 488006"/>
                    <a:gd name="connsiteX14" fmla="*/ 4360 w 519024"/>
                    <a:gd name="connsiteY14" fmla="*/ 449906 h 488006"/>
                    <a:gd name="connsiteX0" fmla="*/ 4360 w 523534"/>
                    <a:gd name="connsiteY0" fmla="*/ 449906 h 472131"/>
                    <a:gd name="connsiteX1" fmla="*/ 7535 w 523534"/>
                    <a:gd name="connsiteY1" fmla="*/ 214956 h 472131"/>
                    <a:gd name="connsiteX2" fmla="*/ 23410 w 523534"/>
                    <a:gd name="connsiteY2" fmla="*/ 176856 h 472131"/>
                    <a:gd name="connsiteX3" fmla="*/ 71035 w 523534"/>
                    <a:gd name="connsiteY3" fmla="*/ 160981 h 472131"/>
                    <a:gd name="connsiteX4" fmla="*/ 172635 w 523534"/>
                    <a:gd name="connsiteY4" fmla="*/ 154631 h 472131"/>
                    <a:gd name="connsiteX5" fmla="*/ 198035 w 523534"/>
                    <a:gd name="connsiteY5" fmla="*/ 151456 h 472131"/>
                    <a:gd name="connsiteX6" fmla="*/ 201210 w 523534"/>
                    <a:gd name="connsiteY6" fmla="*/ 18106 h 472131"/>
                    <a:gd name="connsiteX7" fmla="*/ 312335 w 523534"/>
                    <a:gd name="connsiteY7" fmla="*/ 14931 h 472131"/>
                    <a:gd name="connsiteX8" fmla="*/ 312335 w 523534"/>
                    <a:gd name="connsiteY8" fmla="*/ 145106 h 472131"/>
                    <a:gd name="connsiteX9" fmla="*/ 353610 w 523534"/>
                    <a:gd name="connsiteY9" fmla="*/ 151456 h 472131"/>
                    <a:gd name="connsiteX10" fmla="*/ 445685 w 523534"/>
                    <a:gd name="connsiteY10" fmla="*/ 164156 h 472131"/>
                    <a:gd name="connsiteX11" fmla="*/ 486960 w 523534"/>
                    <a:gd name="connsiteY11" fmla="*/ 189556 h 472131"/>
                    <a:gd name="connsiteX12" fmla="*/ 509185 w 523534"/>
                    <a:gd name="connsiteY12" fmla="*/ 234006 h 472131"/>
                    <a:gd name="connsiteX13" fmla="*/ 512360 w 523534"/>
                    <a:gd name="connsiteY13" fmla="*/ 472131 h 472131"/>
                    <a:gd name="connsiteX14" fmla="*/ 4360 w 523534"/>
                    <a:gd name="connsiteY14" fmla="*/ 449906 h 472131"/>
                    <a:gd name="connsiteX0" fmla="*/ 4360 w 513675"/>
                    <a:gd name="connsiteY0" fmla="*/ 449906 h 472131"/>
                    <a:gd name="connsiteX1" fmla="*/ 7535 w 513675"/>
                    <a:gd name="connsiteY1" fmla="*/ 214956 h 472131"/>
                    <a:gd name="connsiteX2" fmla="*/ 23410 w 513675"/>
                    <a:gd name="connsiteY2" fmla="*/ 176856 h 472131"/>
                    <a:gd name="connsiteX3" fmla="*/ 71035 w 513675"/>
                    <a:gd name="connsiteY3" fmla="*/ 160981 h 472131"/>
                    <a:gd name="connsiteX4" fmla="*/ 172635 w 513675"/>
                    <a:gd name="connsiteY4" fmla="*/ 154631 h 472131"/>
                    <a:gd name="connsiteX5" fmla="*/ 198035 w 513675"/>
                    <a:gd name="connsiteY5" fmla="*/ 151456 h 472131"/>
                    <a:gd name="connsiteX6" fmla="*/ 201210 w 513675"/>
                    <a:gd name="connsiteY6" fmla="*/ 18106 h 472131"/>
                    <a:gd name="connsiteX7" fmla="*/ 312335 w 513675"/>
                    <a:gd name="connsiteY7" fmla="*/ 14931 h 472131"/>
                    <a:gd name="connsiteX8" fmla="*/ 312335 w 513675"/>
                    <a:gd name="connsiteY8" fmla="*/ 145106 h 472131"/>
                    <a:gd name="connsiteX9" fmla="*/ 353610 w 513675"/>
                    <a:gd name="connsiteY9" fmla="*/ 151456 h 472131"/>
                    <a:gd name="connsiteX10" fmla="*/ 445685 w 513675"/>
                    <a:gd name="connsiteY10" fmla="*/ 164156 h 472131"/>
                    <a:gd name="connsiteX11" fmla="*/ 486960 w 513675"/>
                    <a:gd name="connsiteY11" fmla="*/ 189556 h 472131"/>
                    <a:gd name="connsiteX12" fmla="*/ 509185 w 513675"/>
                    <a:gd name="connsiteY12" fmla="*/ 234006 h 472131"/>
                    <a:gd name="connsiteX13" fmla="*/ 512360 w 513675"/>
                    <a:gd name="connsiteY13" fmla="*/ 472131 h 472131"/>
                    <a:gd name="connsiteX14" fmla="*/ 4360 w 513675"/>
                    <a:gd name="connsiteY14" fmla="*/ 449906 h 472131"/>
                    <a:gd name="connsiteX0" fmla="*/ 4360 w 513675"/>
                    <a:gd name="connsiteY0" fmla="*/ 446969 h 469194"/>
                    <a:gd name="connsiteX1" fmla="*/ 7535 w 513675"/>
                    <a:gd name="connsiteY1" fmla="*/ 212019 h 469194"/>
                    <a:gd name="connsiteX2" fmla="*/ 23410 w 513675"/>
                    <a:gd name="connsiteY2" fmla="*/ 173919 h 469194"/>
                    <a:gd name="connsiteX3" fmla="*/ 71035 w 513675"/>
                    <a:gd name="connsiteY3" fmla="*/ 158044 h 469194"/>
                    <a:gd name="connsiteX4" fmla="*/ 172635 w 513675"/>
                    <a:gd name="connsiteY4" fmla="*/ 151694 h 469194"/>
                    <a:gd name="connsiteX5" fmla="*/ 188510 w 513675"/>
                    <a:gd name="connsiteY5" fmla="*/ 94544 h 469194"/>
                    <a:gd name="connsiteX6" fmla="*/ 201210 w 513675"/>
                    <a:gd name="connsiteY6" fmla="*/ 15169 h 469194"/>
                    <a:gd name="connsiteX7" fmla="*/ 312335 w 513675"/>
                    <a:gd name="connsiteY7" fmla="*/ 11994 h 469194"/>
                    <a:gd name="connsiteX8" fmla="*/ 312335 w 513675"/>
                    <a:gd name="connsiteY8" fmla="*/ 142169 h 469194"/>
                    <a:gd name="connsiteX9" fmla="*/ 353610 w 513675"/>
                    <a:gd name="connsiteY9" fmla="*/ 148519 h 469194"/>
                    <a:gd name="connsiteX10" fmla="*/ 445685 w 513675"/>
                    <a:gd name="connsiteY10" fmla="*/ 161219 h 469194"/>
                    <a:gd name="connsiteX11" fmla="*/ 486960 w 513675"/>
                    <a:gd name="connsiteY11" fmla="*/ 186619 h 469194"/>
                    <a:gd name="connsiteX12" fmla="*/ 509185 w 513675"/>
                    <a:gd name="connsiteY12" fmla="*/ 231069 h 469194"/>
                    <a:gd name="connsiteX13" fmla="*/ 512360 w 513675"/>
                    <a:gd name="connsiteY13" fmla="*/ 469194 h 469194"/>
                    <a:gd name="connsiteX14" fmla="*/ 4360 w 513675"/>
                    <a:gd name="connsiteY14" fmla="*/ 446969 h 469194"/>
                    <a:gd name="connsiteX0" fmla="*/ 4360 w 513675"/>
                    <a:gd name="connsiteY0" fmla="*/ 443409 h 465634"/>
                    <a:gd name="connsiteX1" fmla="*/ 7535 w 513675"/>
                    <a:gd name="connsiteY1" fmla="*/ 208459 h 465634"/>
                    <a:gd name="connsiteX2" fmla="*/ 23410 w 513675"/>
                    <a:gd name="connsiteY2" fmla="*/ 170359 h 465634"/>
                    <a:gd name="connsiteX3" fmla="*/ 71035 w 513675"/>
                    <a:gd name="connsiteY3" fmla="*/ 154484 h 465634"/>
                    <a:gd name="connsiteX4" fmla="*/ 172635 w 513675"/>
                    <a:gd name="connsiteY4" fmla="*/ 148134 h 465634"/>
                    <a:gd name="connsiteX5" fmla="*/ 188510 w 513675"/>
                    <a:gd name="connsiteY5" fmla="*/ 90984 h 465634"/>
                    <a:gd name="connsiteX6" fmla="*/ 201210 w 513675"/>
                    <a:gd name="connsiteY6" fmla="*/ 11609 h 465634"/>
                    <a:gd name="connsiteX7" fmla="*/ 312335 w 513675"/>
                    <a:gd name="connsiteY7" fmla="*/ 8434 h 465634"/>
                    <a:gd name="connsiteX8" fmla="*/ 312335 w 513675"/>
                    <a:gd name="connsiteY8" fmla="*/ 87809 h 465634"/>
                    <a:gd name="connsiteX9" fmla="*/ 353610 w 513675"/>
                    <a:gd name="connsiteY9" fmla="*/ 144959 h 465634"/>
                    <a:gd name="connsiteX10" fmla="*/ 445685 w 513675"/>
                    <a:gd name="connsiteY10" fmla="*/ 157659 h 465634"/>
                    <a:gd name="connsiteX11" fmla="*/ 486960 w 513675"/>
                    <a:gd name="connsiteY11" fmla="*/ 183059 h 465634"/>
                    <a:gd name="connsiteX12" fmla="*/ 509185 w 513675"/>
                    <a:gd name="connsiteY12" fmla="*/ 227509 h 465634"/>
                    <a:gd name="connsiteX13" fmla="*/ 512360 w 513675"/>
                    <a:gd name="connsiteY13" fmla="*/ 465634 h 465634"/>
                    <a:gd name="connsiteX14" fmla="*/ 4360 w 513675"/>
                    <a:gd name="connsiteY14" fmla="*/ 443409 h 465634"/>
                    <a:gd name="connsiteX0" fmla="*/ 4360 w 513675"/>
                    <a:gd name="connsiteY0" fmla="*/ 443409 h 465634"/>
                    <a:gd name="connsiteX1" fmla="*/ 7535 w 513675"/>
                    <a:gd name="connsiteY1" fmla="*/ 208459 h 465634"/>
                    <a:gd name="connsiteX2" fmla="*/ 23410 w 513675"/>
                    <a:gd name="connsiteY2" fmla="*/ 170359 h 465634"/>
                    <a:gd name="connsiteX3" fmla="*/ 71035 w 513675"/>
                    <a:gd name="connsiteY3" fmla="*/ 154484 h 465634"/>
                    <a:gd name="connsiteX4" fmla="*/ 172635 w 513675"/>
                    <a:gd name="connsiteY4" fmla="*/ 148134 h 465634"/>
                    <a:gd name="connsiteX5" fmla="*/ 188510 w 513675"/>
                    <a:gd name="connsiteY5" fmla="*/ 90984 h 465634"/>
                    <a:gd name="connsiteX6" fmla="*/ 201210 w 513675"/>
                    <a:gd name="connsiteY6" fmla="*/ 11609 h 465634"/>
                    <a:gd name="connsiteX7" fmla="*/ 312335 w 513675"/>
                    <a:gd name="connsiteY7" fmla="*/ 8434 h 465634"/>
                    <a:gd name="connsiteX8" fmla="*/ 312335 w 513675"/>
                    <a:gd name="connsiteY8" fmla="*/ 87809 h 465634"/>
                    <a:gd name="connsiteX9" fmla="*/ 334560 w 513675"/>
                    <a:gd name="connsiteY9" fmla="*/ 135434 h 465634"/>
                    <a:gd name="connsiteX10" fmla="*/ 445685 w 513675"/>
                    <a:gd name="connsiteY10" fmla="*/ 157659 h 465634"/>
                    <a:gd name="connsiteX11" fmla="*/ 486960 w 513675"/>
                    <a:gd name="connsiteY11" fmla="*/ 183059 h 465634"/>
                    <a:gd name="connsiteX12" fmla="*/ 509185 w 513675"/>
                    <a:gd name="connsiteY12" fmla="*/ 227509 h 465634"/>
                    <a:gd name="connsiteX13" fmla="*/ 512360 w 513675"/>
                    <a:gd name="connsiteY13" fmla="*/ 465634 h 465634"/>
                    <a:gd name="connsiteX14" fmla="*/ 4360 w 513675"/>
                    <a:gd name="connsiteY14" fmla="*/ 443409 h 465634"/>
                    <a:gd name="connsiteX0" fmla="*/ 4360 w 510500"/>
                    <a:gd name="connsiteY0" fmla="*/ 443409 h 449759"/>
                    <a:gd name="connsiteX1" fmla="*/ 7535 w 510500"/>
                    <a:gd name="connsiteY1" fmla="*/ 208459 h 449759"/>
                    <a:gd name="connsiteX2" fmla="*/ 23410 w 510500"/>
                    <a:gd name="connsiteY2" fmla="*/ 170359 h 449759"/>
                    <a:gd name="connsiteX3" fmla="*/ 71035 w 510500"/>
                    <a:gd name="connsiteY3" fmla="*/ 154484 h 449759"/>
                    <a:gd name="connsiteX4" fmla="*/ 172635 w 510500"/>
                    <a:gd name="connsiteY4" fmla="*/ 148134 h 449759"/>
                    <a:gd name="connsiteX5" fmla="*/ 188510 w 510500"/>
                    <a:gd name="connsiteY5" fmla="*/ 90984 h 449759"/>
                    <a:gd name="connsiteX6" fmla="*/ 201210 w 510500"/>
                    <a:gd name="connsiteY6" fmla="*/ 11609 h 449759"/>
                    <a:gd name="connsiteX7" fmla="*/ 312335 w 510500"/>
                    <a:gd name="connsiteY7" fmla="*/ 8434 h 449759"/>
                    <a:gd name="connsiteX8" fmla="*/ 312335 w 510500"/>
                    <a:gd name="connsiteY8" fmla="*/ 87809 h 449759"/>
                    <a:gd name="connsiteX9" fmla="*/ 334560 w 510500"/>
                    <a:gd name="connsiteY9" fmla="*/ 135434 h 449759"/>
                    <a:gd name="connsiteX10" fmla="*/ 445685 w 510500"/>
                    <a:gd name="connsiteY10" fmla="*/ 157659 h 449759"/>
                    <a:gd name="connsiteX11" fmla="*/ 486960 w 510500"/>
                    <a:gd name="connsiteY11" fmla="*/ 183059 h 449759"/>
                    <a:gd name="connsiteX12" fmla="*/ 509185 w 510500"/>
                    <a:gd name="connsiteY12" fmla="*/ 227509 h 449759"/>
                    <a:gd name="connsiteX13" fmla="*/ 506010 w 510500"/>
                    <a:gd name="connsiteY13" fmla="*/ 449759 h 449759"/>
                    <a:gd name="connsiteX14" fmla="*/ 4360 w 510500"/>
                    <a:gd name="connsiteY14" fmla="*/ 443409 h 449759"/>
                    <a:gd name="connsiteX0" fmla="*/ 4360 w 510500"/>
                    <a:gd name="connsiteY0" fmla="*/ 443409 h 454926"/>
                    <a:gd name="connsiteX1" fmla="*/ 7535 w 510500"/>
                    <a:gd name="connsiteY1" fmla="*/ 208459 h 454926"/>
                    <a:gd name="connsiteX2" fmla="*/ 23410 w 510500"/>
                    <a:gd name="connsiteY2" fmla="*/ 170359 h 454926"/>
                    <a:gd name="connsiteX3" fmla="*/ 71035 w 510500"/>
                    <a:gd name="connsiteY3" fmla="*/ 154484 h 454926"/>
                    <a:gd name="connsiteX4" fmla="*/ 172635 w 510500"/>
                    <a:gd name="connsiteY4" fmla="*/ 148134 h 454926"/>
                    <a:gd name="connsiteX5" fmla="*/ 188510 w 510500"/>
                    <a:gd name="connsiteY5" fmla="*/ 90984 h 454926"/>
                    <a:gd name="connsiteX6" fmla="*/ 201210 w 510500"/>
                    <a:gd name="connsiteY6" fmla="*/ 11609 h 454926"/>
                    <a:gd name="connsiteX7" fmla="*/ 312335 w 510500"/>
                    <a:gd name="connsiteY7" fmla="*/ 8434 h 454926"/>
                    <a:gd name="connsiteX8" fmla="*/ 312335 w 510500"/>
                    <a:gd name="connsiteY8" fmla="*/ 87809 h 454926"/>
                    <a:gd name="connsiteX9" fmla="*/ 334560 w 510500"/>
                    <a:gd name="connsiteY9" fmla="*/ 135434 h 454926"/>
                    <a:gd name="connsiteX10" fmla="*/ 445685 w 510500"/>
                    <a:gd name="connsiteY10" fmla="*/ 157659 h 454926"/>
                    <a:gd name="connsiteX11" fmla="*/ 486960 w 510500"/>
                    <a:gd name="connsiteY11" fmla="*/ 183059 h 454926"/>
                    <a:gd name="connsiteX12" fmla="*/ 509185 w 510500"/>
                    <a:gd name="connsiteY12" fmla="*/ 227509 h 454926"/>
                    <a:gd name="connsiteX13" fmla="*/ 506010 w 510500"/>
                    <a:gd name="connsiteY13" fmla="*/ 449759 h 454926"/>
                    <a:gd name="connsiteX14" fmla="*/ 4360 w 510500"/>
                    <a:gd name="connsiteY14" fmla="*/ 443409 h 454926"/>
                    <a:gd name="connsiteX0" fmla="*/ 6473 w 512613"/>
                    <a:gd name="connsiteY0" fmla="*/ 443409 h 454926"/>
                    <a:gd name="connsiteX1" fmla="*/ 9648 w 512613"/>
                    <a:gd name="connsiteY1" fmla="*/ 208459 h 454926"/>
                    <a:gd name="connsiteX2" fmla="*/ 73148 w 512613"/>
                    <a:gd name="connsiteY2" fmla="*/ 154484 h 454926"/>
                    <a:gd name="connsiteX3" fmla="*/ 174748 w 512613"/>
                    <a:gd name="connsiteY3" fmla="*/ 148134 h 454926"/>
                    <a:gd name="connsiteX4" fmla="*/ 190623 w 512613"/>
                    <a:gd name="connsiteY4" fmla="*/ 90984 h 454926"/>
                    <a:gd name="connsiteX5" fmla="*/ 203323 w 512613"/>
                    <a:gd name="connsiteY5" fmla="*/ 11609 h 454926"/>
                    <a:gd name="connsiteX6" fmla="*/ 314448 w 512613"/>
                    <a:gd name="connsiteY6" fmla="*/ 8434 h 454926"/>
                    <a:gd name="connsiteX7" fmla="*/ 314448 w 512613"/>
                    <a:gd name="connsiteY7" fmla="*/ 87809 h 454926"/>
                    <a:gd name="connsiteX8" fmla="*/ 336673 w 512613"/>
                    <a:gd name="connsiteY8" fmla="*/ 135434 h 454926"/>
                    <a:gd name="connsiteX9" fmla="*/ 447798 w 512613"/>
                    <a:gd name="connsiteY9" fmla="*/ 157659 h 454926"/>
                    <a:gd name="connsiteX10" fmla="*/ 489073 w 512613"/>
                    <a:gd name="connsiteY10" fmla="*/ 183059 h 454926"/>
                    <a:gd name="connsiteX11" fmla="*/ 511298 w 512613"/>
                    <a:gd name="connsiteY11" fmla="*/ 227509 h 454926"/>
                    <a:gd name="connsiteX12" fmla="*/ 508123 w 512613"/>
                    <a:gd name="connsiteY12" fmla="*/ 449759 h 454926"/>
                    <a:gd name="connsiteX13" fmla="*/ 6473 w 512613"/>
                    <a:gd name="connsiteY13" fmla="*/ 443409 h 454926"/>
                    <a:gd name="connsiteX0" fmla="*/ 4049 w 510189"/>
                    <a:gd name="connsiteY0" fmla="*/ 443409 h 454926"/>
                    <a:gd name="connsiteX1" fmla="*/ 7224 w 510189"/>
                    <a:gd name="connsiteY1" fmla="*/ 208459 h 454926"/>
                    <a:gd name="connsiteX2" fmla="*/ 70724 w 510189"/>
                    <a:gd name="connsiteY2" fmla="*/ 154484 h 454926"/>
                    <a:gd name="connsiteX3" fmla="*/ 172324 w 510189"/>
                    <a:gd name="connsiteY3" fmla="*/ 148134 h 454926"/>
                    <a:gd name="connsiteX4" fmla="*/ 188199 w 510189"/>
                    <a:gd name="connsiteY4" fmla="*/ 90984 h 454926"/>
                    <a:gd name="connsiteX5" fmla="*/ 200899 w 510189"/>
                    <a:gd name="connsiteY5" fmla="*/ 11609 h 454926"/>
                    <a:gd name="connsiteX6" fmla="*/ 312024 w 510189"/>
                    <a:gd name="connsiteY6" fmla="*/ 8434 h 454926"/>
                    <a:gd name="connsiteX7" fmla="*/ 312024 w 510189"/>
                    <a:gd name="connsiteY7" fmla="*/ 87809 h 454926"/>
                    <a:gd name="connsiteX8" fmla="*/ 334249 w 510189"/>
                    <a:gd name="connsiteY8" fmla="*/ 135434 h 454926"/>
                    <a:gd name="connsiteX9" fmla="*/ 445374 w 510189"/>
                    <a:gd name="connsiteY9" fmla="*/ 157659 h 454926"/>
                    <a:gd name="connsiteX10" fmla="*/ 486649 w 510189"/>
                    <a:gd name="connsiteY10" fmla="*/ 183059 h 454926"/>
                    <a:gd name="connsiteX11" fmla="*/ 508874 w 510189"/>
                    <a:gd name="connsiteY11" fmla="*/ 227509 h 454926"/>
                    <a:gd name="connsiteX12" fmla="*/ 505699 w 510189"/>
                    <a:gd name="connsiteY12" fmla="*/ 449759 h 454926"/>
                    <a:gd name="connsiteX13" fmla="*/ 4049 w 510189"/>
                    <a:gd name="connsiteY13" fmla="*/ 443409 h 454926"/>
                    <a:gd name="connsiteX0" fmla="*/ 4049 w 510189"/>
                    <a:gd name="connsiteY0" fmla="*/ 443409 h 454926"/>
                    <a:gd name="connsiteX1" fmla="*/ 7224 w 510189"/>
                    <a:gd name="connsiteY1" fmla="*/ 208459 h 454926"/>
                    <a:gd name="connsiteX2" fmla="*/ 70724 w 510189"/>
                    <a:gd name="connsiteY2" fmla="*/ 154484 h 454926"/>
                    <a:gd name="connsiteX3" fmla="*/ 172324 w 510189"/>
                    <a:gd name="connsiteY3" fmla="*/ 148134 h 454926"/>
                    <a:gd name="connsiteX4" fmla="*/ 188199 w 510189"/>
                    <a:gd name="connsiteY4" fmla="*/ 90984 h 454926"/>
                    <a:gd name="connsiteX5" fmla="*/ 200899 w 510189"/>
                    <a:gd name="connsiteY5" fmla="*/ 11609 h 454926"/>
                    <a:gd name="connsiteX6" fmla="*/ 312024 w 510189"/>
                    <a:gd name="connsiteY6" fmla="*/ 8434 h 454926"/>
                    <a:gd name="connsiteX7" fmla="*/ 312024 w 510189"/>
                    <a:gd name="connsiteY7" fmla="*/ 87809 h 454926"/>
                    <a:gd name="connsiteX8" fmla="*/ 334249 w 510189"/>
                    <a:gd name="connsiteY8" fmla="*/ 135434 h 454926"/>
                    <a:gd name="connsiteX9" fmla="*/ 445374 w 510189"/>
                    <a:gd name="connsiteY9" fmla="*/ 157659 h 454926"/>
                    <a:gd name="connsiteX10" fmla="*/ 508874 w 510189"/>
                    <a:gd name="connsiteY10" fmla="*/ 227509 h 454926"/>
                    <a:gd name="connsiteX11" fmla="*/ 505699 w 510189"/>
                    <a:gd name="connsiteY11" fmla="*/ 449759 h 454926"/>
                    <a:gd name="connsiteX12" fmla="*/ 4049 w 510189"/>
                    <a:gd name="connsiteY12" fmla="*/ 443409 h 454926"/>
                    <a:gd name="connsiteX0" fmla="*/ 4049 w 510189"/>
                    <a:gd name="connsiteY0" fmla="*/ 443409 h 454926"/>
                    <a:gd name="connsiteX1" fmla="*/ 7224 w 510189"/>
                    <a:gd name="connsiteY1" fmla="*/ 208459 h 454926"/>
                    <a:gd name="connsiteX2" fmla="*/ 70724 w 510189"/>
                    <a:gd name="connsiteY2" fmla="*/ 154484 h 454926"/>
                    <a:gd name="connsiteX3" fmla="*/ 172324 w 510189"/>
                    <a:gd name="connsiteY3" fmla="*/ 148134 h 454926"/>
                    <a:gd name="connsiteX4" fmla="*/ 188199 w 510189"/>
                    <a:gd name="connsiteY4" fmla="*/ 90984 h 454926"/>
                    <a:gd name="connsiteX5" fmla="*/ 200899 w 510189"/>
                    <a:gd name="connsiteY5" fmla="*/ 11609 h 454926"/>
                    <a:gd name="connsiteX6" fmla="*/ 312024 w 510189"/>
                    <a:gd name="connsiteY6" fmla="*/ 8434 h 454926"/>
                    <a:gd name="connsiteX7" fmla="*/ 312024 w 510189"/>
                    <a:gd name="connsiteY7" fmla="*/ 87809 h 454926"/>
                    <a:gd name="connsiteX8" fmla="*/ 334249 w 510189"/>
                    <a:gd name="connsiteY8" fmla="*/ 135434 h 454926"/>
                    <a:gd name="connsiteX9" fmla="*/ 445374 w 510189"/>
                    <a:gd name="connsiteY9" fmla="*/ 157659 h 454926"/>
                    <a:gd name="connsiteX10" fmla="*/ 508874 w 510189"/>
                    <a:gd name="connsiteY10" fmla="*/ 227509 h 454926"/>
                    <a:gd name="connsiteX11" fmla="*/ 505699 w 510189"/>
                    <a:gd name="connsiteY11" fmla="*/ 449759 h 454926"/>
                    <a:gd name="connsiteX12" fmla="*/ 4049 w 510189"/>
                    <a:gd name="connsiteY12" fmla="*/ 443409 h 454926"/>
                    <a:gd name="connsiteX0" fmla="*/ 5987 w 512127"/>
                    <a:gd name="connsiteY0" fmla="*/ 443409 h 454926"/>
                    <a:gd name="connsiteX1" fmla="*/ 2812 w 512127"/>
                    <a:gd name="connsiteY1" fmla="*/ 217984 h 454926"/>
                    <a:gd name="connsiteX2" fmla="*/ 72662 w 512127"/>
                    <a:gd name="connsiteY2" fmla="*/ 154484 h 454926"/>
                    <a:gd name="connsiteX3" fmla="*/ 174262 w 512127"/>
                    <a:gd name="connsiteY3" fmla="*/ 148134 h 454926"/>
                    <a:gd name="connsiteX4" fmla="*/ 190137 w 512127"/>
                    <a:gd name="connsiteY4" fmla="*/ 90984 h 454926"/>
                    <a:gd name="connsiteX5" fmla="*/ 202837 w 512127"/>
                    <a:gd name="connsiteY5" fmla="*/ 11609 h 454926"/>
                    <a:gd name="connsiteX6" fmla="*/ 313962 w 512127"/>
                    <a:gd name="connsiteY6" fmla="*/ 8434 h 454926"/>
                    <a:gd name="connsiteX7" fmla="*/ 313962 w 512127"/>
                    <a:gd name="connsiteY7" fmla="*/ 87809 h 454926"/>
                    <a:gd name="connsiteX8" fmla="*/ 336187 w 512127"/>
                    <a:gd name="connsiteY8" fmla="*/ 135434 h 454926"/>
                    <a:gd name="connsiteX9" fmla="*/ 447312 w 512127"/>
                    <a:gd name="connsiteY9" fmla="*/ 157659 h 454926"/>
                    <a:gd name="connsiteX10" fmla="*/ 510812 w 512127"/>
                    <a:gd name="connsiteY10" fmla="*/ 227509 h 454926"/>
                    <a:gd name="connsiteX11" fmla="*/ 507637 w 512127"/>
                    <a:gd name="connsiteY11" fmla="*/ 449759 h 454926"/>
                    <a:gd name="connsiteX12" fmla="*/ 5987 w 512127"/>
                    <a:gd name="connsiteY12" fmla="*/ 443409 h 454926"/>
                    <a:gd name="connsiteX0" fmla="*/ 9762 w 515902"/>
                    <a:gd name="connsiteY0" fmla="*/ 443409 h 454926"/>
                    <a:gd name="connsiteX1" fmla="*/ 6587 w 515902"/>
                    <a:gd name="connsiteY1" fmla="*/ 217984 h 454926"/>
                    <a:gd name="connsiteX2" fmla="*/ 76437 w 515902"/>
                    <a:gd name="connsiteY2" fmla="*/ 154484 h 454926"/>
                    <a:gd name="connsiteX3" fmla="*/ 178037 w 515902"/>
                    <a:gd name="connsiteY3" fmla="*/ 148134 h 454926"/>
                    <a:gd name="connsiteX4" fmla="*/ 193912 w 515902"/>
                    <a:gd name="connsiteY4" fmla="*/ 90984 h 454926"/>
                    <a:gd name="connsiteX5" fmla="*/ 206612 w 515902"/>
                    <a:gd name="connsiteY5" fmla="*/ 11609 h 454926"/>
                    <a:gd name="connsiteX6" fmla="*/ 317737 w 515902"/>
                    <a:gd name="connsiteY6" fmla="*/ 8434 h 454926"/>
                    <a:gd name="connsiteX7" fmla="*/ 317737 w 515902"/>
                    <a:gd name="connsiteY7" fmla="*/ 87809 h 454926"/>
                    <a:gd name="connsiteX8" fmla="*/ 339962 w 515902"/>
                    <a:gd name="connsiteY8" fmla="*/ 135434 h 454926"/>
                    <a:gd name="connsiteX9" fmla="*/ 451087 w 515902"/>
                    <a:gd name="connsiteY9" fmla="*/ 157659 h 454926"/>
                    <a:gd name="connsiteX10" fmla="*/ 514587 w 515902"/>
                    <a:gd name="connsiteY10" fmla="*/ 227509 h 454926"/>
                    <a:gd name="connsiteX11" fmla="*/ 511412 w 515902"/>
                    <a:gd name="connsiteY11" fmla="*/ 449759 h 454926"/>
                    <a:gd name="connsiteX12" fmla="*/ 9762 w 515902"/>
                    <a:gd name="connsiteY12" fmla="*/ 443409 h 454926"/>
                    <a:gd name="connsiteX0" fmla="*/ 9762 w 515902"/>
                    <a:gd name="connsiteY0" fmla="*/ 443409 h 454926"/>
                    <a:gd name="connsiteX1" fmla="*/ 6587 w 515902"/>
                    <a:gd name="connsiteY1" fmla="*/ 217984 h 454926"/>
                    <a:gd name="connsiteX2" fmla="*/ 76437 w 515902"/>
                    <a:gd name="connsiteY2" fmla="*/ 154484 h 454926"/>
                    <a:gd name="connsiteX3" fmla="*/ 178037 w 515902"/>
                    <a:gd name="connsiteY3" fmla="*/ 148134 h 454926"/>
                    <a:gd name="connsiteX4" fmla="*/ 193912 w 515902"/>
                    <a:gd name="connsiteY4" fmla="*/ 90984 h 454926"/>
                    <a:gd name="connsiteX5" fmla="*/ 206612 w 515902"/>
                    <a:gd name="connsiteY5" fmla="*/ 11609 h 454926"/>
                    <a:gd name="connsiteX6" fmla="*/ 317737 w 515902"/>
                    <a:gd name="connsiteY6" fmla="*/ 8434 h 454926"/>
                    <a:gd name="connsiteX7" fmla="*/ 317737 w 515902"/>
                    <a:gd name="connsiteY7" fmla="*/ 87809 h 454926"/>
                    <a:gd name="connsiteX8" fmla="*/ 339962 w 515902"/>
                    <a:gd name="connsiteY8" fmla="*/ 135434 h 454926"/>
                    <a:gd name="connsiteX9" fmla="*/ 451087 w 515902"/>
                    <a:gd name="connsiteY9" fmla="*/ 157659 h 454926"/>
                    <a:gd name="connsiteX10" fmla="*/ 514587 w 515902"/>
                    <a:gd name="connsiteY10" fmla="*/ 227509 h 454926"/>
                    <a:gd name="connsiteX11" fmla="*/ 511412 w 515902"/>
                    <a:gd name="connsiteY11" fmla="*/ 449759 h 454926"/>
                    <a:gd name="connsiteX12" fmla="*/ 9762 w 515902"/>
                    <a:gd name="connsiteY12" fmla="*/ 443409 h 454926"/>
                    <a:gd name="connsiteX0" fmla="*/ 9762 w 515902"/>
                    <a:gd name="connsiteY0" fmla="*/ 443409 h 454926"/>
                    <a:gd name="connsiteX1" fmla="*/ 6587 w 515902"/>
                    <a:gd name="connsiteY1" fmla="*/ 217984 h 454926"/>
                    <a:gd name="connsiteX2" fmla="*/ 76437 w 515902"/>
                    <a:gd name="connsiteY2" fmla="*/ 154484 h 454926"/>
                    <a:gd name="connsiteX3" fmla="*/ 193912 w 515902"/>
                    <a:gd name="connsiteY3" fmla="*/ 90984 h 454926"/>
                    <a:gd name="connsiteX4" fmla="*/ 206612 w 515902"/>
                    <a:gd name="connsiteY4" fmla="*/ 11609 h 454926"/>
                    <a:gd name="connsiteX5" fmla="*/ 317737 w 515902"/>
                    <a:gd name="connsiteY5" fmla="*/ 8434 h 454926"/>
                    <a:gd name="connsiteX6" fmla="*/ 317737 w 515902"/>
                    <a:gd name="connsiteY6" fmla="*/ 87809 h 454926"/>
                    <a:gd name="connsiteX7" fmla="*/ 339962 w 515902"/>
                    <a:gd name="connsiteY7" fmla="*/ 135434 h 454926"/>
                    <a:gd name="connsiteX8" fmla="*/ 451087 w 515902"/>
                    <a:gd name="connsiteY8" fmla="*/ 157659 h 454926"/>
                    <a:gd name="connsiteX9" fmla="*/ 514587 w 515902"/>
                    <a:gd name="connsiteY9" fmla="*/ 227509 h 454926"/>
                    <a:gd name="connsiteX10" fmla="*/ 511412 w 515902"/>
                    <a:gd name="connsiteY10" fmla="*/ 449759 h 454926"/>
                    <a:gd name="connsiteX11" fmla="*/ 9762 w 515902"/>
                    <a:gd name="connsiteY11" fmla="*/ 443409 h 454926"/>
                    <a:gd name="connsiteX0" fmla="*/ 9762 w 515902"/>
                    <a:gd name="connsiteY0" fmla="*/ 446099 h 457616"/>
                    <a:gd name="connsiteX1" fmla="*/ 6587 w 515902"/>
                    <a:gd name="connsiteY1" fmla="*/ 220674 h 457616"/>
                    <a:gd name="connsiteX2" fmla="*/ 76437 w 515902"/>
                    <a:gd name="connsiteY2" fmla="*/ 157174 h 457616"/>
                    <a:gd name="connsiteX3" fmla="*/ 190737 w 515902"/>
                    <a:gd name="connsiteY3" fmla="*/ 138124 h 457616"/>
                    <a:gd name="connsiteX4" fmla="*/ 206612 w 515902"/>
                    <a:gd name="connsiteY4" fmla="*/ 14299 h 457616"/>
                    <a:gd name="connsiteX5" fmla="*/ 317737 w 515902"/>
                    <a:gd name="connsiteY5" fmla="*/ 11124 h 457616"/>
                    <a:gd name="connsiteX6" fmla="*/ 317737 w 515902"/>
                    <a:gd name="connsiteY6" fmla="*/ 90499 h 457616"/>
                    <a:gd name="connsiteX7" fmla="*/ 339962 w 515902"/>
                    <a:gd name="connsiteY7" fmla="*/ 138124 h 457616"/>
                    <a:gd name="connsiteX8" fmla="*/ 451087 w 515902"/>
                    <a:gd name="connsiteY8" fmla="*/ 160349 h 457616"/>
                    <a:gd name="connsiteX9" fmla="*/ 514587 w 515902"/>
                    <a:gd name="connsiteY9" fmla="*/ 230199 h 457616"/>
                    <a:gd name="connsiteX10" fmla="*/ 511412 w 515902"/>
                    <a:gd name="connsiteY10" fmla="*/ 452449 h 457616"/>
                    <a:gd name="connsiteX11" fmla="*/ 9762 w 515902"/>
                    <a:gd name="connsiteY11" fmla="*/ 446099 h 457616"/>
                    <a:gd name="connsiteX0" fmla="*/ 9762 w 515902"/>
                    <a:gd name="connsiteY0" fmla="*/ 446099 h 457616"/>
                    <a:gd name="connsiteX1" fmla="*/ 6587 w 515902"/>
                    <a:gd name="connsiteY1" fmla="*/ 220674 h 457616"/>
                    <a:gd name="connsiteX2" fmla="*/ 76437 w 515902"/>
                    <a:gd name="connsiteY2" fmla="*/ 157174 h 457616"/>
                    <a:gd name="connsiteX3" fmla="*/ 190737 w 515902"/>
                    <a:gd name="connsiteY3" fmla="*/ 138124 h 457616"/>
                    <a:gd name="connsiteX4" fmla="*/ 206612 w 515902"/>
                    <a:gd name="connsiteY4" fmla="*/ 14299 h 457616"/>
                    <a:gd name="connsiteX5" fmla="*/ 317737 w 515902"/>
                    <a:gd name="connsiteY5" fmla="*/ 11124 h 457616"/>
                    <a:gd name="connsiteX6" fmla="*/ 317737 w 515902"/>
                    <a:gd name="connsiteY6" fmla="*/ 90499 h 457616"/>
                    <a:gd name="connsiteX7" fmla="*/ 451087 w 515902"/>
                    <a:gd name="connsiteY7" fmla="*/ 160349 h 457616"/>
                    <a:gd name="connsiteX8" fmla="*/ 514587 w 515902"/>
                    <a:gd name="connsiteY8" fmla="*/ 230199 h 457616"/>
                    <a:gd name="connsiteX9" fmla="*/ 511412 w 515902"/>
                    <a:gd name="connsiteY9" fmla="*/ 452449 h 457616"/>
                    <a:gd name="connsiteX10" fmla="*/ 9762 w 515902"/>
                    <a:gd name="connsiteY10" fmla="*/ 446099 h 457616"/>
                    <a:gd name="connsiteX0" fmla="*/ 9762 w 515902"/>
                    <a:gd name="connsiteY0" fmla="*/ 447482 h 458999"/>
                    <a:gd name="connsiteX1" fmla="*/ 6587 w 515902"/>
                    <a:gd name="connsiteY1" fmla="*/ 222057 h 458999"/>
                    <a:gd name="connsiteX2" fmla="*/ 76437 w 515902"/>
                    <a:gd name="connsiteY2" fmla="*/ 158557 h 458999"/>
                    <a:gd name="connsiteX3" fmla="*/ 190737 w 515902"/>
                    <a:gd name="connsiteY3" fmla="*/ 139507 h 458999"/>
                    <a:gd name="connsiteX4" fmla="*/ 206612 w 515902"/>
                    <a:gd name="connsiteY4" fmla="*/ 15682 h 458999"/>
                    <a:gd name="connsiteX5" fmla="*/ 317737 w 515902"/>
                    <a:gd name="connsiteY5" fmla="*/ 12507 h 458999"/>
                    <a:gd name="connsiteX6" fmla="*/ 330437 w 515902"/>
                    <a:gd name="connsiteY6" fmla="*/ 114107 h 458999"/>
                    <a:gd name="connsiteX7" fmla="*/ 451087 w 515902"/>
                    <a:gd name="connsiteY7" fmla="*/ 161732 h 458999"/>
                    <a:gd name="connsiteX8" fmla="*/ 514587 w 515902"/>
                    <a:gd name="connsiteY8" fmla="*/ 231582 h 458999"/>
                    <a:gd name="connsiteX9" fmla="*/ 511412 w 515902"/>
                    <a:gd name="connsiteY9" fmla="*/ 453832 h 458999"/>
                    <a:gd name="connsiteX10" fmla="*/ 9762 w 515902"/>
                    <a:gd name="connsiteY10" fmla="*/ 447482 h 458999"/>
                    <a:gd name="connsiteX0" fmla="*/ 9762 w 515902"/>
                    <a:gd name="connsiteY0" fmla="*/ 446348 h 457865"/>
                    <a:gd name="connsiteX1" fmla="*/ 6587 w 515902"/>
                    <a:gd name="connsiteY1" fmla="*/ 220923 h 457865"/>
                    <a:gd name="connsiteX2" fmla="*/ 76437 w 515902"/>
                    <a:gd name="connsiteY2" fmla="*/ 157423 h 457865"/>
                    <a:gd name="connsiteX3" fmla="*/ 200262 w 515902"/>
                    <a:gd name="connsiteY3" fmla="*/ 119323 h 457865"/>
                    <a:gd name="connsiteX4" fmla="*/ 206612 w 515902"/>
                    <a:gd name="connsiteY4" fmla="*/ 14548 h 457865"/>
                    <a:gd name="connsiteX5" fmla="*/ 317737 w 515902"/>
                    <a:gd name="connsiteY5" fmla="*/ 11373 h 457865"/>
                    <a:gd name="connsiteX6" fmla="*/ 330437 w 515902"/>
                    <a:gd name="connsiteY6" fmla="*/ 112973 h 457865"/>
                    <a:gd name="connsiteX7" fmla="*/ 451087 w 515902"/>
                    <a:gd name="connsiteY7" fmla="*/ 160598 h 457865"/>
                    <a:gd name="connsiteX8" fmla="*/ 514587 w 515902"/>
                    <a:gd name="connsiteY8" fmla="*/ 230448 h 457865"/>
                    <a:gd name="connsiteX9" fmla="*/ 511412 w 515902"/>
                    <a:gd name="connsiteY9" fmla="*/ 452698 h 457865"/>
                    <a:gd name="connsiteX10" fmla="*/ 9762 w 515902"/>
                    <a:gd name="connsiteY10" fmla="*/ 446348 h 457865"/>
                    <a:gd name="connsiteX0" fmla="*/ 8840 w 514980"/>
                    <a:gd name="connsiteY0" fmla="*/ 446348 h 457865"/>
                    <a:gd name="connsiteX1" fmla="*/ 5665 w 514980"/>
                    <a:gd name="connsiteY1" fmla="*/ 220923 h 457865"/>
                    <a:gd name="connsiteX2" fmla="*/ 62412 w 514980"/>
                    <a:gd name="connsiteY2" fmla="*/ 133367 h 457865"/>
                    <a:gd name="connsiteX3" fmla="*/ 199340 w 514980"/>
                    <a:gd name="connsiteY3" fmla="*/ 119323 h 457865"/>
                    <a:gd name="connsiteX4" fmla="*/ 205690 w 514980"/>
                    <a:gd name="connsiteY4" fmla="*/ 14548 h 457865"/>
                    <a:gd name="connsiteX5" fmla="*/ 316815 w 514980"/>
                    <a:gd name="connsiteY5" fmla="*/ 11373 h 457865"/>
                    <a:gd name="connsiteX6" fmla="*/ 329515 w 514980"/>
                    <a:gd name="connsiteY6" fmla="*/ 112973 h 457865"/>
                    <a:gd name="connsiteX7" fmla="*/ 450165 w 514980"/>
                    <a:gd name="connsiteY7" fmla="*/ 160598 h 457865"/>
                    <a:gd name="connsiteX8" fmla="*/ 513665 w 514980"/>
                    <a:gd name="connsiteY8" fmla="*/ 230448 h 457865"/>
                    <a:gd name="connsiteX9" fmla="*/ 510490 w 514980"/>
                    <a:gd name="connsiteY9" fmla="*/ 452698 h 457865"/>
                    <a:gd name="connsiteX10" fmla="*/ 8840 w 514980"/>
                    <a:gd name="connsiteY10" fmla="*/ 446348 h 457865"/>
                    <a:gd name="connsiteX0" fmla="*/ 8840 w 514980"/>
                    <a:gd name="connsiteY0" fmla="*/ 445015 h 456532"/>
                    <a:gd name="connsiteX1" fmla="*/ 5665 w 514980"/>
                    <a:gd name="connsiteY1" fmla="*/ 219590 h 456532"/>
                    <a:gd name="connsiteX2" fmla="*/ 62412 w 514980"/>
                    <a:gd name="connsiteY2" fmla="*/ 132034 h 456532"/>
                    <a:gd name="connsiteX3" fmla="*/ 186237 w 514980"/>
                    <a:gd name="connsiteY3" fmla="*/ 93934 h 456532"/>
                    <a:gd name="connsiteX4" fmla="*/ 205690 w 514980"/>
                    <a:gd name="connsiteY4" fmla="*/ 13215 h 456532"/>
                    <a:gd name="connsiteX5" fmla="*/ 316815 w 514980"/>
                    <a:gd name="connsiteY5" fmla="*/ 10040 h 456532"/>
                    <a:gd name="connsiteX6" fmla="*/ 329515 w 514980"/>
                    <a:gd name="connsiteY6" fmla="*/ 111640 h 456532"/>
                    <a:gd name="connsiteX7" fmla="*/ 450165 w 514980"/>
                    <a:gd name="connsiteY7" fmla="*/ 159265 h 456532"/>
                    <a:gd name="connsiteX8" fmla="*/ 513665 w 514980"/>
                    <a:gd name="connsiteY8" fmla="*/ 229115 h 456532"/>
                    <a:gd name="connsiteX9" fmla="*/ 510490 w 514980"/>
                    <a:gd name="connsiteY9" fmla="*/ 451365 h 456532"/>
                    <a:gd name="connsiteX10" fmla="*/ 8840 w 514980"/>
                    <a:gd name="connsiteY10" fmla="*/ 445015 h 456532"/>
                    <a:gd name="connsiteX0" fmla="*/ 8840 w 514980"/>
                    <a:gd name="connsiteY0" fmla="*/ 445015 h 456532"/>
                    <a:gd name="connsiteX1" fmla="*/ 5665 w 514980"/>
                    <a:gd name="connsiteY1" fmla="*/ 219590 h 456532"/>
                    <a:gd name="connsiteX2" fmla="*/ 62412 w 514980"/>
                    <a:gd name="connsiteY2" fmla="*/ 132034 h 456532"/>
                    <a:gd name="connsiteX3" fmla="*/ 186237 w 514980"/>
                    <a:gd name="connsiteY3" fmla="*/ 93934 h 456532"/>
                    <a:gd name="connsiteX4" fmla="*/ 205690 w 514980"/>
                    <a:gd name="connsiteY4" fmla="*/ 13215 h 456532"/>
                    <a:gd name="connsiteX5" fmla="*/ 316815 w 514980"/>
                    <a:gd name="connsiteY5" fmla="*/ 10040 h 456532"/>
                    <a:gd name="connsiteX6" fmla="*/ 329515 w 514980"/>
                    <a:gd name="connsiteY6" fmla="*/ 111640 h 456532"/>
                    <a:gd name="connsiteX7" fmla="*/ 461084 w 514980"/>
                    <a:gd name="connsiteY7" fmla="*/ 146143 h 456532"/>
                    <a:gd name="connsiteX8" fmla="*/ 513665 w 514980"/>
                    <a:gd name="connsiteY8" fmla="*/ 229115 h 456532"/>
                    <a:gd name="connsiteX9" fmla="*/ 510490 w 514980"/>
                    <a:gd name="connsiteY9" fmla="*/ 451365 h 456532"/>
                    <a:gd name="connsiteX10" fmla="*/ 8840 w 514980"/>
                    <a:gd name="connsiteY10" fmla="*/ 445015 h 456532"/>
                    <a:gd name="connsiteX0" fmla="*/ 8840 w 514980"/>
                    <a:gd name="connsiteY0" fmla="*/ 444105 h 455622"/>
                    <a:gd name="connsiteX1" fmla="*/ 5665 w 514980"/>
                    <a:gd name="connsiteY1" fmla="*/ 218680 h 455622"/>
                    <a:gd name="connsiteX2" fmla="*/ 62412 w 514980"/>
                    <a:gd name="connsiteY2" fmla="*/ 131124 h 455622"/>
                    <a:gd name="connsiteX3" fmla="*/ 186237 w 514980"/>
                    <a:gd name="connsiteY3" fmla="*/ 93024 h 455622"/>
                    <a:gd name="connsiteX4" fmla="*/ 205690 w 514980"/>
                    <a:gd name="connsiteY4" fmla="*/ 12305 h 455622"/>
                    <a:gd name="connsiteX5" fmla="*/ 316815 w 514980"/>
                    <a:gd name="connsiteY5" fmla="*/ 9130 h 455622"/>
                    <a:gd name="connsiteX6" fmla="*/ 351353 w 514980"/>
                    <a:gd name="connsiteY6" fmla="*/ 97608 h 455622"/>
                    <a:gd name="connsiteX7" fmla="*/ 461084 w 514980"/>
                    <a:gd name="connsiteY7" fmla="*/ 145233 h 455622"/>
                    <a:gd name="connsiteX8" fmla="*/ 513665 w 514980"/>
                    <a:gd name="connsiteY8" fmla="*/ 228205 h 455622"/>
                    <a:gd name="connsiteX9" fmla="*/ 510490 w 514980"/>
                    <a:gd name="connsiteY9" fmla="*/ 450455 h 455622"/>
                    <a:gd name="connsiteX10" fmla="*/ 8840 w 514980"/>
                    <a:gd name="connsiteY10" fmla="*/ 444105 h 455622"/>
                    <a:gd name="connsiteX0" fmla="*/ 8840 w 514980"/>
                    <a:gd name="connsiteY0" fmla="*/ 442755 h 454272"/>
                    <a:gd name="connsiteX1" fmla="*/ 5665 w 514980"/>
                    <a:gd name="connsiteY1" fmla="*/ 217330 h 454272"/>
                    <a:gd name="connsiteX2" fmla="*/ 62412 w 514980"/>
                    <a:gd name="connsiteY2" fmla="*/ 129774 h 454272"/>
                    <a:gd name="connsiteX3" fmla="*/ 186237 w 514980"/>
                    <a:gd name="connsiteY3" fmla="*/ 91674 h 454272"/>
                    <a:gd name="connsiteX4" fmla="*/ 205690 w 514980"/>
                    <a:gd name="connsiteY4" fmla="*/ 10955 h 454272"/>
                    <a:gd name="connsiteX5" fmla="*/ 325550 w 514980"/>
                    <a:gd name="connsiteY5" fmla="*/ 9967 h 454272"/>
                    <a:gd name="connsiteX6" fmla="*/ 351353 w 514980"/>
                    <a:gd name="connsiteY6" fmla="*/ 96258 h 454272"/>
                    <a:gd name="connsiteX7" fmla="*/ 461084 w 514980"/>
                    <a:gd name="connsiteY7" fmla="*/ 143883 h 454272"/>
                    <a:gd name="connsiteX8" fmla="*/ 513665 w 514980"/>
                    <a:gd name="connsiteY8" fmla="*/ 226855 h 454272"/>
                    <a:gd name="connsiteX9" fmla="*/ 510490 w 514980"/>
                    <a:gd name="connsiteY9" fmla="*/ 449105 h 454272"/>
                    <a:gd name="connsiteX10" fmla="*/ 8840 w 514980"/>
                    <a:gd name="connsiteY10" fmla="*/ 442755 h 454272"/>
                    <a:gd name="connsiteX0" fmla="*/ 8840 w 514980"/>
                    <a:gd name="connsiteY0" fmla="*/ 442755 h 454272"/>
                    <a:gd name="connsiteX1" fmla="*/ 5665 w 514980"/>
                    <a:gd name="connsiteY1" fmla="*/ 217330 h 454272"/>
                    <a:gd name="connsiteX2" fmla="*/ 62412 w 514980"/>
                    <a:gd name="connsiteY2" fmla="*/ 129774 h 454272"/>
                    <a:gd name="connsiteX3" fmla="*/ 186237 w 514980"/>
                    <a:gd name="connsiteY3" fmla="*/ 91674 h 454272"/>
                    <a:gd name="connsiteX4" fmla="*/ 205690 w 514980"/>
                    <a:gd name="connsiteY4" fmla="*/ 10955 h 454272"/>
                    <a:gd name="connsiteX5" fmla="*/ 325550 w 514980"/>
                    <a:gd name="connsiteY5" fmla="*/ 9967 h 454272"/>
                    <a:gd name="connsiteX6" fmla="*/ 351353 w 514980"/>
                    <a:gd name="connsiteY6" fmla="*/ 96258 h 454272"/>
                    <a:gd name="connsiteX7" fmla="*/ 461084 w 514980"/>
                    <a:gd name="connsiteY7" fmla="*/ 143883 h 454272"/>
                    <a:gd name="connsiteX8" fmla="*/ 513665 w 514980"/>
                    <a:gd name="connsiteY8" fmla="*/ 226855 h 454272"/>
                    <a:gd name="connsiteX9" fmla="*/ 510490 w 514980"/>
                    <a:gd name="connsiteY9" fmla="*/ 449105 h 454272"/>
                    <a:gd name="connsiteX10" fmla="*/ 8840 w 514980"/>
                    <a:gd name="connsiteY10" fmla="*/ 442755 h 454272"/>
                    <a:gd name="connsiteX0" fmla="*/ 8840 w 514980"/>
                    <a:gd name="connsiteY0" fmla="*/ 442755 h 454272"/>
                    <a:gd name="connsiteX1" fmla="*/ 5665 w 514980"/>
                    <a:gd name="connsiteY1" fmla="*/ 217330 h 454272"/>
                    <a:gd name="connsiteX2" fmla="*/ 62412 w 514980"/>
                    <a:gd name="connsiteY2" fmla="*/ 129774 h 454272"/>
                    <a:gd name="connsiteX3" fmla="*/ 186237 w 514980"/>
                    <a:gd name="connsiteY3" fmla="*/ 91674 h 454272"/>
                    <a:gd name="connsiteX4" fmla="*/ 205690 w 514980"/>
                    <a:gd name="connsiteY4" fmla="*/ 10955 h 454272"/>
                    <a:gd name="connsiteX5" fmla="*/ 325550 w 514980"/>
                    <a:gd name="connsiteY5" fmla="*/ 9967 h 454272"/>
                    <a:gd name="connsiteX6" fmla="*/ 351353 w 514980"/>
                    <a:gd name="connsiteY6" fmla="*/ 96258 h 454272"/>
                    <a:gd name="connsiteX7" fmla="*/ 461084 w 514980"/>
                    <a:gd name="connsiteY7" fmla="*/ 143883 h 454272"/>
                    <a:gd name="connsiteX8" fmla="*/ 513665 w 514980"/>
                    <a:gd name="connsiteY8" fmla="*/ 226855 h 454272"/>
                    <a:gd name="connsiteX9" fmla="*/ 510490 w 514980"/>
                    <a:gd name="connsiteY9" fmla="*/ 449105 h 454272"/>
                    <a:gd name="connsiteX10" fmla="*/ 8840 w 514980"/>
                    <a:gd name="connsiteY10" fmla="*/ 442755 h 454272"/>
                    <a:gd name="connsiteX0" fmla="*/ 8840 w 514980"/>
                    <a:gd name="connsiteY0" fmla="*/ 442755 h 454272"/>
                    <a:gd name="connsiteX1" fmla="*/ 5665 w 514980"/>
                    <a:gd name="connsiteY1" fmla="*/ 217330 h 454272"/>
                    <a:gd name="connsiteX2" fmla="*/ 62412 w 514980"/>
                    <a:gd name="connsiteY2" fmla="*/ 129774 h 454272"/>
                    <a:gd name="connsiteX3" fmla="*/ 186237 w 514980"/>
                    <a:gd name="connsiteY3" fmla="*/ 91674 h 454272"/>
                    <a:gd name="connsiteX4" fmla="*/ 205690 w 514980"/>
                    <a:gd name="connsiteY4" fmla="*/ 10955 h 454272"/>
                    <a:gd name="connsiteX5" fmla="*/ 325550 w 514980"/>
                    <a:gd name="connsiteY5" fmla="*/ 9967 h 454272"/>
                    <a:gd name="connsiteX6" fmla="*/ 351353 w 514980"/>
                    <a:gd name="connsiteY6" fmla="*/ 96258 h 454272"/>
                    <a:gd name="connsiteX7" fmla="*/ 461084 w 514980"/>
                    <a:gd name="connsiteY7" fmla="*/ 143883 h 454272"/>
                    <a:gd name="connsiteX8" fmla="*/ 513665 w 514980"/>
                    <a:gd name="connsiteY8" fmla="*/ 226855 h 454272"/>
                    <a:gd name="connsiteX9" fmla="*/ 510490 w 514980"/>
                    <a:gd name="connsiteY9" fmla="*/ 449105 h 454272"/>
                    <a:gd name="connsiteX10" fmla="*/ 8840 w 514980"/>
                    <a:gd name="connsiteY10" fmla="*/ 442755 h 454272"/>
                    <a:gd name="connsiteX0" fmla="*/ 8840 w 514980"/>
                    <a:gd name="connsiteY0" fmla="*/ 436996 h 448513"/>
                    <a:gd name="connsiteX1" fmla="*/ 5665 w 514980"/>
                    <a:gd name="connsiteY1" fmla="*/ 211571 h 448513"/>
                    <a:gd name="connsiteX2" fmla="*/ 62412 w 514980"/>
                    <a:gd name="connsiteY2" fmla="*/ 124015 h 448513"/>
                    <a:gd name="connsiteX3" fmla="*/ 186237 w 514980"/>
                    <a:gd name="connsiteY3" fmla="*/ 85915 h 448513"/>
                    <a:gd name="connsiteX4" fmla="*/ 205690 w 514980"/>
                    <a:gd name="connsiteY4" fmla="*/ 5196 h 448513"/>
                    <a:gd name="connsiteX5" fmla="*/ 325550 w 514980"/>
                    <a:gd name="connsiteY5" fmla="*/ 4208 h 448513"/>
                    <a:gd name="connsiteX6" fmla="*/ 351353 w 514980"/>
                    <a:gd name="connsiteY6" fmla="*/ 90499 h 448513"/>
                    <a:gd name="connsiteX7" fmla="*/ 461084 w 514980"/>
                    <a:gd name="connsiteY7" fmla="*/ 138124 h 448513"/>
                    <a:gd name="connsiteX8" fmla="*/ 513665 w 514980"/>
                    <a:gd name="connsiteY8" fmla="*/ 221096 h 448513"/>
                    <a:gd name="connsiteX9" fmla="*/ 510490 w 514980"/>
                    <a:gd name="connsiteY9" fmla="*/ 443346 h 448513"/>
                    <a:gd name="connsiteX10" fmla="*/ 8840 w 514980"/>
                    <a:gd name="connsiteY10" fmla="*/ 436996 h 448513"/>
                    <a:gd name="connsiteX0" fmla="*/ 8840 w 514980"/>
                    <a:gd name="connsiteY0" fmla="*/ 436996 h 448513"/>
                    <a:gd name="connsiteX1" fmla="*/ 5665 w 514980"/>
                    <a:gd name="connsiteY1" fmla="*/ 211571 h 448513"/>
                    <a:gd name="connsiteX2" fmla="*/ 62412 w 514980"/>
                    <a:gd name="connsiteY2" fmla="*/ 124015 h 448513"/>
                    <a:gd name="connsiteX3" fmla="*/ 186237 w 514980"/>
                    <a:gd name="connsiteY3" fmla="*/ 85915 h 448513"/>
                    <a:gd name="connsiteX4" fmla="*/ 205690 w 514980"/>
                    <a:gd name="connsiteY4" fmla="*/ 5196 h 448513"/>
                    <a:gd name="connsiteX5" fmla="*/ 325550 w 514980"/>
                    <a:gd name="connsiteY5" fmla="*/ 4208 h 448513"/>
                    <a:gd name="connsiteX6" fmla="*/ 351353 w 514980"/>
                    <a:gd name="connsiteY6" fmla="*/ 90499 h 448513"/>
                    <a:gd name="connsiteX7" fmla="*/ 461084 w 514980"/>
                    <a:gd name="connsiteY7" fmla="*/ 138124 h 448513"/>
                    <a:gd name="connsiteX8" fmla="*/ 513665 w 514980"/>
                    <a:gd name="connsiteY8" fmla="*/ 221096 h 448513"/>
                    <a:gd name="connsiteX9" fmla="*/ 510490 w 514980"/>
                    <a:gd name="connsiteY9" fmla="*/ 443346 h 448513"/>
                    <a:gd name="connsiteX10" fmla="*/ 8840 w 514980"/>
                    <a:gd name="connsiteY10" fmla="*/ 436996 h 448513"/>
                    <a:gd name="connsiteX0" fmla="*/ 8840 w 514980"/>
                    <a:gd name="connsiteY0" fmla="*/ 436996 h 448513"/>
                    <a:gd name="connsiteX1" fmla="*/ 5665 w 514980"/>
                    <a:gd name="connsiteY1" fmla="*/ 211571 h 448513"/>
                    <a:gd name="connsiteX2" fmla="*/ 62412 w 514980"/>
                    <a:gd name="connsiteY2" fmla="*/ 124015 h 448513"/>
                    <a:gd name="connsiteX3" fmla="*/ 186237 w 514980"/>
                    <a:gd name="connsiteY3" fmla="*/ 85915 h 448513"/>
                    <a:gd name="connsiteX4" fmla="*/ 205690 w 514980"/>
                    <a:gd name="connsiteY4" fmla="*/ 5196 h 448513"/>
                    <a:gd name="connsiteX5" fmla="*/ 325550 w 514980"/>
                    <a:gd name="connsiteY5" fmla="*/ 4208 h 448513"/>
                    <a:gd name="connsiteX6" fmla="*/ 351353 w 514980"/>
                    <a:gd name="connsiteY6" fmla="*/ 90499 h 448513"/>
                    <a:gd name="connsiteX7" fmla="*/ 461084 w 514980"/>
                    <a:gd name="connsiteY7" fmla="*/ 138124 h 448513"/>
                    <a:gd name="connsiteX8" fmla="*/ 513665 w 514980"/>
                    <a:gd name="connsiteY8" fmla="*/ 221096 h 448513"/>
                    <a:gd name="connsiteX9" fmla="*/ 510490 w 514980"/>
                    <a:gd name="connsiteY9" fmla="*/ 443346 h 448513"/>
                    <a:gd name="connsiteX10" fmla="*/ 8840 w 514980"/>
                    <a:gd name="connsiteY10" fmla="*/ 436996 h 448513"/>
                    <a:gd name="connsiteX0" fmla="*/ 8840 w 514980"/>
                    <a:gd name="connsiteY0" fmla="*/ 436996 h 448513"/>
                    <a:gd name="connsiteX1" fmla="*/ 5665 w 514980"/>
                    <a:gd name="connsiteY1" fmla="*/ 211571 h 448513"/>
                    <a:gd name="connsiteX2" fmla="*/ 62412 w 514980"/>
                    <a:gd name="connsiteY2" fmla="*/ 124015 h 448513"/>
                    <a:gd name="connsiteX3" fmla="*/ 168766 w 514980"/>
                    <a:gd name="connsiteY3" fmla="*/ 88102 h 448513"/>
                    <a:gd name="connsiteX4" fmla="*/ 205690 w 514980"/>
                    <a:gd name="connsiteY4" fmla="*/ 5196 h 448513"/>
                    <a:gd name="connsiteX5" fmla="*/ 325550 w 514980"/>
                    <a:gd name="connsiteY5" fmla="*/ 4208 h 448513"/>
                    <a:gd name="connsiteX6" fmla="*/ 351353 w 514980"/>
                    <a:gd name="connsiteY6" fmla="*/ 90499 h 448513"/>
                    <a:gd name="connsiteX7" fmla="*/ 461084 w 514980"/>
                    <a:gd name="connsiteY7" fmla="*/ 138124 h 448513"/>
                    <a:gd name="connsiteX8" fmla="*/ 513665 w 514980"/>
                    <a:gd name="connsiteY8" fmla="*/ 221096 h 448513"/>
                    <a:gd name="connsiteX9" fmla="*/ 510490 w 514980"/>
                    <a:gd name="connsiteY9" fmla="*/ 443346 h 448513"/>
                    <a:gd name="connsiteX10" fmla="*/ 8840 w 514980"/>
                    <a:gd name="connsiteY10" fmla="*/ 436996 h 448513"/>
                    <a:gd name="connsiteX0" fmla="*/ 8840 w 514980"/>
                    <a:gd name="connsiteY0" fmla="*/ 440628 h 452145"/>
                    <a:gd name="connsiteX1" fmla="*/ 5665 w 514980"/>
                    <a:gd name="connsiteY1" fmla="*/ 215203 h 452145"/>
                    <a:gd name="connsiteX2" fmla="*/ 62412 w 514980"/>
                    <a:gd name="connsiteY2" fmla="*/ 127647 h 452145"/>
                    <a:gd name="connsiteX3" fmla="*/ 168766 w 514980"/>
                    <a:gd name="connsiteY3" fmla="*/ 91734 h 452145"/>
                    <a:gd name="connsiteX4" fmla="*/ 179484 w 514980"/>
                    <a:gd name="connsiteY4" fmla="*/ 4454 h 452145"/>
                    <a:gd name="connsiteX5" fmla="*/ 325550 w 514980"/>
                    <a:gd name="connsiteY5" fmla="*/ 7840 h 452145"/>
                    <a:gd name="connsiteX6" fmla="*/ 351353 w 514980"/>
                    <a:gd name="connsiteY6" fmla="*/ 94131 h 452145"/>
                    <a:gd name="connsiteX7" fmla="*/ 461084 w 514980"/>
                    <a:gd name="connsiteY7" fmla="*/ 141756 h 452145"/>
                    <a:gd name="connsiteX8" fmla="*/ 513665 w 514980"/>
                    <a:gd name="connsiteY8" fmla="*/ 224728 h 452145"/>
                    <a:gd name="connsiteX9" fmla="*/ 510490 w 514980"/>
                    <a:gd name="connsiteY9" fmla="*/ 446978 h 452145"/>
                    <a:gd name="connsiteX10" fmla="*/ 8840 w 514980"/>
                    <a:gd name="connsiteY10" fmla="*/ 440628 h 452145"/>
                    <a:gd name="connsiteX0" fmla="*/ 8840 w 514980"/>
                    <a:gd name="connsiteY0" fmla="*/ 442422 h 453939"/>
                    <a:gd name="connsiteX1" fmla="*/ 5665 w 514980"/>
                    <a:gd name="connsiteY1" fmla="*/ 216997 h 453939"/>
                    <a:gd name="connsiteX2" fmla="*/ 62412 w 514980"/>
                    <a:gd name="connsiteY2" fmla="*/ 129441 h 453939"/>
                    <a:gd name="connsiteX3" fmla="*/ 168766 w 514980"/>
                    <a:gd name="connsiteY3" fmla="*/ 93528 h 453939"/>
                    <a:gd name="connsiteX4" fmla="*/ 179484 w 514980"/>
                    <a:gd name="connsiteY4" fmla="*/ 6248 h 453939"/>
                    <a:gd name="connsiteX5" fmla="*/ 351756 w 514980"/>
                    <a:gd name="connsiteY5" fmla="*/ 886 h 453939"/>
                    <a:gd name="connsiteX6" fmla="*/ 351353 w 514980"/>
                    <a:gd name="connsiteY6" fmla="*/ 95925 h 453939"/>
                    <a:gd name="connsiteX7" fmla="*/ 461084 w 514980"/>
                    <a:gd name="connsiteY7" fmla="*/ 143550 h 453939"/>
                    <a:gd name="connsiteX8" fmla="*/ 513665 w 514980"/>
                    <a:gd name="connsiteY8" fmla="*/ 226522 h 453939"/>
                    <a:gd name="connsiteX9" fmla="*/ 510490 w 514980"/>
                    <a:gd name="connsiteY9" fmla="*/ 448772 h 453939"/>
                    <a:gd name="connsiteX10" fmla="*/ 8840 w 514980"/>
                    <a:gd name="connsiteY10" fmla="*/ 442422 h 453939"/>
                    <a:gd name="connsiteX0" fmla="*/ 8840 w 514980"/>
                    <a:gd name="connsiteY0" fmla="*/ 442422 h 453939"/>
                    <a:gd name="connsiteX1" fmla="*/ 5665 w 514980"/>
                    <a:gd name="connsiteY1" fmla="*/ 216997 h 453939"/>
                    <a:gd name="connsiteX2" fmla="*/ 62412 w 514980"/>
                    <a:gd name="connsiteY2" fmla="*/ 129441 h 453939"/>
                    <a:gd name="connsiteX3" fmla="*/ 168766 w 514980"/>
                    <a:gd name="connsiteY3" fmla="*/ 93528 h 453939"/>
                    <a:gd name="connsiteX4" fmla="*/ 179484 w 514980"/>
                    <a:gd name="connsiteY4" fmla="*/ 6248 h 453939"/>
                    <a:gd name="connsiteX5" fmla="*/ 351756 w 514980"/>
                    <a:gd name="connsiteY5" fmla="*/ 886 h 453939"/>
                    <a:gd name="connsiteX6" fmla="*/ 366640 w 514980"/>
                    <a:gd name="connsiteY6" fmla="*/ 100299 h 453939"/>
                    <a:gd name="connsiteX7" fmla="*/ 461084 w 514980"/>
                    <a:gd name="connsiteY7" fmla="*/ 143550 h 453939"/>
                    <a:gd name="connsiteX8" fmla="*/ 513665 w 514980"/>
                    <a:gd name="connsiteY8" fmla="*/ 226522 h 453939"/>
                    <a:gd name="connsiteX9" fmla="*/ 510490 w 514980"/>
                    <a:gd name="connsiteY9" fmla="*/ 448772 h 453939"/>
                    <a:gd name="connsiteX10" fmla="*/ 8840 w 514980"/>
                    <a:gd name="connsiteY10" fmla="*/ 442422 h 453939"/>
                    <a:gd name="connsiteX0" fmla="*/ 8840 w 514980"/>
                    <a:gd name="connsiteY0" fmla="*/ 442422 h 450476"/>
                    <a:gd name="connsiteX1" fmla="*/ 5665 w 514980"/>
                    <a:gd name="connsiteY1" fmla="*/ 216997 h 450476"/>
                    <a:gd name="connsiteX2" fmla="*/ 62412 w 514980"/>
                    <a:gd name="connsiteY2" fmla="*/ 129441 h 450476"/>
                    <a:gd name="connsiteX3" fmla="*/ 168766 w 514980"/>
                    <a:gd name="connsiteY3" fmla="*/ 93528 h 450476"/>
                    <a:gd name="connsiteX4" fmla="*/ 179484 w 514980"/>
                    <a:gd name="connsiteY4" fmla="*/ 6248 h 450476"/>
                    <a:gd name="connsiteX5" fmla="*/ 351756 w 514980"/>
                    <a:gd name="connsiteY5" fmla="*/ 886 h 450476"/>
                    <a:gd name="connsiteX6" fmla="*/ 366640 w 514980"/>
                    <a:gd name="connsiteY6" fmla="*/ 100299 h 450476"/>
                    <a:gd name="connsiteX7" fmla="*/ 461084 w 514980"/>
                    <a:gd name="connsiteY7" fmla="*/ 143550 h 450476"/>
                    <a:gd name="connsiteX8" fmla="*/ 513665 w 514980"/>
                    <a:gd name="connsiteY8" fmla="*/ 226522 h 450476"/>
                    <a:gd name="connsiteX9" fmla="*/ 510490 w 514980"/>
                    <a:gd name="connsiteY9" fmla="*/ 448772 h 450476"/>
                    <a:gd name="connsiteX10" fmla="*/ 8840 w 514980"/>
                    <a:gd name="connsiteY10" fmla="*/ 442422 h 450476"/>
                    <a:gd name="connsiteX0" fmla="*/ 8840 w 514980"/>
                    <a:gd name="connsiteY0" fmla="*/ 442422 h 448772"/>
                    <a:gd name="connsiteX1" fmla="*/ 5665 w 514980"/>
                    <a:gd name="connsiteY1" fmla="*/ 216997 h 448772"/>
                    <a:gd name="connsiteX2" fmla="*/ 62412 w 514980"/>
                    <a:gd name="connsiteY2" fmla="*/ 129441 h 448772"/>
                    <a:gd name="connsiteX3" fmla="*/ 168766 w 514980"/>
                    <a:gd name="connsiteY3" fmla="*/ 93528 h 448772"/>
                    <a:gd name="connsiteX4" fmla="*/ 179484 w 514980"/>
                    <a:gd name="connsiteY4" fmla="*/ 6248 h 448772"/>
                    <a:gd name="connsiteX5" fmla="*/ 351756 w 514980"/>
                    <a:gd name="connsiteY5" fmla="*/ 886 h 448772"/>
                    <a:gd name="connsiteX6" fmla="*/ 366640 w 514980"/>
                    <a:gd name="connsiteY6" fmla="*/ 100299 h 448772"/>
                    <a:gd name="connsiteX7" fmla="*/ 461084 w 514980"/>
                    <a:gd name="connsiteY7" fmla="*/ 143550 h 448772"/>
                    <a:gd name="connsiteX8" fmla="*/ 513665 w 514980"/>
                    <a:gd name="connsiteY8" fmla="*/ 226522 h 448772"/>
                    <a:gd name="connsiteX9" fmla="*/ 510490 w 514980"/>
                    <a:gd name="connsiteY9" fmla="*/ 448772 h 448772"/>
                    <a:gd name="connsiteX10" fmla="*/ 8840 w 514980"/>
                    <a:gd name="connsiteY10" fmla="*/ 442422 h 448772"/>
                    <a:gd name="connsiteX0" fmla="*/ 8840 w 514980"/>
                    <a:gd name="connsiteY0" fmla="*/ 442422 h 448772"/>
                    <a:gd name="connsiteX1" fmla="*/ 5665 w 514980"/>
                    <a:gd name="connsiteY1" fmla="*/ 216997 h 448772"/>
                    <a:gd name="connsiteX2" fmla="*/ 62412 w 514980"/>
                    <a:gd name="connsiteY2" fmla="*/ 129441 h 448772"/>
                    <a:gd name="connsiteX3" fmla="*/ 168766 w 514980"/>
                    <a:gd name="connsiteY3" fmla="*/ 93528 h 448772"/>
                    <a:gd name="connsiteX4" fmla="*/ 179484 w 514980"/>
                    <a:gd name="connsiteY4" fmla="*/ 6248 h 448772"/>
                    <a:gd name="connsiteX5" fmla="*/ 351756 w 514980"/>
                    <a:gd name="connsiteY5" fmla="*/ 886 h 448772"/>
                    <a:gd name="connsiteX6" fmla="*/ 357905 w 514980"/>
                    <a:gd name="connsiteY6" fmla="*/ 98112 h 448772"/>
                    <a:gd name="connsiteX7" fmla="*/ 461084 w 514980"/>
                    <a:gd name="connsiteY7" fmla="*/ 143550 h 448772"/>
                    <a:gd name="connsiteX8" fmla="*/ 513665 w 514980"/>
                    <a:gd name="connsiteY8" fmla="*/ 226522 h 448772"/>
                    <a:gd name="connsiteX9" fmla="*/ 510490 w 514980"/>
                    <a:gd name="connsiteY9" fmla="*/ 448772 h 448772"/>
                    <a:gd name="connsiteX10" fmla="*/ 8840 w 514980"/>
                    <a:gd name="connsiteY10" fmla="*/ 442422 h 448772"/>
                    <a:gd name="connsiteX0" fmla="*/ 8840 w 514980"/>
                    <a:gd name="connsiteY0" fmla="*/ 442422 h 448772"/>
                    <a:gd name="connsiteX1" fmla="*/ 5665 w 514980"/>
                    <a:gd name="connsiteY1" fmla="*/ 216997 h 448772"/>
                    <a:gd name="connsiteX2" fmla="*/ 62412 w 514980"/>
                    <a:gd name="connsiteY2" fmla="*/ 129441 h 448772"/>
                    <a:gd name="connsiteX3" fmla="*/ 168766 w 514980"/>
                    <a:gd name="connsiteY3" fmla="*/ 93528 h 448772"/>
                    <a:gd name="connsiteX4" fmla="*/ 179484 w 514980"/>
                    <a:gd name="connsiteY4" fmla="*/ 6248 h 448772"/>
                    <a:gd name="connsiteX5" fmla="*/ 351756 w 514980"/>
                    <a:gd name="connsiteY5" fmla="*/ 886 h 448772"/>
                    <a:gd name="connsiteX6" fmla="*/ 357905 w 514980"/>
                    <a:gd name="connsiteY6" fmla="*/ 98112 h 448772"/>
                    <a:gd name="connsiteX7" fmla="*/ 454533 w 514980"/>
                    <a:gd name="connsiteY7" fmla="*/ 136989 h 448772"/>
                    <a:gd name="connsiteX8" fmla="*/ 513665 w 514980"/>
                    <a:gd name="connsiteY8" fmla="*/ 226522 h 448772"/>
                    <a:gd name="connsiteX9" fmla="*/ 510490 w 514980"/>
                    <a:gd name="connsiteY9" fmla="*/ 448772 h 448772"/>
                    <a:gd name="connsiteX10" fmla="*/ 8840 w 514980"/>
                    <a:gd name="connsiteY10" fmla="*/ 442422 h 448772"/>
                    <a:gd name="connsiteX0" fmla="*/ 8840 w 514980"/>
                    <a:gd name="connsiteY0" fmla="*/ 442422 h 448772"/>
                    <a:gd name="connsiteX1" fmla="*/ 5665 w 514980"/>
                    <a:gd name="connsiteY1" fmla="*/ 216997 h 448772"/>
                    <a:gd name="connsiteX2" fmla="*/ 62412 w 514980"/>
                    <a:gd name="connsiteY2" fmla="*/ 129441 h 448772"/>
                    <a:gd name="connsiteX3" fmla="*/ 168766 w 514980"/>
                    <a:gd name="connsiteY3" fmla="*/ 93528 h 448772"/>
                    <a:gd name="connsiteX4" fmla="*/ 179484 w 514980"/>
                    <a:gd name="connsiteY4" fmla="*/ 6248 h 448772"/>
                    <a:gd name="connsiteX5" fmla="*/ 351756 w 514980"/>
                    <a:gd name="connsiteY5" fmla="*/ 886 h 448772"/>
                    <a:gd name="connsiteX6" fmla="*/ 357905 w 514980"/>
                    <a:gd name="connsiteY6" fmla="*/ 98112 h 448772"/>
                    <a:gd name="connsiteX7" fmla="*/ 454533 w 514980"/>
                    <a:gd name="connsiteY7" fmla="*/ 136989 h 448772"/>
                    <a:gd name="connsiteX8" fmla="*/ 513665 w 514980"/>
                    <a:gd name="connsiteY8" fmla="*/ 226522 h 448772"/>
                    <a:gd name="connsiteX9" fmla="*/ 510490 w 514980"/>
                    <a:gd name="connsiteY9" fmla="*/ 448772 h 448772"/>
                    <a:gd name="connsiteX10" fmla="*/ 8840 w 514980"/>
                    <a:gd name="connsiteY10" fmla="*/ 442422 h 448772"/>
                    <a:gd name="connsiteX0" fmla="*/ 8840 w 514980"/>
                    <a:gd name="connsiteY0" fmla="*/ 442422 h 448772"/>
                    <a:gd name="connsiteX1" fmla="*/ 5665 w 514980"/>
                    <a:gd name="connsiteY1" fmla="*/ 216997 h 448772"/>
                    <a:gd name="connsiteX2" fmla="*/ 62412 w 514980"/>
                    <a:gd name="connsiteY2" fmla="*/ 129441 h 448772"/>
                    <a:gd name="connsiteX3" fmla="*/ 168766 w 514980"/>
                    <a:gd name="connsiteY3" fmla="*/ 93528 h 448772"/>
                    <a:gd name="connsiteX4" fmla="*/ 179484 w 514980"/>
                    <a:gd name="connsiteY4" fmla="*/ 6248 h 448772"/>
                    <a:gd name="connsiteX5" fmla="*/ 351756 w 514980"/>
                    <a:gd name="connsiteY5" fmla="*/ 886 h 448772"/>
                    <a:gd name="connsiteX6" fmla="*/ 357905 w 514980"/>
                    <a:gd name="connsiteY6" fmla="*/ 98112 h 448772"/>
                    <a:gd name="connsiteX7" fmla="*/ 454533 w 514980"/>
                    <a:gd name="connsiteY7" fmla="*/ 136989 h 448772"/>
                    <a:gd name="connsiteX8" fmla="*/ 513665 w 514980"/>
                    <a:gd name="connsiteY8" fmla="*/ 226522 h 448772"/>
                    <a:gd name="connsiteX9" fmla="*/ 510490 w 514980"/>
                    <a:gd name="connsiteY9" fmla="*/ 448772 h 448772"/>
                    <a:gd name="connsiteX10" fmla="*/ 8840 w 514980"/>
                    <a:gd name="connsiteY10" fmla="*/ 442422 h 448772"/>
                    <a:gd name="connsiteX0" fmla="*/ 8840 w 514980"/>
                    <a:gd name="connsiteY0" fmla="*/ 442422 h 448772"/>
                    <a:gd name="connsiteX1" fmla="*/ 5665 w 514980"/>
                    <a:gd name="connsiteY1" fmla="*/ 216997 h 448772"/>
                    <a:gd name="connsiteX2" fmla="*/ 62412 w 514980"/>
                    <a:gd name="connsiteY2" fmla="*/ 129441 h 448772"/>
                    <a:gd name="connsiteX3" fmla="*/ 168766 w 514980"/>
                    <a:gd name="connsiteY3" fmla="*/ 93528 h 448772"/>
                    <a:gd name="connsiteX4" fmla="*/ 179484 w 514980"/>
                    <a:gd name="connsiteY4" fmla="*/ 6248 h 448772"/>
                    <a:gd name="connsiteX5" fmla="*/ 351756 w 514980"/>
                    <a:gd name="connsiteY5" fmla="*/ 886 h 448772"/>
                    <a:gd name="connsiteX6" fmla="*/ 353538 w 514980"/>
                    <a:gd name="connsiteY6" fmla="*/ 98112 h 448772"/>
                    <a:gd name="connsiteX7" fmla="*/ 454533 w 514980"/>
                    <a:gd name="connsiteY7" fmla="*/ 136989 h 448772"/>
                    <a:gd name="connsiteX8" fmla="*/ 513665 w 514980"/>
                    <a:gd name="connsiteY8" fmla="*/ 226522 h 448772"/>
                    <a:gd name="connsiteX9" fmla="*/ 510490 w 514980"/>
                    <a:gd name="connsiteY9" fmla="*/ 448772 h 448772"/>
                    <a:gd name="connsiteX10" fmla="*/ 8840 w 514980"/>
                    <a:gd name="connsiteY10" fmla="*/ 442422 h 448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14980" h="448772">
                      <a:moveTo>
                        <a:pt x="8840" y="442422"/>
                      </a:moveTo>
                      <a:cubicBezTo>
                        <a:pt x="-1214" y="377864"/>
                        <a:pt x="-3264" y="269160"/>
                        <a:pt x="5665" y="216997"/>
                      </a:cubicBezTo>
                      <a:cubicBezTo>
                        <a:pt x="14594" y="164834"/>
                        <a:pt x="35229" y="150019"/>
                        <a:pt x="62412" y="129441"/>
                      </a:cubicBezTo>
                      <a:cubicBezTo>
                        <a:pt x="89595" y="108863"/>
                        <a:pt x="149254" y="114060"/>
                        <a:pt x="168766" y="93528"/>
                      </a:cubicBezTo>
                      <a:cubicBezTo>
                        <a:pt x="188278" y="72996"/>
                        <a:pt x="189023" y="43922"/>
                        <a:pt x="179484" y="6248"/>
                      </a:cubicBezTo>
                      <a:cubicBezTo>
                        <a:pt x="202703" y="-7370"/>
                        <a:pt x="323111" y="6352"/>
                        <a:pt x="351756" y="886"/>
                      </a:cubicBezTo>
                      <a:cubicBezTo>
                        <a:pt x="354195" y="39159"/>
                        <a:pt x="342961" y="75428"/>
                        <a:pt x="353538" y="98112"/>
                      </a:cubicBezTo>
                      <a:cubicBezTo>
                        <a:pt x="364115" y="120796"/>
                        <a:pt x="427845" y="115587"/>
                        <a:pt x="454533" y="136989"/>
                      </a:cubicBezTo>
                      <a:cubicBezTo>
                        <a:pt x="481221" y="158391"/>
                        <a:pt x="503611" y="177839"/>
                        <a:pt x="513665" y="226522"/>
                      </a:cubicBezTo>
                      <a:cubicBezTo>
                        <a:pt x="516840" y="276264"/>
                        <a:pt x="513665" y="323360"/>
                        <a:pt x="510490" y="448772"/>
                      </a:cubicBezTo>
                      <a:lnTo>
                        <a:pt x="8840" y="442422"/>
                      </a:lnTo>
                      <a:close/>
                    </a:path>
                  </a:pathLst>
                </a:custGeom>
                <a:grpFill/>
                <a:ln w="571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180" name="Oval 179">
                  <a:extLst>
                    <a:ext uri="{FF2B5EF4-FFF2-40B4-BE49-F238E27FC236}">
                      <a16:creationId xmlns:a16="http://schemas.microsoft.com/office/drawing/2014/main" id="{98B0C0C7-5991-9A46-816B-807B32E18515}"/>
                    </a:ext>
                  </a:extLst>
                </p:cNvPr>
                <p:cNvSpPr/>
                <p:nvPr/>
              </p:nvSpPr>
              <p:spPr>
                <a:xfrm>
                  <a:off x="1971467" y="3508300"/>
                  <a:ext cx="282088" cy="336550"/>
                </a:xfrm>
                <a:prstGeom prst="ellipse">
                  <a:avLst/>
                </a:prstGeom>
                <a:grpFill/>
                <a:ln w="571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grpSp>
          <p:grpSp>
            <p:nvGrpSpPr>
              <p:cNvPr id="176" name="Group 175">
                <a:extLst>
                  <a:ext uri="{FF2B5EF4-FFF2-40B4-BE49-F238E27FC236}">
                    <a16:creationId xmlns:a16="http://schemas.microsoft.com/office/drawing/2014/main" id="{155A6F9E-619B-6A48-BAF3-2FF42D36F602}"/>
                  </a:ext>
                </a:extLst>
              </p:cNvPr>
              <p:cNvGrpSpPr/>
              <p:nvPr/>
            </p:nvGrpSpPr>
            <p:grpSpPr>
              <a:xfrm>
                <a:off x="1553120" y="3388644"/>
                <a:ext cx="633802" cy="938165"/>
                <a:chOff x="1806977" y="3500843"/>
                <a:chExt cx="539989" cy="738018"/>
              </a:xfrm>
            </p:grpSpPr>
            <p:sp>
              <p:nvSpPr>
                <p:cNvPr id="177" name="Freeform 176">
                  <a:extLst>
                    <a:ext uri="{FF2B5EF4-FFF2-40B4-BE49-F238E27FC236}">
                      <a16:creationId xmlns:a16="http://schemas.microsoft.com/office/drawing/2014/main" id="{9E088BA6-17D8-3A47-BF75-427A7BE777E4}"/>
                    </a:ext>
                  </a:extLst>
                </p:cNvPr>
                <p:cNvSpPr/>
                <p:nvPr/>
              </p:nvSpPr>
              <p:spPr>
                <a:xfrm>
                  <a:off x="1806977" y="3782373"/>
                  <a:ext cx="539989" cy="456488"/>
                </a:xfrm>
                <a:custGeom>
                  <a:avLst/>
                  <a:gdLst>
                    <a:gd name="connsiteX0" fmla="*/ 36807 w 576731"/>
                    <a:gd name="connsiteY0" fmla="*/ 449906 h 505924"/>
                    <a:gd name="connsiteX1" fmla="*/ 39982 w 576731"/>
                    <a:gd name="connsiteY1" fmla="*/ 214956 h 505924"/>
                    <a:gd name="connsiteX2" fmla="*/ 55857 w 576731"/>
                    <a:gd name="connsiteY2" fmla="*/ 176856 h 505924"/>
                    <a:gd name="connsiteX3" fmla="*/ 103482 w 576731"/>
                    <a:gd name="connsiteY3" fmla="*/ 160981 h 505924"/>
                    <a:gd name="connsiteX4" fmla="*/ 205082 w 576731"/>
                    <a:gd name="connsiteY4" fmla="*/ 154631 h 505924"/>
                    <a:gd name="connsiteX5" fmla="*/ 230482 w 576731"/>
                    <a:gd name="connsiteY5" fmla="*/ 151456 h 505924"/>
                    <a:gd name="connsiteX6" fmla="*/ 233657 w 576731"/>
                    <a:gd name="connsiteY6" fmla="*/ 18106 h 505924"/>
                    <a:gd name="connsiteX7" fmla="*/ 344782 w 576731"/>
                    <a:gd name="connsiteY7" fmla="*/ 14931 h 505924"/>
                    <a:gd name="connsiteX8" fmla="*/ 344782 w 576731"/>
                    <a:gd name="connsiteY8" fmla="*/ 145106 h 505924"/>
                    <a:gd name="connsiteX9" fmla="*/ 386057 w 576731"/>
                    <a:gd name="connsiteY9" fmla="*/ 151456 h 505924"/>
                    <a:gd name="connsiteX10" fmla="*/ 478132 w 576731"/>
                    <a:gd name="connsiteY10" fmla="*/ 164156 h 505924"/>
                    <a:gd name="connsiteX11" fmla="*/ 519407 w 576731"/>
                    <a:gd name="connsiteY11" fmla="*/ 189556 h 505924"/>
                    <a:gd name="connsiteX12" fmla="*/ 541632 w 576731"/>
                    <a:gd name="connsiteY12" fmla="*/ 234006 h 505924"/>
                    <a:gd name="connsiteX13" fmla="*/ 538457 w 576731"/>
                    <a:gd name="connsiteY13" fmla="*/ 488006 h 505924"/>
                    <a:gd name="connsiteX14" fmla="*/ 36807 w 576731"/>
                    <a:gd name="connsiteY14" fmla="*/ 449906 h 505924"/>
                    <a:gd name="connsiteX0" fmla="*/ 5769 w 545693"/>
                    <a:gd name="connsiteY0" fmla="*/ 449906 h 505924"/>
                    <a:gd name="connsiteX1" fmla="*/ 8944 w 545693"/>
                    <a:gd name="connsiteY1" fmla="*/ 214956 h 505924"/>
                    <a:gd name="connsiteX2" fmla="*/ 24819 w 545693"/>
                    <a:gd name="connsiteY2" fmla="*/ 176856 h 505924"/>
                    <a:gd name="connsiteX3" fmla="*/ 72444 w 545693"/>
                    <a:gd name="connsiteY3" fmla="*/ 160981 h 505924"/>
                    <a:gd name="connsiteX4" fmla="*/ 174044 w 545693"/>
                    <a:gd name="connsiteY4" fmla="*/ 154631 h 505924"/>
                    <a:gd name="connsiteX5" fmla="*/ 199444 w 545693"/>
                    <a:gd name="connsiteY5" fmla="*/ 151456 h 505924"/>
                    <a:gd name="connsiteX6" fmla="*/ 202619 w 545693"/>
                    <a:gd name="connsiteY6" fmla="*/ 18106 h 505924"/>
                    <a:gd name="connsiteX7" fmla="*/ 313744 w 545693"/>
                    <a:gd name="connsiteY7" fmla="*/ 14931 h 505924"/>
                    <a:gd name="connsiteX8" fmla="*/ 313744 w 545693"/>
                    <a:gd name="connsiteY8" fmla="*/ 145106 h 505924"/>
                    <a:gd name="connsiteX9" fmla="*/ 355019 w 545693"/>
                    <a:gd name="connsiteY9" fmla="*/ 151456 h 505924"/>
                    <a:gd name="connsiteX10" fmla="*/ 447094 w 545693"/>
                    <a:gd name="connsiteY10" fmla="*/ 164156 h 505924"/>
                    <a:gd name="connsiteX11" fmla="*/ 488369 w 545693"/>
                    <a:gd name="connsiteY11" fmla="*/ 189556 h 505924"/>
                    <a:gd name="connsiteX12" fmla="*/ 510594 w 545693"/>
                    <a:gd name="connsiteY12" fmla="*/ 234006 h 505924"/>
                    <a:gd name="connsiteX13" fmla="*/ 507419 w 545693"/>
                    <a:gd name="connsiteY13" fmla="*/ 488006 h 505924"/>
                    <a:gd name="connsiteX14" fmla="*/ 5769 w 545693"/>
                    <a:gd name="connsiteY14" fmla="*/ 449906 h 505924"/>
                    <a:gd name="connsiteX0" fmla="*/ 21286 w 561210"/>
                    <a:gd name="connsiteY0" fmla="*/ 449906 h 508025"/>
                    <a:gd name="connsiteX1" fmla="*/ 24461 w 561210"/>
                    <a:gd name="connsiteY1" fmla="*/ 214956 h 508025"/>
                    <a:gd name="connsiteX2" fmla="*/ 40336 w 561210"/>
                    <a:gd name="connsiteY2" fmla="*/ 176856 h 508025"/>
                    <a:gd name="connsiteX3" fmla="*/ 87961 w 561210"/>
                    <a:gd name="connsiteY3" fmla="*/ 160981 h 508025"/>
                    <a:gd name="connsiteX4" fmla="*/ 189561 w 561210"/>
                    <a:gd name="connsiteY4" fmla="*/ 154631 h 508025"/>
                    <a:gd name="connsiteX5" fmla="*/ 214961 w 561210"/>
                    <a:gd name="connsiteY5" fmla="*/ 151456 h 508025"/>
                    <a:gd name="connsiteX6" fmla="*/ 218136 w 561210"/>
                    <a:gd name="connsiteY6" fmla="*/ 18106 h 508025"/>
                    <a:gd name="connsiteX7" fmla="*/ 329261 w 561210"/>
                    <a:gd name="connsiteY7" fmla="*/ 14931 h 508025"/>
                    <a:gd name="connsiteX8" fmla="*/ 329261 w 561210"/>
                    <a:gd name="connsiteY8" fmla="*/ 145106 h 508025"/>
                    <a:gd name="connsiteX9" fmla="*/ 370536 w 561210"/>
                    <a:gd name="connsiteY9" fmla="*/ 151456 h 508025"/>
                    <a:gd name="connsiteX10" fmla="*/ 462611 w 561210"/>
                    <a:gd name="connsiteY10" fmla="*/ 164156 h 508025"/>
                    <a:gd name="connsiteX11" fmla="*/ 503886 w 561210"/>
                    <a:gd name="connsiteY11" fmla="*/ 189556 h 508025"/>
                    <a:gd name="connsiteX12" fmla="*/ 526111 w 561210"/>
                    <a:gd name="connsiteY12" fmla="*/ 234006 h 508025"/>
                    <a:gd name="connsiteX13" fmla="*/ 522936 w 561210"/>
                    <a:gd name="connsiteY13" fmla="*/ 488006 h 508025"/>
                    <a:gd name="connsiteX14" fmla="*/ 21286 w 561210"/>
                    <a:gd name="connsiteY14" fmla="*/ 449906 h 508025"/>
                    <a:gd name="connsiteX0" fmla="*/ 21286 w 561210"/>
                    <a:gd name="connsiteY0" fmla="*/ 449906 h 508025"/>
                    <a:gd name="connsiteX1" fmla="*/ 24461 w 561210"/>
                    <a:gd name="connsiteY1" fmla="*/ 214956 h 508025"/>
                    <a:gd name="connsiteX2" fmla="*/ 40336 w 561210"/>
                    <a:gd name="connsiteY2" fmla="*/ 176856 h 508025"/>
                    <a:gd name="connsiteX3" fmla="*/ 87961 w 561210"/>
                    <a:gd name="connsiteY3" fmla="*/ 160981 h 508025"/>
                    <a:gd name="connsiteX4" fmla="*/ 189561 w 561210"/>
                    <a:gd name="connsiteY4" fmla="*/ 154631 h 508025"/>
                    <a:gd name="connsiteX5" fmla="*/ 214961 w 561210"/>
                    <a:gd name="connsiteY5" fmla="*/ 151456 h 508025"/>
                    <a:gd name="connsiteX6" fmla="*/ 218136 w 561210"/>
                    <a:gd name="connsiteY6" fmla="*/ 18106 h 508025"/>
                    <a:gd name="connsiteX7" fmla="*/ 329261 w 561210"/>
                    <a:gd name="connsiteY7" fmla="*/ 14931 h 508025"/>
                    <a:gd name="connsiteX8" fmla="*/ 329261 w 561210"/>
                    <a:gd name="connsiteY8" fmla="*/ 145106 h 508025"/>
                    <a:gd name="connsiteX9" fmla="*/ 370536 w 561210"/>
                    <a:gd name="connsiteY9" fmla="*/ 151456 h 508025"/>
                    <a:gd name="connsiteX10" fmla="*/ 462611 w 561210"/>
                    <a:gd name="connsiteY10" fmla="*/ 164156 h 508025"/>
                    <a:gd name="connsiteX11" fmla="*/ 503886 w 561210"/>
                    <a:gd name="connsiteY11" fmla="*/ 189556 h 508025"/>
                    <a:gd name="connsiteX12" fmla="*/ 526111 w 561210"/>
                    <a:gd name="connsiteY12" fmla="*/ 234006 h 508025"/>
                    <a:gd name="connsiteX13" fmla="*/ 522936 w 561210"/>
                    <a:gd name="connsiteY13" fmla="*/ 488006 h 508025"/>
                    <a:gd name="connsiteX14" fmla="*/ 21286 w 561210"/>
                    <a:gd name="connsiteY14" fmla="*/ 449906 h 508025"/>
                    <a:gd name="connsiteX0" fmla="*/ 4360 w 544284"/>
                    <a:gd name="connsiteY0" fmla="*/ 449906 h 508025"/>
                    <a:gd name="connsiteX1" fmla="*/ 7535 w 544284"/>
                    <a:gd name="connsiteY1" fmla="*/ 214956 h 508025"/>
                    <a:gd name="connsiteX2" fmla="*/ 23410 w 544284"/>
                    <a:gd name="connsiteY2" fmla="*/ 176856 h 508025"/>
                    <a:gd name="connsiteX3" fmla="*/ 71035 w 544284"/>
                    <a:gd name="connsiteY3" fmla="*/ 160981 h 508025"/>
                    <a:gd name="connsiteX4" fmla="*/ 172635 w 544284"/>
                    <a:gd name="connsiteY4" fmla="*/ 154631 h 508025"/>
                    <a:gd name="connsiteX5" fmla="*/ 198035 w 544284"/>
                    <a:gd name="connsiteY5" fmla="*/ 151456 h 508025"/>
                    <a:gd name="connsiteX6" fmla="*/ 201210 w 544284"/>
                    <a:gd name="connsiteY6" fmla="*/ 18106 h 508025"/>
                    <a:gd name="connsiteX7" fmla="*/ 312335 w 544284"/>
                    <a:gd name="connsiteY7" fmla="*/ 14931 h 508025"/>
                    <a:gd name="connsiteX8" fmla="*/ 312335 w 544284"/>
                    <a:gd name="connsiteY8" fmla="*/ 145106 h 508025"/>
                    <a:gd name="connsiteX9" fmla="*/ 353610 w 544284"/>
                    <a:gd name="connsiteY9" fmla="*/ 151456 h 508025"/>
                    <a:gd name="connsiteX10" fmla="*/ 445685 w 544284"/>
                    <a:gd name="connsiteY10" fmla="*/ 164156 h 508025"/>
                    <a:gd name="connsiteX11" fmla="*/ 486960 w 544284"/>
                    <a:gd name="connsiteY11" fmla="*/ 189556 h 508025"/>
                    <a:gd name="connsiteX12" fmla="*/ 509185 w 544284"/>
                    <a:gd name="connsiteY12" fmla="*/ 234006 h 508025"/>
                    <a:gd name="connsiteX13" fmla="*/ 506010 w 544284"/>
                    <a:gd name="connsiteY13" fmla="*/ 488006 h 508025"/>
                    <a:gd name="connsiteX14" fmla="*/ 4360 w 544284"/>
                    <a:gd name="connsiteY14" fmla="*/ 449906 h 508025"/>
                    <a:gd name="connsiteX0" fmla="*/ 4360 w 544284"/>
                    <a:gd name="connsiteY0" fmla="*/ 449906 h 500804"/>
                    <a:gd name="connsiteX1" fmla="*/ 7535 w 544284"/>
                    <a:gd name="connsiteY1" fmla="*/ 214956 h 500804"/>
                    <a:gd name="connsiteX2" fmla="*/ 23410 w 544284"/>
                    <a:gd name="connsiteY2" fmla="*/ 176856 h 500804"/>
                    <a:gd name="connsiteX3" fmla="*/ 71035 w 544284"/>
                    <a:gd name="connsiteY3" fmla="*/ 160981 h 500804"/>
                    <a:gd name="connsiteX4" fmla="*/ 172635 w 544284"/>
                    <a:gd name="connsiteY4" fmla="*/ 154631 h 500804"/>
                    <a:gd name="connsiteX5" fmla="*/ 198035 w 544284"/>
                    <a:gd name="connsiteY5" fmla="*/ 151456 h 500804"/>
                    <a:gd name="connsiteX6" fmla="*/ 201210 w 544284"/>
                    <a:gd name="connsiteY6" fmla="*/ 18106 h 500804"/>
                    <a:gd name="connsiteX7" fmla="*/ 312335 w 544284"/>
                    <a:gd name="connsiteY7" fmla="*/ 14931 h 500804"/>
                    <a:gd name="connsiteX8" fmla="*/ 312335 w 544284"/>
                    <a:gd name="connsiteY8" fmla="*/ 145106 h 500804"/>
                    <a:gd name="connsiteX9" fmla="*/ 353610 w 544284"/>
                    <a:gd name="connsiteY9" fmla="*/ 151456 h 500804"/>
                    <a:gd name="connsiteX10" fmla="*/ 445685 w 544284"/>
                    <a:gd name="connsiteY10" fmla="*/ 164156 h 500804"/>
                    <a:gd name="connsiteX11" fmla="*/ 486960 w 544284"/>
                    <a:gd name="connsiteY11" fmla="*/ 189556 h 500804"/>
                    <a:gd name="connsiteX12" fmla="*/ 509185 w 544284"/>
                    <a:gd name="connsiteY12" fmla="*/ 234006 h 500804"/>
                    <a:gd name="connsiteX13" fmla="*/ 506010 w 544284"/>
                    <a:gd name="connsiteY13" fmla="*/ 488006 h 500804"/>
                    <a:gd name="connsiteX14" fmla="*/ 4360 w 544284"/>
                    <a:gd name="connsiteY14" fmla="*/ 449906 h 500804"/>
                    <a:gd name="connsiteX0" fmla="*/ 4360 w 544284"/>
                    <a:gd name="connsiteY0" fmla="*/ 449906 h 500804"/>
                    <a:gd name="connsiteX1" fmla="*/ 7535 w 544284"/>
                    <a:gd name="connsiteY1" fmla="*/ 214956 h 500804"/>
                    <a:gd name="connsiteX2" fmla="*/ 23410 w 544284"/>
                    <a:gd name="connsiteY2" fmla="*/ 176856 h 500804"/>
                    <a:gd name="connsiteX3" fmla="*/ 71035 w 544284"/>
                    <a:gd name="connsiteY3" fmla="*/ 160981 h 500804"/>
                    <a:gd name="connsiteX4" fmla="*/ 172635 w 544284"/>
                    <a:gd name="connsiteY4" fmla="*/ 154631 h 500804"/>
                    <a:gd name="connsiteX5" fmla="*/ 198035 w 544284"/>
                    <a:gd name="connsiteY5" fmla="*/ 151456 h 500804"/>
                    <a:gd name="connsiteX6" fmla="*/ 201210 w 544284"/>
                    <a:gd name="connsiteY6" fmla="*/ 18106 h 500804"/>
                    <a:gd name="connsiteX7" fmla="*/ 312335 w 544284"/>
                    <a:gd name="connsiteY7" fmla="*/ 14931 h 500804"/>
                    <a:gd name="connsiteX8" fmla="*/ 312335 w 544284"/>
                    <a:gd name="connsiteY8" fmla="*/ 145106 h 500804"/>
                    <a:gd name="connsiteX9" fmla="*/ 353610 w 544284"/>
                    <a:gd name="connsiteY9" fmla="*/ 151456 h 500804"/>
                    <a:gd name="connsiteX10" fmla="*/ 445685 w 544284"/>
                    <a:gd name="connsiteY10" fmla="*/ 164156 h 500804"/>
                    <a:gd name="connsiteX11" fmla="*/ 486960 w 544284"/>
                    <a:gd name="connsiteY11" fmla="*/ 189556 h 500804"/>
                    <a:gd name="connsiteX12" fmla="*/ 509185 w 544284"/>
                    <a:gd name="connsiteY12" fmla="*/ 234006 h 500804"/>
                    <a:gd name="connsiteX13" fmla="*/ 506010 w 544284"/>
                    <a:gd name="connsiteY13" fmla="*/ 488006 h 500804"/>
                    <a:gd name="connsiteX14" fmla="*/ 4360 w 544284"/>
                    <a:gd name="connsiteY14" fmla="*/ 449906 h 500804"/>
                    <a:gd name="connsiteX0" fmla="*/ 4360 w 519024"/>
                    <a:gd name="connsiteY0" fmla="*/ 449906 h 500804"/>
                    <a:gd name="connsiteX1" fmla="*/ 7535 w 519024"/>
                    <a:gd name="connsiteY1" fmla="*/ 214956 h 500804"/>
                    <a:gd name="connsiteX2" fmla="*/ 23410 w 519024"/>
                    <a:gd name="connsiteY2" fmla="*/ 176856 h 500804"/>
                    <a:gd name="connsiteX3" fmla="*/ 71035 w 519024"/>
                    <a:gd name="connsiteY3" fmla="*/ 160981 h 500804"/>
                    <a:gd name="connsiteX4" fmla="*/ 172635 w 519024"/>
                    <a:gd name="connsiteY4" fmla="*/ 154631 h 500804"/>
                    <a:gd name="connsiteX5" fmla="*/ 198035 w 519024"/>
                    <a:gd name="connsiteY5" fmla="*/ 151456 h 500804"/>
                    <a:gd name="connsiteX6" fmla="*/ 201210 w 519024"/>
                    <a:gd name="connsiteY6" fmla="*/ 18106 h 500804"/>
                    <a:gd name="connsiteX7" fmla="*/ 312335 w 519024"/>
                    <a:gd name="connsiteY7" fmla="*/ 14931 h 500804"/>
                    <a:gd name="connsiteX8" fmla="*/ 312335 w 519024"/>
                    <a:gd name="connsiteY8" fmla="*/ 145106 h 500804"/>
                    <a:gd name="connsiteX9" fmla="*/ 353610 w 519024"/>
                    <a:gd name="connsiteY9" fmla="*/ 151456 h 500804"/>
                    <a:gd name="connsiteX10" fmla="*/ 445685 w 519024"/>
                    <a:gd name="connsiteY10" fmla="*/ 164156 h 500804"/>
                    <a:gd name="connsiteX11" fmla="*/ 486960 w 519024"/>
                    <a:gd name="connsiteY11" fmla="*/ 189556 h 500804"/>
                    <a:gd name="connsiteX12" fmla="*/ 509185 w 519024"/>
                    <a:gd name="connsiteY12" fmla="*/ 234006 h 500804"/>
                    <a:gd name="connsiteX13" fmla="*/ 506010 w 519024"/>
                    <a:gd name="connsiteY13" fmla="*/ 488006 h 500804"/>
                    <a:gd name="connsiteX14" fmla="*/ 4360 w 519024"/>
                    <a:gd name="connsiteY14" fmla="*/ 449906 h 500804"/>
                    <a:gd name="connsiteX0" fmla="*/ 4360 w 519024"/>
                    <a:gd name="connsiteY0" fmla="*/ 449906 h 488006"/>
                    <a:gd name="connsiteX1" fmla="*/ 7535 w 519024"/>
                    <a:gd name="connsiteY1" fmla="*/ 214956 h 488006"/>
                    <a:gd name="connsiteX2" fmla="*/ 23410 w 519024"/>
                    <a:gd name="connsiteY2" fmla="*/ 176856 h 488006"/>
                    <a:gd name="connsiteX3" fmla="*/ 71035 w 519024"/>
                    <a:gd name="connsiteY3" fmla="*/ 160981 h 488006"/>
                    <a:gd name="connsiteX4" fmla="*/ 172635 w 519024"/>
                    <a:gd name="connsiteY4" fmla="*/ 154631 h 488006"/>
                    <a:gd name="connsiteX5" fmla="*/ 198035 w 519024"/>
                    <a:gd name="connsiteY5" fmla="*/ 151456 h 488006"/>
                    <a:gd name="connsiteX6" fmla="*/ 201210 w 519024"/>
                    <a:gd name="connsiteY6" fmla="*/ 18106 h 488006"/>
                    <a:gd name="connsiteX7" fmla="*/ 312335 w 519024"/>
                    <a:gd name="connsiteY7" fmla="*/ 14931 h 488006"/>
                    <a:gd name="connsiteX8" fmla="*/ 312335 w 519024"/>
                    <a:gd name="connsiteY8" fmla="*/ 145106 h 488006"/>
                    <a:gd name="connsiteX9" fmla="*/ 353610 w 519024"/>
                    <a:gd name="connsiteY9" fmla="*/ 151456 h 488006"/>
                    <a:gd name="connsiteX10" fmla="*/ 445685 w 519024"/>
                    <a:gd name="connsiteY10" fmla="*/ 164156 h 488006"/>
                    <a:gd name="connsiteX11" fmla="*/ 486960 w 519024"/>
                    <a:gd name="connsiteY11" fmla="*/ 189556 h 488006"/>
                    <a:gd name="connsiteX12" fmla="*/ 509185 w 519024"/>
                    <a:gd name="connsiteY12" fmla="*/ 234006 h 488006"/>
                    <a:gd name="connsiteX13" fmla="*/ 506010 w 519024"/>
                    <a:gd name="connsiteY13" fmla="*/ 488006 h 488006"/>
                    <a:gd name="connsiteX14" fmla="*/ 4360 w 519024"/>
                    <a:gd name="connsiteY14" fmla="*/ 449906 h 488006"/>
                    <a:gd name="connsiteX0" fmla="*/ 4360 w 523534"/>
                    <a:gd name="connsiteY0" fmla="*/ 449906 h 472131"/>
                    <a:gd name="connsiteX1" fmla="*/ 7535 w 523534"/>
                    <a:gd name="connsiteY1" fmla="*/ 214956 h 472131"/>
                    <a:gd name="connsiteX2" fmla="*/ 23410 w 523534"/>
                    <a:gd name="connsiteY2" fmla="*/ 176856 h 472131"/>
                    <a:gd name="connsiteX3" fmla="*/ 71035 w 523534"/>
                    <a:gd name="connsiteY3" fmla="*/ 160981 h 472131"/>
                    <a:gd name="connsiteX4" fmla="*/ 172635 w 523534"/>
                    <a:gd name="connsiteY4" fmla="*/ 154631 h 472131"/>
                    <a:gd name="connsiteX5" fmla="*/ 198035 w 523534"/>
                    <a:gd name="connsiteY5" fmla="*/ 151456 h 472131"/>
                    <a:gd name="connsiteX6" fmla="*/ 201210 w 523534"/>
                    <a:gd name="connsiteY6" fmla="*/ 18106 h 472131"/>
                    <a:gd name="connsiteX7" fmla="*/ 312335 w 523534"/>
                    <a:gd name="connsiteY7" fmla="*/ 14931 h 472131"/>
                    <a:gd name="connsiteX8" fmla="*/ 312335 w 523534"/>
                    <a:gd name="connsiteY8" fmla="*/ 145106 h 472131"/>
                    <a:gd name="connsiteX9" fmla="*/ 353610 w 523534"/>
                    <a:gd name="connsiteY9" fmla="*/ 151456 h 472131"/>
                    <a:gd name="connsiteX10" fmla="*/ 445685 w 523534"/>
                    <a:gd name="connsiteY10" fmla="*/ 164156 h 472131"/>
                    <a:gd name="connsiteX11" fmla="*/ 486960 w 523534"/>
                    <a:gd name="connsiteY11" fmla="*/ 189556 h 472131"/>
                    <a:gd name="connsiteX12" fmla="*/ 509185 w 523534"/>
                    <a:gd name="connsiteY12" fmla="*/ 234006 h 472131"/>
                    <a:gd name="connsiteX13" fmla="*/ 512360 w 523534"/>
                    <a:gd name="connsiteY13" fmla="*/ 472131 h 472131"/>
                    <a:gd name="connsiteX14" fmla="*/ 4360 w 523534"/>
                    <a:gd name="connsiteY14" fmla="*/ 449906 h 472131"/>
                    <a:gd name="connsiteX0" fmla="*/ 4360 w 513675"/>
                    <a:gd name="connsiteY0" fmla="*/ 449906 h 472131"/>
                    <a:gd name="connsiteX1" fmla="*/ 7535 w 513675"/>
                    <a:gd name="connsiteY1" fmla="*/ 214956 h 472131"/>
                    <a:gd name="connsiteX2" fmla="*/ 23410 w 513675"/>
                    <a:gd name="connsiteY2" fmla="*/ 176856 h 472131"/>
                    <a:gd name="connsiteX3" fmla="*/ 71035 w 513675"/>
                    <a:gd name="connsiteY3" fmla="*/ 160981 h 472131"/>
                    <a:gd name="connsiteX4" fmla="*/ 172635 w 513675"/>
                    <a:gd name="connsiteY4" fmla="*/ 154631 h 472131"/>
                    <a:gd name="connsiteX5" fmla="*/ 198035 w 513675"/>
                    <a:gd name="connsiteY5" fmla="*/ 151456 h 472131"/>
                    <a:gd name="connsiteX6" fmla="*/ 201210 w 513675"/>
                    <a:gd name="connsiteY6" fmla="*/ 18106 h 472131"/>
                    <a:gd name="connsiteX7" fmla="*/ 312335 w 513675"/>
                    <a:gd name="connsiteY7" fmla="*/ 14931 h 472131"/>
                    <a:gd name="connsiteX8" fmla="*/ 312335 w 513675"/>
                    <a:gd name="connsiteY8" fmla="*/ 145106 h 472131"/>
                    <a:gd name="connsiteX9" fmla="*/ 353610 w 513675"/>
                    <a:gd name="connsiteY9" fmla="*/ 151456 h 472131"/>
                    <a:gd name="connsiteX10" fmla="*/ 445685 w 513675"/>
                    <a:gd name="connsiteY10" fmla="*/ 164156 h 472131"/>
                    <a:gd name="connsiteX11" fmla="*/ 486960 w 513675"/>
                    <a:gd name="connsiteY11" fmla="*/ 189556 h 472131"/>
                    <a:gd name="connsiteX12" fmla="*/ 509185 w 513675"/>
                    <a:gd name="connsiteY12" fmla="*/ 234006 h 472131"/>
                    <a:gd name="connsiteX13" fmla="*/ 512360 w 513675"/>
                    <a:gd name="connsiteY13" fmla="*/ 472131 h 472131"/>
                    <a:gd name="connsiteX14" fmla="*/ 4360 w 513675"/>
                    <a:gd name="connsiteY14" fmla="*/ 449906 h 472131"/>
                    <a:gd name="connsiteX0" fmla="*/ 4360 w 513675"/>
                    <a:gd name="connsiteY0" fmla="*/ 446969 h 469194"/>
                    <a:gd name="connsiteX1" fmla="*/ 7535 w 513675"/>
                    <a:gd name="connsiteY1" fmla="*/ 212019 h 469194"/>
                    <a:gd name="connsiteX2" fmla="*/ 23410 w 513675"/>
                    <a:gd name="connsiteY2" fmla="*/ 173919 h 469194"/>
                    <a:gd name="connsiteX3" fmla="*/ 71035 w 513675"/>
                    <a:gd name="connsiteY3" fmla="*/ 158044 h 469194"/>
                    <a:gd name="connsiteX4" fmla="*/ 172635 w 513675"/>
                    <a:gd name="connsiteY4" fmla="*/ 151694 h 469194"/>
                    <a:gd name="connsiteX5" fmla="*/ 188510 w 513675"/>
                    <a:gd name="connsiteY5" fmla="*/ 94544 h 469194"/>
                    <a:gd name="connsiteX6" fmla="*/ 201210 w 513675"/>
                    <a:gd name="connsiteY6" fmla="*/ 15169 h 469194"/>
                    <a:gd name="connsiteX7" fmla="*/ 312335 w 513675"/>
                    <a:gd name="connsiteY7" fmla="*/ 11994 h 469194"/>
                    <a:gd name="connsiteX8" fmla="*/ 312335 w 513675"/>
                    <a:gd name="connsiteY8" fmla="*/ 142169 h 469194"/>
                    <a:gd name="connsiteX9" fmla="*/ 353610 w 513675"/>
                    <a:gd name="connsiteY9" fmla="*/ 148519 h 469194"/>
                    <a:gd name="connsiteX10" fmla="*/ 445685 w 513675"/>
                    <a:gd name="connsiteY10" fmla="*/ 161219 h 469194"/>
                    <a:gd name="connsiteX11" fmla="*/ 486960 w 513675"/>
                    <a:gd name="connsiteY11" fmla="*/ 186619 h 469194"/>
                    <a:gd name="connsiteX12" fmla="*/ 509185 w 513675"/>
                    <a:gd name="connsiteY12" fmla="*/ 231069 h 469194"/>
                    <a:gd name="connsiteX13" fmla="*/ 512360 w 513675"/>
                    <a:gd name="connsiteY13" fmla="*/ 469194 h 469194"/>
                    <a:gd name="connsiteX14" fmla="*/ 4360 w 513675"/>
                    <a:gd name="connsiteY14" fmla="*/ 446969 h 469194"/>
                    <a:gd name="connsiteX0" fmla="*/ 4360 w 513675"/>
                    <a:gd name="connsiteY0" fmla="*/ 443409 h 465634"/>
                    <a:gd name="connsiteX1" fmla="*/ 7535 w 513675"/>
                    <a:gd name="connsiteY1" fmla="*/ 208459 h 465634"/>
                    <a:gd name="connsiteX2" fmla="*/ 23410 w 513675"/>
                    <a:gd name="connsiteY2" fmla="*/ 170359 h 465634"/>
                    <a:gd name="connsiteX3" fmla="*/ 71035 w 513675"/>
                    <a:gd name="connsiteY3" fmla="*/ 154484 h 465634"/>
                    <a:gd name="connsiteX4" fmla="*/ 172635 w 513675"/>
                    <a:gd name="connsiteY4" fmla="*/ 148134 h 465634"/>
                    <a:gd name="connsiteX5" fmla="*/ 188510 w 513675"/>
                    <a:gd name="connsiteY5" fmla="*/ 90984 h 465634"/>
                    <a:gd name="connsiteX6" fmla="*/ 201210 w 513675"/>
                    <a:gd name="connsiteY6" fmla="*/ 11609 h 465634"/>
                    <a:gd name="connsiteX7" fmla="*/ 312335 w 513675"/>
                    <a:gd name="connsiteY7" fmla="*/ 8434 h 465634"/>
                    <a:gd name="connsiteX8" fmla="*/ 312335 w 513675"/>
                    <a:gd name="connsiteY8" fmla="*/ 87809 h 465634"/>
                    <a:gd name="connsiteX9" fmla="*/ 353610 w 513675"/>
                    <a:gd name="connsiteY9" fmla="*/ 144959 h 465634"/>
                    <a:gd name="connsiteX10" fmla="*/ 445685 w 513675"/>
                    <a:gd name="connsiteY10" fmla="*/ 157659 h 465634"/>
                    <a:gd name="connsiteX11" fmla="*/ 486960 w 513675"/>
                    <a:gd name="connsiteY11" fmla="*/ 183059 h 465634"/>
                    <a:gd name="connsiteX12" fmla="*/ 509185 w 513675"/>
                    <a:gd name="connsiteY12" fmla="*/ 227509 h 465634"/>
                    <a:gd name="connsiteX13" fmla="*/ 512360 w 513675"/>
                    <a:gd name="connsiteY13" fmla="*/ 465634 h 465634"/>
                    <a:gd name="connsiteX14" fmla="*/ 4360 w 513675"/>
                    <a:gd name="connsiteY14" fmla="*/ 443409 h 465634"/>
                    <a:gd name="connsiteX0" fmla="*/ 4360 w 513675"/>
                    <a:gd name="connsiteY0" fmla="*/ 443409 h 465634"/>
                    <a:gd name="connsiteX1" fmla="*/ 7535 w 513675"/>
                    <a:gd name="connsiteY1" fmla="*/ 208459 h 465634"/>
                    <a:gd name="connsiteX2" fmla="*/ 23410 w 513675"/>
                    <a:gd name="connsiteY2" fmla="*/ 170359 h 465634"/>
                    <a:gd name="connsiteX3" fmla="*/ 71035 w 513675"/>
                    <a:gd name="connsiteY3" fmla="*/ 154484 h 465634"/>
                    <a:gd name="connsiteX4" fmla="*/ 172635 w 513675"/>
                    <a:gd name="connsiteY4" fmla="*/ 148134 h 465634"/>
                    <a:gd name="connsiteX5" fmla="*/ 188510 w 513675"/>
                    <a:gd name="connsiteY5" fmla="*/ 90984 h 465634"/>
                    <a:gd name="connsiteX6" fmla="*/ 201210 w 513675"/>
                    <a:gd name="connsiteY6" fmla="*/ 11609 h 465634"/>
                    <a:gd name="connsiteX7" fmla="*/ 312335 w 513675"/>
                    <a:gd name="connsiteY7" fmla="*/ 8434 h 465634"/>
                    <a:gd name="connsiteX8" fmla="*/ 312335 w 513675"/>
                    <a:gd name="connsiteY8" fmla="*/ 87809 h 465634"/>
                    <a:gd name="connsiteX9" fmla="*/ 334560 w 513675"/>
                    <a:gd name="connsiteY9" fmla="*/ 135434 h 465634"/>
                    <a:gd name="connsiteX10" fmla="*/ 445685 w 513675"/>
                    <a:gd name="connsiteY10" fmla="*/ 157659 h 465634"/>
                    <a:gd name="connsiteX11" fmla="*/ 486960 w 513675"/>
                    <a:gd name="connsiteY11" fmla="*/ 183059 h 465634"/>
                    <a:gd name="connsiteX12" fmla="*/ 509185 w 513675"/>
                    <a:gd name="connsiteY12" fmla="*/ 227509 h 465634"/>
                    <a:gd name="connsiteX13" fmla="*/ 512360 w 513675"/>
                    <a:gd name="connsiteY13" fmla="*/ 465634 h 465634"/>
                    <a:gd name="connsiteX14" fmla="*/ 4360 w 513675"/>
                    <a:gd name="connsiteY14" fmla="*/ 443409 h 465634"/>
                    <a:gd name="connsiteX0" fmla="*/ 4360 w 510500"/>
                    <a:gd name="connsiteY0" fmla="*/ 443409 h 449759"/>
                    <a:gd name="connsiteX1" fmla="*/ 7535 w 510500"/>
                    <a:gd name="connsiteY1" fmla="*/ 208459 h 449759"/>
                    <a:gd name="connsiteX2" fmla="*/ 23410 w 510500"/>
                    <a:gd name="connsiteY2" fmla="*/ 170359 h 449759"/>
                    <a:gd name="connsiteX3" fmla="*/ 71035 w 510500"/>
                    <a:gd name="connsiteY3" fmla="*/ 154484 h 449759"/>
                    <a:gd name="connsiteX4" fmla="*/ 172635 w 510500"/>
                    <a:gd name="connsiteY4" fmla="*/ 148134 h 449759"/>
                    <a:gd name="connsiteX5" fmla="*/ 188510 w 510500"/>
                    <a:gd name="connsiteY5" fmla="*/ 90984 h 449759"/>
                    <a:gd name="connsiteX6" fmla="*/ 201210 w 510500"/>
                    <a:gd name="connsiteY6" fmla="*/ 11609 h 449759"/>
                    <a:gd name="connsiteX7" fmla="*/ 312335 w 510500"/>
                    <a:gd name="connsiteY7" fmla="*/ 8434 h 449759"/>
                    <a:gd name="connsiteX8" fmla="*/ 312335 w 510500"/>
                    <a:gd name="connsiteY8" fmla="*/ 87809 h 449759"/>
                    <a:gd name="connsiteX9" fmla="*/ 334560 w 510500"/>
                    <a:gd name="connsiteY9" fmla="*/ 135434 h 449759"/>
                    <a:gd name="connsiteX10" fmla="*/ 445685 w 510500"/>
                    <a:gd name="connsiteY10" fmla="*/ 157659 h 449759"/>
                    <a:gd name="connsiteX11" fmla="*/ 486960 w 510500"/>
                    <a:gd name="connsiteY11" fmla="*/ 183059 h 449759"/>
                    <a:gd name="connsiteX12" fmla="*/ 509185 w 510500"/>
                    <a:gd name="connsiteY12" fmla="*/ 227509 h 449759"/>
                    <a:gd name="connsiteX13" fmla="*/ 506010 w 510500"/>
                    <a:gd name="connsiteY13" fmla="*/ 449759 h 449759"/>
                    <a:gd name="connsiteX14" fmla="*/ 4360 w 510500"/>
                    <a:gd name="connsiteY14" fmla="*/ 443409 h 449759"/>
                    <a:gd name="connsiteX0" fmla="*/ 4360 w 510500"/>
                    <a:gd name="connsiteY0" fmla="*/ 443409 h 454926"/>
                    <a:gd name="connsiteX1" fmla="*/ 7535 w 510500"/>
                    <a:gd name="connsiteY1" fmla="*/ 208459 h 454926"/>
                    <a:gd name="connsiteX2" fmla="*/ 23410 w 510500"/>
                    <a:gd name="connsiteY2" fmla="*/ 170359 h 454926"/>
                    <a:gd name="connsiteX3" fmla="*/ 71035 w 510500"/>
                    <a:gd name="connsiteY3" fmla="*/ 154484 h 454926"/>
                    <a:gd name="connsiteX4" fmla="*/ 172635 w 510500"/>
                    <a:gd name="connsiteY4" fmla="*/ 148134 h 454926"/>
                    <a:gd name="connsiteX5" fmla="*/ 188510 w 510500"/>
                    <a:gd name="connsiteY5" fmla="*/ 90984 h 454926"/>
                    <a:gd name="connsiteX6" fmla="*/ 201210 w 510500"/>
                    <a:gd name="connsiteY6" fmla="*/ 11609 h 454926"/>
                    <a:gd name="connsiteX7" fmla="*/ 312335 w 510500"/>
                    <a:gd name="connsiteY7" fmla="*/ 8434 h 454926"/>
                    <a:gd name="connsiteX8" fmla="*/ 312335 w 510500"/>
                    <a:gd name="connsiteY8" fmla="*/ 87809 h 454926"/>
                    <a:gd name="connsiteX9" fmla="*/ 334560 w 510500"/>
                    <a:gd name="connsiteY9" fmla="*/ 135434 h 454926"/>
                    <a:gd name="connsiteX10" fmla="*/ 445685 w 510500"/>
                    <a:gd name="connsiteY10" fmla="*/ 157659 h 454926"/>
                    <a:gd name="connsiteX11" fmla="*/ 486960 w 510500"/>
                    <a:gd name="connsiteY11" fmla="*/ 183059 h 454926"/>
                    <a:gd name="connsiteX12" fmla="*/ 509185 w 510500"/>
                    <a:gd name="connsiteY12" fmla="*/ 227509 h 454926"/>
                    <a:gd name="connsiteX13" fmla="*/ 506010 w 510500"/>
                    <a:gd name="connsiteY13" fmla="*/ 449759 h 454926"/>
                    <a:gd name="connsiteX14" fmla="*/ 4360 w 510500"/>
                    <a:gd name="connsiteY14" fmla="*/ 443409 h 454926"/>
                    <a:gd name="connsiteX0" fmla="*/ 6473 w 512613"/>
                    <a:gd name="connsiteY0" fmla="*/ 443409 h 454926"/>
                    <a:gd name="connsiteX1" fmla="*/ 9648 w 512613"/>
                    <a:gd name="connsiteY1" fmla="*/ 208459 h 454926"/>
                    <a:gd name="connsiteX2" fmla="*/ 73148 w 512613"/>
                    <a:gd name="connsiteY2" fmla="*/ 154484 h 454926"/>
                    <a:gd name="connsiteX3" fmla="*/ 174748 w 512613"/>
                    <a:gd name="connsiteY3" fmla="*/ 148134 h 454926"/>
                    <a:gd name="connsiteX4" fmla="*/ 190623 w 512613"/>
                    <a:gd name="connsiteY4" fmla="*/ 90984 h 454926"/>
                    <a:gd name="connsiteX5" fmla="*/ 203323 w 512613"/>
                    <a:gd name="connsiteY5" fmla="*/ 11609 h 454926"/>
                    <a:gd name="connsiteX6" fmla="*/ 314448 w 512613"/>
                    <a:gd name="connsiteY6" fmla="*/ 8434 h 454926"/>
                    <a:gd name="connsiteX7" fmla="*/ 314448 w 512613"/>
                    <a:gd name="connsiteY7" fmla="*/ 87809 h 454926"/>
                    <a:gd name="connsiteX8" fmla="*/ 336673 w 512613"/>
                    <a:gd name="connsiteY8" fmla="*/ 135434 h 454926"/>
                    <a:gd name="connsiteX9" fmla="*/ 447798 w 512613"/>
                    <a:gd name="connsiteY9" fmla="*/ 157659 h 454926"/>
                    <a:gd name="connsiteX10" fmla="*/ 489073 w 512613"/>
                    <a:gd name="connsiteY10" fmla="*/ 183059 h 454926"/>
                    <a:gd name="connsiteX11" fmla="*/ 511298 w 512613"/>
                    <a:gd name="connsiteY11" fmla="*/ 227509 h 454926"/>
                    <a:gd name="connsiteX12" fmla="*/ 508123 w 512613"/>
                    <a:gd name="connsiteY12" fmla="*/ 449759 h 454926"/>
                    <a:gd name="connsiteX13" fmla="*/ 6473 w 512613"/>
                    <a:gd name="connsiteY13" fmla="*/ 443409 h 454926"/>
                    <a:gd name="connsiteX0" fmla="*/ 4049 w 510189"/>
                    <a:gd name="connsiteY0" fmla="*/ 443409 h 454926"/>
                    <a:gd name="connsiteX1" fmla="*/ 7224 w 510189"/>
                    <a:gd name="connsiteY1" fmla="*/ 208459 h 454926"/>
                    <a:gd name="connsiteX2" fmla="*/ 70724 w 510189"/>
                    <a:gd name="connsiteY2" fmla="*/ 154484 h 454926"/>
                    <a:gd name="connsiteX3" fmla="*/ 172324 w 510189"/>
                    <a:gd name="connsiteY3" fmla="*/ 148134 h 454926"/>
                    <a:gd name="connsiteX4" fmla="*/ 188199 w 510189"/>
                    <a:gd name="connsiteY4" fmla="*/ 90984 h 454926"/>
                    <a:gd name="connsiteX5" fmla="*/ 200899 w 510189"/>
                    <a:gd name="connsiteY5" fmla="*/ 11609 h 454926"/>
                    <a:gd name="connsiteX6" fmla="*/ 312024 w 510189"/>
                    <a:gd name="connsiteY6" fmla="*/ 8434 h 454926"/>
                    <a:gd name="connsiteX7" fmla="*/ 312024 w 510189"/>
                    <a:gd name="connsiteY7" fmla="*/ 87809 h 454926"/>
                    <a:gd name="connsiteX8" fmla="*/ 334249 w 510189"/>
                    <a:gd name="connsiteY8" fmla="*/ 135434 h 454926"/>
                    <a:gd name="connsiteX9" fmla="*/ 445374 w 510189"/>
                    <a:gd name="connsiteY9" fmla="*/ 157659 h 454926"/>
                    <a:gd name="connsiteX10" fmla="*/ 486649 w 510189"/>
                    <a:gd name="connsiteY10" fmla="*/ 183059 h 454926"/>
                    <a:gd name="connsiteX11" fmla="*/ 508874 w 510189"/>
                    <a:gd name="connsiteY11" fmla="*/ 227509 h 454926"/>
                    <a:gd name="connsiteX12" fmla="*/ 505699 w 510189"/>
                    <a:gd name="connsiteY12" fmla="*/ 449759 h 454926"/>
                    <a:gd name="connsiteX13" fmla="*/ 4049 w 510189"/>
                    <a:gd name="connsiteY13" fmla="*/ 443409 h 454926"/>
                    <a:gd name="connsiteX0" fmla="*/ 4049 w 510189"/>
                    <a:gd name="connsiteY0" fmla="*/ 443409 h 454926"/>
                    <a:gd name="connsiteX1" fmla="*/ 7224 w 510189"/>
                    <a:gd name="connsiteY1" fmla="*/ 208459 h 454926"/>
                    <a:gd name="connsiteX2" fmla="*/ 70724 w 510189"/>
                    <a:gd name="connsiteY2" fmla="*/ 154484 h 454926"/>
                    <a:gd name="connsiteX3" fmla="*/ 172324 w 510189"/>
                    <a:gd name="connsiteY3" fmla="*/ 148134 h 454926"/>
                    <a:gd name="connsiteX4" fmla="*/ 188199 w 510189"/>
                    <a:gd name="connsiteY4" fmla="*/ 90984 h 454926"/>
                    <a:gd name="connsiteX5" fmla="*/ 200899 w 510189"/>
                    <a:gd name="connsiteY5" fmla="*/ 11609 h 454926"/>
                    <a:gd name="connsiteX6" fmla="*/ 312024 w 510189"/>
                    <a:gd name="connsiteY6" fmla="*/ 8434 h 454926"/>
                    <a:gd name="connsiteX7" fmla="*/ 312024 w 510189"/>
                    <a:gd name="connsiteY7" fmla="*/ 87809 h 454926"/>
                    <a:gd name="connsiteX8" fmla="*/ 334249 w 510189"/>
                    <a:gd name="connsiteY8" fmla="*/ 135434 h 454926"/>
                    <a:gd name="connsiteX9" fmla="*/ 445374 w 510189"/>
                    <a:gd name="connsiteY9" fmla="*/ 157659 h 454926"/>
                    <a:gd name="connsiteX10" fmla="*/ 508874 w 510189"/>
                    <a:gd name="connsiteY10" fmla="*/ 227509 h 454926"/>
                    <a:gd name="connsiteX11" fmla="*/ 505699 w 510189"/>
                    <a:gd name="connsiteY11" fmla="*/ 449759 h 454926"/>
                    <a:gd name="connsiteX12" fmla="*/ 4049 w 510189"/>
                    <a:gd name="connsiteY12" fmla="*/ 443409 h 454926"/>
                    <a:gd name="connsiteX0" fmla="*/ 4049 w 510189"/>
                    <a:gd name="connsiteY0" fmla="*/ 443409 h 454926"/>
                    <a:gd name="connsiteX1" fmla="*/ 7224 w 510189"/>
                    <a:gd name="connsiteY1" fmla="*/ 208459 h 454926"/>
                    <a:gd name="connsiteX2" fmla="*/ 70724 w 510189"/>
                    <a:gd name="connsiteY2" fmla="*/ 154484 h 454926"/>
                    <a:gd name="connsiteX3" fmla="*/ 172324 w 510189"/>
                    <a:gd name="connsiteY3" fmla="*/ 148134 h 454926"/>
                    <a:gd name="connsiteX4" fmla="*/ 188199 w 510189"/>
                    <a:gd name="connsiteY4" fmla="*/ 90984 h 454926"/>
                    <a:gd name="connsiteX5" fmla="*/ 200899 w 510189"/>
                    <a:gd name="connsiteY5" fmla="*/ 11609 h 454926"/>
                    <a:gd name="connsiteX6" fmla="*/ 312024 w 510189"/>
                    <a:gd name="connsiteY6" fmla="*/ 8434 h 454926"/>
                    <a:gd name="connsiteX7" fmla="*/ 312024 w 510189"/>
                    <a:gd name="connsiteY7" fmla="*/ 87809 h 454926"/>
                    <a:gd name="connsiteX8" fmla="*/ 334249 w 510189"/>
                    <a:gd name="connsiteY8" fmla="*/ 135434 h 454926"/>
                    <a:gd name="connsiteX9" fmla="*/ 445374 w 510189"/>
                    <a:gd name="connsiteY9" fmla="*/ 157659 h 454926"/>
                    <a:gd name="connsiteX10" fmla="*/ 508874 w 510189"/>
                    <a:gd name="connsiteY10" fmla="*/ 227509 h 454926"/>
                    <a:gd name="connsiteX11" fmla="*/ 505699 w 510189"/>
                    <a:gd name="connsiteY11" fmla="*/ 449759 h 454926"/>
                    <a:gd name="connsiteX12" fmla="*/ 4049 w 510189"/>
                    <a:gd name="connsiteY12" fmla="*/ 443409 h 454926"/>
                    <a:gd name="connsiteX0" fmla="*/ 5987 w 512127"/>
                    <a:gd name="connsiteY0" fmla="*/ 443409 h 454926"/>
                    <a:gd name="connsiteX1" fmla="*/ 2812 w 512127"/>
                    <a:gd name="connsiteY1" fmla="*/ 217984 h 454926"/>
                    <a:gd name="connsiteX2" fmla="*/ 72662 w 512127"/>
                    <a:gd name="connsiteY2" fmla="*/ 154484 h 454926"/>
                    <a:gd name="connsiteX3" fmla="*/ 174262 w 512127"/>
                    <a:gd name="connsiteY3" fmla="*/ 148134 h 454926"/>
                    <a:gd name="connsiteX4" fmla="*/ 190137 w 512127"/>
                    <a:gd name="connsiteY4" fmla="*/ 90984 h 454926"/>
                    <a:gd name="connsiteX5" fmla="*/ 202837 w 512127"/>
                    <a:gd name="connsiteY5" fmla="*/ 11609 h 454926"/>
                    <a:gd name="connsiteX6" fmla="*/ 313962 w 512127"/>
                    <a:gd name="connsiteY6" fmla="*/ 8434 h 454926"/>
                    <a:gd name="connsiteX7" fmla="*/ 313962 w 512127"/>
                    <a:gd name="connsiteY7" fmla="*/ 87809 h 454926"/>
                    <a:gd name="connsiteX8" fmla="*/ 336187 w 512127"/>
                    <a:gd name="connsiteY8" fmla="*/ 135434 h 454926"/>
                    <a:gd name="connsiteX9" fmla="*/ 447312 w 512127"/>
                    <a:gd name="connsiteY9" fmla="*/ 157659 h 454926"/>
                    <a:gd name="connsiteX10" fmla="*/ 510812 w 512127"/>
                    <a:gd name="connsiteY10" fmla="*/ 227509 h 454926"/>
                    <a:gd name="connsiteX11" fmla="*/ 507637 w 512127"/>
                    <a:gd name="connsiteY11" fmla="*/ 449759 h 454926"/>
                    <a:gd name="connsiteX12" fmla="*/ 5987 w 512127"/>
                    <a:gd name="connsiteY12" fmla="*/ 443409 h 454926"/>
                    <a:gd name="connsiteX0" fmla="*/ 9762 w 515902"/>
                    <a:gd name="connsiteY0" fmla="*/ 443409 h 454926"/>
                    <a:gd name="connsiteX1" fmla="*/ 6587 w 515902"/>
                    <a:gd name="connsiteY1" fmla="*/ 217984 h 454926"/>
                    <a:gd name="connsiteX2" fmla="*/ 76437 w 515902"/>
                    <a:gd name="connsiteY2" fmla="*/ 154484 h 454926"/>
                    <a:gd name="connsiteX3" fmla="*/ 178037 w 515902"/>
                    <a:gd name="connsiteY3" fmla="*/ 148134 h 454926"/>
                    <a:gd name="connsiteX4" fmla="*/ 193912 w 515902"/>
                    <a:gd name="connsiteY4" fmla="*/ 90984 h 454926"/>
                    <a:gd name="connsiteX5" fmla="*/ 206612 w 515902"/>
                    <a:gd name="connsiteY5" fmla="*/ 11609 h 454926"/>
                    <a:gd name="connsiteX6" fmla="*/ 317737 w 515902"/>
                    <a:gd name="connsiteY6" fmla="*/ 8434 h 454926"/>
                    <a:gd name="connsiteX7" fmla="*/ 317737 w 515902"/>
                    <a:gd name="connsiteY7" fmla="*/ 87809 h 454926"/>
                    <a:gd name="connsiteX8" fmla="*/ 339962 w 515902"/>
                    <a:gd name="connsiteY8" fmla="*/ 135434 h 454926"/>
                    <a:gd name="connsiteX9" fmla="*/ 451087 w 515902"/>
                    <a:gd name="connsiteY9" fmla="*/ 157659 h 454926"/>
                    <a:gd name="connsiteX10" fmla="*/ 514587 w 515902"/>
                    <a:gd name="connsiteY10" fmla="*/ 227509 h 454926"/>
                    <a:gd name="connsiteX11" fmla="*/ 511412 w 515902"/>
                    <a:gd name="connsiteY11" fmla="*/ 449759 h 454926"/>
                    <a:gd name="connsiteX12" fmla="*/ 9762 w 515902"/>
                    <a:gd name="connsiteY12" fmla="*/ 443409 h 454926"/>
                    <a:gd name="connsiteX0" fmla="*/ 9762 w 515902"/>
                    <a:gd name="connsiteY0" fmla="*/ 443409 h 454926"/>
                    <a:gd name="connsiteX1" fmla="*/ 6587 w 515902"/>
                    <a:gd name="connsiteY1" fmla="*/ 217984 h 454926"/>
                    <a:gd name="connsiteX2" fmla="*/ 76437 w 515902"/>
                    <a:gd name="connsiteY2" fmla="*/ 154484 h 454926"/>
                    <a:gd name="connsiteX3" fmla="*/ 178037 w 515902"/>
                    <a:gd name="connsiteY3" fmla="*/ 148134 h 454926"/>
                    <a:gd name="connsiteX4" fmla="*/ 193912 w 515902"/>
                    <a:gd name="connsiteY4" fmla="*/ 90984 h 454926"/>
                    <a:gd name="connsiteX5" fmla="*/ 206612 w 515902"/>
                    <a:gd name="connsiteY5" fmla="*/ 11609 h 454926"/>
                    <a:gd name="connsiteX6" fmla="*/ 317737 w 515902"/>
                    <a:gd name="connsiteY6" fmla="*/ 8434 h 454926"/>
                    <a:gd name="connsiteX7" fmla="*/ 317737 w 515902"/>
                    <a:gd name="connsiteY7" fmla="*/ 87809 h 454926"/>
                    <a:gd name="connsiteX8" fmla="*/ 339962 w 515902"/>
                    <a:gd name="connsiteY8" fmla="*/ 135434 h 454926"/>
                    <a:gd name="connsiteX9" fmla="*/ 451087 w 515902"/>
                    <a:gd name="connsiteY9" fmla="*/ 157659 h 454926"/>
                    <a:gd name="connsiteX10" fmla="*/ 514587 w 515902"/>
                    <a:gd name="connsiteY10" fmla="*/ 227509 h 454926"/>
                    <a:gd name="connsiteX11" fmla="*/ 511412 w 515902"/>
                    <a:gd name="connsiteY11" fmla="*/ 449759 h 454926"/>
                    <a:gd name="connsiteX12" fmla="*/ 9762 w 515902"/>
                    <a:gd name="connsiteY12" fmla="*/ 443409 h 454926"/>
                    <a:gd name="connsiteX0" fmla="*/ 9762 w 515902"/>
                    <a:gd name="connsiteY0" fmla="*/ 443409 h 454926"/>
                    <a:gd name="connsiteX1" fmla="*/ 6587 w 515902"/>
                    <a:gd name="connsiteY1" fmla="*/ 217984 h 454926"/>
                    <a:gd name="connsiteX2" fmla="*/ 76437 w 515902"/>
                    <a:gd name="connsiteY2" fmla="*/ 154484 h 454926"/>
                    <a:gd name="connsiteX3" fmla="*/ 193912 w 515902"/>
                    <a:gd name="connsiteY3" fmla="*/ 90984 h 454926"/>
                    <a:gd name="connsiteX4" fmla="*/ 206612 w 515902"/>
                    <a:gd name="connsiteY4" fmla="*/ 11609 h 454926"/>
                    <a:gd name="connsiteX5" fmla="*/ 317737 w 515902"/>
                    <a:gd name="connsiteY5" fmla="*/ 8434 h 454926"/>
                    <a:gd name="connsiteX6" fmla="*/ 317737 w 515902"/>
                    <a:gd name="connsiteY6" fmla="*/ 87809 h 454926"/>
                    <a:gd name="connsiteX7" fmla="*/ 339962 w 515902"/>
                    <a:gd name="connsiteY7" fmla="*/ 135434 h 454926"/>
                    <a:gd name="connsiteX8" fmla="*/ 451087 w 515902"/>
                    <a:gd name="connsiteY8" fmla="*/ 157659 h 454926"/>
                    <a:gd name="connsiteX9" fmla="*/ 514587 w 515902"/>
                    <a:gd name="connsiteY9" fmla="*/ 227509 h 454926"/>
                    <a:gd name="connsiteX10" fmla="*/ 511412 w 515902"/>
                    <a:gd name="connsiteY10" fmla="*/ 449759 h 454926"/>
                    <a:gd name="connsiteX11" fmla="*/ 9762 w 515902"/>
                    <a:gd name="connsiteY11" fmla="*/ 443409 h 454926"/>
                    <a:gd name="connsiteX0" fmla="*/ 9762 w 515902"/>
                    <a:gd name="connsiteY0" fmla="*/ 446099 h 457616"/>
                    <a:gd name="connsiteX1" fmla="*/ 6587 w 515902"/>
                    <a:gd name="connsiteY1" fmla="*/ 220674 h 457616"/>
                    <a:gd name="connsiteX2" fmla="*/ 76437 w 515902"/>
                    <a:gd name="connsiteY2" fmla="*/ 157174 h 457616"/>
                    <a:gd name="connsiteX3" fmla="*/ 190737 w 515902"/>
                    <a:gd name="connsiteY3" fmla="*/ 138124 h 457616"/>
                    <a:gd name="connsiteX4" fmla="*/ 206612 w 515902"/>
                    <a:gd name="connsiteY4" fmla="*/ 14299 h 457616"/>
                    <a:gd name="connsiteX5" fmla="*/ 317737 w 515902"/>
                    <a:gd name="connsiteY5" fmla="*/ 11124 h 457616"/>
                    <a:gd name="connsiteX6" fmla="*/ 317737 w 515902"/>
                    <a:gd name="connsiteY6" fmla="*/ 90499 h 457616"/>
                    <a:gd name="connsiteX7" fmla="*/ 339962 w 515902"/>
                    <a:gd name="connsiteY7" fmla="*/ 138124 h 457616"/>
                    <a:gd name="connsiteX8" fmla="*/ 451087 w 515902"/>
                    <a:gd name="connsiteY8" fmla="*/ 160349 h 457616"/>
                    <a:gd name="connsiteX9" fmla="*/ 514587 w 515902"/>
                    <a:gd name="connsiteY9" fmla="*/ 230199 h 457616"/>
                    <a:gd name="connsiteX10" fmla="*/ 511412 w 515902"/>
                    <a:gd name="connsiteY10" fmla="*/ 452449 h 457616"/>
                    <a:gd name="connsiteX11" fmla="*/ 9762 w 515902"/>
                    <a:gd name="connsiteY11" fmla="*/ 446099 h 457616"/>
                    <a:gd name="connsiteX0" fmla="*/ 9762 w 515902"/>
                    <a:gd name="connsiteY0" fmla="*/ 446099 h 457616"/>
                    <a:gd name="connsiteX1" fmla="*/ 6587 w 515902"/>
                    <a:gd name="connsiteY1" fmla="*/ 220674 h 457616"/>
                    <a:gd name="connsiteX2" fmla="*/ 76437 w 515902"/>
                    <a:gd name="connsiteY2" fmla="*/ 157174 h 457616"/>
                    <a:gd name="connsiteX3" fmla="*/ 190737 w 515902"/>
                    <a:gd name="connsiteY3" fmla="*/ 138124 h 457616"/>
                    <a:gd name="connsiteX4" fmla="*/ 206612 w 515902"/>
                    <a:gd name="connsiteY4" fmla="*/ 14299 h 457616"/>
                    <a:gd name="connsiteX5" fmla="*/ 317737 w 515902"/>
                    <a:gd name="connsiteY5" fmla="*/ 11124 h 457616"/>
                    <a:gd name="connsiteX6" fmla="*/ 317737 w 515902"/>
                    <a:gd name="connsiteY6" fmla="*/ 90499 h 457616"/>
                    <a:gd name="connsiteX7" fmla="*/ 451087 w 515902"/>
                    <a:gd name="connsiteY7" fmla="*/ 160349 h 457616"/>
                    <a:gd name="connsiteX8" fmla="*/ 514587 w 515902"/>
                    <a:gd name="connsiteY8" fmla="*/ 230199 h 457616"/>
                    <a:gd name="connsiteX9" fmla="*/ 511412 w 515902"/>
                    <a:gd name="connsiteY9" fmla="*/ 452449 h 457616"/>
                    <a:gd name="connsiteX10" fmla="*/ 9762 w 515902"/>
                    <a:gd name="connsiteY10" fmla="*/ 446099 h 457616"/>
                    <a:gd name="connsiteX0" fmla="*/ 9762 w 515902"/>
                    <a:gd name="connsiteY0" fmla="*/ 447482 h 458999"/>
                    <a:gd name="connsiteX1" fmla="*/ 6587 w 515902"/>
                    <a:gd name="connsiteY1" fmla="*/ 222057 h 458999"/>
                    <a:gd name="connsiteX2" fmla="*/ 76437 w 515902"/>
                    <a:gd name="connsiteY2" fmla="*/ 158557 h 458999"/>
                    <a:gd name="connsiteX3" fmla="*/ 190737 w 515902"/>
                    <a:gd name="connsiteY3" fmla="*/ 139507 h 458999"/>
                    <a:gd name="connsiteX4" fmla="*/ 206612 w 515902"/>
                    <a:gd name="connsiteY4" fmla="*/ 15682 h 458999"/>
                    <a:gd name="connsiteX5" fmla="*/ 317737 w 515902"/>
                    <a:gd name="connsiteY5" fmla="*/ 12507 h 458999"/>
                    <a:gd name="connsiteX6" fmla="*/ 330437 w 515902"/>
                    <a:gd name="connsiteY6" fmla="*/ 114107 h 458999"/>
                    <a:gd name="connsiteX7" fmla="*/ 451087 w 515902"/>
                    <a:gd name="connsiteY7" fmla="*/ 161732 h 458999"/>
                    <a:gd name="connsiteX8" fmla="*/ 514587 w 515902"/>
                    <a:gd name="connsiteY8" fmla="*/ 231582 h 458999"/>
                    <a:gd name="connsiteX9" fmla="*/ 511412 w 515902"/>
                    <a:gd name="connsiteY9" fmla="*/ 453832 h 458999"/>
                    <a:gd name="connsiteX10" fmla="*/ 9762 w 515902"/>
                    <a:gd name="connsiteY10" fmla="*/ 447482 h 458999"/>
                    <a:gd name="connsiteX0" fmla="*/ 9762 w 515902"/>
                    <a:gd name="connsiteY0" fmla="*/ 446348 h 457865"/>
                    <a:gd name="connsiteX1" fmla="*/ 6587 w 515902"/>
                    <a:gd name="connsiteY1" fmla="*/ 220923 h 457865"/>
                    <a:gd name="connsiteX2" fmla="*/ 76437 w 515902"/>
                    <a:gd name="connsiteY2" fmla="*/ 157423 h 457865"/>
                    <a:gd name="connsiteX3" fmla="*/ 200262 w 515902"/>
                    <a:gd name="connsiteY3" fmla="*/ 119323 h 457865"/>
                    <a:gd name="connsiteX4" fmla="*/ 206612 w 515902"/>
                    <a:gd name="connsiteY4" fmla="*/ 14548 h 457865"/>
                    <a:gd name="connsiteX5" fmla="*/ 317737 w 515902"/>
                    <a:gd name="connsiteY5" fmla="*/ 11373 h 457865"/>
                    <a:gd name="connsiteX6" fmla="*/ 330437 w 515902"/>
                    <a:gd name="connsiteY6" fmla="*/ 112973 h 457865"/>
                    <a:gd name="connsiteX7" fmla="*/ 451087 w 515902"/>
                    <a:gd name="connsiteY7" fmla="*/ 160598 h 457865"/>
                    <a:gd name="connsiteX8" fmla="*/ 514587 w 515902"/>
                    <a:gd name="connsiteY8" fmla="*/ 230448 h 457865"/>
                    <a:gd name="connsiteX9" fmla="*/ 511412 w 515902"/>
                    <a:gd name="connsiteY9" fmla="*/ 452698 h 457865"/>
                    <a:gd name="connsiteX10" fmla="*/ 9762 w 515902"/>
                    <a:gd name="connsiteY10" fmla="*/ 446348 h 457865"/>
                    <a:gd name="connsiteX0" fmla="*/ 9762 w 515902"/>
                    <a:gd name="connsiteY0" fmla="*/ 446681 h 458198"/>
                    <a:gd name="connsiteX1" fmla="*/ 6587 w 515902"/>
                    <a:gd name="connsiteY1" fmla="*/ 221256 h 458198"/>
                    <a:gd name="connsiteX2" fmla="*/ 76437 w 515902"/>
                    <a:gd name="connsiteY2" fmla="*/ 157756 h 458198"/>
                    <a:gd name="connsiteX3" fmla="*/ 200262 w 515902"/>
                    <a:gd name="connsiteY3" fmla="*/ 119656 h 458198"/>
                    <a:gd name="connsiteX4" fmla="*/ 206612 w 515902"/>
                    <a:gd name="connsiteY4" fmla="*/ 14881 h 458198"/>
                    <a:gd name="connsiteX5" fmla="*/ 317737 w 515902"/>
                    <a:gd name="connsiteY5" fmla="*/ 11706 h 458198"/>
                    <a:gd name="connsiteX6" fmla="*/ 311502 w 515902"/>
                    <a:gd name="connsiteY6" fmla="*/ 118302 h 458198"/>
                    <a:gd name="connsiteX7" fmla="*/ 451087 w 515902"/>
                    <a:gd name="connsiteY7" fmla="*/ 160931 h 458198"/>
                    <a:gd name="connsiteX8" fmla="*/ 514587 w 515902"/>
                    <a:gd name="connsiteY8" fmla="*/ 230781 h 458198"/>
                    <a:gd name="connsiteX9" fmla="*/ 511412 w 515902"/>
                    <a:gd name="connsiteY9" fmla="*/ 453031 h 458198"/>
                    <a:gd name="connsiteX10" fmla="*/ 9762 w 515902"/>
                    <a:gd name="connsiteY10" fmla="*/ 446681 h 458198"/>
                    <a:gd name="connsiteX0" fmla="*/ 9762 w 515902"/>
                    <a:gd name="connsiteY0" fmla="*/ 446681 h 458198"/>
                    <a:gd name="connsiteX1" fmla="*/ 6587 w 515902"/>
                    <a:gd name="connsiteY1" fmla="*/ 221256 h 458198"/>
                    <a:gd name="connsiteX2" fmla="*/ 76437 w 515902"/>
                    <a:gd name="connsiteY2" fmla="*/ 157756 h 458198"/>
                    <a:gd name="connsiteX3" fmla="*/ 200262 w 515902"/>
                    <a:gd name="connsiteY3" fmla="*/ 119656 h 458198"/>
                    <a:gd name="connsiteX4" fmla="*/ 206612 w 515902"/>
                    <a:gd name="connsiteY4" fmla="*/ 14881 h 458198"/>
                    <a:gd name="connsiteX5" fmla="*/ 301506 w 515902"/>
                    <a:gd name="connsiteY5" fmla="*/ 11706 h 458198"/>
                    <a:gd name="connsiteX6" fmla="*/ 311502 w 515902"/>
                    <a:gd name="connsiteY6" fmla="*/ 118302 h 458198"/>
                    <a:gd name="connsiteX7" fmla="*/ 451087 w 515902"/>
                    <a:gd name="connsiteY7" fmla="*/ 160931 h 458198"/>
                    <a:gd name="connsiteX8" fmla="*/ 514587 w 515902"/>
                    <a:gd name="connsiteY8" fmla="*/ 230781 h 458198"/>
                    <a:gd name="connsiteX9" fmla="*/ 511412 w 515902"/>
                    <a:gd name="connsiteY9" fmla="*/ 453031 h 458198"/>
                    <a:gd name="connsiteX10" fmla="*/ 9762 w 515902"/>
                    <a:gd name="connsiteY10" fmla="*/ 446681 h 458198"/>
                    <a:gd name="connsiteX0" fmla="*/ 9762 w 515902"/>
                    <a:gd name="connsiteY0" fmla="*/ 446681 h 458198"/>
                    <a:gd name="connsiteX1" fmla="*/ 6587 w 515902"/>
                    <a:gd name="connsiteY1" fmla="*/ 221256 h 458198"/>
                    <a:gd name="connsiteX2" fmla="*/ 76437 w 515902"/>
                    <a:gd name="connsiteY2" fmla="*/ 157756 h 458198"/>
                    <a:gd name="connsiteX3" fmla="*/ 200262 w 515902"/>
                    <a:gd name="connsiteY3" fmla="*/ 119656 h 458198"/>
                    <a:gd name="connsiteX4" fmla="*/ 206612 w 515902"/>
                    <a:gd name="connsiteY4" fmla="*/ 14881 h 458198"/>
                    <a:gd name="connsiteX5" fmla="*/ 301506 w 515902"/>
                    <a:gd name="connsiteY5" fmla="*/ 11706 h 458198"/>
                    <a:gd name="connsiteX6" fmla="*/ 311502 w 515902"/>
                    <a:gd name="connsiteY6" fmla="*/ 118302 h 458198"/>
                    <a:gd name="connsiteX7" fmla="*/ 442972 w 515902"/>
                    <a:gd name="connsiteY7" fmla="*/ 180912 h 458198"/>
                    <a:gd name="connsiteX8" fmla="*/ 514587 w 515902"/>
                    <a:gd name="connsiteY8" fmla="*/ 230781 h 458198"/>
                    <a:gd name="connsiteX9" fmla="*/ 511412 w 515902"/>
                    <a:gd name="connsiteY9" fmla="*/ 453031 h 458198"/>
                    <a:gd name="connsiteX10" fmla="*/ 9762 w 515902"/>
                    <a:gd name="connsiteY10" fmla="*/ 446681 h 458198"/>
                    <a:gd name="connsiteX0" fmla="*/ 9762 w 511905"/>
                    <a:gd name="connsiteY0" fmla="*/ 446681 h 458198"/>
                    <a:gd name="connsiteX1" fmla="*/ 6587 w 511905"/>
                    <a:gd name="connsiteY1" fmla="*/ 221256 h 458198"/>
                    <a:gd name="connsiteX2" fmla="*/ 76437 w 511905"/>
                    <a:gd name="connsiteY2" fmla="*/ 157756 h 458198"/>
                    <a:gd name="connsiteX3" fmla="*/ 200262 w 511905"/>
                    <a:gd name="connsiteY3" fmla="*/ 119656 h 458198"/>
                    <a:gd name="connsiteX4" fmla="*/ 206612 w 511905"/>
                    <a:gd name="connsiteY4" fmla="*/ 14881 h 458198"/>
                    <a:gd name="connsiteX5" fmla="*/ 301506 w 511905"/>
                    <a:gd name="connsiteY5" fmla="*/ 11706 h 458198"/>
                    <a:gd name="connsiteX6" fmla="*/ 311502 w 511905"/>
                    <a:gd name="connsiteY6" fmla="*/ 118302 h 458198"/>
                    <a:gd name="connsiteX7" fmla="*/ 442972 w 511905"/>
                    <a:gd name="connsiteY7" fmla="*/ 180912 h 458198"/>
                    <a:gd name="connsiteX8" fmla="*/ 498357 w 511905"/>
                    <a:gd name="connsiteY8" fmla="*/ 250762 h 458198"/>
                    <a:gd name="connsiteX9" fmla="*/ 511412 w 511905"/>
                    <a:gd name="connsiteY9" fmla="*/ 453031 h 458198"/>
                    <a:gd name="connsiteX10" fmla="*/ 9762 w 511905"/>
                    <a:gd name="connsiteY10" fmla="*/ 446681 h 458198"/>
                    <a:gd name="connsiteX0" fmla="*/ 9762 w 511905"/>
                    <a:gd name="connsiteY0" fmla="*/ 446681 h 458198"/>
                    <a:gd name="connsiteX1" fmla="*/ 6587 w 511905"/>
                    <a:gd name="connsiteY1" fmla="*/ 221256 h 458198"/>
                    <a:gd name="connsiteX2" fmla="*/ 76437 w 511905"/>
                    <a:gd name="connsiteY2" fmla="*/ 157756 h 458198"/>
                    <a:gd name="connsiteX3" fmla="*/ 200262 w 511905"/>
                    <a:gd name="connsiteY3" fmla="*/ 119656 h 458198"/>
                    <a:gd name="connsiteX4" fmla="*/ 206612 w 511905"/>
                    <a:gd name="connsiteY4" fmla="*/ 14881 h 458198"/>
                    <a:gd name="connsiteX5" fmla="*/ 301506 w 511905"/>
                    <a:gd name="connsiteY5" fmla="*/ 11706 h 458198"/>
                    <a:gd name="connsiteX6" fmla="*/ 311502 w 511905"/>
                    <a:gd name="connsiteY6" fmla="*/ 118302 h 458198"/>
                    <a:gd name="connsiteX7" fmla="*/ 437562 w 511905"/>
                    <a:gd name="connsiteY7" fmla="*/ 198396 h 458198"/>
                    <a:gd name="connsiteX8" fmla="*/ 498357 w 511905"/>
                    <a:gd name="connsiteY8" fmla="*/ 250762 h 458198"/>
                    <a:gd name="connsiteX9" fmla="*/ 511412 w 511905"/>
                    <a:gd name="connsiteY9" fmla="*/ 453031 h 458198"/>
                    <a:gd name="connsiteX10" fmla="*/ 9762 w 511905"/>
                    <a:gd name="connsiteY10" fmla="*/ 446681 h 458198"/>
                    <a:gd name="connsiteX0" fmla="*/ 9762 w 511905"/>
                    <a:gd name="connsiteY0" fmla="*/ 446681 h 458198"/>
                    <a:gd name="connsiteX1" fmla="*/ 6587 w 511905"/>
                    <a:gd name="connsiteY1" fmla="*/ 221256 h 458198"/>
                    <a:gd name="connsiteX2" fmla="*/ 76437 w 511905"/>
                    <a:gd name="connsiteY2" fmla="*/ 157756 h 458198"/>
                    <a:gd name="connsiteX3" fmla="*/ 200262 w 511905"/>
                    <a:gd name="connsiteY3" fmla="*/ 119656 h 458198"/>
                    <a:gd name="connsiteX4" fmla="*/ 206612 w 511905"/>
                    <a:gd name="connsiteY4" fmla="*/ 14881 h 458198"/>
                    <a:gd name="connsiteX5" fmla="*/ 301506 w 511905"/>
                    <a:gd name="connsiteY5" fmla="*/ 11706 h 458198"/>
                    <a:gd name="connsiteX6" fmla="*/ 311502 w 511905"/>
                    <a:gd name="connsiteY6" fmla="*/ 118302 h 458198"/>
                    <a:gd name="connsiteX7" fmla="*/ 451087 w 511905"/>
                    <a:gd name="connsiteY7" fmla="*/ 188406 h 458198"/>
                    <a:gd name="connsiteX8" fmla="*/ 498357 w 511905"/>
                    <a:gd name="connsiteY8" fmla="*/ 250762 h 458198"/>
                    <a:gd name="connsiteX9" fmla="*/ 511412 w 511905"/>
                    <a:gd name="connsiteY9" fmla="*/ 453031 h 458198"/>
                    <a:gd name="connsiteX10" fmla="*/ 9762 w 511905"/>
                    <a:gd name="connsiteY10" fmla="*/ 446681 h 458198"/>
                    <a:gd name="connsiteX0" fmla="*/ 9762 w 511905"/>
                    <a:gd name="connsiteY0" fmla="*/ 447695 h 459212"/>
                    <a:gd name="connsiteX1" fmla="*/ 6587 w 511905"/>
                    <a:gd name="connsiteY1" fmla="*/ 222270 h 459212"/>
                    <a:gd name="connsiteX2" fmla="*/ 76437 w 511905"/>
                    <a:gd name="connsiteY2" fmla="*/ 158770 h 459212"/>
                    <a:gd name="connsiteX3" fmla="*/ 200262 w 511905"/>
                    <a:gd name="connsiteY3" fmla="*/ 120670 h 459212"/>
                    <a:gd name="connsiteX4" fmla="*/ 206612 w 511905"/>
                    <a:gd name="connsiteY4" fmla="*/ 15895 h 459212"/>
                    <a:gd name="connsiteX5" fmla="*/ 301506 w 511905"/>
                    <a:gd name="connsiteY5" fmla="*/ 12720 h 459212"/>
                    <a:gd name="connsiteX6" fmla="*/ 311502 w 511905"/>
                    <a:gd name="connsiteY6" fmla="*/ 134302 h 459212"/>
                    <a:gd name="connsiteX7" fmla="*/ 451087 w 511905"/>
                    <a:gd name="connsiteY7" fmla="*/ 189420 h 459212"/>
                    <a:gd name="connsiteX8" fmla="*/ 498357 w 511905"/>
                    <a:gd name="connsiteY8" fmla="*/ 251776 h 459212"/>
                    <a:gd name="connsiteX9" fmla="*/ 511412 w 511905"/>
                    <a:gd name="connsiteY9" fmla="*/ 454045 h 459212"/>
                    <a:gd name="connsiteX10" fmla="*/ 9762 w 511905"/>
                    <a:gd name="connsiteY10" fmla="*/ 447695 h 459212"/>
                    <a:gd name="connsiteX0" fmla="*/ 4227 w 522600"/>
                    <a:gd name="connsiteY0" fmla="*/ 455188 h 463021"/>
                    <a:gd name="connsiteX1" fmla="*/ 17282 w 522600"/>
                    <a:gd name="connsiteY1" fmla="*/ 222270 h 463021"/>
                    <a:gd name="connsiteX2" fmla="*/ 87132 w 522600"/>
                    <a:gd name="connsiteY2" fmla="*/ 158770 h 463021"/>
                    <a:gd name="connsiteX3" fmla="*/ 210957 w 522600"/>
                    <a:gd name="connsiteY3" fmla="*/ 120670 h 463021"/>
                    <a:gd name="connsiteX4" fmla="*/ 217307 w 522600"/>
                    <a:gd name="connsiteY4" fmla="*/ 15895 h 463021"/>
                    <a:gd name="connsiteX5" fmla="*/ 312201 w 522600"/>
                    <a:gd name="connsiteY5" fmla="*/ 12720 h 463021"/>
                    <a:gd name="connsiteX6" fmla="*/ 322197 w 522600"/>
                    <a:gd name="connsiteY6" fmla="*/ 134302 h 463021"/>
                    <a:gd name="connsiteX7" fmla="*/ 461782 w 522600"/>
                    <a:gd name="connsiteY7" fmla="*/ 189420 h 463021"/>
                    <a:gd name="connsiteX8" fmla="*/ 509052 w 522600"/>
                    <a:gd name="connsiteY8" fmla="*/ 251776 h 463021"/>
                    <a:gd name="connsiteX9" fmla="*/ 522107 w 522600"/>
                    <a:gd name="connsiteY9" fmla="*/ 454045 h 463021"/>
                    <a:gd name="connsiteX10" fmla="*/ 4227 w 522600"/>
                    <a:gd name="connsiteY10" fmla="*/ 455188 h 463021"/>
                    <a:gd name="connsiteX0" fmla="*/ 4227 w 522600"/>
                    <a:gd name="connsiteY0" fmla="*/ 455188 h 457596"/>
                    <a:gd name="connsiteX1" fmla="*/ 17282 w 522600"/>
                    <a:gd name="connsiteY1" fmla="*/ 222270 h 457596"/>
                    <a:gd name="connsiteX2" fmla="*/ 87132 w 522600"/>
                    <a:gd name="connsiteY2" fmla="*/ 158770 h 457596"/>
                    <a:gd name="connsiteX3" fmla="*/ 210957 w 522600"/>
                    <a:gd name="connsiteY3" fmla="*/ 120670 h 457596"/>
                    <a:gd name="connsiteX4" fmla="*/ 217307 w 522600"/>
                    <a:gd name="connsiteY4" fmla="*/ 15895 h 457596"/>
                    <a:gd name="connsiteX5" fmla="*/ 312201 w 522600"/>
                    <a:gd name="connsiteY5" fmla="*/ 12720 h 457596"/>
                    <a:gd name="connsiteX6" fmla="*/ 322197 w 522600"/>
                    <a:gd name="connsiteY6" fmla="*/ 134302 h 457596"/>
                    <a:gd name="connsiteX7" fmla="*/ 461782 w 522600"/>
                    <a:gd name="connsiteY7" fmla="*/ 189420 h 457596"/>
                    <a:gd name="connsiteX8" fmla="*/ 509052 w 522600"/>
                    <a:gd name="connsiteY8" fmla="*/ 251776 h 457596"/>
                    <a:gd name="connsiteX9" fmla="*/ 522107 w 522600"/>
                    <a:gd name="connsiteY9" fmla="*/ 454045 h 457596"/>
                    <a:gd name="connsiteX10" fmla="*/ 4227 w 522600"/>
                    <a:gd name="connsiteY10" fmla="*/ 455188 h 457596"/>
                    <a:gd name="connsiteX0" fmla="*/ 12757 w 531130"/>
                    <a:gd name="connsiteY0" fmla="*/ 455188 h 457596"/>
                    <a:gd name="connsiteX1" fmla="*/ 6876 w 531130"/>
                    <a:gd name="connsiteY1" fmla="*/ 237256 h 457596"/>
                    <a:gd name="connsiteX2" fmla="*/ 95662 w 531130"/>
                    <a:gd name="connsiteY2" fmla="*/ 158770 h 457596"/>
                    <a:gd name="connsiteX3" fmla="*/ 219487 w 531130"/>
                    <a:gd name="connsiteY3" fmla="*/ 120670 h 457596"/>
                    <a:gd name="connsiteX4" fmla="*/ 225837 w 531130"/>
                    <a:gd name="connsiteY4" fmla="*/ 15895 h 457596"/>
                    <a:gd name="connsiteX5" fmla="*/ 320731 w 531130"/>
                    <a:gd name="connsiteY5" fmla="*/ 12720 h 457596"/>
                    <a:gd name="connsiteX6" fmla="*/ 330727 w 531130"/>
                    <a:gd name="connsiteY6" fmla="*/ 134302 h 457596"/>
                    <a:gd name="connsiteX7" fmla="*/ 470312 w 531130"/>
                    <a:gd name="connsiteY7" fmla="*/ 189420 h 457596"/>
                    <a:gd name="connsiteX8" fmla="*/ 517582 w 531130"/>
                    <a:gd name="connsiteY8" fmla="*/ 251776 h 457596"/>
                    <a:gd name="connsiteX9" fmla="*/ 530637 w 531130"/>
                    <a:gd name="connsiteY9" fmla="*/ 454045 h 457596"/>
                    <a:gd name="connsiteX10" fmla="*/ 12757 w 531130"/>
                    <a:gd name="connsiteY10" fmla="*/ 455188 h 457596"/>
                    <a:gd name="connsiteX0" fmla="*/ 7226 w 536419"/>
                    <a:gd name="connsiteY0" fmla="*/ 447695 h 456315"/>
                    <a:gd name="connsiteX1" fmla="*/ 12165 w 536419"/>
                    <a:gd name="connsiteY1" fmla="*/ 237256 h 456315"/>
                    <a:gd name="connsiteX2" fmla="*/ 100951 w 536419"/>
                    <a:gd name="connsiteY2" fmla="*/ 158770 h 456315"/>
                    <a:gd name="connsiteX3" fmla="*/ 224776 w 536419"/>
                    <a:gd name="connsiteY3" fmla="*/ 120670 h 456315"/>
                    <a:gd name="connsiteX4" fmla="*/ 231126 w 536419"/>
                    <a:gd name="connsiteY4" fmla="*/ 15895 h 456315"/>
                    <a:gd name="connsiteX5" fmla="*/ 326020 w 536419"/>
                    <a:gd name="connsiteY5" fmla="*/ 12720 h 456315"/>
                    <a:gd name="connsiteX6" fmla="*/ 336016 w 536419"/>
                    <a:gd name="connsiteY6" fmla="*/ 134302 h 456315"/>
                    <a:gd name="connsiteX7" fmla="*/ 475601 w 536419"/>
                    <a:gd name="connsiteY7" fmla="*/ 189420 h 456315"/>
                    <a:gd name="connsiteX8" fmla="*/ 522871 w 536419"/>
                    <a:gd name="connsiteY8" fmla="*/ 251776 h 456315"/>
                    <a:gd name="connsiteX9" fmla="*/ 535926 w 536419"/>
                    <a:gd name="connsiteY9" fmla="*/ 454045 h 456315"/>
                    <a:gd name="connsiteX10" fmla="*/ 7226 w 536419"/>
                    <a:gd name="connsiteY10" fmla="*/ 447695 h 456315"/>
                    <a:gd name="connsiteX0" fmla="*/ 7226 w 528834"/>
                    <a:gd name="connsiteY0" fmla="*/ 447695 h 456315"/>
                    <a:gd name="connsiteX1" fmla="*/ 12165 w 528834"/>
                    <a:gd name="connsiteY1" fmla="*/ 237256 h 456315"/>
                    <a:gd name="connsiteX2" fmla="*/ 100951 w 528834"/>
                    <a:gd name="connsiteY2" fmla="*/ 158770 h 456315"/>
                    <a:gd name="connsiteX3" fmla="*/ 224776 w 528834"/>
                    <a:gd name="connsiteY3" fmla="*/ 120670 h 456315"/>
                    <a:gd name="connsiteX4" fmla="*/ 231126 w 528834"/>
                    <a:gd name="connsiteY4" fmla="*/ 15895 h 456315"/>
                    <a:gd name="connsiteX5" fmla="*/ 326020 w 528834"/>
                    <a:gd name="connsiteY5" fmla="*/ 12720 h 456315"/>
                    <a:gd name="connsiteX6" fmla="*/ 336016 w 528834"/>
                    <a:gd name="connsiteY6" fmla="*/ 134302 h 456315"/>
                    <a:gd name="connsiteX7" fmla="*/ 475601 w 528834"/>
                    <a:gd name="connsiteY7" fmla="*/ 189420 h 456315"/>
                    <a:gd name="connsiteX8" fmla="*/ 522871 w 528834"/>
                    <a:gd name="connsiteY8" fmla="*/ 251776 h 456315"/>
                    <a:gd name="connsiteX9" fmla="*/ 527811 w 528834"/>
                    <a:gd name="connsiteY9" fmla="*/ 454045 h 456315"/>
                    <a:gd name="connsiteX10" fmla="*/ 7226 w 528834"/>
                    <a:gd name="connsiteY10" fmla="*/ 447695 h 456315"/>
                    <a:gd name="connsiteX0" fmla="*/ 7226 w 528834"/>
                    <a:gd name="connsiteY0" fmla="*/ 447695 h 456315"/>
                    <a:gd name="connsiteX1" fmla="*/ 12165 w 528834"/>
                    <a:gd name="connsiteY1" fmla="*/ 237256 h 456315"/>
                    <a:gd name="connsiteX2" fmla="*/ 100951 w 528834"/>
                    <a:gd name="connsiteY2" fmla="*/ 158770 h 456315"/>
                    <a:gd name="connsiteX3" fmla="*/ 224776 w 528834"/>
                    <a:gd name="connsiteY3" fmla="*/ 120670 h 456315"/>
                    <a:gd name="connsiteX4" fmla="*/ 231126 w 528834"/>
                    <a:gd name="connsiteY4" fmla="*/ 15895 h 456315"/>
                    <a:gd name="connsiteX5" fmla="*/ 326020 w 528834"/>
                    <a:gd name="connsiteY5" fmla="*/ 12720 h 456315"/>
                    <a:gd name="connsiteX6" fmla="*/ 336016 w 528834"/>
                    <a:gd name="connsiteY6" fmla="*/ 134302 h 456315"/>
                    <a:gd name="connsiteX7" fmla="*/ 462076 w 528834"/>
                    <a:gd name="connsiteY7" fmla="*/ 184425 h 456315"/>
                    <a:gd name="connsiteX8" fmla="*/ 522871 w 528834"/>
                    <a:gd name="connsiteY8" fmla="*/ 251776 h 456315"/>
                    <a:gd name="connsiteX9" fmla="*/ 527811 w 528834"/>
                    <a:gd name="connsiteY9" fmla="*/ 454045 h 456315"/>
                    <a:gd name="connsiteX10" fmla="*/ 7226 w 528834"/>
                    <a:gd name="connsiteY10" fmla="*/ 447695 h 456315"/>
                    <a:gd name="connsiteX0" fmla="*/ 8515 w 530123"/>
                    <a:gd name="connsiteY0" fmla="*/ 447695 h 456315"/>
                    <a:gd name="connsiteX1" fmla="*/ 10749 w 530123"/>
                    <a:gd name="connsiteY1" fmla="*/ 244749 h 456315"/>
                    <a:gd name="connsiteX2" fmla="*/ 102240 w 530123"/>
                    <a:gd name="connsiteY2" fmla="*/ 158770 h 456315"/>
                    <a:gd name="connsiteX3" fmla="*/ 226065 w 530123"/>
                    <a:gd name="connsiteY3" fmla="*/ 120670 h 456315"/>
                    <a:gd name="connsiteX4" fmla="*/ 232415 w 530123"/>
                    <a:gd name="connsiteY4" fmla="*/ 15895 h 456315"/>
                    <a:gd name="connsiteX5" fmla="*/ 327309 w 530123"/>
                    <a:gd name="connsiteY5" fmla="*/ 12720 h 456315"/>
                    <a:gd name="connsiteX6" fmla="*/ 337305 w 530123"/>
                    <a:gd name="connsiteY6" fmla="*/ 134302 h 456315"/>
                    <a:gd name="connsiteX7" fmla="*/ 463365 w 530123"/>
                    <a:gd name="connsiteY7" fmla="*/ 184425 h 456315"/>
                    <a:gd name="connsiteX8" fmla="*/ 524160 w 530123"/>
                    <a:gd name="connsiteY8" fmla="*/ 251776 h 456315"/>
                    <a:gd name="connsiteX9" fmla="*/ 529100 w 530123"/>
                    <a:gd name="connsiteY9" fmla="*/ 454045 h 456315"/>
                    <a:gd name="connsiteX10" fmla="*/ 8515 w 530123"/>
                    <a:gd name="connsiteY10" fmla="*/ 447695 h 456315"/>
                    <a:gd name="connsiteX0" fmla="*/ 7671 w 529279"/>
                    <a:gd name="connsiteY0" fmla="*/ 447695 h 456315"/>
                    <a:gd name="connsiteX1" fmla="*/ 9905 w 529279"/>
                    <a:gd name="connsiteY1" fmla="*/ 244749 h 456315"/>
                    <a:gd name="connsiteX2" fmla="*/ 87870 w 529279"/>
                    <a:gd name="connsiteY2" fmla="*/ 166263 h 456315"/>
                    <a:gd name="connsiteX3" fmla="*/ 225221 w 529279"/>
                    <a:gd name="connsiteY3" fmla="*/ 120670 h 456315"/>
                    <a:gd name="connsiteX4" fmla="*/ 231571 w 529279"/>
                    <a:gd name="connsiteY4" fmla="*/ 15895 h 456315"/>
                    <a:gd name="connsiteX5" fmla="*/ 326465 w 529279"/>
                    <a:gd name="connsiteY5" fmla="*/ 12720 h 456315"/>
                    <a:gd name="connsiteX6" fmla="*/ 336461 w 529279"/>
                    <a:gd name="connsiteY6" fmla="*/ 134302 h 456315"/>
                    <a:gd name="connsiteX7" fmla="*/ 462521 w 529279"/>
                    <a:gd name="connsiteY7" fmla="*/ 184425 h 456315"/>
                    <a:gd name="connsiteX8" fmla="*/ 523316 w 529279"/>
                    <a:gd name="connsiteY8" fmla="*/ 251776 h 456315"/>
                    <a:gd name="connsiteX9" fmla="*/ 528256 w 529279"/>
                    <a:gd name="connsiteY9" fmla="*/ 454045 h 456315"/>
                    <a:gd name="connsiteX10" fmla="*/ 7671 w 529279"/>
                    <a:gd name="connsiteY10" fmla="*/ 447695 h 456315"/>
                    <a:gd name="connsiteX0" fmla="*/ 7671 w 529279"/>
                    <a:gd name="connsiteY0" fmla="*/ 447558 h 456178"/>
                    <a:gd name="connsiteX1" fmla="*/ 9905 w 529279"/>
                    <a:gd name="connsiteY1" fmla="*/ 244612 h 456178"/>
                    <a:gd name="connsiteX2" fmla="*/ 87870 w 529279"/>
                    <a:gd name="connsiteY2" fmla="*/ 166126 h 456178"/>
                    <a:gd name="connsiteX3" fmla="*/ 206285 w 529279"/>
                    <a:gd name="connsiteY3" fmla="*/ 118035 h 456178"/>
                    <a:gd name="connsiteX4" fmla="*/ 231571 w 529279"/>
                    <a:gd name="connsiteY4" fmla="*/ 15758 h 456178"/>
                    <a:gd name="connsiteX5" fmla="*/ 326465 w 529279"/>
                    <a:gd name="connsiteY5" fmla="*/ 12583 h 456178"/>
                    <a:gd name="connsiteX6" fmla="*/ 336461 w 529279"/>
                    <a:gd name="connsiteY6" fmla="*/ 134165 h 456178"/>
                    <a:gd name="connsiteX7" fmla="*/ 462521 w 529279"/>
                    <a:gd name="connsiteY7" fmla="*/ 184288 h 456178"/>
                    <a:gd name="connsiteX8" fmla="*/ 523316 w 529279"/>
                    <a:gd name="connsiteY8" fmla="*/ 251639 h 456178"/>
                    <a:gd name="connsiteX9" fmla="*/ 528256 w 529279"/>
                    <a:gd name="connsiteY9" fmla="*/ 453908 h 456178"/>
                    <a:gd name="connsiteX10" fmla="*/ 7671 w 529279"/>
                    <a:gd name="connsiteY10" fmla="*/ 447558 h 456178"/>
                    <a:gd name="connsiteX0" fmla="*/ 14544 w 536152"/>
                    <a:gd name="connsiteY0" fmla="*/ 447558 h 456178"/>
                    <a:gd name="connsiteX1" fmla="*/ 5958 w 536152"/>
                    <a:gd name="connsiteY1" fmla="*/ 247109 h 456178"/>
                    <a:gd name="connsiteX2" fmla="*/ 94743 w 536152"/>
                    <a:gd name="connsiteY2" fmla="*/ 166126 h 456178"/>
                    <a:gd name="connsiteX3" fmla="*/ 213158 w 536152"/>
                    <a:gd name="connsiteY3" fmla="*/ 118035 h 456178"/>
                    <a:gd name="connsiteX4" fmla="*/ 238444 w 536152"/>
                    <a:gd name="connsiteY4" fmla="*/ 15758 h 456178"/>
                    <a:gd name="connsiteX5" fmla="*/ 333338 w 536152"/>
                    <a:gd name="connsiteY5" fmla="*/ 12583 h 456178"/>
                    <a:gd name="connsiteX6" fmla="*/ 343334 w 536152"/>
                    <a:gd name="connsiteY6" fmla="*/ 134165 h 456178"/>
                    <a:gd name="connsiteX7" fmla="*/ 469394 w 536152"/>
                    <a:gd name="connsiteY7" fmla="*/ 184288 h 456178"/>
                    <a:gd name="connsiteX8" fmla="*/ 530189 w 536152"/>
                    <a:gd name="connsiteY8" fmla="*/ 251639 h 456178"/>
                    <a:gd name="connsiteX9" fmla="*/ 535129 w 536152"/>
                    <a:gd name="connsiteY9" fmla="*/ 453908 h 456178"/>
                    <a:gd name="connsiteX10" fmla="*/ 14544 w 536152"/>
                    <a:gd name="connsiteY10" fmla="*/ 447558 h 456178"/>
                    <a:gd name="connsiteX0" fmla="*/ 7226 w 542359"/>
                    <a:gd name="connsiteY0" fmla="*/ 450055 h 456488"/>
                    <a:gd name="connsiteX1" fmla="*/ 12165 w 542359"/>
                    <a:gd name="connsiteY1" fmla="*/ 247109 h 456488"/>
                    <a:gd name="connsiteX2" fmla="*/ 100950 w 542359"/>
                    <a:gd name="connsiteY2" fmla="*/ 166126 h 456488"/>
                    <a:gd name="connsiteX3" fmla="*/ 219365 w 542359"/>
                    <a:gd name="connsiteY3" fmla="*/ 118035 h 456488"/>
                    <a:gd name="connsiteX4" fmla="*/ 244651 w 542359"/>
                    <a:gd name="connsiteY4" fmla="*/ 15758 h 456488"/>
                    <a:gd name="connsiteX5" fmla="*/ 339545 w 542359"/>
                    <a:gd name="connsiteY5" fmla="*/ 12583 h 456488"/>
                    <a:gd name="connsiteX6" fmla="*/ 349541 w 542359"/>
                    <a:gd name="connsiteY6" fmla="*/ 134165 h 456488"/>
                    <a:gd name="connsiteX7" fmla="*/ 475601 w 542359"/>
                    <a:gd name="connsiteY7" fmla="*/ 184288 h 456488"/>
                    <a:gd name="connsiteX8" fmla="*/ 536396 w 542359"/>
                    <a:gd name="connsiteY8" fmla="*/ 251639 h 456488"/>
                    <a:gd name="connsiteX9" fmla="*/ 541336 w 542359"/>
                    <a:gd name="connsiteY9" fmla="*/ 453908 h 456488"/>
                    <a:gd name="connsiteX10" fmla="*/ 7226 w 542359"/>
                    <a:gd name="connsiteY10" fmla="*/ 450055 h 456488"/>
                    <a:gd name="connsiteX0" fmla="*/ 7226 w 542359"/>
                    <a:gd name="connsiteY0" fmla="*/ 450055 h 456488"/>
                    <a:gd name="connsiteX1" fmla="*/ 12165 w 542359"/>
                    <a:gd name="connsiteY1" fmla="*/ 247109 h 456488"/>
                    <a:gd name="connsiteX2" fmla="*/ 100950 w 542359"/>
                    <a:gd name="connsiteY2" fmla="*/ 166126 h 456488"/>
                    <a:gd name="connsiteX3" fmla="*/ 219365 w 542359"/>
                    <a:gd name="connsiteY3" fmla="*/ 118035 h 456488"/>
                    <a:gd name="connsiteX4" fmla="*/ 244651 w 542359"/>
                    <a:gd name="connsiteY4" fmla="*/ 15758 h 456488"/>
                    <a:gd name="connsiteX5" fmla="*/ 331430 w 542359"/>
                    <a:gd name="connsiteY5" fmla="*/ 12583 h 456488"/>
                    <a:gd name="connsiteX6" fmla="*/ 349541 w 542359"/>
                    <a:gd name="connsiteY6" fmla="*/ 134165 h 456488"/>
                    <a:gd name="connsiteX7" fmla="*/ 475601 w 542359"/>
                    <a:gd name="connsiteY7" fmla="*/ 184288 h 456488"/>
                    <a:gd name="connsiteX8" fmla="*/ 536396 w 542359"/>
                    <a:gd name="connsiteY8" fmla="*/ 251639 h 456488"/>
                    <a:gd name="connsiteX9" fmla="*/ 541336 w 542359"/>
                    <a:gd name="connsiteY9" fmla="*/ 453908 h 456488"/>
                    <a:gd name="connsiteX10" fmla="*/ 7226 w 542359"/>
                    <a:gd name="connsiteY10" fmla="*/ 450055 h 456488"/>
                    <a:gd name="connsiteX0" fmla="*/ 7226 w 542359"/>
                    <a:gd name="connsiteY0" fmla="*/ 450055 h 456488"/>
                    <a:gd name="connsiteX1" fmla="*/ 12165 w 542359"/>
                    <a:gd name="connsiteY1" fmla="*/ 247109 h 456488"/>
                    <a:gd name="connsiteX2" fmla="*/ 100950 w 542359"/>
                    <a:gd name="connsiteY2" fmla="*/ 166126 h 456488"/>
                    <a:gd name="connsiteX3" fmla="*/ 219365 w 542359"/>
                    <a:gd name="connsiteY3" fmla="*/ 118035 h 456488"/>
                    <a:gd name="connsiteX4" fmla="*/ 244651 w 542359"/>
                    <a:gd name="connsiteY4" fmla="*/ 15758 h 456488"/>
                    <a:gd name="connsiteX5" fmla="*/ 331430 w 542359"/>
                    <a:gd name="connsiteY5" fmla="*/ 12583 h 456488"/>
                    <a:gd name="connsiteX6" fmla="*/ 349541 w 542359"/>
                    <a:gd name="connsiteY6" fmla="*/ 134165 h 456488"/>
                    <a:gd name="connsiteX7" fmla="*/ 483716 w 542359"/>
                    <a:gd name="connsiteY7" fmla="*/ 179293 h 456488"/>
                    <a:gd name="connsiteX8" fmla="*/ 536396 w 542359"/>
                    <a:gd name="connsiteY8" fmla="*/ 251639 h 456488"/>
                    <a:gd name="connsiteX9" fmla="*/ 541336 w 542359"/>
                    <a:gd name="connsiteY9" fmla="*/ 453908 h 456488"/>
                    <a:gd name="connsiteX10" fmla="*/ 7226 w 542359"/>
                    <a:gd name="connsiteY10" fmla="*/ 450055 h 456488"/>
                    <a:gd name="connsiteX0" fmla="*/ 6630 w 541763"/>
                    <a:gd name="connsiteY0" fmla="*/ 450055 h 456488"/>
                    <a:gd name="connsiteX1" fmla="*/ 11569 w 541763"/>
                    <a:gd name="connsiteY1" fmla="*/ 247109 h 456488"/>
                    <a:gd name="connsiteX2" fmla="*/ 89534 w 541763"/>
                    <a:gd name="connsiteY2" fmla="*/ 166126 h 456488"/>
                    <a:gd name="connsiteX3" fmla="*/ 218769 w 541763"/>
                    <a:gd name="connsiteY3" fmla="*/ 118035 h 456488"/>
                    <a:gd name="connsiteX4" fmla="*/ 244055 w 541763"/>
                    <a:gd name="connsiteY4" fmla="*/ 15758 h 456488"/>
                    <a:gd name="connsiteX5" fmla="*/ 330834 w 541763"/>
                    <a:gd name="connsiteY5" fmla="*/ 12583 h 456488"/>
                    <a:gd name="connsiteX6" fmla="*/ 348945 w 541763"/>
                    <a:gd name="connsiteY6" fmla="*/ 134165 h 456488"/>
                    <a:gd name="connsiteX7" fmla="*/ 483120 w 541763"/>
                    <a:gd name="connsiteY7" fmla="*/ 179293 h 456488"/>
                    <a:gd name="connsiteX8" fmla="*/ 535800 w 541763"/>
                    <a:gd name="connsiteY8" fmla="*/ 251639 h 456488"/>
                    <a:gd name="connsiteX9" fmla="*/ 540740 w 541763"/>
                    <a:gd name="connsiteY9" fmla="*/ 453908 h 456488"/>
                    <a:gd name="connsiteX10" fmla="*/ 6630 w 541763"/>
                    <a:gd name="connsiteY10" fmla="*/ 450055 h 456488"/>
                    <a:gd name="connsiteX0" fmla="*/ 4856 w 539989"/>
                    <a:gd name="connsiteY0" fmla="*/ 450055 h 456488"/>
                    <a:gd name="connsiteX1" fmla="*/ 15205 w 539989"/>
                    <a:gd name="connsiteY1" fmla="*/ 227128 h 456488"/>
                    <a:gd name="connsiteX2" fmla="*/ 87760 w 539989"/>
                    <a:gd name="connsiteY2" fmla="*/ 166126 h 456488"/>
                    <a:gd name="connsiteX3" fmla="*/ 216995 w 539989"/>
                    <a:gd name="connsiteY3" fmla="*/ 118035 h 456488"/>
                    <a:gd name="connsiteX4" fmla="*/ 242281 w 539989"/>
                    <a:gd name="connsiteY4" fmla="*/ 15758 h 456488"/>
                    <a:gd name="connsiteX5" fmla="*/ 329060 w 539989"/>
                    <a:gd name="connsiteY5" fmla="*/ 12583 h 456488"/>
                    <a:gd name="connsiteX6" fmla="*/ 347171 w 539989"/>
                    <a:gd name="connsiteY6" fmla="*/ 134165 h 456488"/>
                    <a:gd name="connsiteX7" fmla="*/ 481346 w 539989"/>
                    <a:gd name="connsiteY7" fmla="*/ 179293 h 456488"/>
                    <a:gd name="connsiteX8" fmla="*/ 534026 w 539989"/>
                    <a:gd name="connsiteY8" fmla="*/ 251639 h 456488"/>
                    <a:gd name="connsiteX9" fmla="*/ 538966 w 539989"/>
                    <a:gd name="connsiteY9" fmla="*/ 453908 h 456488"/>
                    <a:gd name="connsiteX10" fmla="*/ 4856 w 539989"/>
                    <a:gd name="connsiteY10" fmla="*/ 450055 h 4564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39989" h="456488">
                      <a:moveTo>
                        <a:pt x="4856" y="450055"/>
                      </a:moveTo>
                      <a:cubicBezTo>
                        <a:pt x="-5198" y="385497"/>
                        <a:pt x="1388" y="274449"/>
                        <a:pt x="15205" y="227128"/>
                      </a:cubicBezTo>
                      <a:cubicBezTo>
                        <a:pt x="29022" y="179807"/>
                        <a:pt x="54128" y="184308"/>
                        <a:pt x="87760" y="166126"/>
                      </a:cubicBezTo>
                      <a:cubicBezTo>
                        <a:pt x="121392" y="147944"/>
                        <a:pt x="191242" y="143096"/>
                        <a:pt x="216995" y="118035"/>
                      </a:cubicBezTo>
                      <a:cubicBezTo>
                        <a:pt x="242748" y="92974"/>
                        <a:pt x="223604" y="33333"/>
                        <a:pt x="242281" y="15758"/>
                      </a:cubicBezTo>
                      <a:cubicBezTo>
                        <a:pt x="260958" y="-1817"/>
                        <a:pt x="311578" y="-7151"/>
                        <a:pt x="329060" y="12583"/>
                      </a:cubicBezTo>
                      <a:cubicBezTo>
                        <a:pt x="346542" y="32317"/>
                        <a:pt x="321790" y="106380"/>
                        <a:pt x="347171" y="134165"/>
                      </a:cubicBezTo>
                      <a:cubicBezTo>
                        <a:pt x="372552" y="161950"/>
                        <a:pt x="450204" y="159714"/>
                        <a:pt x="481346" y="179293"/>
                      </a:cubicBezTo>
                      <a:cubicBezTo>
                        <a:pt x="512489" y="198872"/>
                        <a:pt x="523972" y="202956"/>
                        <a:pt x="534026" y="251639"/>
                      </a:cubicBezTo>
                      <a:cubicBezTo>
                        <a:pt x="537201" y="301381"/>
                        <a:pt x="542141" y="328496"/>
                        <a:pt x="538966" y="453908"/>
                      </a:cubicBezTo>
                      <a:cubicBezTo>
                        <a:pt x="307191" y="461845"/>
                        <a:pt x="250800" y="448827"/>
                        <a:pt x="4856" y="450055"/>
                      </a:cubicBezTo>
                      <a:close/>
                    </a:path>
                  </a:pathLst>
                </a:custGeom>
                <a:solidFill>
                  <a:schemeClr val="bg1"/>
                </a:solidFill>
                <a:ln w="57150">
                  <a:solidFill>
                    <a:schemeClr val="tx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178" name="Oval 177">
                  <a:extLst>
                    <a:ext uri="{FF2B5EF4-FFF2-40B4-BE49-F238E27FC236}">
                      <a16:creationId xmlns:a16="http://schemas.microsoft.com/office/drawing/2014/main" id="{1E0A545F-6AC3-6D46-87DF-4F492440EFED}"/>
                    </a:ext>
                  </a:extLst>
                </p:cNvPr>
                <p:cNvSpPr/>
                <p:nvPr/>
              </p:nvSpPr>
              <p:spPr>
                <a:xfrm>
                  <a:off x="1964431" y="3500843"/>
                  <a:ext cx="259337" cy="299858"/>
                </a:xfrm>
                <a:prstGeom prst="ellipse">
                  <a:avLst/>
                </a:prstGeom>
                <a:solidFill>
                  <a:schemeClr val="bg1"/>
                </a:solidFill>
                <a:ln w="57150">
                  <a:solidFill>
                    <a:schemeClr val="tx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grpSp>
        </p:grpSp>
        <p:grpSp>
          <p:nvGrpSpPr>
            <p:cNvPr id="169" name="Group 168">
              <a:extLst>
                <a:ext uri="{FF2B5EF4-FFF2-40B4-BE49-F238E27FC236}">
                  <a16:creationId xmlns:a16="http://schemas.microsoft.com/office/drawing/2014/main" id="{C4DCCE29-D4C6-D044-8965-0C4E5D5343A8}"/>
                </a:ext>
              </a:extLst>
            </p:cNvPr>
            <p:cNvGrpSpPr/>
            <p:nvPr/>
          </p:nvGrpSpPr>
          <p:grpSpPr>
            <a:xfrm>
              <a:off x="2495712" y="4589934"/>
              <a:ext cx="1256698" cy="510604"/>
              <a:chOff x="2495712" y="4589934"/>
              <a:chExt cx="1256698" cy="510604"/>
            </a:xfrm>
            <a:solidFill>
              <a:schemeClr val="tx1">
                <a:lumMod val="50000"/>
              </a:schemeClr>
            </a:solidFill>
          </p:grpSpPr>
          <p:sp>
            <p:nvSpPr>
              <p:cNvPr id="171" name="Rounded Rectangle 170">
                <a:extLst>
                  <a:ext uri="{FF2B5EF4-FFF2-40B4-BE49-F238E27FC236}">
                    <a16:creationId xmlns:a16="http://schemas.microsoft.com/office/drawing/2014/main" id="{2323F2BE-72BE-0B45-9CEA-3191E47CEE23}"/>
                  </a:ext>
                </a:extLst>
              </p:cNvPr>
              <p:cNvSpPr/>
              <p:nvPr/>
            </p:nvSpPr>
            <p:spPr>
              <a:xfrm>
                <a:off x="2495712" y="4589934"/>
                <a:ext cx="1256697" cy="251941"/>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172" name="Rectangle 171">
                <a:extLst>
                  <a:ext uri="{FF2B5EF4-FFF2-40B4-BE49-F238E27FC236}">
                    <a16:creationId xmlns:a16="http://schemas.microsoft.com/office/drawing/2014/main" id="{03E5C30D-4B90-7447-B105-D23C9D1BC109}"/>
                  </a:ext>
                </a:extLst>
              </p:cNvPr>
              <p:cNvSpPr/>
              <p:nvPr/>
            </p:nvSpPr>
            <p:spPr>
              <a:xfrm>
                <a:off x="2498725" y="4797790"/>
                <a:ext cx="1253685" cy="13315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173" name="Rectangle 172">
                <a:extLst>
                  <a:ext uri="{FF2B5EF4-FFF2-40B4-BE49-F238E27FC236}">
                    <a16:creationId xmlns:a16="http://schemas.microsoft.com/office/drawing/2014/main" id="{BDDE88E7-0127-9448-9CB5-AB8513FC330F}"/>
                  </a:ext>
                </a:extLst>
              </p:cNvPr>
              <p:cNvSpPr/>
              <p:nvPr/>
            </p:nvSpPr>
            <p:spPr>
              <a:xfrm>
                <a:off x="2546350" y="4923041"/>
                <a:ext cx="109152" cy="17749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174" name="Rectangle 173">
                <a:extLst>
                  <a:ext uri="{FF2B5EF4-FFF2-40B4-BE49-F238E27FC236}">
                    <a16:creationId xmlns:a16="http://schemas.microsoft.com/office/drawing/2014/main" id="{AFE9EBA2-F590-2848-91BA-44CED822A774}"/>
                  </a:ext>
                </a:extLst>
              </p:cNvPr>
              <p:cNvSpPr/>
              <p:nvPr/>
            </p:nvSpPr>
            <p:spPr>
              <a:xfrm>
                <a:off x="3610945" y="4923041"/>
                <a:ext cx="109152" cy="17749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grpSp>
        <p:sp>
          <p:nvSpPr>
            <p:cNvPr id="170" name="Trapezoid 169">
              <a:extLst>
                <a:ext uri="{FF2B5EF4-FFF2-40B4-BE49-F238E27FC236}">
                  <a16:creationId xmlns:a16="http://schemas.microsoft.com/office/drawing/2014/main" id="{7080186D-824F-2C4F-91E3-1938DB573768}"/>
                </a:ext>
              </a:extLst>
            </p:cNvPr>
            <p:cNvSpPr/>
            <p:nvPr/>
          </p:nvSpPr>
          <p:spPr>
            <a:xfrm>
              <a:off x="2655502" y="4181475"/>
              <a:ext cx="958850" cy="363303"/>
            </a:xfrm>
            <a:prstGeom prst="trapezoid">
              <a:avLst/>
            </a:prstGeom>
            <a:solidFill>
              <a:schemeClr val="tx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grpSp>
      <p:grpSp>
        <p:nvGrpSpPr>
          <p:cNvPr id="181" name="Group 180">
            <a:extLst>
              <a:ext uri="{FF2B5EF4-FFF2-40B4-BE49-F238E27FC236}">
                <a16:creationId xmlns:a16="http://schemas.microsoft.com/office/drawing/2014/main" id="{091031D9-3E52-A042-A18A-67A5E33E41CD}"/>
              </a:ext>
            </a:extLst>
          </p:cNvPr>
          <p:cNvGrpSpPr/>
          <p:nvPr/>
        </p:nvGrpSpPr>
        <p:grpSpPr>
          <a:xfrm>
            <a:off x="12885970" y="4281426"/>
            <a:ext cx="1025213" cy="1261037"/>
            <a:chOff x="2441771" y="3385414"/>
            <a:chExt cx="1325481" cy="1781019"/>
          </a:xfrm>
        </p:grpSpPr>
        <p:pic>
          <p:nvPicPr>
            <p:cNvPr id="182" name="Picture 181">
              <a:extLst>
                <a:ext uri="{FF2B5EF4-FFF2-40B4-BE49-F238E27FC236}">
                  <a16:creationId xmlns:a16="http://schemas.microsoft.com/office/drawing/2014/main" id="{D982985B-F262-A74C-B0BB-5DBF441B298E}"/>
                </a:ext>
              </a:extLst>
            </p:cNvPr>
            <p:cNvPicPr>
              <a:picLocks noChangeAspect="1"/>
            </p:cNvPicPr>
            <p:nvPr/>
          </p:nvPicPr>
          <p:blipFill rotWithShape="1">
            <a:blip r:embed="rId2"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a:xfrm>
              <a:off x="2441771" y="3385414"/>
              <a:ext cx="1325481" cy="1781019"/>
            </a:xfrm>
            <a:prstGeom prst="rect">
              <a:avLst/>
            </a:prstGeom>
          </p:spPr>
        </p:pic>
        <p:sp>
          <p:nvSpPr>
            <p:cNvPr id="183" name="Rounded Rectangle 182">
              <a:extLst>
                <a:ext uri="{FF2B5EF4-FFF2-40B4-BE49-F238E27FC236}">
                  <a16:creationId xmlns:a16="http://schemas.microsoft.com/office/drawing/2014/main" id="{D3085409-77CF-AB41-8FA1-40C2AF8AF298}"/>
                </a:ext>
              </a:extLst>
            </p:cNvPr>
            <p:cNvSpPr/>
            <p:nvPr/>
          </p:nvSpPr>
          <p:spPr>
            <a:xfrm>
              <a:off x="2655502" y="3670300"/>
              <a:ext cx="958850" cy="436656"/>
            </a:xfrm>
            <a:prstGeom prst="roundRect">
              <a:avLst/>
            </a:prstGeom>
            <a:solidFill>
              <a:schemeClr val="tx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grpSp>
          <p:nvGrpSpPr>
            <p:cNvPr id="184" name="Group 183">
              <a:extLst>
                <a:ext uri="{FF2B5EF4-FFF2-40B4-BE49-F238E27FC236}">
                  <a16:creationId xmlns:a16="http://schemas.microsoft.com/office/drawing/2014/main" id="{614AA259-2454-7040-B05C-81153FB0A2AB}"/>
                </a:ext>
              </a:extLst>
            </p:cNvPr>
            <p:cNvGrpSpPr/>
            <p:nvPr/>
          </p:nvGrpSpPr>
          <p:grpSpPr>
            <a:xfrm>
              <a:off x="2776471" y="3456093"/>
              <a:ext cx="748710" cy="1056883"/>
              <a:chOff x="1496718" y="3334932"/>
              <a:chExt cx="748710" cy="1056883"/>
            </a:xfrm>
          </p:grpSpPr>
          <p:grpSp>
            <p:nvGrpSpPr>
              <p:cNvPr id="191" name="Group 190">
                <a:extLst>
                  <a:ext uri="{FF2B5EF4-FFF2-40B4-BE49-F238E27FC236}">
                    <a16:creationId xmlns:a16="http://schemas.microsoft.com/office/drawing/2014/main" id="{18B7E823-8FB7-D64C-9A84-35B0ADBA3D6D}"/>
                  </a:ext>
                </a:extLst>
              </p:cNvPr>
              <p:cNvGrpSpPr/>
              <p:nvPr/>
            </p:nvGrpSpPr>
            <p:grpSpPr>
              <a:xfrm>
                <a:off x="1496718" y="3334932"/>
                <a:ext cx="748710" cy="1056883"/>
                <a:chOff x="1843570" y="3508300"/>
                <a:chExt cx="514980" cy="727982"/>
              </a:xfrm>
              <a:solidFill>
                <a:schemeClr val="bg1"/>
              </a:solidFill>
            </p:grpSpPr>
            <p:sp>
              <p:nvSpPr>
                <p:cNvPr id="195" name="Freeform 194">
                  <a:extLst>
                    <a:ext uri="{FF2B5EF4-FFF2-40B4-BE49-F238E27FC236}">
                      <a16:creationId xmlns:a16="http://schemas.microsoft.com/office/drawing/2014/main" id="{DD4AC02C-5D90-3043-810D-DC2064DA5519}"/>
                    </a:ext>
                  </a:extLst>
                </p:cNvPr>
                <p:cNvSpPr/>
                <p:nvPr/>
              </p:nvSpPr>
              <p:spPr>
                <a:xfrm>
                  <a:off x="1843570" y="3787509"/>
                  <a:ext cx="514980" cy="448773"/>
                </a:xfrm>
                <a:custGeom>
                  <a:avLst/>
                  <a:gdLst>
                    <a:gd name="connsiteX0" fmla="*/ 36807 w 576731"/>
                    <a:gd name="connsiteY0" fmla="*/ 449906 h 505924"/>
                    <a:gd name="connsiteX1" fmla="*/ 39982 w 576731"/>
                    <a:gd name="connsiteY1" fmla="*/ 214956 h 505924"/>
                    <a:gd name="connsiteX2" fmla="*/ 55857 w 576731"/>
                    <a:gd name="connsiteY2" fmla="*/ 176856 h 505924"/>
                    <a:gd name="connsiteX3" fmla="*/ 103482 w 576731"/>
                    <a:gd name="connsiteY3" fmla="*/ 160981 h 505924"/>
                    <a:gd name="connsiteX4" fmla="*/ 205082 w 576731"/>
                    <a:gd name="connsiteY4" fmla="*/ 154631 h 505924"/>
                    <a:gd name="connsiteX5" fmla="*/ 230482 w 576731"/>
                    <a:gd name="connsiteY5" fmla="*/ 151456 h 505924"/>
                    <a:gd name="connsiteX6" fmla="*/ 233657 w 576731"/>
                    <a:gd name="connsiteY6" fmla="*/ 18106 h 505924"/>
                    <a:gd name="connsiteX7" fmla="*/ 344782 w 576731"/>
                    <a:gd name="connsiteY7" fmla="*/ 14931 h 505924"/>
                    <a:gd name="connsiteX8" fmla="*/ 344782 w 576731"/>
                    <a:gd name="connsiteY8" fmla="*/ 145106 h 505924"/>
                    <a:gd name="connsiteX9" fmla="*/ 386057 w 576731"/>
                    <a:gd name="connsiteY9" fmla="*/ 151456 h 505924"/>
                    <a:gd name="connsiteX10" fmla="*/ 478132 w 576731"/>
                    <a:gd name="connsiteY10" fmla="*/ 164156 h 505924"/>
                    <a:gd name="connsiteX11" fmla="*/ 519407 w 576731"/>
                    <a:gd name="connsiteY11" fmla="*/ 189556 h 505924"/>
                    <a:gd name="connsiteX12" fmla="*/ 541632 w 576731"/>
                    <a:gd name="connsiteY12" fmla="*/ 234006 h 505924"/>
                    <a:gd name="connsiteX13" fmla="*/ 538457 w 576731"/>
                    <a:gd name="connsiteY13" fmla="*/ 488006 h 505924"/>
                    <a:gd name="connsiteX14" fmla="*/ 36807 w 576731"/>
                    <a:gd name="connsiteY14" fmla="*/ 449906 h 505924"/>
                    <a:gd name="connsiteX0" fmla="*/ 5769 w 545693"/>
                    <a:gd name="connsiteY0" fmla="*/ 449906 h 505924"/>
                    <a:gd name="connsiteX1" fmla="*/ 8944 w 545693"/>
                    <a:gd name="connsiteY1" fmla="*/ 214956 h 505924"/>
                    <a:gd name="connsiteX2" fmla="*/ 24819 w 545693"/>
                    <a:gd name="connsiteY2" fmla="*/ 176856 h 505924"/>
                    <a:gd name="connsiteX3" fmla="*/ 72444 w 545693"/>
                    <a:gd name="connsiteY3" fmla="*/ 160981 h 505924"/>
                    <a:gd name="connsiteX4" fmla="*/ 174044 w 545693"/>
                    <a:gd name="connsiteY4" fmla="*/ 154631 h 505924"/>
                    <a:gd name="connsiteX5" fmla="*/ 199444 w 545693"/>
                    <a:gd name="connsiteY5" fmla="*/ 151456 h 505924"/>
                    <a:gd name="connsiteX6" fmla="*/ 202619 w 545693"/>
                    <a:gd name="connsiteY6" fmla="*/ 18106 h 505924"/>
                    <a:gd name="connsiteX7" fmla="*/ 313744 w 545693"/>
                    <a:gd name="connsiteY7" fmla="*/ 14931 h 505924"/>
                    <a:gd name="connsiteX8" fmla="*/ 313744 w 545693"/>
                    <a:gd name="connsiteY8" fmla="*/ 145106 h 505924"/>
                    <a:gd name="connsiteX9" fmla="*/ 355019 w 545693"/>
                    <a:gd name="connsiteY9" fmla="*/ 151456 h 505924"/>
                    <a:gd name="connsiteX10" fmla="*/ 447094 w 545693"/>
                    <a:gd name="connsiteY10" fmla="*/ 164156 h 505924"/>
                    <a:gd name="connsiteX11" fmla="*/ 488369 w 545693"/>
                    <a:gd name="connsiteY11" fmla="*/ 189556 h 505924"/>
                    <a:gd name="connsiteX12" fmla="*/ 510594 w 545693"/>
                    <a:gd name="connsiteY12" fmla="*/ 234006 h 505924"/>
                    <a:gd name="connsiteX13" fmla="*/ 507419 w 545693"/>
                    <a:gd name="connsiteY13" fmla="*/ 488006 h 505924"/>
                    <a:gd name="connsiteX14" fmla="*/ 5769 w 545693"/>
                    <a:gd name="connsiteY14" fmla="*/ 449906 h 505924"/>
                    <a:gd name="connsiteX0" fmla="*/ 21286 w 561210"/>
                    <a:gd name="connsiteY0" fmla="*/ 449906 h 508025"/>
                    <a:gd name="connsiteX1" fmla="*/ 24461 w 561210"/>
                    <a:gd name="connsiteY1" fmla="*/ 214956 h 508025"/>
                    <a:gd name="connsiteX2" fmla="*/ 40336 w 561210"/>
                    <a:gd name="connsiteY2" fmla="*/ 176856 h 508025"/>
                    <a:gd name="connsiteX3" fmla="*/ 87961 w 561210"/>
                    <a:gd name="connsiteY3" fmla="*/ 160981 h 508025"/>
                    <a:gd name="connsiteX4" fmla="*/ 189561 w 561210"/>
                    <a:gd name="connsiteY4" fmla="*/ 154631 h 508025"/>
                    <a:gd name="connsiteX5" fmla="*/ 214961 w 561210"/>
                    <a:gd name="connsiteY5" fmla="*/ 151456 h 508025"/>
                    <a:gd name="connsiteX6" fmla="*/ 218136 w 561210"/>
                    <a:gd name="connsiteY6" fmla="*/ 18106 h 508025"/>
                    <a:gd name="connsiteX7" fmla="*/ 329261 w 561210"/>
                    <a:gd name="connsiteY7" fmla="*/ 14931 h 508025"/>
                    <a:gd name="connsiteX8" fmla="*/ 329261 w 561210"/>
                    <a:gd name="connsiteY8" fmla="*/ 145106 h 508025"/>
                    <a:gd name="connsiteX9" fmla="*/ 370536 w 561210"/>
                    <a:gd name="connsiteY9" fmla="*/ 151456 h 508025"/>
                    <a:gd name="connsiteX10" fmla="*/ 462611 w 561210"/>
                    <a:gd name="connsiteY10" fmla="*/ 164156 h 508025"/>
                    <a:gd name="connsiteX11" fmla="*/ 503886 w 561210"/>
                    <a:gd name="connsiteY11" fmla="*/ 189556 h 508025"/>
                    <a:gd name="connsiteX12" fmla="*/ 526111 w 561210"/>
                    <a:gd name="connsiteY12" fmla="*/ 234006 h 508025"/>
                    <a:gd name="connsiteX13" fmla="*/ 522936 w 561210"/>
                    <a:gd name="connsiteY13" fmla="*/ 488006 h 508025"/>
                    <a:gd name="connsiteX14" fmla="*/ 21286 w 561210"/>
                    <a:gd name="connsiteY14" fmla="*/ 449906 h 508025"/>
                    <a:gd name="connsiteX0" fmla="*/ 21286 w 561210"/>
                    <a:gd name="connsiteY0" fmla="*/ 449906 h 508025"/>
                    <a:gd name="connsiteX1" fmla="*/ 24461 w 561210"/>
                    <a:gd name="connsiteY1" fmla="*/ 214956 h 508025"/>
                    <a:gd name="connsiteX2" fmla="*/ 40336 w 561210"/>
                    <a:gd name="connsiteY2" fmla="*/ 176856 h 508025"/>
                    <a:gd name="connsiteX3" fmla="*/ 87961 w 561210"/>
                    <a:gd name="connsiteY3" fmla="*/ 160981 h 508025"/>
                    <a:gd name="connsiteX4" fmla="*/ 189561 w 561210"/>
                    <a:gd name="connsiteY4" fmla="*/ 154631 h 508025"/>
                    <a:gd name="connsiteX5" fmla="*/ 214961 w 561210"/>
                    <a:gd name="connsiteY5" fmla="*/ 151456 h 508025"/>
                    <a:gd name="connsiteX6" fmla="*/ 218136 w 561210"/>
                    <a:gd name="connsiteY6" fmla="*/ 18106 h 508025"/>
                    <a:gd name="connsiteX7" fmla="*/ 329261 w 561210"/>
                    <a:gd name="connsiteY7" fmla="*/ 14931 h 508025"/>
                    <a:gd name="connsiteX8" fmla="*/ 329261 w 561210"/>
                    <a:gd name="connsiteY8" fmla="*/ 145106 h 508025"/>
                    <a:gd name="connsiteX9" fmla="*/ 370536 w 561210"/>
                    <a:gd name="connsiteY9" fmla="*/ 151456 h 508025"/>
                    <a:gd name="connsiteX10" fmla="*/ 462611 w 561210"/>
                    <a:gd name="connsiteY10" fmla="*/ 164156 h 508025"/>
                    <a:gd name="connsiteX11" fmla="*/ 503886 w 561210"/>
                    <a:gd name="connsiteY11" fmla="*/ 189556 h 508025"/>
                    <a:gd name="connsiteX12" fmla="*/ 526111 w 561210"/>
                    <a:gd name="connsiteY12" fmla="*/ 234006 h 508025"/>
                    <a:gd name="connsiteX13" fmla="*/ 522936 w 561210"/>
                    <a:gd name="connsiteY13" fmla="*/ 488006 h 508025"/>
                    <a:gd name="connsiteX14" fmla="*/ 21286 w 561210"/>
                    <a:gd name="connsiteY14" fmla="*/ 449906 h 508025"/>
                    <a:gd name="connsiteX0" fmla="*/ 4360 w 544284"/>
                    <a:gd name="connsiteY0" fmla="*/ 449906 h 508025"/>
                    <a:gd name="connsiteX1" fmla="*/ 7535 w 544284"/>
                    <a:gd name="connsiteY1" fmla="*/ 214956 h 508025"/>
                    <a:gd name="connsiteX2" fmla="*/ 23410 w 544284"/>
                    <a:gd name="connsiteY2" fmla="*/ 176856 h 508025"/>
                    <a:gd name="connsiteX3" fmla="*/ 71035 w 544284"/>
                    <a:gd name="connsiteY3" fmla="*/ 160981 h 508025"/>
                    <a:gd name="connsiteX4" fmla="*/ 172635 w 544284"/>
                    <a:gd name="connsiteY4" fmla="*/ 154631 h 508025"/>
                    <a:gd name="connsiteX5" fmla="*/ 198035 w 544284"/>
                    <a:gd name="connsiteY5" fmla="*/ 151456 h 508025"/>
                    <a:gd name="connsiteX6" fmla="*/ 201210 w 544284"/>
                    <a:gd name="connsiteY6" fmla="*/ 18106 h 508025"/>
                    <a:gd name="connsiteX7" fmla="*/ 312335 w 544284"/>
                    <a:gd name="connsiteY7" fmla="*/ 14931 h 508025"/>
                    <a:gd name="connsiteX8" fmla="*/ 312335 w 544284"/>
                    <a:gd name="connsiteY8" fmla="*/ 145106 h 508025"/>
                    <a:gd name="connsiteX9" fmla="*/ 353610 w 544284"/>
                    <a:gd name="connsiteY9" fmla="*/ 151456 h 508025"/>
                    <a:gd name="connsiteX10" fmla="*/ 445685 w 544284"/>
                    <a:gd name="connsiteY10" fmla="*/ 164156 h 508025"/>
                    <a:gd name="connsiteX11" fmla="*/ 486960 w 544284"/>
                    <a:gd name="connsiteY11" fmla="*/ 189556 h 508025"/>
                    <a:gd name="connsiteX12" fmla="*/ 509185 w 544284"/>
                    <a:gd name="connsiteY12" fmla="*/ 234006 h 508025"/>
                    <a:gd name="connsiteX13" fmla="*/ 506010 w 544284"/>
                    <a:gd name="connsiteY13" fmla="*/ 488006 h 508025"/>
                    <a:gd name="connsiteX14" fmla="*/ 4360 w 544284"/>
                    <a:gd name="connsiteY14" fmla="*/ 449906 h 508025"/>
                    <a:gd name="connsiteX0" fmla="*/ 4360 w 544284"/>
                    <a:gd name="connsiteY0" fmla="*/ 449906 h 500804"/>
                    <a:gd name="connsiteX1" fmla="*/ 7535 w 544284"/>
                    <a:gd name="connsiteY1" fmla="*/ 214956 h 500804"/>
                    <a:gd name="connsiteX2" fmla="*/ 23410 w 544284"/>
                    <a:gd name="connsiteY2" fmla="*/ 176856 h 500804"/>
                    <a:gd name="connsiteX3" fmla="*/ 71035 w 544284"/>
                    <a:gd name="connsiteY3" fmla="*/ 160981 h 500804"/>
                    <a:gd name="connsiteX4" fmla="*/ 172635 w 544284"/>
                    <a:gd name="connsiteY4" fmla="*/ 154631 h 500804"/>
                    <a:gd name="connsiteX5" fmla="*/ 198035 w 544284"/>
                    <a:gd name="connsiteY5" fmla="*/ 151456 h 500804"/>
                    <a:gd name="connsiteX6" fmla="*/ 201210 w 544284"/>
                    <a:gd name="connsiteY6" fmla="*/ 18106 h 500804"/>
                    <a:gd name="connsiteX7" fmla="*/ 312335 w 544284"/>
                    <a:gd name="connsiteY7" fmla="*/ 14931 h 500804"/>
                    <a:gd name="connsiteX8" fmla="*/ 312335 w 544284"/>
                    <a:gd name="connsiteY8" fmla="*/ 145106 h 500804"/>
                    <a:gd name="connsiteX9" fmla="*/ 353610 w 544284"/>
                    <a:gd name="connsiteY9" fmla="*/ 151456 h 500804"/>
                    <a:gd name="connsiteX10" fmla="*/ 445685 w 544284"/>
                    <a:gd name="connsiteY10" fmla="*/ 164156 h 500804"/>
                    <a:gd name="connsiteX11" fmla="*/ 486960 w 544284"/>
                    <a:gd name="connsiteY11" fmla="*/ 189556 h 500804"/>
                    <a:gd name="connsiteX12" fmla="*/ 509185 w 544284"/>
                    <a:gd name="connsiteY12" fmla="*/ 234006 h 500804"/>
                    <a:gd name="connsiteX13" fmla="*/ 506010 w 544284"/>
                    <a:gd name="connsiteY13" fmla="*/ 488006 h 500804"/>
                    <a:gd name="connsiteX14" fmla="*/ 4360 w 544284"/>
                    <a:gd name="connsiteY14" fmla="*/ 449906 h 500804"/>
                    <a:gd name="connsiteX0" fmla="*/ 4360 w 544284"/>
                    <a:gd name="connsiteY0" fmla="*/ 449906 h 500804"/>
                    <a:gd name="connsiteX1" fmla="*/ 7535 w 544284"/>
                    <a:gd name="connsiteY1" fmla="*/ 214956 h 500804"/>
                    <a:gd name="connsiteX2" fmla="*/ 23410 w 544284"/>
                    <a:gd name="connsiteY2" fmla="*/ 176856 h 500804"/>
                    <a:gd name="connsiteX3" fmla="*/ 71035 w 544284"/>
                    <a:gd name="connsiteY3" fmla="*/ 160981 h 500804"/>
                    <a:gd name="connsiteX4" fmla="*/ 172635 w 544284"/>
                    <a:gd name="connsiteY4" fmla="*/ 154631 h 500804"/>
                    <a:gd name="connsiteX5" fmla="*/ 198035 w 544284"/>
                    <a:gd name="connsiteY5" fmla="*/ 151456 h 500804"/>
                    <a:gd name="connsiteX6" fmla="*/ 201210 w 544284"/>
                    <a:gd name="connsiteY6" fmla="*/ 18106 h 500804"/>
                    <a:gd name="connsiteX7" fmla="*/ 312335 w 544284"/>
                    <a:gd name="connsiteY7" fmla="*/ 14931 h 500804"/>
                    <a:gd name="connsiteX8" fmla="*/ 312335 w 544284"/>
                    <a:gd name="connsiteY8" fmla="*/ 145106 h 500804"/>
                    <a:gd name="connsiteX9" fmla="*/ 353610 w 544284"/>
                    <a:gd name="connsiteY9" fmla="*/ 151456 h 500804"/>
                    <a:gd name="connsiteX10" fmla="*/ 445685 w 544284"/>
                    <a:gd name="connsiteY10" fmla="*/ 164156 h 500804"/>
                    <a:gd name="connsiteX11" fmla="*/ 486960 w 544284"/>
                    <a:gd name="connsiteY11" fmla="*/ 189556 h 500804"/>
                    <a:gd name="connsiteX12" fmla="*/ 509185 w 544284"/>
                    <a:gd name="connsiteY12" fmla="*/ 234006 h 500804"/>
                    <a:gd name="connsiteX13" fmla="*/ 506010 w 544284"/>
                    <a:gd name="connsiteY13" fmla="*/ 488006 h 500804"/>
                    <a:gd name="connsiteX14" fmla="*/ 4360 w 544284"/>
                    <a:gd name="connsiteY14" fmla="*/ 449906 h 500804"/>
                    <a:gd name="connsiteX0" fmla="*/ 4360 w 519024"/>
                    <a:gd name="connsiteY0" fmla="*/ 449906 h 500804"/>
                    <a:gd name="connsiteX1" fmla="*/ 7535 w 519024"/>
                    <a:gd name="connsiteY1" fmla="*/ 214956 h 500804"/>
                    <a:gd name="connsiteX2" fmla="*/ 23410 w 519024"/>
                    <a:gd name="connsiteY2" fmla="*/ 176856 h 500804"/>
                    <a:gd name="connsiteX3" fmla="*/ 71035 w 519024"/>
                    <a:gd name="connsiteY3" fmla="*/ 160981 h 500804"/>
                    <a:gd name="connsiteX4" fmla="*/ 172635 w 519024"/>
                    <a:gd name="connsiteY4" fmla="*/ 154631 h 500804"/>
                    <a:gd name="connsiteX5" fmla="*/ 198035 w 519024"/>
                    <a:gd name="connsiteY5" fmla="*/ 151456 h 500804"/>
                    <a:gd name="connsiteX6" fmla="*/ 201210 w 519024"/>
                    <a:gd name="connsiteY6" fmla="*/ 18106 h 500804"/>
                    <a:gd name="connsiteX7" fmla="*/ 312335 w 519024"/>
                    <a:gd name="connsiteY7" fmla="*/ 14931 h 500804"/>
                    <a:gd name="connsiteX8" fmla="*/ 312335 w 519024"/>
                    <a:gd name="connsiteY8" fmla="*/ 145106 h 500804"/>
                    <a:gd name="connsiteX9" fmla="*/ 353610 w 519024"/>
                    <a:gd name="connsiteY9" fmla="*/ 151456 h 500804"/>
                    <a:gd name="connsiteX10" fmla="*/ 445685 w 519024"/>
                    <a:gd name="connsiteY10" fmla="*/ 164156 h 500804"/>
                    <a:gd name="connsiteX11" fmla="*/ 486960 w 519024"/>
                    <a:gd name="connsiteY11" fmla="*/ 189556 h 500804"/>
                    <a:gd name="connsiteX12" fmla="*/ 509185 w 519024"/>
                    <a:gd name="connsiteY12" fmla="*/ 234006 h 500804"/>
                    <a:gd name="connsiteX13" fmla="*/ 506010 w 519024"/>
                    <a:gd name="connsiteY13" fmla="*/ 488006 h 500804"/>
                    <a:gd name="connsiteX14" fmla="*/ 4360 w 519024"/>
                    <a:gd name="connsiteY14" fmla="*/ 449906 h 500804"/>
                    <a:gd name="connsiteX0" fmla="*/ 4360 w 519024"/>
                    <a:gd name="connsiteY0" fmla="*/ 449906 h 488006"/>
                    <a:gd name="connsiteX1" fmla="*/ 7535 w 519024"/>
                    <a:gd name="connsiteY1" fmla="*/ 214956 h 488006"/>
                    <a:gd name="connsiteX2" fmla="*/ 23410 w 519024"/>
                    <a:gd name="connsiteY2" fmla="*/ 176856 h 488006"/>
                    <a:gd name="connsiteX3" fmla="*/ 71035 w 519024"/>
                    <a:gd name="connsiteY3" fmla="*/ 160981 h 488006"/>
                    <a:gd name="connsiteX4" fmla="*/ 172635 w 519024"/>
                    <a:gd name="connsiteY4" fmla="*/ 154631 h 488006"/>
                    <a:gd name="connsiteX5" fmla="*/ 198035 w 519024"/>
                    <a:gd name="connsiteY5" fmla="*/ 151456 h 488006"/>
                    <a:gd name="connsiteX6" fmla="*/ 201210 w 519024"/>
                    <a:gd name="connsiteY6" fmla="*/ 18106 h 488006"/>
                    <a:gd name="connsiteX7" fmla="*/ 312335 w 519024"/>
                    <a:gd name="connsiteY7" fmla="*/ 14931 h 488006"/>
                    <a:gd name="connsiteX8" fmla="*/ 312335 w 519024"/>
                    <a:gd name="connsiteY8" fmla="*/ 145106 h 488006"/>
                    <a:gd name="connsiteX9" fmla="*/ 353610 w 519024"/>
                    <a:gd name="connsiteY9" fmla="*/ 151456 h 488006"/>
                    <a:gd name="connsiteX10" fmla="*/ 445685 w 519024"/>
                    <a:gd name="connsiteY10" fmla="*/ 164156 h 488006"/>
                    <a:gd name="connsiteX11" fmla="*/ 486960 w 519024"/>
                    <a:gd name="connsiteY11" fmla="*/ 189556 h 488006"/>
                    <a:gd name="connsiteX12" fmla="*/ 509185 w 519024"/>
                    <a:gd name="connsiteY12" fmla="*/ 234006 h 488006"/>
                    <a:gd name="connsiteX13" fmla="*/ 506010 w 519024"/>
                    <a:gd name="connsiteY13" fmla="*/ 488006 h 488006"/>
                    <a:gd name="connsiteX14" fmla="*/ 4360 w 519024"/>
                    <a:gd name="connsiteY14" fmla="*/ 449906 h 488006"/>
                    <a:gd name="connsiteX0" fmla="*/ 4360 w 523534"/>
                    <a:gd name="connsiteY0" fmla="*/ 449906 h 472131"/>
                    <a:gd name="connsiteX1" fmla="*/ 7535 w 523534"/>
                    <a:gd name="connsiteY1" fmla="*/ 214956 h 472131"/>
                    <a:gd name="connsiteX2" fmla="*/ 23410 w 523534"/>
                    <a:gd name="connsiteY2" fmla="*/ 176856 h 472131"/>
                    <a:gd name="connsiteX3" fmla="*/ 71035 w 523534"/>
                    <a:gd name="connsiteY3" fmla="*/ 160981 h 472131"/>
                    <a:gd name="connsiteX4" fmla="*/ 172635 w 523534"/>
                    <a:gd name="connsiteY4" fmla="*/ 154631 h 472131"/>
                    <a:gd name="connsiteX5" fmla="*/ 198035 w 523534"/>
                    <a:gd name="connsiteY5" fmla="*/ 151456 h 472131"/>
                    <a:gd name="connsiteX6" fmla="*/ 201210 w 523534"/>
                    <a:gd name="connsiteY6" fmla="*/ 18106 h 472131"/>
                    <a:gd name="connsiteX7" fmla="*/ 312335 w 523534"/>
                    <a:gd name="connsiteY7" fmla="*/ 14931 h 472131"/>
                    <a:gd name="connsiteX8" fmla="*/ 312335 w 523534"/>
                    <a:gd name="connsiteY8" fmla="*/ 145106 h 472131"/>
                    <a:gd name="connsiteX9" fmla="*/ 353610 w 523534"/>
                    <a:gd name="connsiteY9" fmla="*/ 151456 h 472131"/>
                    <a:gd name="connsiteX10" fmla="*/ 445685 w 523534"/>
                    <a:gd name="connsiteY10" fmla="*/ 164156 h 472131"/>
                    <a:gd name="connsiteX11" fmla="*/ 486960 w 523534"/>
                    <a:gd name="connsiteY11" fmla="*/ 189556 h 472131"/>
                    <a:gd name="connsiteX12" fmla="*/ 509185 w 523534"/>
                    <a:gd name="connsiteY12" fmla="*/ 234006 h 472131"/>
                    <a:gd name="connsiteX13" fmla="*/ 512360 w 523534"/>
                    <a:gd name="connsiteY13" fmla="*/ 472131 h 472131"/>
                    <a:gd name="connsiteX14" fmla="*/ 4360 w 523534"/>
                    <a:gd name="connsiteY14" fmla="*/ 449906 h 472131"/>
                    <a:gd name="connsiteX0" fmla="*/ 4360 w 513675"/>
                    <a:gd name="connsiteY0" fmla="*/ 449906 h 472131"/>
                    <a:gd name="connsiteX1" fmla="*/ 7535 w 513675"/>
                    <a:gd name="connsiteY1" fmla="*/ 214956 h 472131"/>
                    <a:gd name="connsiteX2" fmla="*/ 23410 w 513675"/>
                    <a:gd name="connsiteY2" fmla="*/ 176856 h 472131"/>
                    <a:gd name="connsiteX3" fmla="*/ 71035 w 513675"/>
                    <a:gd name="connsiteY3" fmla="*/ 160981 h 472131"/>
                    <a:gd name="connsiteX4" fmla="*/ 172635 w 513675"/>
                    <a:gd name="connsiteY4" fmla="*/ 154631 h 472131"/>
                    <a:gd name="connsiteX5" fmla="*/ 198035 w 513675"/>
                    <a:gd name="connsiteY5" fmla="*/ 151456 h 472131"/>
                    <a:gd name="connsiteX6" fmla="*/ 201210 w 513675"/>
                    <a:gd name="connsiteY6" fmla="*/ 18106 h 472131"/>
                    <a:gd name="connsiteX7" fmla="*/ 312335 w 513675"/>
                    <a:gd name="connsiteY7" fmla="*/ 14931 h 472131"/>
                    <a:gd name="connsiteX8" fmla="*/ 312335 w 513675"/>
                    <a:gd name="connsiteY8" fmla="*/ 145106 h 472131"/>
                    <a:gd name="connsiteX9" fmla="*/ 353610 w 513675"/>
                    <a:gd name="connsiteY9" fmla="*/ 151456 h 472131"/>
                    <a:gd name="connsiteX10" fmla="*/ 445685 w 513675"/>
                    <a:gd name="connsiteY10" fmla="*/ 164156 h 472131"/>
                    <a:gd name="connsiteX11" fmla="*/ 486960 w 513675"/>
                    <a:gd name="connsiteY11" fmla="*/ 189556 h 472131"/>
                    <a:gd name="connsiteX12" fmla="*/ 509185 w 513675"/>
                    <a:gd name="connsiteY12" fmla="*/ 234006 h 472131"/>
                    <a:gd name="connsiteX13" fmla="*/ 512360 w 513675"/>
                    <a:gd name="connsiteY13" fmla="*/ 472131 h 472131"/>
                    <a:gd name="connsiteX14" fmla="*/ 4360 w 513675"/>
                    <a:gd name="connsiteY14" fmla="*/ 449906 h 472131"/>
                    <a:gd name="connsiteX0" fmla="*/ 4360 w 513675"/>
                    <a:gd name="connsiteY0" fmla="*/ 446969 h 469194"/>
                    <a:gd name="connsiteX1" fmla="*/ 7535 w 513675"/>
                    <a:gd name="connsiteY1" fmla="*/ 212019 h 469194"/>
                    <a:gd name="connsiteX2" fmla="*/ 23410 w 513675"/>
                    <a:gd name="connsiteY2" fmla="*/ 173919 h 469194"/>
                    <a:gd name="connsiteX3" fmla="*/ 71035 w 513675"/>
                    <a:gd name="connsiteY3" fmla="*/ 158044 h 469194"/>
                    <a:gd name="connsiteX4" fmla="*/ 172635 w 513675"/>
                    <a:gd name="connsiteY4" fmla="*/ 151694 h 469194"/>
                    <a:gd name="connsiteX5" fmla="*/ 188510 w 513675"/>
                    <a:gd name="connsiteY5" fmla="*/ 94544 h 469194"/>
                    <a:gd name="connsiteX6" fmla="*/ 201210 w 513675"/>
                    <a:gd name="connsiteY6" fmla="*/ 15169 h 469194"/>
                    <a:gd name="connsiteX7" fmla="*/ 312335 w 513675"/>
                    <a:gd name="connsiteY7" fmla="*/ 11994 h 469194"/>
                    <a:gd name="connsiteX8" fmla="*/ 312335 w 513675"/>
                    <a:gd name="connsiteY8" fmla="*/ 142169 h 469194"/>
                    <a:gd name="connsiteX9" fmla="*/ 353610 w 513675"/>
                    <a:gd name="connsiteY9" fmla="*/ 148519 h 469194"/>
                    <a:gd name="connsiteX10" fmla="*/ 445685 w 513675"/>
                    <a:gd name="connsiteY10" fmla="*/ 161219 h 469194"/>
                    <a:gd name="connsiteX11" fmla="*/ 486960 w 513675"/>
                    <a:gd name="connsiteY11" fmla="*/ 186619 h 469194"/>
                    <a:gd name="connsiteX12" fmla="*/ 509185 w 513675"/>
                    <a:gd name="connsiteY12" fmla="*/ 231069 h 469194"/>
                    <a:gd name="connsiteX13" fmla="*/ 512360 w 513675"/>
                    <a:gd name="connsiteY13" fmla="*/ 469194 h 469194"/>
                    <a:gd name="connsiteX14" fmla="*/ 4360 w 513675"/>
                    <a:gd name="connsiteY14" fmla="*/ 446969 h 469194"/>
                    <a:gd name="connsiteX0" fmla="*/ 4360 w 513675"/>
                    <a:gd name="connsiteY0" fmla="*/ 443409 h 465634"/>
                    <a:gd name="connsiteX1" fmla="*/ 7535 w 513675"/>
                    <a:gd name="connsiteY1" fmla="*/ 208459 h 465634"/>
                    <a:gd name="connsiteX2" fmla="*/ 23410 w 513675"/>
                    <a:gd name="connsiteY2" fmla="*/ 170359 h 465634"/>
                    <a:gd name="connsiteX3" fmla="*/ 71035 w 513675"/>
                    <a:gd name="connsiteY3" fmla="*/ 154484 h 465634"/>
                    <a:gd name="connsiteX4" fmla="*/ 172635 w 513675"/>
                    <a:gd name="connsiteY4" fmla="*/ 148134 h 465634"/>
                    <a:gd name="connsiteX5" fmla="*/ 188510 w 513675"/>
                    <a:gd name="connsiteY5" fmla="*/ 90984 h 465634"/>
                    <a:gd name="connsiteX6" fmla="*/ 201210 w 513675"/>
                    <a:gd name="connsiteY6" fmla="*/ 11609 h 465634"/>
                    <a:gd name="connsiteX7" fmla="*/ 312335 w 513675"/>
                    <a:gd name="connsiteY7" fmla="*/ 8434 h 465634"/>
                    <a:gd name="connsiteX8" fmla="*/ 312335 w 513675"/>
                    <a:gd name="connsiteY8" fmla="*/ 87809 h 465634"/>
                    <a:gd name="connsiteX9" fmla="*/ 353610 w 513675"/>
                    <a:gd name="connsiteY9" fmla="*/ 144959 h 465634"/>
                    <a:gd name="connsiteX10" fmla="*/ 445685 w 513675"/>
                    <a:gd name="connsiteY10" fmla="*/ 157659 h 465634"/>
                    <a:gd name="connsiteX11" fmla="*/ 486960 w 513675"/>
                    <a:gd name="connsiteY11" fmla="*/ 183059 h 465634"/>
                    <a:gd name="connsiteX12" fmla="*/ 509185 w 513675"/>
                    <a:gd name="connsiteY12" fmla="*/ 227509 h 465634"/>
                    <a:gd name="connsiteX13" fmla="*/ 512360 w 513675"/>
                    <a:gd name="connsiteY13" fmla="*/ 465634 h 465634"/>
                    <a:gd name="connsiteX14" fmla="*/ 4360 w 513675"/>
                    <a:gd name="connsiteY14" fmla="*/ 443409 h 465634"/>
                    <a:gd name="connsiteX0" fmla="*/ 4360 w 513675"/>
                    <a:gd name="connsiteY0" fmla="*/ 443409 h 465634"/>
                    <a:gd name="connsiteX1" fmla="*/ 7535 w 513675"/>
                    <a:gd name="connsiteY1" fmla="*/ 208459 h 465634"/>
                    <a:gd name="connsiteX2" fmla="*/ 23410 w 513675"/>
                    <a:gd name="connsiteY2" fmla="*/ 170359 h 465634"/>
                    <a:gd name="connsiteX3" fmla="*/ 71035 w 513675"/>
                    <a:gd name="connsiteY3" fmla="*/ 154484 h 465634"/>
                    <a:gd name="connsiteX4" fmla="*/ 172635 w 513675"/>
                    <a:gd name="connsiteY4" fmla="*/ 148134 h 465634"/>
                    <a:gd name="connsiteX5" fmla="*/ 188510 w 513675"/>
                    <a:gd name="connsiteY5" fmla="*/ 90984 h 465634"/>
                    <a:gd name="connsiteX6" fmla="*/ 201210 w 513675"/>
                    <a:gd name="connsiteY6" fmla="*/ 11609 h 465634"/>
                    <a:gd name="connsiteX7" fmla="*/ 312335 w 513675"/>
                    <a:gd name="connsiteY7" fmla="*/ 8434 h 465634"/>
                    <a:gd name="connsiteX8" fmla="*/ 312335 w 513675"/>
                    <a:gd name="connsiteY8" fmla="*/ 87809 h 465634"/>
                    <a:gd name="connsiteX9" fmla="*/ 334560 w 513675"/>
                    <a:gd name="connsiteY9" fmla="*/ 135434 h 465634"/>
                    <a:gd name="connsiteX10" fmla="*/ 445685 w 513675"/>
                    <a:gd name="connsiteY10" fmla="*/ 157659 h 465634"/>
                    <a:gd name="connsiteX11" fmla="*/ 486960 w 513675"/>
                    <a:gd name="connsiteY11" fmla="*/ 183059 h 465634"/>
                    <a:gd name="connsiteX12" fmla="*/ 509185 w 513675"/>
                    <a:gd name="connsiteY12" fmla="*/ 227509 h 465634"/>
                    <a:gd name="connsiteX13" fmla="*/ 512360 w 513675"/>
                    <a:gd name="connsiteY13" fmla="*/ 465634 h 465634"/>
                    <a:gd name="connsiteX14" fmla="*/ 4360 w 513675"/>
                    <a:gd name="connsiteY14" fmla="*/ 443409 h 465634"/>
                    <a:gd name="connsiteX0" fmla="*/ 4360 w 510500"/>
                    <a:gd name="connsiteY0" fmla="*/ 443409 h 449759"/>
                    <a:gd name="connsiteX1" fmla="*/ 7535 w 510500"/>
                    <a:gd name="connsiteY1" fmla="*/ 208459 h 449759"/>
                    <a:gd name="connsiteX2" fmla="*/ 23410 w 510500"/>
                    <a:gd name="connsiteY2" fmla="*/ 170359 h 449759"/>
                    <a:gd name="connsiteX3" fmla="*/ 71035 w 510500"/>
                    <a:gd name="connsiteY3" fmla="*/ 154484 h 449759"/>
                    <a:gd name="connsiteX4" fmla="*/ 172635 w 510500"/>
                    <a:gd name="connsiteY4" fmla="*/ 148134 h 449759"/>
                    <a:gd name="connsiteX5" fmla="*/ 188510 w 510500"/>
                    <a:gd name="connsiteY5" fmla="*/ 90984 h 449759"/>
                    <a:gd name="connsiteX6" fmla="*/ 201210 w 510500"/>
                    <a:gd name="connsiteY6" fmla="*/ 11609 h 449759"/>
                    <a:gd name="connsiteX7" fmla="*/ 312335 w 510500"/>
                    <a:gd name="connsiteY7" fmla="*/ 8434 h 449759"/>
                    <a:gd name="connsiteX8" fmla="*/ 312335 w 510500"/>
                    <a:gd name="connsiteY8" fmla="*/ 87809 h 449759"/>
                    <a:gd name="connsiteX9" fmla="*/ 334560 w 510500"/>
                    <a:gd name="connsiteY9" fmla="*/ 135434 h 449759"/>
                    <a:gd name="connsiteX10" fmla="*/ 445685 w 510500"/>
                    <a:gd name="connsiteY10" fmla="*/ 157659 h 449759"/>
                    <a:gd name="connsiteX11" fmla="*/ 486960 w 510500"/>
                    <a:gd name="connsiteY11" fmla="*/ 183059 h 449759"/>
                    <a:gd name="connsiteX12" fmla="*/ 509185 w 510500"/>
                    <a:gd name="connsiteY12" fmla="*/ 227509 h 449759"/>
                    <a:gd name="connsiteX13" fmla="*/ 506010 w 510500"/>
                    <a:gd name="connsiteY13" fmla="*/ 449759 h 449759"/>
                    <a:gd name="connsiteX14" fmla="*/ 4360 w 510500"/>
                    <a:gd name="connsiteY14" fmla="*/ 443409 h 449759"/>
                    <a:gd name="connsiteX0" fmla="*/ 4360 w 510500"/>
                    <a:gd name="connsiteY0" fmla="*/ 443409 h 454926"/>
                    <a:gd name="connsiteX1" fmla="*/ 7535 w 510500"/>
                    <a:gd name="connsiteY1" fmla="*/ 208459 h 454926"/>
                    <a:gd name="connsiteX2" fmla="*/ 23410 w 510500"/>
                    <a:gd name="connsiteY2" fmla="*/ 170359 h 454926"/>
                    <a:gd name="connsiteX3" fmla="*/ 71035 w 510500"/>
                    <a:gd name="connsiteY3" fmla="*/ 154484 h 454926"/>
                    <a:gd name="connsiteX4" fmla="*/ 172635 w 510500"/>
                    <a:gd name="connsiteY4" fmla="*/ 148134 h 454926"/>
                    <a:gd name="connsiteX5" fmla="*/ 188510 w 510500"/>
                    <a:gd name="connsiteY5" fmla="*/ 90984 h 454926"/>
                    <a:gd name="connsiteX6" fmla="*/ 201210 w 510500"/>
                    <a:gd name="connsiteY6" fmla="*/ 11609 h 454926"/>
                    <a:gd name="connsiteX7" fmla="*/ 312335 w 510500"/>
                    <a:gd name="connsiteY7" fmla="*/ 8434 h 454926"/>
                    <a:gd name="connsiteX8" fmla="*/ 312335 w 510500"/>
                    <a:gd name="connsiteY8" fmla="*/ 87809 h 454926"/>
                    <a:gd name="connsiteX9" fmla="*/ 334560 w 510500"/>
                    <a:gd name="connsiteY9" fmla="*/ 135434 h 454926"/>
                    <a:gd name="connsiteX10" fmla="*/ 445685 w 510500"/>
                    <a:gd name="connsiteY10" fmla="*/ 157659 h 454926"/>
                    <a:gd name="connsiteX11" fmla="*/ 486960 w 510500"/>
                    <a:gd name="connsiteY11" fmla="*/ 183059 h 454926"/>
                    <a:gd name="connsiteX12" fmla="*/ 509185 w 510500"/>
                    <a:gd name="connsiteY12" fmla="*/ 227509 h 454926"/>
                    <a:gd name="connsiteX13" fmla="*/ 506010 w 510500"/>
                    <a:gd name="connsiteY13" fmla="*/ 449759 h 454926"/>
                    <a:gd name="connsiteX14" fmla="*/ 4360 w 510500"/>
                    <a:gd name="connsiteY14" fmla="*/ 443409 h 454926"/>
                    <a:gd name="connsiteX0" fmla="*/ 6473 w 512613"/>
                    <a:gd name="connsiteY0" fmla="*/ 443409 h 454926"/>
                    <a:gd name="connsiteX1" fmla="*/ 9648 w 512613"/>
                    <a:gd name="connsiteY1" fmla="*/ 208459 h 454926"/>
                    <a:gd name="connsiteX2" fmla="*/ 73148 w 512613"/>
                    <a:gd name="connsiteY2" fmla="*/ 154484 h 454926"/>
                    <a:gd name="connsiteX3" fmla="*/ 174748 w 512613"/>
                    <a:gd name="connsiteY3" fmla="*/ 148134 h 454926"/>
                    <a:gd name="connsiteX4" fmla="*/ 190623 w 512613"/>
                    <a:gd name="connsiteY4" fmla="*/ 90984 h 454926"/>
                    <a:gd name="connsiteX5" fmla="*/ 203323 w 512613"/>
                    <a:gd name="connsiteY5" fmla="*/ 11609 h 454926"/>
                    <a:gd name="connsiteX6" fmla="*/ 314448 w 512613"/>
                    <a:gd name="connsiteY6" fmla="*/ 8434 h 454926"/>
                    <a:gd name="connsiteX7" fmla="*/ 314448 w 512613"/>
                    <a:gd name="connsiteY7" fmla="*/ 87809 h 454926"/>
                    <a:gd name="connsiteX8" fmla="*/ 336673 w 512613"/>
                    <a:gd name="connsiteY8" fmla="*/ 135434 h 454926"/>
                    <a:gd name="connsiteX9" fmla="*/ 447798 w 512613"/>
                    <a:gd name="connsiteY9" fmla="*/ 157659 h 454926"/>
                    <a:gd name="connsiteX10" fmla="*/ 489073 w 512613"/>
                    <a:gd name="connsiteY10" fmla="*/ 183059 h 454926"/>
                    <a:gd name="connsiteX11" fmla="*/ 511298 w 512613"/>
                    <a:gd name="connsiteY11" fmla="*/ 227509 h 454926"/>
                    <a:gd name="connsiteX12" fmla="*/ 508123 w 512613"/>
                    <a:gd name="connsiteY12" fmla="*/ 449759 h 454926"/>
                    <a:gd name="connsiteX13" fmla="*/ 6473 w 512613"/>
                    <a:gd name="connsiteY13" fmla="*/ 443409 h 454926"/>
                    <a:gd name="connsiteX0" fmla="*/ 4049 w 510189"/>
                    <a:gd name="connsiteY0" fmla="*/ 443409 h 454926"/>
                    <a:gd name="connsiteX1" fmla="*/ 7224 w 510189"/>
                    <a:gd name="connsiteY1" fmla="*/ 208459 h 454926"/>
                    <a:gd name="connsiteX2" fmla="*/ 70724 w 510189"/>
                    <a:gd name="connsiteY2" fmla="*/ 154484 h 454926"/>
                    <a:gd name="connsiteX3" fmla="*/ 172324 w 510189"/>
                    <a:gd name="connsiteY3" fmla="*/ 148134 h 454926"/>
                    <a:gd name="connsiteX4" fmla="*/ 188199 w 510189"/>
                    <a:gd name="connsiteY4" fmla="*/ 90984 h 454926"/>
                    <a:gd name="connsiteX5" fmla="*/ 200899 w 510189"/>
                    <a:gd name="connsiteY5" fmla="*/ 11609 h 454926"/>
                    <a:gd name="connsiteX6" fmla="*/ 312024 w 510189"/>
                    <a:gd name="connsiteY6" fmla="*/ 8434 h 454926"/>
                    <a:gd name="connsiteX7" fmla="*/ 312024 w 510189"/>
                    <a:gd name="connsiteY7" fmla="*/ 87809 h 454926"/>
                    <a:gd name="connsiteX8" fmla="*/ 334249 w 510189"/>
                    <a:gd name="connsiteY8" fmla="*/ 135434 h 454926"/>
                    <a:gd name="connsiteX9" fmla="*/ 445374 w 510189"/>
                    <a:gd name="connsiteY9" fmla="*/ 157659 h 454926"/>
                    <a:gd name="connsiteX10" fmla="*/ 486649 w 510189"/>
                    <a:gd name="connsiteY10" fmla="*/ 183059 h 454926"/>
                    <a:gd name="connsiteX11" fmla="*/ 508874 w 510189"/>
                    <a:gd name="connsiteY11" fmla="*/ 227509 h 454926"/>
                    <a:gd name="connsiteX12" fmla="*/ 505699 w 510189"/>
                    <a:gd name="connsiteY12" fmla="*/ 449759 h 454926"/>
                    <a:gd name="connsiteX13" fmla="*/ 4049 w 510189"/>
                    <a:gd name="connsiteY13" fmla="*/ 443409 h 454926"/>
                    <a:gd name="connsiteX0" fmla="*/ 4049 w 510189"/>
                    <a:gd name="connsiteY0" fmla="*/ 443409 h 454926"/>
                    <a:gd name="connsiteX1" fmla="*/ 7224 w 510189"/>
                    <a:gd name="connsiteY1" fmla="*/ 208459 h 454926"/>
                    <a:gd name="connsiteX2" fmla="*/ 70724 w 510189"/>
                    <a:gd name="connsiteY2" fmla="*/ 154484 h 454926"/>
                    <a:gd name="connsiteX3" fmla="*/ 172324 w 510189"/>
                    <a:gd name="connsiteY3" fmla="*/ 148134 h 454926"/>
                    <a:gd name="connsiteX4" fmla="*/ 188199 w 510189"/>
                    <a:gd name="connsiteY4" fmla="*/ 90984 h 454926"/>
                    <a:gd name="connsiteX5" fmla="*/ 200899 w 510189"/>
                    <a:gd name="connsiteY5" fmla="*/ 11609 h 454926"/>
                    <a:gd name="connsiteX6" fmla="*/ 312024 w 510189"/>
                    <a:gd name="connsiteY6" fmla="*/ 8434 h 454926"/>
                    <a:gd name="connsiteX7" fmla="*/ 312024 w 510189"/>
                    <a:gd name="connsiteY7" fmla="*/ 87809 h 454926"/>
                    <a:gd name="connsiteX8" fmla="*/ 334249 w 510189"/>
                    <a:gd name="connsiteY8" fmla="*/ 135434 h 454926"/>
                    <a:gd name="connsiteX9" fmla="*/ 445374 w 510189"/>
                    <a:gd name="connsiteY9" fmla="*/ 157659 h 454926"/>
                    <a:gd name="connsiteX10" fmla="*/ 508874 w 510189"/>
                    <a:gd name="connsiteY10" fmla="*/ 227509 h 454926"/>
                    <a:gd name="connsiteX11" fmla="*/ 505699 w 510189"/>
                    <a:gd name="connsiteY11" fmla="*/ 449759 h 454926"/>
                    <a:gd name="connsiteX12" fmla="*/ 4049 w 510189"/>
                    <a:gd name="connsiteY12" fmla="*/ 443409 h 454926"/>
                    <a:gd name="connsiteX0" fmla="*/ 4049 w 510189"/>
                    <a:gd name="connsiteY0" fmla="*/ 443409 h 454926"/>
                    <a:gd name="connsiteX1" fmla="*/ 7224 w 510189"/>
                    <a:gd name="connsiteY1" fmla="*/ 208459 h 454926"/>
                    <a:gd name="connsiteX2" fmla="*/ 70724 w 510189"/>
                    <a:gd name="connsiteY2" fmla="*/ 154484 h 454926"/>
                    <a:gd name="connsiteX3" fmla="*/ 172324 w 510189"/>
                    <a:gd name="connsiteY3" fmla="*/ 148134 h 454926"/>
                    <a:gd name="connsiteX4" fmla="*/ 188199 w 510189"/>
                    <a:gd name="connsiteY4" fmla="*/ 90984 h 454926"/>
                    <a:gd name="connsiteX5" fmla="*/ 200899 w 510189"/>
                    <a:gd name="connsiteY5" fmla="*/ 11609 h 454926"/>
                    <a:gd name="connsiteX6" fmla="*/ 312024 w 510189"/>
                    <a:gd name="connsiteY6" fmla="*/ 8434 h 454926"/>
                    <a:gd name="connsiteX7" fmla="*/ 312024 w 510189"/>
                    <a:gd name="connsiteY7" fmla="*/ 87809 h 454926"/>
                    <a:gd name="connsiteX8" fmla="*/ 334249 w 510189"/>
                    <a:gd name="connsiteY8" fmla="*/ 135434 h 454926"/>
                    <a:gd name="connsiteX9" fmla="*/ 445374 w 510189"/>
                    <a:gd name="connsiteY9" fmla="*/ 157659 h 454926"/>
                    <a:gd name="connsiteX10" fmla="*/ 508874 w 510189"/>
                    <a:gd name="connsiteY10" fmla="*/ 227509 h 454926"/>
                    <a:gd name="connsiteX11" fmla="*/ 505699 w 510189"/>
                    <a:gd name="connsiteY11" fmla="*/ 449759 h 454926"/>
                    <a:gd name="connsiteX12" fmla="*/ 4049 w 510189"/>
                    <a:gd name="connsiteY12" fmla="*/ 443409 h 454926"/>
                    <a:gd name="connsiteX0" fmla="*/ 5987 w 512127"/>
                    <a:gd name="connsiteY0" fmla="*/ 443409 h 454926"/>
                    <a:gd name="connsiteX1" fmla="*/ 2812 w 512127"/>
                    <a:gd name="connsiteY1" fmla="*/ 217984 h 454926"/>
                    <a:gd name="connsiteX2" fmla="*/ 72662 w 512127"/>
                    <a:gd name="connsiteY2" fmla="*/ 154484 h 454926"/>
                    <a:gd name="connsiteX3" fmla="*/ 174262 w 512127"/>
                    <a:gd name="connsiteY3" fmla="*/ 148134 h 454926"/>
                    <a:gd name="connsiteX4" fmla="*/ 190137 w 512127"/>
                    <a:gd name="connsiteY4" fmla="*/ 90984 h 454926"/>
                    <a:gd name="connsiteX5" fmla="*/ 202837 w 512127"/>
                    <a:gd name="connsiteY5" fmla="*/ 11609 h 454926"/>
                    <a:gd name="connsiteX6" fmla="*/ 313962 w 512127"/>
                    <a:gd name="connsiteY6" fmla="*/ 8434 h 454926"/>
                    <a:gd name="connsiteX7" fmla="*/ 313962 w 512127"/>
                    <a:gd name="connsiteY7" fmla="*/ 87809 h 454926"/>
                    <a:gd name="connsiteX8" fmla="*/ 336187 w 512127"/>
                    <a:gd name="connsiteY8" fmla="*/ 135434 h 454926"/>
                    <a:gd name="connsiteX9" fmla="*/ 447312 w 512127"/>
                    <a:gd name="connsiteY9" fmla="*/ 157659 h 454926"/>
                    <a:gd name="connsiteX10" fmla="*/ 510812 w 512127"/>
                    <a:gd name="connsiteY10" fmla="*/ 227509 h 454926"/>
                    <a:gd name="connsiteX11" fmla="*/ 507637 w 512127"/>
                    <a:gd name="connsiteY11" fmla="*/ 449759 h 454926"/>
                    <a:gd name="connsiteX12" fmla="*/ 5987 w 512127"/>
                    <a:gd name="connsiteY12" fmla="*/ 443409 h 454926"/>
                    <a:gd name="connsiteX0" fmla="*/ 9762 w 515902"/>
                    <a:gd name="connsiteY0" fmla="*/ 443409 h 454926"/>
                    <a:gd name="connsiteX1" fmla="*/ 6587 w 515902"/>
                    <a:gd name="connsiteY1" fmla="*/ 217984 h 454926"/>
                    <a:gd name="connsiteX2" fmla="*/ 76437 w 515902"/>
                    <a:gd name="connsiteY2" fmla="*/ 154484 h 454926"/>
                    <a:gd name="connsiteX3" fmla="*/ 178037 w 515902"/>
                    <a:gd name="connsiteY3" fmla="*/ 148134 h 454926"/>
                    <a:gd name="connsiteX4" fmla="*/ 193912 w 515902"/>
                    <a:gd name="connsiteY4" fmla="*/ 90984 h 454926"/>
                    <a:gd name="connsiteX5" fmla="*/ 206612 w 515902"/>
                    <a:gd name="connsiteY5" fmla="*/ 11609 h 454926"/>
                    <a:gd name="connsiteX6" fmla="*/ 317737 w 515902"/>
                    <a:gd name="connsiteY6" fmla="*/ 8434 h 454926"/>
                    <a:gd name="connsiteX7" fmla="*/ 317737 w 515902"/>
                    <a:gd name="connsiteY7" fmla="*/ 87809 h 454926"/>
                    <a:gd name="connsiteX8" fmla="*/ 339962 w 515902"/>
                    <a:gd name="connsiteY8" fmla="*/ 135434 h 454926"/>
                    <a:gd name="connsiteX9" fmla="*/ 451087 w 515902"/>
                    <a:gd name="connsiteY9" fmla="*/ 157659 h 454926"/>
                    <a:gd name="connsiteX10" fmla="*/ 514587 w 515902"/>
                    <a:gd name="connsiteY10" fmla="*/ 227509 h 454926"/>
                    <a:gd name="connsiteX11" fmla="*/ 511412 w 515902"/>
                    <a:gd name="connsiteY11" fmla="*/ 449759 h 454926"/>
                    <a:gd name="connsiteX12" fmla="*/ 9762 w 515902"/>
                    <a:gd name="connsiteY12" fmla="*/ 443409 h 454926"/>
                    <a:gd name="connsiteX0" fmla="*/ 9762 w 515902"/>
                    <a:gd name="connsiteY0" fmla="*/ 443409 h 454926"/>
                    <a:gd name="connsiteX1" fmla="*/ 6587 w 515902"/>
                    <a:gd name="connsiteY1" fmla="*/ 217984 h 454926"/>
                    <a:gd name="connsiteX2" fmla="*/ 76437 w 515902"/>
                    <a:gd name="connsiteY2" fmla="*/ 154484 h 454926"/>
                    <a:gd name="connsiteX3" fmla="*/ 178037 w 515902"/>
                    <a:gd name="connsiteY3" fmla="*/ 148134 h 454926"/>
                    <a:gd name="connsiteX4" fmla="*/ 193912 w 515902"/>
                    <a:gd name="connsiteY4" fmla="*/ 90984 h 454926"/>
                    <a:gd name="connsiteX5" fmla="*/ 206612 w 515902"/>
                    <a:gd name="connsiteY5" fmla="*/ 11609 h 454926"/>
                    <a:gd name="connsiteX6" fmla="*/ 317737 w 515902"/>
                    <a:gd name="connsiteY6" fmla="*/ 8434 h 454926"/>
                    <a:gd name="connsiteX7" fmla="*/ 317737 w 515902"/>
                    <a:gd name="connsiteY7" fmla="*/ 87809 h 454926"/>
                    <a:gd name="connsiteX8" fmla="*/ 339962 w 515902"/>
                    <a:gd name="connsiteY8" fmla="*/ 135434 h 454926"/>
                    <a:gd name="connsiteX9" fmla="*/ 451087 w 515902"/>
                    <a:gd name="connsiteY9" fmla="*/ 157659 h 454926"/>
                    <a:gd name="connsiteX10" fmla="*/ 514587 w 515902"/>
                    <a:gd name="connsiteY10" fmla="*/ 227509 h 454926"/>
                    <a:gd name="connsiteX11" fmla="*/ 511412 w 515902"/>
                    <a:gd name="connsiteY11" fmla="*/ 449759 h 454926"/>
                    <a:gd name="connsiteX12" fmla="*/ 9762 w 515902"/>
                    <a:gd name="connsiteY12" fmla="*/ 443409 h 454926"/>
                    <a:gd name="connsiteX0" fmla="*/ 9762 w 515902"/>
                    <a:gd name="connsiteY0" fmla="*/ 443409 h 454926"/>
                    <a:gd name="connsiteX1" fmla="*/ 6587 w 515902"/>
                    <a:gd name="connsiteY1" fmla="*/ 217984 h 454926"/>
                    <a:gd name="connsiteX2" fmla="*/ 76437 w 515902"/>
                    <a:gd name="connsiteY2" fmla="*/ 154484 h 454926"/>
                    <a:gd name="connsiteX3" fmla="*/ 193912 w 515902"/>
                    <a:gd name="connsiteY3" fmla="*/ 90984 h 454926"/>
                    <a:gd name="connsiteX4" fmla="*/ 206612 w 515902"/>
                    <a:gd name="connsiteY4" fmla="*/ 11609 h 454926"/>
                    <a:gd name="connsiteX5" fmla="*/ 317737 w 515902"/>
                    <a:gd name="connsiteY5" fmla="*/ 8434 h 454926"/>
                    <a:gd name="connsiteX6" fmla="*/ 317737 w 515902"/>
                    <a:gd name="connsiteY6" fmla="*/ 87809 h 454926"/>
                    <a:gd name="connsiteX7" fmla="*/ 339962 w 515902"/>
                    <a:gd name="connsiteY7" fmla="*/ 135434 h 454926"/>
                    <a:gd name="connsiteX8" fmla="*/ 451087 w 515902"/>
                    <a:gd name="connsiteY8" fmla="*/ 157659 h 454926"/>
                    <a:gd name="connsiteX9" fmla="*/ 514587 w 515902"/>
                    <a:gd name="connsiteY9" fmla="*/ 227509 h 454926"/>
                    <a:gd name="connsiteX10" fmla="*/ 511412 w 515902"/>
                    <a:gd name="connsiteY10" fmla="*/ 449759 h 454926"/>
                    <a:gd name="connsiteX11" fmla="*/ 9762 w 515902"/>
                    <a:gd name="connsiteY11" fmla="*/ 443409 h 454926"/>
                    <a:gd name="connsiteX0" fmla="*/ 9762 w 515902"/>
                    <a:gd name="connsiteY0" fmla="*/ 446099 h 457616"/>
                    <a:gd name="connsiteX1" fmla="*/ 6587 w 515902"/>
                    <a:gd name="connsiteY1" fmla="*/ 220674 h 457616"/>
                    <a:gd name="connsiteX2" fmla="*/ 76437 w 515902"/>
                    <a:gd name="connsiteY2" fmla="*/ 157174 h 457616"/>
                    <a:gd name="connsiteX3" fmla="*/ 190737 w 515902"/>
                    <a:gd name="connsiteY3" fmla="*/ 138124 h 457616"/>
                    <a:gd name="connsiteX4" fmla="*/ 206612 w 515902"/>
                    <a:gd name="connsiteY4" fmla="*/ 14299 h 457616"/>
                    <a:gd name="connsiteX5" fmla="*/ 317737 w 515902"/>
                    <a:gd name="connsiteY5" fmla="*/ 11124 h 457616"/>
                    <a:gd name="connsiteX6" fmla="*/ 317737 w 515902"/>
                    <a:gd name="connsiteY6" fmla="*/ 90499 h 457616"/>
                    <a:gd name="connsiteX7" fmla="*/ 339962 w 515902"/>
                    <a:gd name="connsiteY7" fmla="*/ 138124 h 457616"/>
                    <a:gd name="connsiteX8" fmla="*/ 451087 w 515902"/>
                    <a:gd name="connsiteY8" fmla="*/ 160349 h 457616"/>
                    <a:gd name="connsiteX9" fmla="*/ 514587 w 515902"/>
                    <a:gd name="connsiteY9" fmla="*/ 230199 h 457616"/>
                    <a:gd name="connsiteX10" fmla="*/ 511412 w 515902"/>
                    <a:gd name="connsiteY10" fmla="*/ 452449 h 457616"/>
                    <a:gd name="connsiteX11" fmla="*/ 9762 w 515902"/>
                    <a:gd name="connsiteY11" fmla="*/ 446099 h 457616"/>
                    <a:gd name="connsiteX0" fmla="*/ 9762 w 515902"/>
                    <a:gd name="connsiteY0" fmla="*/ 446099 h 457616"/>
                    <a:gd name="connsiteX1" fmla="*/ 6587 w 515902"/>
                    <a:gd name="connsiteY1" fmla="*/ 220674 h 457616"/>
                    <a:gd name="connsiteX2" fmla="*/ 76437 w 515902"/>
                    <a:gd name="connsiteY2" fmla="*/ 157174 h 457616"/>
                    <a:gd name="connsiteX3" fmla="*/ 190737 w 515902"/>
                    <a:gd name="connsiteY3" fmla="*/ 138124 h 457616"/>
                    <a:gd name="connsiteX4" fmla="*/ 206612 w 515902"/>
                    <a:gd name="connsiteY4" fmla="*/ 14299 h 457616"/>
                    <a:gd name="connsiteX5" fmla="*/ 317737 w 515902"/>
                    <a:gd name="connsiteY5" fmla="*/ 11124 h 457616"/>
                    <a:gd name="connsiteX6" fmla="*/ 317737 w 515902"/>
                    <a:gd name="connsiteY6" fmla="*/ 90499 h 457616"/>
                    <a:gd name="connsiteX7" fmla="*/ 451087 w 515902"/>
                    <a:gd name="connsiteY7" fmla="*/ 160349 h 457616"/>
                    <a:gd name="connsiteX8" fmla="*/ 514587 w 515902"/>
                    <a:gd name="connsiteY8" fmla="*/ 230199 h 457616"/>
                    <a:gd name="connsiteX9" fmla="*/ 511412 w 515902"/>
                    <a:gd name="connsiteY9" fmla="*/ 452449 h 457616"/>
                    <a:gd name="connsiteX10" fmla="*/ 9762 w 515902"/>
                    <a:gd name="connsiteY10" fmla="*/ 446099 h 457616"/>
                    <a:gd name="connsiteX0" fmla="*/ 9762 w 515902"/>
                    <a:gd name="connsiteY0" fmla="*/ 447482 h 458999"/>
                    <a:gd name="connsiteX1" fmla="*/ 6587 w 515902"/>
                    <a:gd name="connsiteY1" fmla="*/ 222057 h 458999"/>
                    <a:gd name="connsiteX2" fmla="*/ 76437 w 515902"/>
                    <a:gd name="connsiteY2" fmla="*/ 158557 h 458999"/>
                    <a:gd name="connsiteX3" fmla="*/ 190737 w 515902"/>
                    <a:gd name="connsiteY3" fmla="*/ 139507 h 458999"/>
                    <a:gd name="connsiteX4" fmla="*/ 206612 w 515902"/>
                    <a:gd name="connsiteY4" fmla="*/ 15682 h 458999"/>
                    <a:gd name="connsiteX5" fmla="*/ 317737 w 515902"/>
                    <a:gd name="connsiteY5" fmla="*/ 12507 h 458999"/>
                    <a:gd name="connsiteX6" fmla="*/ 330437 w 515902"/>
                    <a:gd name="connsiteY6" fmla="*/ 114107 h 458999"/>
                    <a:gd name="connsiteX7" fmla="*/ 451087 w 515902"/>
                    <a:gd name="connsiteY7" fmla="*/ 161732 h 458999"/>
                    <a:gd name="connsiteX8" fmla="*/ 514587 w 515902"/>
                    <a:gd name="connsiteY8" fmla="*/ 231582 h 458999"/>
                    <a:gd name="connsiteX9" fmla="*/ 511412 w 515902"/>
                    <a:gd name="connsiteY9" fmla="*/ 453832 h 458999"/>
                    <a:gd name="connsiteX10" fmla="*/ 9762 w 515902"/>
                    <a:gd name="connsiteY10" fmla="*/ 447482 h 458999"/>
                    <a:gd name="connsiteX0" fmla="*/ 9762 w 515902"/>
                    <a:gd name="connsiteY0" fmla="*/ 446348 h 457865"/>
                    <a:gd name="connsiteX1" fmla="*/ 6587 w 515902"/>
                    <a:gd name="connsiteY1" fmla="*/ 220923 h 457865"/>
                    <a:gd name="connsiteX2" fmla="*/ 76437 w 515902"/>
                    <a:gd name="connsiteY2" fmla="*/ 157423 h 457865"/>
                    <a:gd name="connsiteX3" fmla="*/ 200262 w 515902"/>
                    <a:gd name="connsiteY3" fmla="*/ 119323 h 457865"/>
                    <a:gd name="connsiteX4" fmla="*/ 206612 w 515902"/>
                    <a:gd name="connsiteY4" fmla="*/ 14548 h 457865"/>
                    <a:gd name="connsiteX5" fmla="*/ 317737 w 515902"/>
                    <a:gd name="connsiteY5" fmla="*/ 11373 h 457865"/>
                    <a:gd name="connsiteX6" fmla="*/ 330437 w 515902"/>
                    <a:gd name="connsiteY6" fmla="*/ 112973 h 457865"/>
                    <a:gd name="connsiteX7" fmla="*/ 451087 w 515902"/>
                    <a:gd name="connsiteY7" fmla="*/ 160598 h 457865"/>
                    <a:gd name="connsiteX8" fmla="*/ 514587 w 515902"/>
                    <a:gd name="connsiteY8" fmla="*/ 230448 h 457865"/>
                    <a:gd name="connsiteX9" fmla="*/ 511412 w 515902"/>
                    <a:gd name="connsiteY9" fmla="*/ 452698 h 457865"/>
                    <a:gd name="connsiteX10" fmla="*/ 9762 w 515902"/>
                    <a:gd name="connsiteY10" fmla="*/ 446348 h 457865"/>
                    <a:gd name="connsiteX0" fmla="*/ 8840 w 514980"/>
                    <a:gd name="connsiteY0" fmla="*/ 446348 h 457865"/>
                    <a:gd name="connsiteX1" fmla="*/ 5665 w 514980"/>
                    <a:gd name="connsiteY1" fmla="*/ 220923 h 457865"/>
                    <a:gd name="connsiteX2" fmla="*/ 62412 w 514980"/>
                    <a:gd name="connsiteY2" fmla="*/ 133367 h 457865"/>
                    <a:gd name="connsiteX3" fmla="*/ 199340 w 514980"/>
                    <a:gd name="connsiteY3" fmla="*/ 119323 h 457865"/>
                    <a:gd name="connsiteX4" fmla="*/ 205690 w 514980"/>
                    <a:gd name="connsiteY4" fmla="*/ 14548 h 457865"/>
                    <a:gd name="connsiteX5" fmla="*/ 316815 w 514980"/>
                    <a:gd name="connsiteY5" fmla="*/ 11373 h 457865"/>
                    <a:gd name="connsiteX6" fmla="*/ 329515 w 514980"/>
                    <a:gd name="connsiteY6" fmla="*/ 112973 h 457865"/>
                    <a:gd name="connsiteX7" fmla="*/ 450165 w 514980"/>
                    <a:gd name="connsiteY7" fmla="*/ 160598 h 457865"/>
                    <a:gd name="connsiteX8" fmla="*/ 513665 w 514980"/>
                    <a:gd name="connsiteY8" fmla="*/ 230448 h 457865"/>
                    <a:gd name="connsiteX9" fmla="*/ 510490 w 514980"/>
                    <a:gd name="connsiteY9" fmla="*/ 452698 h 457865"/>
                    <a:gd name="connsiteX10" fmla="*/ 8840 w 514980"/>
                    <a:gd name="connsiteY10" fmla="*/ 446348 h 457865"/>
                    <a:gd name="connsiteX0" fmla="*/ 8840 w 514980"/>
                    <a:gd name="connsiteY0" fmla="*/ 445015 h 456532"/>
                    <a:gd name="connsiteX1" fmla="*/ 5665 w 514980"/>
                    <a:gd name="connsiteY1" fmla="*/ 219590 h 456532"/>
                    <a:gd name="connsiteX2" fmla="*/ 62412 w 514980"/>
                    <a:gd name="connsiteY2" fmla="*/ 132034 h 456532"/>
                    <a:gd name="connsiteX3" fmla="*/ 186237 w 514980"/>
                    <a:gd name="connsiteY3" fmla="*/ 93934 h 456532"/>
                    <a:gd name="connsiteX4" fmla="*/ 205690 w 514980"/>
                    <a:gd name="connsiteY4" fmla="*/ 13215 h 456532"/>
                    <a:gd name="connsiteX5" fmla="*/ 316815 w 514980"/>
                    <a:gd name="connsiteY5" fmla="*/ 10040 h 456532"/>
                    <a:gd name="connsiteX6" fmla="*/ 329515 w 514980"/>
                    <a:gd name="connsiteY6" fmla="*/ 111640 h 456532"/>
                    <a:gd name="connsiteX7" fmla="*/ 450165 w 514980"/>
                    <a:gd name="connsiteY7" fmla="*/ 159265 h 456532"/>
                    <a:gd name="connsiteX8" fmla="*/ 513665 w 514980"/>
                    <a:gd name="connsiteY8" fmla="*/ 229115 h 456532"/>
                    <a:gd name="connsiteX9" fmla="*/ 510490 w 514980"/>
                    <a:gd name="connsiteY9" fmla="*/ 451365 h 456532"/>
                    <a:gd name="connsiteX10" fmla="*/ 8840 w 514980"/>
                    <a:gd name="connsiteY10" fmla="*/ 445015 h 456532"/>
                    <a:gd name="connsiteX0" fmla="*/ 8840 w 514980"/>
                    <a:gd name="connsiteY0" fmla="*/ 445015 h 456532"/>
                    <a:gd name="connsiteX1" fmla="*/ 5665 w 514980"/>
                    <a:gd name="connsiteY1" fmla="*/ 219590 h 456532"/>
                    <a:gd name="connsiteX2" fmla="*/ 62412 w 514980"/>
                    <a:gd name="connsiteY2" fmla="*/ 132034 h 456532"/>
                    <a:gd name="connsiteX3" fmla="*/ 186237 w 514980"/>
                    <a:gd name="connsiteY3" fmla="*/ 93934 h 456532"/>
                    <a:gd name="connsiteX4" fmla="*/ 205690 w 514980"/>
                    <a:gd name="connsiteY4" fmla="*/ 13215 h 456532"/>
                    <a:gd name="connsiteX5" fmla="*/ 316815 w 514980"/>
                    <a:gd name="connsiteY5" fmla="*/ 10040 h 456532"/>
                    <a:gd name="connsiteX6" fmla="*/ 329515 w 514980"/>
                    <a:gd name="connsiteY6" fmla="*/ 111640 h 456532"/>
                    <a:gd name="connsiteX7" fmla="*/ 461084 w 514980"/>
                    <a:gd name="connsiteY7" fmla="*/ 146143 h 456532"/>
                    <a:gd name="connsiteX8" fmla="*/ 513665 w 514980"/>
                    <a:gd name="connsiteY8" fmla="*/ 229115 h 456532"/>
                    <a:gd name="connsiteX9" fmla="*/ 510490 w 514980"/>
                    <a:gd name="connsiteY9" fmla="*/ 451365 h 456532"/>
                    <a:gd name="connsiteX10" fmla="*/ 8840 w 514980"/>
                    <a:gd name="connsiteY10" fmla="*/ 445015 h 456532"/>
                    <a:gd name="connsiteX0" fmla="*/ 8840 w 514980"/>
                    <a:gd name="connsiteY0" fmla="*/ 444105 h 455622"/>
                    <a:gd name="connsiteX1" fmla="*/ 5665 w 514980"/>
                    <a:gd name="connsiteY1" fmla="*/ 218680 h 455622"/>
                    <a:gd name="connsiteX2" fmla="*/ 62412 w 514980"/>
                    <a:gd name="connsiteY2" fmla="*/ 131124 h 455622"/>
                    <a:gd name="connsiteX3" fmla="*/ 186237 w 514980"/>
                    <a:gd name="connsiteY3" fmla="*/ 93024 h 455622"/>
                    <a:gd name="connsiteX4" fmla="*/ 205690 w 514980"/>
                    <a:gd name="connsiteY4" fmla="*/ 12305 h 455622"/>
                    <a:gd name="connsiteX5" fmla="*/ 316815 w 514980"/>
                    <a:gd name="connsiteY5" fmla="*/ 9130 h 455622"/>
                    <a:gd name="connsiteX6" fmla="*/ 351353 w 514980"/>
                    <a:gd name="connsiteY6" fmla="*/ 97608 h 455622"/>
                    <a:gd name="connsiteX7" fmla="*/ 461084 w 514980"/>
                    <a:gd name="connsiteY7" fmla="*/ 145233 h 455622"/>
                    <a:gd name="connsiteX8" fmla="*/ 513665 w 514980"/>
                    <a:gd name="connsiteY8" fmla="*/ 228205 h 455622"/>
                    <a:gd name="connsiteX9" fmla="*/ 510490 w 514980"/>
                    <a:gd name="connsiteY9" fmla="*/ 450455 h 455622"/>
                    <a:gd name="connsiteX10" fmla="*/ 8840 w 514980"/>
                    <a:gd name="connsiteY10" fmla="*/ 444105 h 455622"/>
                    <a:gd name="connsiteX0" fmla="*/ 8840 w 514980"/>
                    <a:gd name="connsiteY0" fmla="*/ 442755 h 454272"/>
                    <a:gd name="connsiteX1" fmla="*/ 5665 w 514980"/>
                    <a:gd name="connsiteY1" fmla="*/ 217330 h 454272"/>
                    <a:gd name="connsiteX2" fmla="*/ 62412 w 514980"/>
                    <a:gd name="connsiteY2" fmla="*/ 129774 h 454272"/>
                    <a:gd name="connsiteX3" fmla="*/ 186237 w 514980"/>
                    <a:gd name="connsiteY3" fmla="*/ 91674 h 454272"/>
                    <a:gd name="connsiteX4" fmla="*/ 205690 w 514980"/>
                    <a:gd name="connsiteY4" fmla="*/ 10955 h 454272"/>
                    <a:gd name="connsiteX5" fmla="*/ 325550 w 514980"/>
                    <a:gd name="connsiteY5" fmla="*/ 9967 h 454272"/>
                    <a:gd name="connsiteX6" fmla="*/ 351353 w 514980"/>
                    <a:gd name="connsiteY6" fmla="*/ 96258 h 454272"/>
                    <a:gd name="connsiteX7" fmla="*/ 461084 w 514980"/>
                    <a:gd name="connsiteY7" fmla="*/ 143883 h 454272"/>
                    <a:gd name="connsiteX8" fmla="*/ 513665 w 514980"/>
                    <a:gd name="connsiteY8" fmla="*/ 226855 h 454272"/>
                    <a:gd name="connsiteX9" fmla="*/ 510490 w 514980"/>
                    <a:gd name="connsiteY9" fmla="*/ 449105 h 454272"/>
                    <a:gd name="connsiteX10" fmla="*/ 8840 w 514980"/>
                    <a:gd name="connsiteY10" fmla="*/ 442755 h 454272"/>
                    <a:gd name="connsiteX0" fmla="*/ 8840 w 514980"/>
                    <a:gd name="connsiteY0" fmla="*/ 442755 h 454272"/>
                    <a:gd name="connsiteX1" fmla="*/ 5665 w 514980"/>
                    <a:gd name="connsiteY1" fmla="*/ 217330 h 454272"/>
                    <a:gd name="connsiteX2" fmla="*/ 62412 w 514980"/>
                    <a:gd name="connsiteY2" fmla="*/ 129774 h 454272"/>
                    <a:gd name="connsiteX3" fmla="*/ 186237 w 514980"/>
                    <a:gd name="connsiteY3" fmla="*/ 91674 h 454272"/>
                    <a:gd name="connsiteX4" fmla="*/ 205690 w 514980"/>
                    <a:gd name="connsiteY4" fmla="*/ 10955 h 454272"/>
                    <a:gd name="connsiteX5" fmla="*/ 325550 w 514980"/>
                    <a:gd name="connsiteY5" fmla="*/ 9967 h 454272"/>
                    <a:gd name="connsiteX6" fmla="*/ 351353 w 514980"/>
                    <a:gd name="connsiteY6" fmla="*/ 96258 h 454272"/>
                    <a:gd name="connsiteX7" fmla="*/ 461084 w 514980"/>
                    <a:gd name="connsiteY7" fmla="*/ 143883 h 454272"/>
                    <a:gd name="connsiteX8" fmla="*/ 513665 w 514980"/>
                    <a:gd name="connsiteY8" fmla="*/ 226855 h 454272"/>
                    <a:gd name="connsiteX9" fmla="*/ 510490 w 514980"/>
                    <a:gd name="connsiteY9" fmla="*/ 449105 h 454272"/>
                    <a:gd name="connsiteX10" fmla="*/ 8840 w 514980"/>
                    <a:gd name="connsiteY10" fmla="*/ 442755 h 454272"/>
                    <a:gd name="connsiteX0" fmla="*/ 8840 w 514980"/>
                    <a:gd name="connsiteY0" fmla="*/ 442755 h 454272"/>
                    <a:gd name="connsiteX1" fmla="*/ 5665 w 514980"/>
                    <a:gd name="connsiteY1" fmla="*/ 217330 h 454272"/>
                    <a:gd name="connsiteX2" fmla="*/ 62412 w 514980"/>
                    <a:gd name="connsiteY2" fmla="*/ 129774 h 454272"/>
                    <a:gd name="connsiteX3" fmla="*/ 186237 w 514980"/>
                    <a:gd name="connsiteY3" fmla="*/ 91674 h 454272"/>
                    <a:gd name="connsiteX4" fmla="*/ 205690 w 514980"/>
                    <a:gd name="connsiteY4" fmla="*/ 10955 h 454272"/>
                    <a:gd name="connsiteX5" fmla="*/ 325550 w 514980"/>
                    <a:gd name="connsiteY5" fmla="*/ 9967 h 454272"/>
                    <a:gd name="connsiteX6" fmla="*/ 351353 w 514980"/>
                    <a:gd name="connsiteY6" fmla="*/ 96258 h 454272"/>
                    <a:gd name="connsiteX7" fmla="*/ 461084 w 514980"/>
                    <a:gd name="connsiteY7" fmla="*/ 143883 h 454272"/>
                    <a:gd name="connsiteX8" fmla="*/ 513665 w 514980"/>
                    <a:gd name="connsiteY8" fmla="*/ 226855 h 454272"/>
                    <a:gd name="connsiteX9" fmla="*/ 510490 w 514980"/>
                    <a:gd name="connsiteY9" fmla="*/ 449105 h 454272"/>
                    <a:gd name="connsiteX10" fmla="*/ 8840 w 514980"/>
                    <a:gd name="connsiteY10" fmla="*/ 442755 h 454272"/>
                    <a:gd name="connsiteX0" fmla="*/ 8840 w 514980"/>
                    <a:gd name="connsiteY0" fmla="*/ 442755 h 454272"/>
                    <a:gd name="connsiteX1" fmla="*/ 5665 w 514980"/>
                    <a:gd name="connsiteY1" fmla="*/ 217330 h 454272"/>
                    <a:gd name="connsiteX2" fmla="*/ 62412 w 514980"/>
                    <a:gd name="connsiteY2" fmla="*/ 129774 h 454272"/>
                    <a:gd name="connsiteX3" fmla="*/ 186237 w 514980"/>
                    <a:gd name="connsiteY3" fmla="*/ 91674 h 454272"/>
                    <a:gd name="connsiteX4" fmla="*/ 205690 w 514980"/>
                    <a:gd name="connsiteY4" fmla="*/ 10955 h 454272"/>
                    <a:gd name="connsiteX5" fmla="*/ 325550 w 514980"/>
                    <a:gd name="connsiteY5" fmla="*/ 9967 h 454272"/>
                    <a:gd name="connsiteX6" fmla="*/ 351353 w 514980"/>
                    <a:gd name="connsiteY6" fmla="*/ 96258 h 454272"/>
                    <a:gd name="connsiteX7" fmla="*/ 461084 w 514980"/>
                    <a:gd name="connsiteY7" fmla="*/ 143883 h 454272"/>
                    <a:gd name="connsiteX8" fmla="*/ 513665 w 514980"/>
                    <a:gd name="connsiteY8" fmla="*/ 226855 h 454272"/>
                    <a:gd name="connsiteX9" fmla="*/ 510490 w 514980"/>
                    <a:gd name="connsiteY9" fmla="*/ 449105 h 454272"/>
                    <a:gd name="connsiteX10" fmla="*/ 8840 w 514980"/>
                    <a:gd name="connsiteY10" fmla="*/ 442755 h 454272"/>
                    <a:gd name="connsiteX0" fmla="*/ 8840 w 514980"/>
                    <a:gd name="connsiteY0" fmla="*/ 436996 h 448513"/>
                    <a:gd name="connsiteX1" fmla="*/ 5665 w 514980"/>
                    <a:gd name="connsiteY1" fmla="*/ 211571 h 448513"/>
                    <a:gd name="connsiteX2" fmla="*/ 62412 w 514980"/>
                    <a:gd name="connsiteY2" fmla="*/ 124015 h 448513"/>
                    <a:gd name="connsiteX3" fmla="*/ 186237 w 514980"/>
                    <a:gd name="connsiteY3" fmla="*/ 85915 h 448513"/>
                    <a:gd name="connsiteX4" fmla="*/ 205690 w 514980"/>
                    <a:gd name="connsiteY4" fmla="*/ 5196 h 448513"/>
                    <a:gd name="connsiteX5" fmla="*/ 325550 w 514980"/>
                    <a:gd name="connsiteY5" fmla="*/ 4208 h 448513"/>
                    <a:gd name="connsiteX6" fmla="*/ 351353 w 514980"/>
                    <a:gd name="connsiteY6" fmla="*/ 90499 h 448513"/>
                    <a:gd name="connsiteX7" fmla="*/ 461084 w 514980"/>
                    <a:gd name="connsiteY7" fmla="*/ 138124 h 448513"/>
                    <a:gd name="connsiteX8" fmla="*/ 513665 w 514980"/>
                    <a:gd name="connsiteY8" fmla="*/ 221096 h 448513"/>
                    <a:gd name="connsiteX9" fmla="*/ 510490 w 514980"/>
                    <a:gd name="connsiteY9" fmla="*/ 443346 h 448513"/>
                    <a:gd name="connsiteX10" fmla="*/ 8840 w 514980"/>
                    <a:gd name="connsiteY10" fmla="*/ 436996 h 448513"/>
                    <a:gd name="connsiteX0" fmla="*/ 8840 w 514980"/>
                    <a:gd name="connsiteY0" fmla="*/ 436996 h 448513"/>
                    <a:gd name="connsiteX1" fmla="*/ 5665 w 514980"/>
                    <a:gd name="connsiteY1" fmla="*/ 211571 h 448513"/>
                    <a:gd name="connsiteX2" fmla="*/ 62412 w 514980"/>
                    <a:gd name="connsiteY2" fmla="*/ 124015 h 448513"/>
                    <a:gd name="connsiteX3" fmla="*/ 186237 w 514980"/>
                    <a:gd name="connsiteY3" fmla="*/ 85915 h 448513"/>
                    <a:gd name="connsiteX4" fmla="*/ 205690 w 514980"/>
                    <a:gd name="connsiteY4" fmla="*/ 5196 h 448513"/>
                    <a:gd name="connsiteX5" fmla="*/ 325550 w 514980"/>
                    <a:gd name="connsiteY5" fmla="*/ 4208 h 448513"/>
                    <a:gd name="connsiteX6" fmla="*/ 351353 w 514980"/>
                    <a:gd name="connsiteY6" fmla="*/ 90499 h 448513"/>
                    <a:gd name="connsiteX7" fmla="*/ 461084 w 514980"/>
                    <a:gd name="connsiteY7" fmla="*/ 138124 h 448513"/>
                    <a:gd name="connsiteX8" fmla="*/ 513665 w 514980"/>
                    <a:gd name="connsiteY8" fmla="*/ 221096 h 448513"/>
                    <a:gd name="connsiteX9" fmla="*/ 510490 w 514980"/>
                    <a:gd name="connsiteY9" fmla="*/ 443346 h 448513"/>
                    <a:gd name="connsiteX10" fmla="*/ 8840 w 514980"/>
                    <a:gd name="connsiteY10" fmla="*/ 436996 h 448513"/>
                    <a:gd name="connsiteX0" fmla="*/ 8840 w 514980"/>
                    <a:gd name="connsiteY0" fmla="*/ 436996 h 448513"/>
                    <a:gd name="connsiteX1" fmla="*/ 5665 w 514980"/>
                    <a:gd name="connsiteY1" fmla="*/ 211571 h 448513"/>
                    <a:gd name="connsiteX2" fmla="*/ 62412 w 514980"/>
                    <a:gd name="connsiteY2" fmla="*/ 124015 h 448513"/>
                    <a:gd name="connsiteX3" fmla="*/ 186237 w 514980"/>
                    <a:gd name="connsiteY3" fmla="*/ 85915 h 448513"/>
                    <a:gd name="connsiteX4" fmla="*/ 205690 w 514980"/>
                    <a:gd name="connsiteY4" fmla="*/ 5196 h 448513"/>
                    <a:gd name="connsiteX5" fmla="*/ 325550 w 514980"/>
                    <a:gd name="connsiteY5" fmla="*/ 4208 h 448513"/>
                    <a:gd name="connsiteX6" fmla="*/ 351353 w 514980"/>
                    <a:gd name="connsiteY6" fmla="*/ 90499 h 448513"/>
                    <a:gd name="connsiteX7" fmla="*/ 461084 w 514980"/>
                    <a:gd name="connsiteY7" fmla="*/ 138124 h 448513"/>
                    <a:gd name="connsiteX8" fmla="*/ 513665 w 514980"/>
                    <a:gd name="connsiteY8" fmla="*/ 221096 h 448513"/>
                    <a:gd name="connsiteX9" fmla="*/ 510490 w 514980"/>
                    <a:gd name="connsiteY9" fmla="*/ 443346 h 448513"/>
                    <a:gd name="connsiteX10" fmla="*/ 8840 w 514980"/>
                    <a:gd name="connsiteY10" fmla="*/ 436996 h 448513"/>
                    <a:gd name="connsiteX0" fmla="*/ 8840 w 514980"/>
                    <a:gd name="connsiteY0" fmla="*/ 436996 h 448513"/>
                    <a:gd name="connsiteX1" fmla="*/ 5665 w 514980"/>
                    <a:gd name="connsiteY1" fmla="*/ 211571 h 448513"/>
                    <a:gd name="connsiteX2" fmla="*/ 62412 w 514980"/>
                    <a:gd name="connsiteY2" fmla="*/ 124015 h 448513"/>
                    <a:gd name="connsiteX3" fmla="*/ 168766 w 514980"/>
                    <a:gd name="connsiteY3" fmla="*/ 88102 h 448513"/>
                    <a:gd name="connsiteX4" fmla="*/ 205690 w 514980"/>
                    <a:gd name="connsiteY4" fmla="*/ 5196 h 448513"/>
                    <a:gd name="connsiteX5" fmla="*/ 325550 w 514980"/>
                    <a:gd name="connsiteY5" fmla="*/ 4208 h 448513"/>
                    <a:gd name="connsiteX6" fmla="*/ 351353 w 514980"/>
                    <a:gd name="connsiteY6" fmla="*/ 90499 h 448513"/>
                    <a:gd name="connsiteX7" fmla="*/ 461084 w 514980"/>
                    <a:gd name="connsiteY7" fmla="*/ 138124 h 448513"/>
                    <a:gd name="connsiteX8" fmla="*/ 513665 w 514980"/>
                    <a:gd name="connsiteY8" fmla="*/ 221096 h 448513"/>
                    <a:gd name="connsiteX9" fmla="*/ 510490 w 514980"/>
                    <a:gd name="connsiteY9" fmla="*/ 443346 h 448513"/>
                    <a:gd name="connsiteX10" fmla="*/ 8840 w 514980"/>
                    <a:gd name="connsiteY10" fmla="*/ 436996 h 448513"/>
                    <a:gd name="connsiteX0" fmla="*/ 8840 w 514980"/>
                    <a:gd name="connsiteY0" fmla="*/ 440628 h 452145"/>
                    <a:gd name="connsiteX1" fmla="*/ 5665 w 514980"/>
                    <a:gd name="connsiteY1" fmla="*/ 215203 h 452145"/>
                    <a:gd name="connsiteX2" fmla="*/ 62412 w 514980"/>
                    <a:gd name="connsiteY2" fmla="*/ 127647 h 452145"/>
                    <a:gd name="connsiteX3" fmla="*/ 168766 w 514980"/>
                    <a:gd name="connsiteY3" fmla="*/ 91734 h 452145"/>
                    <a:gd name="connsiteX4" fmla="*/ 179484 w 514980"/>
                    <a:gd name="connsiteY4" fmla="*/ 4454 h 452145"/>
                    <a:gd name="connsiteX5" fmla="*/ 325550 w 514980"/>
                    <a:gd name="connsiteY5" fmla="*/ 7840 h 452145"/>
                    <a:gd name="connsiteX6" fmla="*/ 351353 w 514980"/>
                    <a:gd name="connsiteY6" fmla="*/ 94131 h 452145"/>
                    <a:gd name="connsiteX7" fmla="*/ 461084 w 514980"/>
                    <a:gd name="connsiteY7" fmla="*/ 141756 h 452145"/>
                    <a:gd name="connsiteX8" fmla="*/ 513665 w 514980"/>
                    <a:gd name="connsiteY8" fmla="*/ 224728 h 452145"/>
                    <a:gd name="connsiteX9" fmla="*/ 510490 w 514980"/>
                    <a:gd name="connsiteY9" fmla="*/ 446978 h 452145"/>
                    <a:gd name="connsiteX10" fmla="*/ 8840 w 514980"/>
                    <a:gd name="connsiteY10" fmla="*/ 440628 h 452145"/>
                    <a:gd name="connsiteX0" fmla="*/ 8840 w 514980"/>
                    <a:gd name="connsiteY0" fmla="*/ 442422 h 453939"/>
                    <a:gd name="connsiteX1" fmla="*/ 5665 w 514980"/>
                    <a:gd name="connsiteY1" fmla="*/ 216997 h 453939"/>
                    <a:gd name="connsiteX2" fmla="*/ 62412 w 514980"/>
                    <a:gd name="connsiteY2" fmla="*/ 129441 h 453939"/>
                    <a:gd name="connsiteX3" fmla="*/ 168766 w 514980"/>
                    <a:gd name="connsiteY3" fmla="*/ 93528 h 453939"/>
                    <a:gd name="connsiteX4" fmla="*/ 179484 w 514980"/>
                    <a:gd name="connsiteY4" fmla="*/ 6248 h 453939"/>
                    <a:gd name="connsiteX5" fmla="*/ 351756 w 514980"/>
                    <a:gd name="connsiteY5" fmla="*/ 886 h 453939"/>
                    <a:gd name="connsiteX6" fmla="*/ 351353 w 514980"/>
                    <a:gd name="connsiteY6" fmla="*/ 95925 h 453939"/>
                    <a:gd name="connsiteX7" fmla="*/ 461084 w 514980"/>
                    <a:gd name="connsiteY7" fmla="*/ 143550 h 453939"/>
                    <a:gd name="connsiteX8" fmla="*/ 513665 w 514980"/>
                    <a:gd name="connsiteY8" fmla="*/ 226522 h 453939"/>
                    <a:gd name="connsiteX9" fmla="*/ 510490 w 514980"/>
                    <a:gd name="connsiteY9" fmla="*/ 448772 h 453939"/>
                    <a:gd name="connsiteX10" fmla="*/ 8840 w 514980"/>
                    <a:gd name="connsiteY10" fmla="*/ 442422 h 453939"/>
                    <a:gd name="connsiteX0" fmla="*/ 8840 w 514980"/>
                    <a:gd name="connsiteY0" fmla="*/ 442422 h 453939"/>
                    <a:gd name="connsiteX1" fmla="*/ 5665 w 514980"/>
                    <a:gd name="connsiteY1" fmla="*/ 216997 h 453939"/>
                    <a:gd name="connsiteX2" fmla="*/ 62412 w 514980"/>
                    <a:gd name="connsiteY2" fmla="*/ 129441 h 453939"/>
                    <a:gd name="connsiteX3" fmla="*/ 168766 w 514980"/>
                    <a:gd name="connsiteY3" fmla="*/ 93528 h 453939"/>
                    <a:gd name="connsiteX4" fmla="*/ 179484 w 514980"/>
                    <a:gd name="connsiteY4" fmla="*/ 6248 h 453939"/>
                    <a:gd name="connsiteX5" fmla="*/ 351756 w 514980"/>
                    <a:gd name="connsiteY5" fmla="*/ 886 h 453939"/>
                    <a:gd name="connsiteX6" fmla="*/ 366640 w 514980"/>
                    <a:gd name="connsiteY6" fmla="*/ 100299 h 453939"/>
                    <a:gd name="connsiteX7" fmla="*/ 461084 w 514980"/>
                    <a:gd name="connsiteY7" fmla="*/ 143550 h 453939"/>
                    <a:gd name="connsiteX8" fmla="*/ 513665 w 514980"/>
                    <a:gd name="connsiteY8" fmla="*/ 226522 h 453939"/>
                    <a:gd name="connsiteX9" fmla="*/ 510490 w 514980"/>
                    <a:gd name="connsiteY9" fmla="*/ 448772 h 453939"/>
                    <a:gd name="connsiteX10" fmla="*/ 8840 w 514980"/>
                    <a:gd name="connsiteY10" fmla="*/ 442422 h 453939"/>
                    <a:gd name="connsiteX0" fmla="*/ 8840 w 514980"/>
                    <a:gd name="connsiteY0" fmla="*/ 442422 h 450476"/>
                    <a:gd name="connsiteX1" fmla="*/ 5665 w 514980"/>
                    <a:gd name="connsiteY1" fmla="*/ 216997 h 450476"/>
                    <a:gd name="connsiteX2" fmla="*/ 62412 w 514980"/>
                    <a:gd name="connsiteY2" fmla="*/ 129441 h 450476"/>
                    <a:gd name="connsiteX3" fmla="*/ 168766 w 514980"/>
                    <a:gd name="connsiteY3" fmla="*/ 93528 h 450476"/>
                    <a:gd name="connsiteX4" fmla="*/ 179484 w 514980"/>
                    <a:gd name="connsiteY4" fmla="*/ 6248 h 450476"/>
                    <a:gd name="connsiteX5" fmla="*/ 351756 w 514980"/>
                    <a:gd name="connsiteY5" fmla="*/ 886 h 450476"/>
                    <a:gd name="connsiteX6" fmla="*/ 366640 w 514980"/>
                    <a:gd name="connsiteY6" fmla="*/ 100299 h 450476"/>
                    <a:gd name="connsiteX7" fmla="*/ 461084 w 514980"/>
                    <a:gd name="connsiteY7" fmla="*/ 143550 h 450476"/>
                    <a:gd name="connsiteX8" fmla="*/ 513665 w 514980"/>
                    <a:gd name="connsiteY8" fmla="*/ 226522 h 450476"/>
                    <a:gd name="connsiteX9" fmla="*/ 510490 w 514980"/>
                    <a:gd name="connsiteY9" fmla="*/ 448772 h 450476"/>
                    <a:gd name="connsiteX10" fmla="*/ 8840 w 514980"/>
                    <a:gd name="connsiteY10" fmla="*/ 442422 h 450476"/>
                    <a:gd name="connsiteX0" fmla="*/ 8840 w 514980"/>
                    <a:gd name="connsiteY0" fmla="*/ 442422 h 448772"/>
                    <a:gd name="connsiteX1" fmla="*/ 5665 w 514980"/>
                    <a:gd name="connsiteY1" fmla="*/ 216997 h 448772"/>
                    <a:gd name="connsiteX2" fmla="*/ 62412 w 514980"/>
                    <a:gd name="connsiteY2" fmla="*/ 129441 h 448772"/>
                    <a:gd name="connsiteX3" fmla="*/ 168766 w 514980"/>
                    <a:gd name="connsiteY3" fmla="*/ 93528 h 448772"/>
                    <a:gd name="connsiteX4" fmla="*/ 179484 w 514980"/>
                    <a:gd name="connsiteY4" fmla="*/ 6248 h 448772"/>
                    <a:gd name="connsiteX5" fmla="*/ 351756 w 514980"/>
                    <a:gd name="connsiteY5" fmla="*/ 886 h 448772"/>
                    <a:gd name="connsiteX6" fmla="*/ 366640 w 514980"/>
                    <a:gd name="connsiteY6" fmla="*/ 100299 h 448772"/>
                    <a:gd name="connsiteX7" fmla="*/ 461084 w 514980"/>
                    <a:gd name="connsiteY7" fmla="*/ 143550 h 448772"/>
                    <a:gd name="connsiteX8" fmla="*/ 513665 w 514980"/>
                    <a:gd name="connsiteY8" fmla="*/ 226522 h 448772"/>
                    <a:gd name="connsiteX9" fmla="*/ 510490 w 514980"/>
                    <a:gd name="connsiteY9" fmla="*/ 448772 h 448772"/>
                    <a:gd name="connsiteX10" fmla="*/ 8840 w 514980"/>
                    <a:gd name="connsiteY10" fmla="*/ 442422 h 448772"/>
                    <a:gd name="connsiteX0" fmla="*/ 8840 w 514980"/>
                    <a:gd name="connsiteY0" fmla="*/ 442422 h 448772"/>
                    <a:gd name="connsiteX1" fmla="*/ 5665 w 514980"/>
                    <a:gd name="connsiteY1" fmla="*/ 216997 h 448772"/>
                    <a:gd name="connsiteX2" fmla="*/ 62412 w 514980"/>
                    <a:gd name="connsiteY2" fmla="*/ 129441 h 448772"/>
                    <a:gd name="connsiteX3" fmla="*/ 168766 w 514980"/>
                    <a:gd name="connsiteY3" fmla="*/ 93528 h 448772"/>
                    <a:gd name="connsiteX4" fmla="*/ 179484 w 514980"/>
                    <a:gd name="connsiteY4" fmla="*/ 6248 h 448772"/>
                    <a:gd name="connsiteX5" fmla="*/ 351756 w 514980"/>
                    <a:gd name="connsiteY5" fmla="*/ 886 h 448772"/>
                    <a:gd name="connsiteX6" fmla="*/ 357905 w 514980"/>
                    <a:gd name="connsiteY6" fmla="*/ 98112 h 448772"/>
                    <a:gd name="connsiteX7" fmla="*/ 461084 w 514980"/>
                    <a:gd name="connsiteY7" fmla="*/ 143550 h 448772"/>
                    <a:gd name="connsiteX8" fmla="*/ 513665 w 514980"/>
                    <a:gd name="connsiteY8" fmla="*/ 226522 h 448772"/>
                    <a:gd name="connsiteX9" fmla="*/ 510490 w 514980"/>
                    <a:gd name="connsiteY9" fmla="*/ 448772 h 448772"/>
                    <a:gd name="connsiteX10" fmla="*/ 8840 w 514980"/>
                    <a:gd name="connsiteY10" fmla="*/ 442422 h 448772"/>
                    <a:gd name="connsiteX0" fmla="*/ 8840 w 514980"/>
                    <a:gd name="connsiteY0" fmla="*/ 442422 h 448772"/>
                    <a:gd name="connsiteX1" fmla="*/ 5665 w 514980"/>
                    <a:gd name="connsiteY1" fmla="*/ 216997 h 448772"/>
                    <a:gd name="connsiteX2" fmla="*/ 62412 w 514980"/>
                    <a:gd name="connsiteY2" fmla="*/ 129441 h 448772"/>
                    <a:gd name="connsiteX3" fmla="*/ 168766 w 514980"/>
                    <a:gd name="connsiteY3" fmla="*/ 93528 h 448772"/>
                    <a:gd name="connsiteX4" fmla="*/ 179484 w 514980"/>
                    <a:gd name="connsiteY4" fmla="*/ 6248 h 448772"/>
                    <a:gd name="connsiteX5" fmla="*/ 351756 w 514980"/>
                    <a:gd name="connsiteY5" fmla="*/ 886 h 448772"/>
                    <a:gd name="connsiteX6" fmla="*/ 357905 w 514980"/>
                    <a:gd name="connsiteY6" fmla="*/ 98112 h 448772"/>
                    <a:gd name="connsiteX7" fmla="*/ 454533 w 514980"/>
                    <a:gd name="connsiteY7" fmla="*/ 136989 h 448772"/>
                    <a:gd name="connsiteX8" fmla="*/ 513665 w 514980"/>
                    <a:gd name="connsiteY8" fmla="*/ 226522 h 448772"/>
                    <a:gd name="connsiteX9" fmla="*/ 510490 w 514980"/>
                    <a:gd name="connsiteY9" fmla="*/ 448772 h 448772"/>
                    <a:gd name="connsiteX10" fmla="*/ 8840 w 514980"/>
                    <a:gd name="connsiteY10" fmla="*/ 442422 h 448772"/>
                    <a:gd name="connsiteX0" fmla="*/ 8840 w 514980"/>
                    <a:gd name="connsiteY0" fmla="*/ 442422 h 448772"/>
                    <a:gd name="connsiteX1" fmla="*/ 5665 w 514980"/>
                    <a:gd name="connsiteY1" fmla="*/ 216997 h 448772"/>
                    <a:gd name="connsiteX2" fmla="*/ 62412 w 514980"/>
                    <a:gd name="connsiteY2" fmla="*/ 129441 h 448772"/>
                    <a:gd name="connsiteX3" fmla="*/ 168766 w 514980"/>
                    <a:gd name="connsiteY3" fmla="*/ 93528 h 448772"/>
                    <a:gd name="connsiteX4" fmla="*/ 179484 w 514980"/>
                    <a:gd name="connsiteY4" fmla="*/ 6248 h 448772"/>
                    <a:gd name="connsiteX5" fmla="*/ 351756 w 514980"/>
                    <a:gd name="connsiteY5" fmla="*/ 886 h 448772"/>
                    <a:gd name="connsiteX6" fmla="*/ 357905 w 514980"/>
                    <a:gd name="connsiteY6" fmla="*/ 98112 h 448772"/>
                    <a:gd name="connsiteX7" fmla="*/ 454533 w 514980"/>
                    <a:gd name="connsiteY7" fmla="*/ 136989 h 448772"/>
                    <a:gd name="connsiteX8" fmla="*/ 513665 w 514980"/>
                    <a:gd name="connsiteY8" fmla="*/ 226522 h 448772"/>
                    <a:gd name="connsiteX9" fmla="*/ 510490 w 514980"/>
                    <a:gd name="connsiteY9" fmla="*/ 448772 h 448772"/>
                    <a:gd name="connsiteX10" fmla="*/ 8840 w 514980"/>
                    <a:gd name="connsiteY10" fmla="*/ 442422 h 448772"/>
                    <a:gd name="connsiteX0" fmla="*/ 8840 w 514980"/>
                    <a:gd name="connsiteY0" fmla="*/ 442422 h 448772"/>
                    <a:gd name="connsiteX1" fmla="*/ 5665 w 514980"/>
                    <a:gd name="connsiteY1" fmla="*/ 216997 h 448772"/>
                    <a:gd name="connsiteX2" fmla="*/ 62412 w 514980"/>
                    <a:gd name="connsiteY2" fmla="*/ 129441 h 448772"/>
                    <a:gd name="connsiteX3" fmla="*/ 168766 w 514980"/>
                    <a:gd name="connsiteY3" fmla="*/ 93528 h 448772"/>
                    <a:gd name="connsiteX4" fmla="*/ 179484 w 514980"/>
                    <a:gd name="connsiteY4" fmla="*/ 6248 h 448772"/>
                    <a:gd name="connsiteX5" fmla="*/ 351756 w 514980"/>
                    <a:gd name="connsiteY5" fmla="*/ 886 h 448772"/>
                    <a:gd name="connsiteX6" fmla="*/ 357905 w 514980"/>
                    <a:gd name="connsiteY6" fmla="*/ 98112 h 448772"/>
                    <a:gd name="connsiteX7" fmla="*/ 454533 w 514980"/>
                    <a:gd name="connsiteY7" fmla="*/ 136989 h 448772"/>
                    <a:gd name="connsiteX8" fmla="*/ 513665 w 514980"/>
                    <a:gd name="connsiteY8" fmla="*/ 226522 h 448772"/>
                    <a:gd name="connsiteX9" fmla="*/ 510490 w 514980"/>
                    <a:gd name="connsiteY9" fmla="*/ 448772 h 448772"/>
                    <a:gd name="connsiteX10" fmla="*/ 8840 w 514980"/>
                    <a:gd name="connsiteY10" fmla="*/ 442422 h 448772"/>
                    <a:gd name="connsiteX0" fmla="*/ 8840 w 514980"/>
                    <a:gd name="connsiteY0" fmla="*/ 442422 h 448772"/>
                    <a:gd name="connsiteX1" fmla="*/ 5665 w 514980"/>
                    <a:gd name="connsiteY1" fmla="*/ 216997 h 448772"/>
                    <a:gd name="connsiteX2" fmla="*/ 62412 w 514980"/>
                    <a:gd name="connsiteY2" fmla="*/ 129441 h 448772"/>
                    <a:gd name="connsiteX3" fmla="*/ 168766 w 514980"/>
                    <a:gd name="connsiteY3" fmla="*/ 93528 h 448772"/>
                    <a:gd name="connsiteX4" fmla="*/ 179484 w 514980"/>
                    <a:gd name="connsiteY4" fmla="*/ 6248 h 448772"/>
                    <a:gd name="connsiteX5" fmla="*/ 351756 w 514980"/>
                    <a:gd name="connsiteY5" fmla="*/ 886 h 448772"/>
                    <a:gd name="connsiteX6" fmla="*/ 353538 w 514980"/>
                    <a:gd name="connsiteY6" fmla="*/ 98112 h 448772"/>
                    <a:gd name="connsiteX7" fmla="*/ 454533 w 514980"/>
                    <a:gd name="connsiteY7" fmla="*/ 136989 h 448772"/>
                    <a:gd name="connsiteX8" fmla="*/ 513665 w 514980"/>
                    <a:gd name="connsiteY8" fmla="*/ 226522 h 448772"/>
                    <a:gd name="connsiteX9" fmla="*/ 510490 w 514980"/>
                    <a:gd name="connsiteY9" fmla="*/ 448772 h 448772"/>
                    <a:gd name="connsiteX10" fmla="*/ 8840 w 514980"/>
                    <a:gd name="connsiteY10" fmla="*/ 442422 h 448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14980" h="448772">
                      <a:moveTo>
                        <a:pt x="8840" y="442422"/>
                      </a:moveTo>
                      <a:cubicBezTo>
                        <a:pt x="-1214" y="377864"/>
                        <a:pt x="-3264" y="269160"/>
                        <a:pt x="5665" y="216997"/>
                      </a:cubicBezTo>
                      <a:cubicBezTo>
                        <a:pt x="14594" y="164834"/>
                        <a:pt x="35229" y="150019"/>
                        <a:pt x="62412" y="129441"/>
                      </a:cubicBezTo>
                      <a:cubicBezTo>
                        <a:pt x="89595" y="108863"/>
                        <a:pt x="149254" y="114060"/>
                        <a:pt x="168766" y="93528"/>
                      </a:cubicBezTo>
                      <a:cubicBezTo>
                        <a:pt x="188278" y="72996"/>
                        <a:pt x="189023" y="43922"/>
                        <a:pt x="179484" y="6248"/>
                      </a:cubicBezTo>
                      <a:cubicBezTo>
                        <a:pt x="202703" y="-7370"/>
                        <a:pt x="323111" y="6352"/>
                        <a:pt x="351756" y="886"/>
                      </a:cubicBezTo>
                      <a:cubicBezTo>
                        <a:pt x="354195" y="39159"/>
                        <a:pt x="342961" y="75428"/>
                        <a:pt x="353538" y="98112"/>
                      </a:cubicBezTo>
                      <a:cubicBezTo>
                        <a:pt x="364115" y="120796"/>
                        <a:pt x="427845" y="115587"/>
                        <a:pt x="454533" y="136989"/>
                      </a:cubicBezTo>
                      <a:cubicBezTo>
                        <a:pt x="481221" y="158391"/>
                        <a:pt x="503611" y="177839"/>
                        <a:pt x="513665" y="226522"/>
                      </a:cubicBezTo>
                      <a:cubicBezTo>
                        <a:pt x="516840" y="276264"/>
                        <a:pt x="513665" y="323360"/>
                        <a:pt x="510490" y="448772"/>
                      </a:cubicBezTo>
                      <a:lnTo>
                        <a:pt x="8840" y="442422"/>
                      </a:lnTo>
                      <a:close/>
                    </a:path>
                  </a:pathLst>
                </a:custGeom>
                <a:grpFill/>
                <a:ln w="571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196" name="Oval 195">
                  <a:extLst>
                    <a:ext uri="{FF2B5EF4-FFF2-40B4-BE49-F238E27FC236}">
                      <a16:creationId xmlns:a16="http://schemas.microsoft.com/office/drawing/2014/main" id="{6D4A5952-A61C-7349-91E0-DE6E4732B8AC}"/>
                    </a:ext>
                  </a:extLst>
                </p:cNvPr>
                <p:cNvSpPr/>
                <p:nvPr/>
              </p:nvSpPr>
              <p:spPr>
                <a:xfrm>
                  <a:off x="1971467" y="3508300"/>
                  <a:ext cx="282088" cy="336550"/>
                </a:xfrm>
                <a:prstGeom prst="ellipse">
                  <a:avLst/>
                </a:prstGeom>
                <a:grpFill/>
                <a:ln w="571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grpSp>
          <p:grpSp>
            <p:nvGrpSpPr>
              <p:cNvPr id="192" name="Group 191">
                <a:extLst>
                  <a:ext uri="{FF2B5EF4-FFF2-40B4-BE49-F238E27FC236}">
                    <a16:creationId xmlns:a16="http://schemas.microsoft.com/office/drawing/2014/main" id="{A03F48EE-E8C6-F74E-B090-F2AD0D02480C}"/>
                  </a:ext>
                </a:extLst>
              </p:cNvPr>
              <p:cNvGrpSpPr/>
              <p:nvPr/>
            </p:nvGrpSpPr>
            <p:grpSpPr>
              <a:xfrm>
                <a:off x="1553120" y="3388644"/>
                <a:ext cx="633802" cy="938165"/>
                <a:chOff x="1806977" y="3500843"/>
                <a:chExt cx="539989" cy="738018"/>
              </a:xfrm>
            </p:grpSpPr>
            <p:sp>
              <p:nvSpPr>
                <p:cNvPr id="193" name="Freeform 192">
                  <a:extLst>
                    <a:ext uri="{FF2B5EF4-FFF2-40B4-BE49-F238E27FC236}">
                      <a16:creationId xmlns:a16="http://schemas.microsoft.com/office/drawing/2014/main" id="{1289024B-67F0-F945-A653-60E2C896E645}"/>
                    </a:ext>
                  </a:extLst>
                </p:cNvPr>
                <p:cNvSpPr/>
                <p:nvPr/>
              </p:nvSpPr>
              <p:spPr>
                <a:xfrm>
                  <a:off x="1806977" y="3782373"/>
                  <a:ext cx="539989" cy="456488"/>
                </a:xfrm>
                <a:custGeom>
                  <a:avLst/>
                  <a:gdLst>
                    <a:gd name="connsiteX0" fmla="*/ 36807 w 576731"/>
                    <a:gd name="connsiteY0" fmla="*/ 449906 h 505924"/>
                    <a:gd name="connsiteX1" fmla="*/ 39982 w 576731"/>
                    <a:gd name="connsiteY1" fmla="*/ 214956 h 505924"/>
                    <a:gd name="connsiteX2" fmla="*/ 55857 w 576731"/>
                    <a:gd name="connsiteY2" fmla="*/ 176856 h 505924"/>
                    <a:gd name="connsiteX3" fmla="*/ 103482 w 576731"/>
                    <a:gd name="connsiteY3" fmla="*/ 160981 h 505924"/>
                    <a:gd name="connsiteX4" fmla="*/ 205082 w 576731"/>
                    <a:gd name="connsiteY4" fmla="*/ 154631 h 505924"/>
                    <a:gd name="connsiteX5" fmla="*/ 230482 w 576731"/>
                    <a:gd name="connsiteY5" fmla="*/ 151456 h 505924"/>
                    <a:gd name="connsiteX6" fmla="*/ 233657 w 576731"/>
                    <a:gd name="connsiteY6" fmla="*/ 18106 h 505924"/>
                    <a:gd name="connsiteX7" fmla="*/ 344782 w 576731"/>
                    <a:gd name="connsiteY7" fmla="*/ 14931 h 505924"/>
                    <a:gd name="connsiteX8" fmla="*/ 344782 w 576731"/>
                    <a:gd name="connsiteY8" fmla="*/ 145106 h 505924"/>
                    <a:gd name="connsiteX9" fmla="*/ 386057 w 576731"/>
                    <a:gd name="connsiteY9" fmla="*/ 151456 h 505924"/>
                    <a:gd name="connsiteX10" fmla="*/ 478132 w 576731"/>
                    <a:gd name="connsiteY10" fmla="*/ 164156 h 505924"/>
                    <a:gd name="connsiteX11" fmla="*/ 519407 w 576731"/>
                    <a:gd name="connsiteY11" fmla="*/ 189556 h 505924"/>
                    <a:gd name="connsiteX12" fmla="*/ 541632 w 576731"/>
                    <a:gd name="connsiteY12" fmla="*/ 234006 h 505924"/>
                    <a:gd name="connsiteX13" fmla="*/ 538457 w 576731"/>
                    <a:gd name="connsiteY13" fmla="*/ 488006 h 505924"/>
                    <a:gd name="connsiteX14" fmla="*/ 36807 w 576731"/>
                    <a:gd name="connsiteY14" fmla="*/ 449906 h 505924"/>
                    <a:gd name="connsiteX0" fmla="*/ 5769 w 545693"/>
                    <a:gd name="connsiteY0" fmla="*/ 449906 h 505924"/>
                    <a:gd name="connsiteX1" fmla="*/ 8944 w 545693"/>
                    <a:gd name="connsiteY1" fmla="*/ 214956 h 505924"/>
                    <a:gd name="connsiteX2" fmla="*/ 24819 w 545693"/>
                    <a:gd name="connsiteY2" fmla="*/ 176856 h 505924"/>
                    <a:gd name="connsiteX3" fmla="*/ 72444 w 545693"/>
                    <a:gd name="connsiteY3" fmla="*/ 160981 h 505924"/>
                    <a:gd name="connsiteX4" fmla="*/ 174044 w 545693"/>
                    <a:gd name="connsiteY4" fmla="*/ 154631 h 505924"/>
                    <a:gd name="connsiteX5" fmla="*/ 199444 w 545693"/>
                    <a:gd name="connsiteY5" fmla="*/ 151456 h 505924"/>
                    <a:gd name="connsiteX6" fmla="*/ 202619 w 545693"/>
                    <a:gd name="connsiteY6" fmla="*/ 18106 h 505924"/>
                    <a:gd name="connsiteX7" fmla="*/ 313744 w 545693"/>
                    <a:gd name="connsiteY7" fmla="*/ 14931 h 505924"/>
                    <a:gd name="connsiteX8" fmla="*/ 313744 w 545693"/>
                    <a:gd name="connsiteY8" fmla="*/ 145106 h 505924"/>
                    <a:gd name="connsiteX9" fmla="*/ 355019 w 545693"/>
                    <a:gd name="connsiteY9" fmla="*/ 151456 h 505924"/>
                    <a:gd name="connsiteX10" fmla="*/ 447094 w 545693"/>
                    <a:gd name="connsiteY10" fmla="*/ 164156 h 505924"/>
                    <a:gd name="connsiteX11" fmla="*/ 488369 w 545693"/>
                    <a:gd name="connsiteY11" fmla="*/ 189556 h 505924"/>
                    <a:gd name="connsiteX12" fmla="*/ 510594 w 545693"/>
                    <a:gd name="connsiteY12" fmla="*/ 234006 h 505924"/>
                    <a:gd name="connsiteX13" fmla="*/ 507419 w 545693"/>
                    <a:gd name="connsiteY13" fmla="*/ 488006 h 505924"/>
                    <a:gd name="connsiteX14" fmla="*/ 5769 w 545693"/>
                    <a:gd name="connsiteY14" fmla="*/ 449906 h 505924"/>
                    <a:gd name="connsiteX0" fmla="*/ 21286 w 561210"/>
                    <a:gd name="connsiteY0" fmla="*/ 449906 h 508025"/>
                    <a:gd name="connsiteX1" fmla="*/ 24461 w 561210"/>
                    <a:gd name="connsiteY1" fmla="*/ 214956 h 508025"/>
                    <a:gd name="connsiteX2" fmla="*/ 40336 w 561210"/>
                    <a:gd name="connsiteY2" fmla="*/ 176856 h 508025"/>
                    <a:gd name="connsiteX3" fmla="*/ 87961 w 561210"/>
                    <a:gd name="connsiteY3" fmla="*/ 160981 h 508025"/>
                    <a:gd name="connsiteX4" fmla="*/ 189561 w 561210"/>
                    <a:gd name="connsiteY4" fmla="*/ 154631 h 508025"/>
                    <a:gd name="connsiteX5" fmla="*/ 214961 w 561210"/>
                    <a:gd name="connsiteY5" fmla="*/ 151456 h 508025"/>
                    <a:gd name="connsiteX6" fmla="*/ 218136 w 561210"/>
                    <a:gd name="connsiteY6" fmla="*/ 18106 h 508025"/>
                    <a:gd name="connsiteX7" fmla="*/ 329261 w 561210"/>
                    <a:gd name="connsiteY7" fmla="*/ 14931 h 508025"/>
                    <a:gd name="connsiteX8" fmla="*/ 329261 w 561210"/>
                    <a:gd name="connsiteY8" fmla="*/ 145106 h 508025"/>
                    <a:gd name="connsiteX9" fmla="*/ 370536 w 561210"/>
                    <a:gd name="connsiteY9" fmla="*/ 151456 h 508025"/>
                    <a:gd name="connsiteX10" fmla="*/ 462611 w 561210"/>
                    <a:gd name="connsiteY10" fmla="*/ 164156 h 508025"/>
                    <a:gd name="connsiteX11" fmla="*/ 503886 w 561210"/>
                    <a:gd name="connsiteY11" fmla="*/ 189556 h 508025"/>
                    <a:gd name="connsiteX12" fmla="*/ 526111 w 561210"/>
                    <a:gd name="connsiteY12" fmla="*/ 234006 h 508025"/>
                    <a:gd name="connsiteX13" fmla="*/ 522936 w 561210"/>
                    <a:gd name="connsiteY13" fmla="*/ 488006 h 508025"/>
                    <a:gd name="connsiteX14" fmla="*/ 21286 w 561210"/>
                    <a:gd name="connsiteY14" fmla="*/ 449906 h 508025"/>
                    <a:gd name="connsiteX0" fmla="*/ 21286 w 561210"/>
                    <a:gd name="connsiteY0" fmla="*/ 449906 h 508025"/>
                    <a:gd name="connsiteX1" fmla="*/ 24461 w 561210"/>
                    <a:gd name="connsiteY1" fmla="*/ 214956 h 508025"/>
                    <a:gd name="connsiteX2" fmla="*/ 40336 w 561210"/>
                    <a:gd name="connsiteY2" fmla="*/ 176856 h 508025"/>
                    <a:gd name="connsiteX3" fmla="*/ 87961 w 561210"/>
                    <a:gd name="connsiteY3" fmla="*/ 160981 h 508025"/>
                    <a:gd name="connsiteX4" fmla="*/ 189561 w 561210"/>
                    <a:gd name="connsiteY4" fmla="*/ 154631 h 508025"/>
                    <a:gd name="connsiteX5" fmla="*/ 214961 w 561210"/>
                    <a:gd name="connsiteY5" fmla="*/ 151456 h 508025"/>
                    <a:gd name="connsiteX6" fmla="*/ 218136 w 561210"/>
                    <a:gd name="connsiteY6" fmla="*/ 18106 h 508025"/>
                    <a:gd name="connsiteX7" fmla="*/ 329261 w 561210"/>
                    <a:gd name="connsiteY7" fmla="*/ 14931 h 508025"/>
                    <a:gd name="connsiteX8" fmla="*/ 329261 w 561210"/>
                    <a:gd name="connsiteY8" fmla="*/ 145106 h 508025"/>
                    <a:gd name="connsiteX9" fmla="*/ 370536 w 561210"/>
                    <a:gd name="connsiteY9" fmla="*/ 151456 h 508025"/>
                    <a:gd name="connsiteX10" fmla="*/ 462611 w 561210"/>
                    <a:gd name="connsiteY10" fmla="*/ 164156 h 508025"/>
                    <a:gd name="connsiteX11" fmla="*/ 503886 w 561210"/>
                    <a:gd name="connsiteY11" fmla="*/ 189556 h 508025"/>
                    <a:gd name="connsiteX12" fmla="*/ 526111 w 561210"/>
                    <a:gd name="connsiteY12" fmla="*/ 234006 h 508025"/>
                    <a:gd name="connsiteX13" fmla="*/ 522936 w 561210"/>
                    <a:gd name="connsiteY13" fmla="*/ 488006 h 508025"/>
                    <a:gd name="connsiteX14" fmla="*/ 21286 w 561210"/>
                    <a:gd name="connsiteY14" fmla="*/ 449906 h 508025"/>
                    <a:gd name="connsiteX0" fmla="*/ 4360 w 544284"/>
                    <a:gd name="connsiteY0" fmla="*/ 449906 h 508025"/>
                    <a:gd name="connsiteX1" fmla="*/ 7535 w 544284"/>
                    <a:gd name="connsiteY1" fmla="*/ 214956 h 508025"/>
                    <a:gd name="connsiteX2" fmla="*/ 23410 w 544284"/>
                    <a:gd name="connsiteY2" fmla="*/ 176856 h 508025"/>
                    <a:gd name="connsiteX3" fmla="*/ 71035 w 544284"/>
                    <a:gd name="connsiteY3" fmla="*/ 160981 h 508025"/>
                    <a:gd name="connsiteX4" fmla="*/ 172635 w 544284"/>
                    <a:gd name="connsiteY4" fmla="*/ 154631 h 508025"/>
                    <a:gd name="connsiteX5" fmla="*/ 198035 w 544284"/>
                    <a:gd name="connsiteY5" fmla="*/ 151456 h 508025"/>
                    <a:gd name="connsiteX6" fmla="*/ 201210 w 544284"/>
                    <a:gd name="connsiteY6" fmla="*/ 18106 h 508025"/>
                    <a:gd name="connsiteX7" fmla="*/ 312335 w 544284"/>
                    <a:gd name="connsiteY7" fmla="*/ 14931 h 508025"/>
                    <a:gd name="connsiteX8" fmla="*/ 312335 w 544284"/>
                    <a:gd name="connsiteY8" fmla="*/ 145106 h 508025"/>
                    <a:gd name="connsiteX9" fmla="*/ 353610 w 544284"/>
                    <a:gd name="connsiteY9" fmla="*/ 151456 h 508025"/>
                    <a:gd name="connsiteX10" fmla="*/ 445685 w 544284"/>
                    <a:gd name="connsiteY10" fmla="*/ 164156 h 508025"/>
                    <a:gd name="connsiteX11" fmla="*/ 486960 w 544284"/>
                    <a:gd name="connsiteY11" fmla="*/ 189556 h 508025"/>
                    <a:gd name="connsiteX12" fmla="*/ 509185 w 544284"/>
                    <a:gd name="connsiteY12" fmla="*/ 234006 h 508025"/>
                    <a:gd name="connsiteX13" fmla="*/ 506010 w 544284"/>
                    <a:gd name="connsiteY13" fmla="*/ 488006 h 508025"/>
                    <a:gd name="connsiteX14" fmla="*/ 4360 w 544284"/>
                    <a:gd name="connsiteY14" fmla="*/ 449906 h 508025"/>
                    <a:gd name="connsiteX0" fmla="*/ 4360 w 544284"/>
                    <a:gd name="connsiteY0" fmla="*/ 449906 h 500804"/>
                    <a:gd name="connsiteX1" fmla="*/ 7535 w 544284"/>
                    <a:gd name="connsiteY1" fmla="*/ 214956 h 500804"/>
                    <a:gd name="connsiteX2" fmla="*/ 23410 w 544284"/>
                    <a:gd name="connsiteY2" fmla="*/ 176856 h 500804"/>
                    <a:gd name="connsiteX3" fmla="*/ 71035 w 544284"/>
                    <a:gd name="connsiteY3" fmla="*/ 160981 h 500804"/>
                    <a:gd name="connsiteX4" fmla="*/ 172635 w 544284"/>
                    <a:gd name="connsiteY4" fmla="*/ 154631 h 500804"/>
                    <a:gd name="connsiteX5" fmla="*/ 198035 w 544284"/>
                    <a:gd name="connsiteY5" fmla="*/ 151456 h 500804"/>
                    <a:gd name="connsiteX6" fmla="*/ 201210 w 544284"/>
                    <a:gd name="connsiteY6" fmla="*/ 18106 h 500804"/>
                    <a:gd name="connsiteX7" fmla="*/ 312335 w 544284"/>
                    <a:gd name="connsiteY7" fmla="*/ 14931 h 500804"/>
                    <a:gd name="connsiteX8" fmla="*/ 312335 w 544284"/>
                    <a:gd name="connsiteY8" fmla="*/ 145106 h 500804"/>
                    <a:gd name="connsiteX9" fmla="*/ 353610 w 544284"/>
                    <a:gd name="connsiteY9" fmla="*/ 151456 h 500804"/>
                    <a:gd name="connsiteX10" fmla="*/ 445685 w 544284"/>
                    <a:gd name="connsiteY10" fmla="*/ 164156 h 500804"/>
                    <a:gd name="connsiteX11" fmla="*/ 486960 w 544284"/>
                    <a:gd name="connsiteY11" fmla="*/ 189556 h 500804"/>
                    <a:gd name="connsiteX12" fmla="*/ 509185 w 544284"/>
                    <a:gd name="connsiteY12" fmla="*/ 234006 h 500804"/>
                    <a:gd name="connsiteX13" fmla="*/ 506010 w 544284"/>
                    <a:gd name="connsiteY13" fmla="*/ 488006 h 500804"/>
                    <a:gd name="connsiteX14" fmla="*/ 4360 w 544284"/>
                    <a:gd name="connsiteY14" fmla="*/ 449906 h 500804"/>
                    <a:gd name="connsiteX0" fmla="*/ 4360 w 544284"/>
                    <a:gd name="connsiteY0" fmla="*/ 449906 h 500804"/>
                    <a:gd name="connsiteX1" fmla="*/ 7535 w 544284"/>
                    <a:gd name="connsiteY1" fmla="*/ 214956 h 500804"/>
                    <a:gd name="connsiteX2" fmla="*/ 23410 w 544284"/>
                    <a:gd name="connsiteY2" fmla="*/ 176856 h 500804"/>
                    <a:gd name="connsiteX3" fmla="*/ 71035 w 544284"/>
                    <a:gd name="connsiteY3" fmla="*/ 160981 h 500804"/>
                    <a:gd name="connsiteX4" fmla="*/ 172635 w 544284"/>
                    <a:gd name="connsiteY4" fmla="*/ 154631 h 500804"/>
                    <a:gd name="connsiteX5" fmla="*/ 198035 w 544284"/>
                    <a:gd name="connsiteY5" fmla="*/ 151456 h 500804"/>
                    <a:gd name="connsiteX6" fmla="*/ 201210 w 544284"/>
                    <a:gd name="connsiteY6" fmla="*/ 18106 h 500804"/>
                    <a:gd name="connsiteX7" fmla="*/ 312335 w 544284"/>
                    <a:gd name="connsiteY7" fmla="*/ 14931 h 500804"/>
                    <a:gd name="connsiteX8" fmla="*/ 312335 w 544284"/>
                    <a:gd name="connsiteY8" fmla="*/ 145106 h 500804"/>
                    <a:gd name="connsiteX9" fmla="*/ 353610 w 544284"/>
                    <a:gd name="connsiteY9" fmla="*/ 151456 h 500804"/>
                    <a:gd name="connsiteX10" fmla="*/ 445685 w 544284"/>
                    <a:gd name="connsiteY10" fmla="*/ 164156 h 500804"/>
                    <a:gd name="connsiteX11" fmla="*/ 486960 w 544284"/>
                    <a:gd name="connsiteY11" fmla="*/ 189556 h 500804"/>
                    <a:gd name="connsiteX12" fmla="*/ 509185 w 544284"/>
                    <a:gd name="connsiteY12" fmla="*/ 234006 h 500804"/>
                    <a:gd name="connsiteX13" fmla="*/ 506010 w 544284"/>
                    <a:gd name="connsiteY13" fmla="*/ 488006 h 500804"/>
                    <a:gd name="connsiteX14" fmla="*/ 4360 w 544284"/>
                    <a:gd name="connsiteY14" fmla="*/ 449906 h 500804"/>
                    <a:gd name="connsiteX0" fmla="*/ 4360 w 519024"/>
                    <a:gd name="connsiteY0" fmla="*/ 449906 h 500804"/>
                    <a:gd name="connsiteX1" fmla="*/ 7535 w 519024"/>
                    <a:gd name="connsiteY1" fmla="*/ 214956 h 500804"/>
                    <a:gd name="connsiteX2" fmla="*/ 23410 w 519024"/>
                    <a:gd name="connsiteY2" fmla="*/ 176856 h 500804"/>
                    <a:gd name="connsiteX3" fmla="*/ 71035 w 519024"/>
                    <a:gd name="connsiteY3" fmla="*/ 160981 h 500804"/>
                    <a:gd name="connsiteX4" fmla="*/ 172635 w 519024"/>
                    <a:gd name="connsiteY4" fmla="*/ 154631 h 500804"/>
                    <a:gd name="connsiteX5" fmla="*/ 198035 w 519024"/>
                    <a:gd name="connsiteY5" fmla="*/ 151456 h 500804"/>
                    <a:gd name="connsiteX6" fmla="*/ 201210 w 519024"/>
                    <a:gd name="connsiteY6" fmla="*/ 18106 h 500804"/>
                    <a:gd name="connsiteX7" fmla="*/ 312335 w 519024"/>
                    <a:gd name="connsiteY7" fmla="*/ 14931 h 500804"/>
                    <a:gd name="connsiteX8" fmla="*/ 312335 w 519024"/>
                    <a:gd name="connsiteY8" fmla="*/ 145106 h 500804"/>
                    <a:gd name="connsiteX9" fmla="*/ 353610 w 519024"/>
                    <a:gd name="connsiteY9" fmla="*/ 151456 h 500804"/>
                    <a:gd name="connsiteX10" fmla="*/ 445685 w 519024"/>
                    <a:gd name="connsiteY10" fmla="*/ 164156 h 500804"/>
                    <a:gd name="connsiteX11" fmla="*/ 486960 w 519024"/>
                    <a:gd name="connsiteY11" fmla="*/ 189556 h 500804"/>
                    <a:gd name="connsiteX12" fmla="*/ 509185 w 519024"/>
                    <a:gd name="connsiteY12" fmla="*/ 234006 h 500804"/>
                    <a:gd name="connsiteX13" fmla="*/ 506010 w 519024"/>
                    <a:gd name="connsiteY13" fmla="*/ 488006 h 500804"/>
                    <a:gd name="connsiteX14" fmla="*/ 4360 w 519024"/>
                    <a:gd name="connsiteY14" fmla="*/ 449906 h 500804"/>
                    <a:gd name="connsiteX0" fmla="*/ 4360 w 519024"/>
                    <a:gd name="connsiteY0" fmla="*/ 449906 h 488006"/>
                    <a:gd name="connsiteX1" fmla="*/ 7535 w 519024"/>
                    <a:gd name="connsiteY1" fmla="*/ 214956 h 488006"/>
                    <a:gd name="connsiteX2" fmla="*/ 23410 w 519024"/>
                    <a:gd name="connsiteY2" fmla="*/ 176856 h 488006"/>
                    <a:gd name="connsiteX3" fmla="*/ 71035 w 519024"/>
                    <a:gd name="connsiteY3" fmla="*/ 160981 h 488006"/>
                    <a:gd name="connsiteX4" fmla="*/ 172635 w 519024"/>
                    <a:gd name="connsiteY4" fmla="*/ 154631 h 488006"/>
                    <a:gd name="connsiteX5" fmla="*/ 198035 w 519024"/>
                    <a:gd name="connsiteY5" fmla="*/ 151456 h 488006"/>
                    <a:gd name="connsiteX6" fmla="*/ 201210 w 519024"/>
                    <a:gd name="connsiteY6" fmla="*/ 18106 h 488006"/>
                    <a:gd name="connsiteX7" fmla="*/ 312335 w 519024"/>
                    <a:gd name="connsiteY7" fmla="*/ 14931 h 488006"/>
                    <a:gd name="connsiteX8" fmla="*/ 312335 w 519024"/>
                    <a:gd name="connsiteY8" fmla="*/ 145106 h 488006"/>
                    <a:gd name="connsiteX9" fmla="*/ 353610 w 519024"/>
                    <a:gd name="connsiteY9" fmla="*/ 151456 h 488006"/>
                    <a:gd name="connsiteX10" fmla="*/ 445685 w 519024"/>
                    <a:gd name="connsiteY10" fmla="*/ 164156 h 488006"/>
                    <a:gd name="connsiteX11" fmla="*/ 486960 w 519024"/>
                    <a:gd name="connsiteY11" fmla="*/ 189556 h 488006"/>
                    <a:gd name="connsiteX12" fmla="*/ 509185 w 519024"/>
                    <a:gd name="connsiteY12" fmla="*/ 234006 h 488006"/>
                    <a:gd name="connsiteX13" fmla="*/ 506010 w 519024"/>
                    <a:gd name="connsiteY13" fmla="*/ 488006 h 488006"/>
                    <a:gd name="connsiteX14" fmla="*/ 4360 w 519024"/>
                    <a:gd name="connsiteY14" fmla="*/ 449906 h 488006"/>
                    <a:gd name="connsiteX0" fmla="*/ 4360 w 523534"/>
                    <a:gd name="connsiteY0" fmla="*/ 449906 h 472131"/>
                    <a:gd name="connsiteX1" fmla="*/ 7535 w 523534"/>
                    <a:gd name="connsiteY1" fmla="*/ 214956 h 472131"/>
                    <a:gd name="connsiteX2" fmla="*/ 23410 w 523534"/>
                    <a:gd name="connsiteY2" fmla="*/ 176856 h 472131"/>
                    <a:gd name="connsiteX3" fmla="*/ 71035 w 523534"/>
                    <a:gd name="connsiteY3" fmla="*/ 160981 h 472131"/>
                    <a:gd name="connsiteX4" fmla="*/ 172635 w 523534"/>
                    <a:gd name="connsiteY4" fmla="*/ 154631 h 472131"/>
                    <a:gd name="connsiteX5" fmla="*/ 198035 w 523534"/>
                    <a:gd name="connsiteY5" fmla="*/ 151456 h 472131"/>
                    <a:gd name="connsiteX6" fmla="*/ 201210 w 523534"/>
                    <a:gd name="connsiteY6" fmla="*/ 18106 h 472131"/>
                    <a:gd name="connsiteX7" fmla="*/ 312335 w 523534"/>
                    <a:gd name="connsiteY7" fmla="*/ 14931 h 472131"/>
                    <a:gd name="connsiteX8" fmla="*/ 312335 w 523534"/>
                    <a:gd name="connsiteY8" fmla="*/ 145106 h 472131"/>
                    <a:gd name="connsiteX9" fmla="*/ 353610 w 523534"/>
                    <a:gd name="connsiteY9" fmla="*/ 151456 h 472131"/>
                    <a:gd name="connsiteX10" fmla="*/ 445685 w 523534"/>
                    <a:gd name="connsiteY10" fmla="*/ 164156 h 472131"/>
                    <a:gd name="connsiteX11" fmla="*/ 486960 w 523534"/>
                    <a:gd name="connsiteY11" fmla="*/ 189556 h 472131"/>
                    <a:gd name="connsiteX12" fmla="*/ 509185 w 523534"/>
                    <a:gd name="connsiteY12" fmla="*/ 234006 h 472131"/>
                    <a:gd name="connsiteX13" fmla="*/ 512360 w 523534"/>
                    <a:gd name="connsiteY13" fmla="*/ 472131 h 472131"/>
                    <a:gd name="connsiteX14" fmla="*/ 4360 w 523534"/>
                    <a:gd name="connsiteY14" fmla="*/ 449906 h 472131"/>
                    <a:gd name="connsiteX0" fmla="*/ 4360 w 513675"/>
                    <a:gd name="connsiteY0" fmla="*/ 449906 h 472131"/>
                    <a:gd name="connsiteX1" fmla="*/ 7535 w 513675"/>
                    <a:gd name="connsiteY1" fmla="*/ 214956 h 472131"/>
                    <a:gd name="connsiteX2" fmla="*/ 23410 w 513675"/>
                    <a:gd name="connsiteY2" fmla="*/ 176856 h 472131"/>
                    <a:gd name="connsiteX3" fmla="*/ 71035 w 513675"/>
                    <a:gd name="connsiteY3" fmla="*/ 160981 h 472131"/>
                    <a:gd name="connsiteX4" fmla="*/ 172635 w 513675"/>
                    <a:gd name="connsiteY4" fmla="*/ 154631 h 472131"/>
                    <a:gd name="connsiteX5" fmla="*/ 198035 w 513675"/>
                    <a:gd name="connsiteY5" fmla="*/ 151456 h 472131"/>
                    <a:gd name="connsiteX6" fmla="*/ 201210 w 513675"/>
                    <a:gd name="connsiteY6" fmla="*/ 18106 h 472131"/>
                    <a:gd name="connsiteX7" fmla="*/ 312335 w 513675"/>
                    <a:gd name="connsiteY7" fmla="*/ 14931 h 472131"/>
                    <a:gd name="connsiteX8" fmla="*/ 312335 w 513675"/>
                    <a:gd name="connsiteY8" fmla="*/ 145106 h 472131"/>
                    <a:gd name="connsiteX9" fmla="*/ 353610 w 513675"/>
                    <a:gd name="connsiteY9" fmla="*/ 151456 h 472131"/>
                    <a:gd name="connsiteX10" fmla="*/ 445685 w 513675"/>
                    <a:gd name="connsiteY10" fmla="*/ 164156 h 472131"/>
                    <a:gd name="connsiteX11" fmla="*/ 486960 w 513675"/>
                    <a:gd name="connsiteY11" fmla="*/ 189556 h 472131"/>
                    <a:gd name="connsiteX12" fmla="*/ 509185 w 513675"/>
                    <a:gd name="connsiteY12" fmla="*/ 234006 h 472131"/>
                    <a:gd name="connsiteX13" fmla="*/ 512360 w 513675"/>
                    <a:gd name="connsiteY13" fmla="*/ 472131 h 472131"/>
                    <a:gd name="connsiteX14" fmla="*/ 4360 w 513675"/>
                    <a:gd name="connsiteY14" fmla="*/ 449906 h 472131"/>
                    <a:gd name="connsiteX0" fmla="*/ 4360 w 513675"/>
                    <a:gd name="connsiteY0" fmla="*/ 446969 h 469194"/>
                    <a:gd name="connsiteX1" fmla="*/ 7535 w 513675"/>
                    <a:gd name="connsiteY1" fmla="*/ 212019 h 469194"/>
                    <a:gd name="connsiteX2" fmla="*/ 23410 w 513675"/>
                    <a:gd name="connsiteY2" fmla="*/ 173919 h 469194"/>
                    <a:gd name="connsiteX3" fmla="*/ 71035 w 513675"/>
                    <a:gd name="connsiteY3" fmla="*/ 158044 h 469194"/>
                    <a:gd name="connsiteX4" fmla="*/ 172635 w 513675"/>
                    <a:gd name="connsiteY4" fmla="*/ 151694 h 469194"/>
                    <a:gd name="connsiteX5" fmla="*/ 188510 w 513675"/>
                    <a:gd name="connsiteY5" fmla="*/ 94544 h 469194"/>
                    <a:gd name="connsiteX6" fmla="*/ 201210 w 513675"/>
                    <a:gd name="connsiteY6" fmla="*/ 15169 h 469194"/>
                    <a:gd name="connsiteX7" fmla="*/ 312335 w 513675"/>
                    <a:gd name="connsiteY7" fmla="*/ 11994 h 469194"/>
                    <a:gd name="connsiteX8" fmla="*/ 312335 w 513675"/>
                    <a:gd name="connsiteY8" fmla="*/ 142169 h 469194"/>
                    <a:gd name="connsiteX9" fmla="*/ 353610 w 513675"/>
                    <a:gd name="connsiteY9" fmla="*/ 148519 h 469194"/>
                    <a:gd name="connsiteX10" fmla="*/ 445685 w 513675"/>
                    <a:gd name="connsiteY10" fmla="*/ 161219 h 469194"/>
                    <a:gd name="connsiteX11" fmla="*/ 486960 w 513675"/>
                    <a:gd name="connsiteY11" fmla="*/ 186619 h 469194"/>
                    <a:gd name="connsiteX12" fmla="*/ 509185 w 513675"/>
                    <a:gd name="connsiteY12" fmla="*/ 231069 h 469194"/>
                    <a:gd name="connsiteX13" fmla="*/ 512360 w 513675"/>
                    <a:gd name="connsiteY13" fmla="*/ 469194 h 469194"/>
                    <a:gd name="connsiteX14" fmla="*/ 4360 w 513675"/>
                    <a:gd name="connsiteY14" fmla="*/ 446969 h 469194"/>
                    <a:gd name="connsiteX0" fmla="*/ 4360 w 513675"/>
                    <a:gd name="connsiteY0" fmla="*/ 443409 h 465634"/>
                    <a:gd name="connsiteX1" fmla="*/ 7535 w 513675"/>
                    <a:gd name="connsiteY1" fmla="*/ 208459 h 465634"/>
                    <a:gd name="connsiteX2" fmla="*/ 23410 w 513675"/>
                    <a:gd name="connsiteY2" fmla="*/ 170359 h 465634"/>
                    <a:gd name="connsiteX3" fmla="*/ 71035 w 513675"/>
                    <a:gd name="connsiteY3" fmla="*/ 154484 h 465634"/>
                    <a:gd name="connsiteX4" fmla="*/ 172635 w 513675"/>
                    <a:gd name="connsiteY4" fmla="*/ 148134 h 465634"/>
                    <a:gd name="connsiteX5" fmla="*/ 188510 w 513675"/>
                    <a:gd name="connsiteY5" fmla="*/ 90984 h 465634"/>
                    <a:gd name="connsiteX6" fmla="*/ 201210 w 513675"/>
                    <a:gd name="connsiteY6" fmla="*/ 11609 h 465634"/>
                    <a:gd name="connsiteX7" fmla="*/ 312335 w 513675"/>
                    <a:gd name="connsiteY7" fmla="*/ 8434 h 465634"/>
                    <a:gd name="connsiteX8" fmla="*/ 312335 w 513675"/>
                    <a:gd name="connsiteY8" fmla="*/ 87809 h 465634"/>
                    <a:gd name="connsiteX9" fmla="*/ 353610 w 513675"/>
                    <a:gd name="connsiteY9" fmla="*/ 144959 h 465634"/>
                    <a:gd name="connsiteX10" fmla="*/ 445685 w 513675"/>
                    <a:gd name="connsiteY10" fmla="*/ 157659 h 465634"/>
                    <a:gd name="connsiteX11" fmla="*/ 486960 w 513675"/>
                    <a:gd name="connsiteY11" fmla="*/ 183059 h 465634"/>
                    <a:gd name="connsiteX12" fmla="*/ 509185 w 513675"/>
                    <a:gd name="connsiteY12" fmla="*/ 227509 h 465634"/>
                    <a:gd name="connsiteX13" fmla="*/ 512360 w 513675"/>
                    <a:gd name="connsiteY13" fmla="*/ 465634 h 465634"/>
                    <a:gd name="connsiteX14" fmla="*/ 4360 w 513675"/>
                    <a:gd name="connsiteY14" fmla="*/ 443409 h 465634"/>
                    <a:gd name="connsiteX0" fmla="*/ 4360 w 513675"/>
                    <a:gd name="connsiteY0" fmla="*/ 443409 h 465634"/>
                    <a:gd name="connsiteX1" fmla="*/ 7535 w 513675"/>
                    <a:gd name="connsiteY1" fmla="*/ 208459 h 465634"/>
                    <a:gd name="connsiteX2" fmla="*/ 23410 w 513675"/>
                    <a:gd name="connsiteY2" fmla="*/ 170359 h 465634"/>
                    <a:gd name="connsiteX3" fmla="*/ 71035 w 513675"/>
                    <a:gd name="connsiteY3" fmla="*/ 154484 h 465634"/>
                    <a:gd name="connsiteX4" fmla="*/ 172635 w 513675"/>
                    <a:gd name="connsiteY4" fmla="*/ 148134 h 465634"/>
                    <a:gd name="connsiteX5" fmla="*/ 188510 w 513675"/>
                    <a:gd name="connsiteY5" fmla="*/ 90984 h 465634"/>
                    <a:gd name="connsiteX6" fmla="*/ 201210 w 513675"/>
                    <a:gd name="connsiteY6" fmla="*/ 11609 h 465634"/>
                    <a:gd name="connsiteX7" fmla="*/ 312335 w 513675"/>
                    <a:gd name="connsiteY7" fmla="*/ 8434 h 465634"/>
                    <a:gd name="connsiteX8" fmla="*/ 312335 w 513675"/>
                    <a:gd name="connsiteY8" fmla="*/ 87809 h 465634"/>
                    <a:gd name="connsiteX9" fmla="*/ 334560 w 513675"/>
                    <a:gd name="connsiteY9" fmla="*/ 135434 h 465634"/>
                    <a:gd name="connsiteX10" fmla="*/ 445685 w 513675"/>
                    <a:gd name="connsiteY10" fmla="*/ 157659 h 465634"/>
                    <a:gd name="connsiteX11" fmla="*/ 486960 w 513675"/>
                    <a:gd name="connsiteY11" fmla="*/ 183059 h 465634"/>
                    <a:gd name="connsiteX12" fmla="*/ 509185 w 513675"/>
                    <a:gd name="connsiteY12" fmla="*/ 227509 h 465634"/>
                    <a:gd name="connsiteX13" fmla="*/ 512360 w 513675"/>
                    <a:gd name="connsiteY13" fmla="*/ 465634 h 465634"/>
                    <a:gd name="connsiteX14" fmla="*/ 4360 w 513675"/>
                    <a:gd name="connsiteY14" fmla="*/ 443409 h 465634"/>
                    <a:gd name="connsiteX0" fmla="*/ 4360 w 510500"/>
                    <a:gd name="connsiteY0" fmla="*/ 443409 h 449759"/>
                    <a:gd name="connsiteX1" fmla="*/ 7535 w 510500"/>
                    <a:gd name="connsiteY1" fmla="*/ 208459 h 449759"/>
                    <a:gd name="connsiteX2" fmla="*/ 23410 w 510500"/>
                    <a:gd name="connsiteY2" fmla="*/ 170359 h 449759"/>
                    <a:gd name="connsiteX3" fmla="*/ 71035 w 510500"/>
                    <a:gd name="connsiteY3" fmla="*/ 154484 h 449759"/>
                    <a:gd name="connsiteX4" fmla="*/ 172635 w 510500"/>
                    <a:gd name="connsiteY4" fmla="*/ 148134 h 449759"/>
                    <a:gd name="connsiteX5" fmla="*/ 188510 w 510500"/>
                    <a:gd name="connsiteY5" fmla="*/ 90984 h 449759"/>
                    <a:gd name="connsiteX6" fmla="*/ 201210 w 510500"/>
                    <a:gd name="connsiteY6" fmla="*/ 11609 h 449759"/>
                    <a:gd name="connsiteX7" fmla="*/ 312335 w 510500"/>
                    <a:gd name="connsiteY7" fmla="*/ 8434 h 449759"/>
                    <a:gd name="connsiteX8" fmla="*/ 312335 w 510500"/>
                    <a:gd name="connsiteY8" fmla="*/ 87809 h 449759"/>
                    <a:gd name="connsiteX9" fmla="*/ 334560 w 510500"/>
                    <a:gd name="connsiteY9" fmla="*/ 135434 h 449759"/>
                    <a:gd name="connsiteX10" fmla="*/ 445685 w 510500"/>
                    <a:gd name="connsiteY10" fmla="*/ 157659 h 449759"/>
                    <a:gd name="connsiteX11" fmla="*/ 486960 w 510500"/>
                    <a:gd name="connsiteY11" fmla="*/ 183059 h 449759"/>
                    <a:gd name="connsiteX12" fmla="*/ 509185 w 510500"/>
                    <a:gd name="connsiteY12" fmla="*/ 227509 h 449759"/>
                    <a:gd name="connsiteX13" fmla="*/ 506010 w 510500"/>
                    <a:gd name="connsiteY13" fmla="*/ 449759 h 449759"/>
                    <a:gd name="connsiteX14" fmla="*/ 4360 w 510500"/>
                    <a:gd name="connsiteY14" fmla="*/ 443409 h 449759"/>
                    <a:gd name="connsiteX0" fmla="*/ 4360 w 510500"/>
                    <a:gd name="connsiteY0" fmla="*/ 443409 h 454926"/>
                    <a:gd name="connsiteX1" fmla="*/ 7535 w 510500"/>
                    <a:gd name="connsiteY1" fmla="*/ 208459 h 454926"/>
                    <a:gd name="connsiteX2" fmla="*/ 23410 w 510500"/>
                    <a:gd name="connsiteY2" fmla="*/ 170359 h 454926"/>
                    <a:gd name="connsiteX3" fmla="*/ 71035 w 510500"/>
                    <a:gd name="connsiteY3" fmla="*/ 154484 h 454926"/>
                    <a:gd name="connsiteX4" fmla="*/ 172635 w 510500"/>
                    <a:gd name="connsiteY4" fmla="*/ 148134 h 454926"/>
                    <a:gd name="connsiteX5" fmla="*/ 188510 w 510500"/>
                    <a:gd name="connsiteY5" fmla="*/ 90984 h 454926"/>
                    <a:gd name="connsiteX6" fmla="*/ 201210 w 510500"/>
                    <a:gd name="connsiteY6" fmla="*/ 11609 h 454926"/>
                    <a:gd name="connsiteX7" fmla="*/ 312335 w 510500"/>
                    <a:gd name="connsiteY7" fmla="*/ 8434 h 454926"/>
                    <a:gd name="connsiteX8" fmla="*/ 312335 w 510500"/>
                    <a:gd name="connsiteY8" fmla="*/ 87809 h 454926"/>
                    <a:gd name="connsiteX9" fmla="*/ 334560 w 510500"/>
                    <a:gd name="connsiteY9" fmla="*/ 135434 h 454926"/>
                    <a:gd name="connsiteX10" fmla="*/ 445685 w 510500"/>
                    <a:gd name="connsiteY10" fmla="*/ 157659 h 454926"/>
                    <a:gd name="connsiteX11" fmla="*/ 486960 w 510500"/>
                    <a:gd name="connsiteY11" fmla="*/ 183059 h 454926"/>
                    <a:gd name="connsiteX12" fmla="*/ 509185 w 510500"/>
                    <a:gd name="connsiteY12" fmla="*/ 227509 h 454926"/>
                    <a:gd name="connsiteX13" fmla="*/ 506010 w 510500"/>
                    <a:gd name="connsiteY13" fmla="*/ 449759 h 454926"/>
                    <a:gd name="connsiteX14" fmla="*/ 4360 w 510500"/>
                    <a:gd name="connsiteY14" fmla="*/ 443409 h 454926"/>
                    <a:gd name="connsiteX0" fmla="*/ 6473 w 512613"/>
                    <a:gd name="connsiteY0" fmla="*/ 443409 h 454926"/>
                    <a:gd name="connsiteX1" fmla="*/ 9648 w 512613"/>
                    <a:gd name="connsiteY1" fmla="*/ 208459 h 454926"/>
                    <a:gd name="connsiteX2" fmla="*/ 73148 w 512613"/>
                    <a:gd name="connsiteY2" fmla="*/ 154484 h 454926"/>
                    <a:gd name="connsiteX3" fmla="*/ 174748 w 512613"/>
                    <a:gd name="connsiteY3" fmla="*/ 148134 h 454926"/>
                    <a:gd name="connsiteX4" fmla="*/ 190623 w 512613"/>
                    <a:gd name="connsiteY4" fmla="*/ 90984 h 454926"/>
                    <a:gd name="connsiteX5" fmla="*/ 203323 w 512613"/>
                    <a:gd name="connsiteY5" fmla="*/ 11609 h 454926"/>
                    <a:gd name="connsiteX6" fmla="*/ 314448 w 512613"/>
                    <a:gd name="connsiteY6" fmla="*/ 8434 h 454926"/>
                    <a:gd name="connsiteX7" fmla="*/ 314448 w 512613"/>
                    <a:gd name="connsiteY7" fmla="*/ 87809 h 454926"/>
                    <a:gd name="connsiteX8" fmla="*/ 336673 w 512613"/>
                    <a:gd name="connsiteY8" fmla="*/ 135434 h 454926"/>
                    <a:gd name="connsiteX9" fmla="*/ 447798 w 512613"/>
                    <a:gd name="connsiteY9" fmla="*/ 157659 h 454926"/>
                    <a:gd name="connsiteX10" fmla="*/ 489073 w 512613"/>
                    <a:gd name="connsiteY10" fmla="*/ 183059 h 454926"/>
                    <a:gd name="connsiteX11" fmla="*/ 511298 w 512613"/>
                    <a:gd name="connsiteY11" fmla="*/ 227509 h 454926"/>
                    <a:gd name="connsiteX12" fmla="*/ 508123 w 512613"/>
                    <a:gd name="connsiteY12" fmla="*/ 449759 h 454926"/>
                    <a:gd name="connsiteX13" fmla="*/ 6473 w 512613"/>
                    <a:gd name="connsiteY13" fmla="*/ 443409 h 454926"/>
                    <a:gd name="connsiteX0" fmla="*/ 4049 w 510189"/>
                    <a:gd name="connsiteY0" fmla="*/ 443409 h 454926"/>
                    <a:gd name="connsiteX1" fmla="*/ 7224 w 510189"/>
                    <a:gd name="connsiteY1" fmla="*/ 208459 h 454926"/>
                    <a:gd name="connsiteX2" fmla="*/ 70724 w 510189"/>
                    <a:gd name="connsiteY2" fmla="*/ 154484 h 454926"/>
                    <a:gd name="connsiteX3" fmla="*/ 172324 w 510189"/>
                    <a:gd name="connsiteY3" fmla="*/ 148134 h 454926"/>
                    <a:gd name="connsiteX4" fmla="*/ 188199 w 510189"/>
                    <a:gd name="connsiteY4" fmla="*/ 90984 h 454926"/>
                    <a:gd name="connsiteX5" fmla="*/ 200899 w 510189"/>
                    <a:gd name="connsiteY5" fmla="*/ 11609 h 454926"/>
                    <a:gd name="connsiteX6" fmla="*/ 312024 w 510189"/>
                    <a:gd name="connsiteY6" fmla="*/ 8434 h 454926"/>
                    <a:gd name="connsiteX7" fmla="*/ 312024 w 510189"/>
                    <a:gd name="connsiteY7" fmla="*/ 87809 h 454926"/>
                    <a:gd name="connsiteX8" fmla="*/ 334249 w 510189"/>
                    <a:gd name="connsiteY8" fmla="*/ 135434 h 454926"/>
                    <a:gd name="connsiteX9" fmla="*/ 445374 w 510189"/>
                    <a:gd name="connsiteY9" fmla="*/ 157659 h 454926"/>
                    <a:gd name="connsiteX10" fmla="*/ 486649 w 510189"/>
                    <a:gd name="connsiteY10" fmla="*/ 183059 h 454926"/>
                    <a:gd name="connsiteX11" fmla="*/ 508874 w 510189"/>
                    <a:gd name="connsiteY11" fmla="*/ 227509 h 454926"/>
                    <a:gd name="connsiteX12" fmla="*/ 505699 w 510189"/>
                    <a:gd name="connsiteY12" fmla="*/ 449759 h 454926"/>
                    <a:gd name="connsiteX13" fmla="*/ 4049 w 510189"/>
                    <a:gd name="connsiteY13" fmla="*/ 443409 h 454926"/>
                    <a:gd name="connsiteX0" fmla="*/ 4049 w 510189"/>
                    <a:gd name="connsiteY0" fmla="*/ 443409 h 454926"/>
                    <a:gd name="connsiteX1" fmla="*/ 7224 w 510189"/>
                    <a:gd name="connsiteY1" fmla="*/ 208459 h 454926"/>
                    <a:gd name="connsiteX2" fmla="*/ 70724 w 510189"/>
                    <a:gd name="connsiteY2" fmla="*/ 154484 h 454926"/>
                    <a:gd name="connsiteX3" fmla="*/ 172324 w 510189"/>
                    <a:gd name="connsiteY3" fmla="*/ 148134 h 454926"/>
                    <a:gd name="connsiteX4" fmla="*/ 188199 w 510189"/>
                    <a:gd name="connsiteY4" fmla="*/ 90984 h 454926"/>
                    <a:gd name="connsiteX5" fmla="*/ 200899 w 510189"/>
                    <a:gd name="connsiteY5" fmla="*/ 11609 h 454926"/>
                    <a:gd name="connsiteX6" fmla="*/ 312024 w 510189"/>
                    <a:gd name="connsiteY6" fmla="*/ 8434 h 454926"/>
                    <a:gd name="connsiteX7" fmla="*/ 312024 w 510189"/>
                    <a:gd name="connsiteY7" fmla="*/ 87809 h 454926"/>
                    <a:gd name="connsiteX8" fmla="*/ 334249 w 510189"/>
                    <a:gd name="connsiteY8" fmla="*/ 135434 h 454926"/>
                    <a:gd name="connsiteX9" fmla="*/ 445374 w 510189"/>
                    <a:gd name="connsiteY9" fmla="*/ 157659 h 454926"/>
                    <a:gd name="connsiteX10" fmla="*/ 508874 w 510189"/>
                    <a:gd name="connsiteY10" fmla="*/ 227509 h 454926"/>
                    <a:gd name="connsiteX11" fmla="*/ 505699 w 510189"/>
                    <a:gd name="connsiteY11" fmla="*/ 449759 h 454926"/>
                    <a:gd name="connsiteX12" fmla="*/ 4049 w 510189"/>
                    <a:gd name="connsiteY12" fmla="*/ 443409 h 454926"/>
                    <a:gd name="connsiteX0" fmla="*/ 4049 w 510189"/>
                    <a:gd name="connsiteY0" fmla="*/ 443409 h 454926"/>
                    <a:gd name="connsiteX1" fmla="*/ 7224 w 510189"/>
                    <a:gd name="connsiteY1" fmla="*/ 208459 h 454926"/>
                    <a:gd name="connsiteX2" fmla="*/ 70724 w 510189"/>
                    <a:gd name="connsiteY2" fmla="*/ 154484 h 454926"/>
                    <a:gd name="connsiteX3" fmla="*/ 172324 w 510189"/>
                    <a:gd name="connsiteY3" fmla="*/ 148134 h 454926"/>
                    <a:gd name="connsiteX4" fmla="*/ 188199 w 510189"/>
                    <a:gd name="connsiteY4" fmla="*/ 90984 h 454926"/>
                    <a:gd name="connsiteX5" fmla="*/ 200899 w 510189"/>
                    <a:gd name="connsiteY5" fmla="*/ 11609 h 454926"/>
                    <a:gd name="connsiteX6" fmla="*/ 312024 w 510189"/>
                    <a:gd name="connsiteY6" fmla="*/ 8434 h 454926"/>
                    <a:gd name="connsiteX7" fmla="*/ 312024 w 510189"/>
                    <a:gd name="connsiteY7" fmla="*/ 87809 h 454926"/>
                    <a:gd name="connsiteX8" fmla="*/ 334249 w 510189"/>
                    <a:gd name="connsiteY8" fmla="*/ 135434 h 454926"/>
                    <a:gd name="connsiteX9" fmla="*/ 445374 w 510189"/>
                    <a:gd name="connsiteY9" fmla="*/ 157659 h 454926"/>
                    <a:gd name="connsiteX10" fmla="*/ 508874 w 510189"/>
                    <a:gd name="connsiteY10" fmla="*/ 227509 h 454926"/>
                    <a:gd name="connsiteX11" fmla="*/ 505699 w 510189"/>
                    <a:gd name="connsiteY11" fmla="*/ 449759 h 454926"/>
                    <a:gd name="connsiteX12" fmla="*/ 4049 w 510189"/>
                    <a:gd name="connsiteY12" fmla="*/ 443409 h 454926"/>
                    <a:gd name="connsiteX0" fmla="*/ 5987 w 512127"/>
                    <a:gd name="connsiteY0" fmla="*/ 443409 h 454926"/>
                    <a:gd name="connsiteX1" fmla="*/ 2812 w 512127"/>
                    <a:gd name="connsiteY1" fmla="*/ 217984 h 454926"/>
                    <a:gd name="connsiteX2" fmla="*/ 72662 w 512127"/>
                    <a:gd name="connsiteY2" fmla="*/ 154484 h 454926"/>
                    <a:gd name="connsiteX3" fmla="*/ 174262 w 512127"/>
                    <a:gd name="connsiteY3" fmla="*/ 148134 h 454926"/>
                    <a:gd name="connsiteX4" fmla="*/ 190137 w 512127"/>
                    <a:gd name="connsiteY4" fmla="*/ 90984 h 454926"/>
                    <a:gd name="connsiteX5" fmla="*/ 202837 w 512127"/>
                    <a:gd name="connsiteY5" fmla="*/ 11609 h 454926"/>
                    <a:gd name="connsiteX6" fmla="*/ 313962 w 512127"/>
                    <a:gd name="connsiteY6" fmla="*/ 8434 h 454926"/>
                    <a:gd name="connsiteX7" fmla="*/ 313962 w 512127"/>
                    <a:gd name="connsiteY7" fmla="*/ 87809 h 454926"/>
                    <a:gd name="connsiteX8" fmla="*/ 336187 w 512127"/>
                    <a:gd name="connsiteY8" fmla="*/ 135434 h 454926"/>
                    <a:gd name="connsiteX9" fmla="*/ 447312 w 512127"/>
                    <a:gd name="connsiteY9" fmla="*/ 157659 h 454926"/>
                    <a:gd name="connsiteX10" fmla="*/ 510812 w 512127"/>
                    <a:gd name="connsiteY10" fmla="*/ 227509 h 454926"/>
                    <a:gd name="connsiteX11" fmla="*/ 507637 w 512127"/>
                    <a:gd name="connsiteY11" fmla="*/ 449759 h 454926"/>
                    <a:gd name="connsiteX12" fmla="*/ 5987 w 512127"/>
                    <a:gd name="connsiteY12" fmla="*/ 443409 h 454926"/>
                    <a:gd name="connsiteX0" fmla="*/ 9762 w 515902"/>
                    <a:gd name="connsiteY0" fmla="*/ 443409 h 454926"/>
                    <a:gd name="connsiteX1" fmla="*/ 6587 w 515902"/>
                    <a:gd name="connsiteY1" fmla="*/ 217984 h 454926"/>
                    <a:gd name="connsiteX2" fmla="*/ 76437 w 515902"/>
                    <a:gd name="connsiteY2" fmla="*/ 154484 h 454926"/>
                    <a:gd name="connsiteX3" fmla="*/ 178037 w 515902"/>
                    <a:gd name="connsiteY3" fmla="*/ 148134 h 454926"/>
                    <a:gd name="connsiteX4" fmla="*/ 193912 w 515902"/>
                    <a:gd name="connsiteY4" fmla="*/ 90984 h 454926"/>
                    <a:gd name="connsiteX5" fmla="*/ 206612 w 515902"/>
                    <a:gd name="connsiteY5" fmla="*/ 11609 h 454926"/>
                    <a:gd name="connsiteX6" fmla="*/ 317737 w 515902"/>
                    <a:gd name="connsiteY6" fmla="*/ 8434 h 454926"/>
                    <a:gd name="connsiteX7" fmla="*/ 317737 w 515902"/>
                    <a:gd name="connsiteY7" fmla="*/ 87809 h 454926"/>
                    <a:gd name="connsiteX8" fmla="*/ 339962 w 515902"/>
                    <a:gd name="connsiteY8" fmla="*/ 135434 h 454926"/>
                    <a:gd name="connsiteX9" fmla="*/ 451087 w 515902"/>
                    <a:gd name="connsiteY9" fmla="*/ 157659 h 454926"/>
                    <a:gd name="connsiteX10" fmla="*/ 514587 w 515902"/>
                    <a:gd name="connsiteY10" fmla="*/ 227509 h 454926"/>
                    <a:gd name="connsiteX11" fmla="*/ 511412 w 515902"/>
                    <a:gd name="connsiteY11" fmla="*/ 449759 h 454926"/>
                    <a:gd name="connsiteX12" fmla="*/ 9762 w 515902"/>
                    <a:gd name="connsiteY12" fmla="*/ 443409 h 454926"/>
                    <a:gd name="connsiteX0" fmla="*/ 9762 w 515902"/>
                    <a:gd name="connsiteY0" fmla="*/ 443409 h 454926"/>
                    <a:gd name="connsiteX1" fmla="*/ 6587 w 515902"/>
                    <a:gd name="connsiteY1" fmla="*/ 217984 h 454926"/>
                    <a:gd name="connsiteX2" fmla="*/ 76437 w 515902"/>
                    <a:gd name="connsiteY2" fmla="*/ 154484 h 454926"/>
                    <a:gd name="connsiteX3" fmla="*/ 178037 w 515902"/>
                    <a:gd name="connsiteY3" fmla="*/ 148134 h 454926"/>
                    <a:gd name="connsiteX4" fmla="*/ 193912 w 515902"/>
                    <a:gd name="connsiteY4" fmla="*/ 90984 h 454926"/>
                    <a:gd name="connsiteX5" fmla="*/ 206612 w 515902"/>
                    <a:gd name="connsiteY5" fmla="*/ 11609 h 454926"/>
                    <a:gd name="connsiteX6" fmla="*/ 317737 w 515902"/>
                    <a:gd name="connsiteY6" fmla="*/ 8434 h 454926"/>
                    <a:gd name="connsiteX7" fmla="*/ 317737 w 515902"/>
                    <a:gd name="connsiteY7" fmla="*/ 87809 h 454926"/>
                    <a:gd name="connsiteX8" fmla="*/ 339962 w 515902"/>
                    <a:gd name="connsiteY8" fmla="*/ 135434 h 454926"/>
                    <a:gd name="connsiteX9" fmla="*/ 451087 w 515902"/>
                    <a:gd name="connsiteY9" fmla="*/ 157659 h 454926"/>
                    <a:gd name="connsiteX10" fmla="*/ 514587 w 515902"/>
                    <a:gd name="connsiteY10" fmla="*/ 227509 h 454926"/>
                    <a:gd name="connsiteX11" fmla="*/ 511412 w 515902"/>
                    <a:gd name="connsiteY11" fmla="*/ 449759 h 454926"/>
                    <a:gd name="connsiteX12" fmla="*/ 9762 w 515902"/>
                    <a:gd name="connsiteY12" fmla="*/ 443409 h 454926"/>
                    <a:gd name="connsiteX0" fmla="*/ 9762 w 515902"/>
                    <a:gd name="connsiteY0" fmla="*/ 443409 h 454926"/>
                    <a:gd name="connsiteX1" fmla="*/ 6587 w 515902"/>
                    <a:gd name="connsiteY1" fmla="*/ 217984 h 454926"/>
                    <a:gd name="connsiteX2" fmla="*/ 76437 w 515902"/>
                    <a:gd name="connsiteY2" fmla="*/ 154484 h 454926"/>
                    <a:gd name="connsiteX3" fmla="*/ 193912 w 515902"/>
                    <a:gd name="connsiteY3" fmla="*/ 90984 h 454926"/>
                    <a:gd name="connsiteX4" fmla="*/ 206612 w 515902"/>
                    <a:gd name="connsiteY4" fmla="*/ 11609 h 454926"/>
                    <a:gd name="connsiteX5" fmla="*/ 317737 w 515902"/>
                    <a:gd name="connsiteY5" fmla="*/ 8434 h 454926"/>
                    <a:gd name="connsiteX6" fmla="*/ 317737 w 515902"/>
                    <a:gd name="connsiteY6" fmla="*/ 87809 h 454926"/>
                    <a:gd name="connsiteX7" fmla="*/ 339962 w 515902"/>
                    <a:gd name="connsiteY7" fmla="*/ 135434 h 454926"/>
                    <a:gd name="connsiteX8" fmla="*/ 451087 w 515902"/>
                    <a:gd name="connsiteY8" fmla="*/ 157659 h 454926"/>
                    <a:gd name="connsiteX9" fmla="*/ 514587 w 515902"/>
                    <a:gd name="connsiteY9" fmla="*/ 227509 h 454926"/>
                    <a:gd name="connsiteX10" fmla="*/ 511412 w 515902"/>
                    <a:gd name="connsiteY10" fmla="*/ 449759 h 454926"/>
                    <a:gd name="connsiteX11" fmla="*/ 9762 w 515902"/>
                    <a:gd name="connsiteY11" fmla="*/ 443409 h 454926"/>
                    <a:gd name="connsiteX0" fmla="*/ 9762 w 515902"/>
                    <a:gd name="connsiteY0" fmla="*/ 446099 h 457616"/>
                    <a:gd name="connsiteX1" fmla="*/ 6587 w 515902"/>
                    <a:gd name="connsiteY1" fmla="*/ 220674 h 457616"/>
                    <a:gd name="connsiteX2" fmla="*/ 76437 w 515902"/>
                    <a:gd name="connsiteY2" fmla="*/ 157174 h 457616"/>
                    <a:gd name="connsiteX3" fmla="*/ 190737 w 515902"/>
                    <a:gd name="connsiteY3" fmla="*/ 138124 h 457616"/>
                    <a:gd name="connsiteX4" fmla="*/ 206612 w 515902"/>
                    <a:gd name="connsiteY4" fmla="*/ 14299 h 457616"/>
                    <a:gd name="connsiteX5" fmla="*/ 317737 w 515902"/>
                    <a:gd name="connsiteY5" fmla="*/ 11124 h 457616"/>
                    <a:gd name="connsiteX6" fmla="*/ 317737 w 515902"/>
                    <a:gd name="connsiteY6" fmla="*/ 90499 h 457616"/>
                    <a:gd name="connsiteX7" fmla="*/ 339962 w 515902"/>
                    <a:gd name="connsiteY7" fmla="*/ 138124 h 457616"/>
                    <a:gd name="connsiteX8" fmla="*/ 451087 w 515902"/>
                    <a:gd name="connsiteY8" fmla="*/ 160349 h 457616"/>
                    <a:gd name="connsiteX9" fmla="*/ 514587 w 515902"/>
                    <a:gd name="connsiteY9" fmla="*/ 230199 h 457616"/>
                    <a:gd name="connsiteX10" fmla="*/ 511412 w 515902"/>
                    <a:gd name="connsiteY10" fmla="*/ 452449 h 457616"/>
                    <a:gd name="connsiteX11" fmla="*/ 9762 w 515902"/>
                    <a:gd name="connsiteY11" fmla="*/ 446099 h 457616"/>
                    <a:gd name="connsiteX0" fmla="*/ 9762 w 515902"/>
                    <a:gd name="connsiteY0" fmla="*/ 446099 h 457616"/>
                    <a:gd name="connsiteX1" fmla="*/ 6587 w 515902"/>
                    <a:gd name="connsiteY1" fmla="*/ 220674 h 457616"/>
                    <a:gd name="connsiteX2" fmla="*/ 76437 w 515902"/>
                    <a:gd name="connsiteY2" fmla="*/ 157174 h 457616"/>
                    <a:gd name="connsiteX3" fmla="*/ 190737 w 515902"/>
                    <a:gd name="connsiteY3" fmla="*/ 138124 h 457616"/>
                    <a:gd name="connsiteX4" fmla="*/ 206612 w 515902"/>
                    <a:gd name="connsiteY4" fmla="*/ 14299 h 457616"/>
                    <a:gd name="connsiteX5" fmla="*/ 317737 w 515902"/>
                    <a:gd name="connsiteY5" fmla="*/ 11124 h 457616"/>
                    <a:gd name="connsiteX6" fmla="*/ 317737 w 515902"/>
                    <a:gd name="connsiteY6" fmla="*/ 90499 h 457616"/>
                    <a:gd name="connsiteX7" fmla="*/ 451087 w 515902"/>
                    <a:gd name="connsiteY7" fmla="*/ 160349 h 457616"/>
                    <a:gd name="connsiteX8" fmla="*/ 514587 w 515902"/>
                    <a:gd name="connsiteY8" fmla="*/ 230199 h 457616"/>
                    <a:gd name="connsiteX9" fmla="*/ 511412 w 515902"/>
                    <a:gd name="connsiteY9" fmla="*/ 452449 h 457616"/>
                    <a:gd name="connsiteX10" fmla="*/ 9762 w 515902"/>
                    <a:gd name="connsiteY10" fmla="*/ 446099 h 457616"/>
                    <a:gd name="connsiteX0" fmla="*/ 9762 w 515902"/>
                    <a:gd name="connsiteY0" fmla="*/ 447482 h 458999"/>
                    <a:gd name="connsiteX1" fmla="*/ 6587 w 515902"/>
                    <a:gd name="connsiteY1" fmla="*/ 222057 h 458999"/>
                    <a:gd name="connsiteX2" fmla="*/ 76437 w 515902"/>
                    <a:gd name="connsiteY2" fmla="*/ 158557 h 458999"/>
                    <a:gd name="connsiteX3" fmla="*/ 190737 w 515902"/>
                    <a:gd name="connsiteY3" fmla="*/ 139507 h 458999"/>
                    <a:gd name="connsiteX4" fmla="*/ 206612 w 515902"/>
                    <a:gd name="connsiteY4" fmla="*/ 15682 h 458999"/>
                    <a:gd name="connsiteX5" fmla="*/ 317737 w 515902"/>
                    <a:gd name="connsiteY5" fmla="*/ 12507 h 458999"/>
                    <a:gd name="connsiteX6" fmla="*/ 330437 w 515902"/>
                    <a:gd name="connsiteY6" fmla="*/ 114107 h 458999"/>
                    <a:gd name="connsiteX7" fmla="*/ 451087 w 515902"/>
                    <a:gd name="connsiteY7" fmla="*/ 161732 h 458999"/>
                    <a:gd name="connsiteX8" fmla="*/ 514587 w 515902"/>
                    <a:gd name="connsiteY8" fmla="*/ 231582 h 458999"/>
                    <a:gd name="connsiteX9" fmla="*/ 511412 w 515902"/>
                    <a:gd name="connsiteY9" fmla="*/ 453832 h 458999"/>
                    <a:gd name="connsiteX10" fmla="*/ 9762 w 515902"/>
                    <a:gd name="connsiteY10" fmla="*/ 447482 h 458999"/>
                    <a:gd name="connsiteX0" fmla="*/ 9762 w 515902"/>
                    <a:gd name="connsiteY0" fmla="*/ 446348 h 457865"/>
                    <a:gd name="connsiteX1" fmla="*/ 6587 w 515902"/>
                    <a:gd name="connsiteY1" fmla="*/ 220923 h 457865"/>
                    <a:gd name="connsiteX2" fmla="*/ 76437 w 515902"/>
                    <a:gd name="connsiteY2" fmla="*/ 157423 h 457865"/>
                    <a:gd name="connsiteX3" fmla="*/ 200262 w 515902"/>
                    <a:gd name="connsiteY3" fmla="*/ 119323 h 457865"/>
                    <a:gd name="connsiteX4" fmla="*/ 206612 w 515902"/>
                    <a:gd name="connsiteY4" fmla="*/ 14548 h 457865"/>
                    <a:gd name="connsiteX5" fmla="*/ 317737 w 515902"/>
                    <a:gd name="connsiteY5" fmla="*/ 11373 h 457865"/>
                    <a:gd name="connsiteX6" fmla="*/ 330437 w 515902"/>
                    <a:gd name="connsiteY6" fmla="*/ 112973 h 457865"/>
                    <a:gd name="connsiteX7" fmla="*/ 451087 w 515902"/>
                    <a:gd name="connsiteY7" fmla="*/ 160598 h 457865"/>
                    <a:gd name="connsiteX8" fmla="*/ 514587 w 515902"/>
                    <a:gd name="connsiteY8" fmla="*/ 230448 h 457865"/>
                    <a:gd name="connsiteX9" fmla="*/ 511412 w 515902"/>
                    <a:gd name="connsiteY9" fmla="*/ 452698 h 457865"/>
                    <a:gd name="connsiteX10" fmla="*/ 9762 w 515902"/>
                    <a:gd name="connsiteY10" fmla="*/ 446348 h 457865"/>
                    <a:gd name="connsiteX0" fmla="*/ 9762 w 515902"/>
                    <a:gd name="connsiteY0" fmla="*/ 446681 h 458198"/>
                    <a:gd name="connsiteX1" fmla="*/ 6587 w 515902"/>
                    <a:gd name="connsiteY1" fmla="*/ 221256 h 458198"/>
                    <a:gd name="connsiteX2" fmla="*/ 76437 w 515902"/>
                    <a:gd name="connsiteY2" fmla="*/ 157756 h 458198"/>
                    <a:gd name="connsiteX3" fmla="*/ 200262 w 515902"/>
                    <a:gd name="connsiteY3" fmla="*/ 119656 h 458198"/>
                    <a:gd name="connsiteX4" fmla="*/ 206612 w 515902"/>
                    <a:gd name="connsiteY4" fmla="*/ 14881 h 458198"/>
                    <a:gd name="connsiteX5" fmla="*/ 317737 w 515902"/>
                    <a:gd name="connsiteY5" fmla="*/ 11706 h 458198"/>
                    <a:gd name="connsiteX6" fmla="*/ 311502 w 515902"/>
                    <a:gd name="connsiteY6" fmla="*/ 118302 h 458198"/>
                    <a:gd name="connsiteX7" fmla="*/ 451087 w 515902"/>
                    <a:gd name="connsiteY7" fmla="*/ 160931 h 458198"/>
                    <a:gd name="connsiteX8" fmla="*/ 514587 w 515902"/>
                    <a:gd name="connsiteY8" fmla="*/ 230781 h 458198"/>
                    <a:gd name="connsiteX9" fmla="*/ 511412 w 515902"/>
                    <a:gd name="connsiteY9" fmla="*/ 453031 h 458198"/>
                    <a:gd name="connsiteX10" fmla="*/ 9762 w 515902"/>
                    <a:gd name="connsiteY10" fmla="*/ 446681 h 458198"/>
                    <a:gd name="connsiteX0" fmla="*/ 9762 w 515902"/>
                    <a:gd name="connsiteY0" fmla="*/ 446681 h 458198"/>
                    <a:gd name="connsiteX1" fmla="*/ 6587 w 515902"/>
                    <a:gd name="connsiteY1" fmla="*/ 221256 h 458198"/>
                    <a:gd name="connsiteX2" fmla="*/ 76437 w 515902"/>
                    <a:gd name="connsiteY2" fmla="*/ 157756 h 458198"/>
                    <a:gd name="connsiteX3" fmla="*/ 200262 w 515902"/>
                    <a:gd name="connsiteY3" fmla="*/ 119656 h 458198"/>
                    <a:gd name="connsiteX4" fmla="*/ 206612 w 515902"/>
                    <a:gd name="connsiteY4" fmla="*/ 14881 h 458198"/>
                    <a:gd name="connsiteX5" fmla="*/ 301506 w 515902"/>
                    <a:gd name="connsiteY5" fmla="*/ 11706 h 458198"/>
                    <a:gd name="connsiteX6" fmla="*/ 311502 w 515902"/>
                    <a:gd name="connsiteY6" fmla="*/ 118302 h 458198"/>
                    <a:gd name="connsiteX7" fmla="*/ 451087 w 515902"/>
                    <a:gd name="connsiteY7" fmla="*/ 160931 h 458198"/>
                    <a:gd name="connsiteX8" fmla="*/ 514587 w 515902"/>
                    <a:gd name="connsiteY8" fmla="*/ 230781 h 458198"/>
                    <a:gd name="connsiteX9" fmla="*/ 511412 w 515902"/>
                    <a:gd name="connsiteY9" fmla="*/ 453031 h 458198"/>
                    <a:gd name="connsiteX10" fmla="*/ 9762 w 515902"/>
                    <a:gd name="connsiteY10" fmla="*/ 446681 h 458198"/>
                    <a:gd name="connsiteX0" fmla="*/ 9762 w 515902"/>
                    <a:gd name="connsiteY0" fmla="*/ 446681 h 458198"/>
                    <a:gd name="connsiteX1" fmla="*/ 6587 w 515902"/>
                    <a:gd name="connsiteY1" fmla="*/ 221256 h 458198"/>
                    <a:gd name="connsiteX2" fmla="*/ 76437 w 515902"/>
                    <a:gd name="connsiteY2" fmla="*/ 157756 h 458198"/>
                    <a:gd name="connsiteX3" fmla="*/ 200262 w 515902"/>
                    <a:gd name="connsiteY3" fmla="*/ 119656 h 458198"/>
                    <a:gd name="connsiteX4" fmla="*/ 206612 w 515902"/>
                    <a:gd name="connsiteY4" fmla="*/ 14881 h 458198"/>
                    <a:gd name="connsiteX5" fmla="*/ 301506 w 515902"/>
                    <a:gd name="connsiteY5" fmla="*/ 11706 h 458198"/>
                    <a:gd name="connsiteX6" fmla="*/ 311502 w 515902"/>
                    <a:gd name="connsiteY6" fmla="*/ 118302 h 458198"/>
                    <a:gd name="connsiteX7" fmla="*/ 442972 w 515902"/>
                    <a:gd name="connsiteY7" fmla="*/ 180912 h 458198"/>
                    <a:gd name="connsiteX8" fmla="*/ 514587 w 515902"/>
                    <a:gd name="connsiteY8" fmla="*/ 230781 h 458198"/>
                    <a:gd name="connsiteX9" fmla="*/ 511412 w 515902"/>
                    <a:gd name="connsiteY9" fmla="*/ 453031 h 458198"/>
                    <a:gd name="connsiteX10" fmla="*/ 9762 w 515902"/>
                    <a:gd name="connsiteY10" fmla="*/ 446681 h 458198"/>
                    <a:gd name="connsiteX0" fmla="*/ 9762 w 511905"/>
                    <a:gd name="connsiteY0" fmla="*/ 446681 h 458198"/>
                    <a:gd name="connsiteX1" fmla="*/ 6587 w 511905"/>
                    <a:gd name="connsiteY1" fmla="*/ 221256 h 458198"/>
                    <a:gd name="connsiteX2" fmla="*/ 76437 w 511905"/>
                    <a:gd name="connsiteY2" fmla="*/ 157756 h 458198"/>
                    <a:gd name="connsiteX3" fmla="*/ 200262 w 511905"/>
                    <a:gd name="connsiteY3" fmla="*/ 119656 h 458198"/>
                    <a:gd name="connsiteX4" fmla="*/ 206612 w 511905"/>
                    <a:gd name="connsiteY4" fmla="*/ 14881 h 458198"/>
                    <a:gd name="connsiteX5" fmla="*/ 301506 w 511905"/>
                    <a:gd name="connsiteY5" fmla="*/ 11706 h 458198"/>
                    <a:gd name="connsiteX6" fmla="*/ 311502 w 511905"/>
                    <a:gd name="connsiteY6" fmla="*/ 118302 h 458198"/>
                    <a:gd name="connsiteX7" fmla="*/ 442972 w 511905"/>
                    <a:gd name="connsiteY7" fmla="*/ 180912 h 458198"/>
                    <a:gd name="connsiteX8" fmla="*/ 498357 w 511905"/>
                    <a:gd name="connsiteY8" fmla="*/ 250762 h 458198"/>
                    <a:gd name="connsiteX9" fmla="*/ 511412 w 511905"/>
                    <a:gd name="connsiteY9" fmla="*/ 453031 h 458198"/>
                    <a:gd name="connsiteX10" fmla="*/ 9762 w 511905"/>
                    <a:gd name="connsiteY10" fmla="*/ 446681 h 458198"/>
                    <a:gd name="connsiteX0" fmla="*/ 9762 w 511905"/>
                    <a:gd name="connsiteY0" fmla="*/ 446681 h 458198"/>
                    <a:gd name="connsiteX1" fmla="*/ 6587 w 511905"/>
                    <a:gd name="connsiteY1" fmla="*/ 221256 h 458198"/>
                    <a:gd name="connsiteX2" fmla="*/ 76437 w 511905"/>
                    <a:gd name="connsiteY2" fmla="*/ 157756 h 458198"/>
                    <a:gd name="connsiteX3" fmla="*/ 200262 w 511905"/>
                    <a:gd name="connsiteY3" fmla="*/ 119656 h 458198"/>
                    <a:gd name="connsiteX4" fmla="*/ 206612 w 511905"/>
                    <a:gd name="connsiteY4" fmla="*/ 14881 h 458198"/>
                    <a:gd name="connsiteX5" fmla="*/ 301506 w 511905"/>
                    <a:gd name="connsiteY5" fmla="*/ 11706 h 458198"/>
                    <a:gd name="connsiteX6" fmla="*/ 311502 w 511905"/>
                    <a:gd name="connsiteY6" fmla="*/ 118302 h 458198"/>
                    <a:gd name="connsiteX7" fmla="*/ 437562 w 511905"/>
                    <a:gd name="connsiteY7" fmla="*/ 198396 h 458198"/>
                    <a:gd name="connsiteX8" fmla="*/ 498357 w 511905"/>
                    <a:gd name="connsiteY8" fmla="*/ 250762 h 458198"/>
                    <a:gd name="connsiteX9" fmla="*/ 511412 w 511905"/>
                    <a:gd name="connsiteY9" fmla="*/ 453031 h 458198"/>
                    <a:gd name="connsiteX10" fmla="*/ 9762 w 511905"/>
                    <a:gd name="connsiteY10" fmla="*/ 446681 h 458198"/>
                    <a:gd name="connsiteX0" fmla="*/ 9762 w 511905"/>
                    <a:gd name="connsiteY0" fmla="*/ 446681 h 458198"/>
                    <a:gd name="connsiteX1" fmla="*/ 6587 w 511905"/>
                    <a:gd name="connsiteY1" fmla="*/ 221256 h 458198"/>
                    <a:gd name="connsiteX2" fmla="*/ 76437 w 511905"/>
                    <a:gd name="connsiteY2" fmla="*/ 157756 h 458198"/>
                    <a:gd name="connsiteX3" fmla="*/ 200262 w 511905"/>
                    <a:gd name="connsiteY3" fmla="*/ 119656 h 458198"/>
                    <a:gd name="connsiteX4" fmla="*/ 206612 w 511905"/>
                    <a:gd name="connsiteY4" fmla="*/ 14881 h 458198"/>
                    <a:gd name="connsiteX5" fmla="*/ 301506 w 511905"/>
                    <a:gd name="connsiteY5" fmla="*/ 11706 h 458198"/>
                    <a:gd name="connsiteX6" fmla="*/ 311502 w 511905"/>
                    <a:gd name="connsiteY6" fmla="*/ 118302 h 458198"/>
                    <a:gd name="connsiteX7" fmla="*/ 451087 w 511905"/>
                    <a:gd name="connsiteY7" fmla="*/ 188406 h 458198"/>
                    <a:gd name="connsiteX8" fmla="*/ 498357 w 511905"/>
                    <a:gd name="connsiteY8" fmla="*/ 250762 h 458198"/>
                    <a:gd name="connsiteX9" fmla="*/ 511412 w 511905"/>
                    <a:gd name="connsiteY9" fmla="*/ 453031 h 458198"/>
                    <a:gd name="connsiteX10" fmla="*/ 9762 w 511905"/>
                    <a:gd name="connsiteY10" fmla="*/ 446681 h 458198"/>
                    <a:gd name="connsiteX0" fmla="*/ 9762 w 511905"/>
                    <a:gd name="connsiteY0" fmla="*/ 447695 h 459212"/>
                    <a:gd name="connsiteX1" fmla="*/ 6587 w 511905"/>
                    <a:gd name="connsiteY1" fmla="*/ 222270 h 459212"/>
                    <a:gd name="connsiteX2" fmla="*/ 76437 w 511905"/>
                    <a:gd name="connsiteY2" fmla="*/ 158770 h 459212"/>
                    <a:gd name="connsiteX3" fmla="*/ 200262 w 511905"/>
                    <a:gd name="connsiteY3" fmla="*/ 120670 h 459212"/>
                    <a:gd name="connsiteX4" fmla="*/ 206612 w 511905"/>
                    <a:gd name="connsiteY4" fmla="*/ 15895 h 459212"/>
                    <a:gd name="connsiteX5" fmla="*/ 301506 w 511905"/>
                    <a:gd name="connsiteY5" fmla="*/ 12720 h 459212"/>
                    <a:gd name="connsiteX6" fmla="*/ 311502 w 511905"/>
                    <a:gd name="connsiteY6" fmla="*/ 134302 h 459212"/>
                    <a:gd name="connsiteX7" fmla="*/ 451087 w 511905"/>
                    <a:gd name="connsiteY7" fmla="*/ 189420 h 459212"/>
                    <a:gd name="connsiteX8" fmla="*/ 498357 w 511905"/>
                    <a:gd name="connsiteY8" fmla="*/ 251776 h 459212"/>
                    <a:gd name="connsiteX9" fmla="*/ 511412 w 511905"/>
                    <a:gd name="connsiteY9" fmla="*/ 454045 h 459212"/>
                    <a:gd name="connsiteX10" fmla="*/ 9762 w 511905"/>
                    <a:gd name="connsiteY10" fmla="*/ 447695 h 459212"/>
                    <a:gd name="connsiteX0" fmla="*/ 4227 w 522600"/>
                    <a:gd name="connsiteY0" fmla="*/ 455188 h 463021"/>
                    <a:gd name="connsiteX1" fmla="*/ 17282 w 522600"/>
                    <a:gd name="connsiteY1" fmla="*/ 222270 h 463021"/>
                    <a:gd name="connsiteX2" fmla="*/ 87132 w 522600"/>
                    <a:gd name="connsiteY2" fmla="*/ 158770 h 463021"/>
                    <a:gd name="connsiteX3" fmla="*/ 210957 w 522600"/>
                    <a:gd name="connsiteY3" fmla="*/ 120670 h 463021"/>
                    <a:gd name="connsiteX4" fmla="*/ 217307 w 522600"/>
                    <a:gd name="connsiteY4" fmla="*/ 15895 h 463021"/>
                    <a:gd name="connsiteX5" fmla="*/ 312201 w 522600"/>
                    <a:gd name="connsiteY5" fmla="*/ 12720 h 463021"/>
                    <a:gd name="connsiteX6" fmla="*/ 322197 w 522600"/>
                    <a:gd name="connsiteY6" fmla="*/ 134302 h 463021"/>
                    <a:gd name="connsiteX7" fmla="*/ 461782 w 522600"/>
                    <a:gd name="connsiteY7" fmla="*/ 189420 h 463021"/>
                    <a:gd name="connsiteX8" fmla="*/ 509052 w 522600"/>
                    <a:gd name="connsiteY8" fmla="*/ 251776 h 463021"/>
                    <a:gd name="connsiteX9" fmla="*/ 522107 w 522600"/>
                    <a:gd name="connsiteY9" fmla="*/ 454045 h 463021"/>
                    <a:gd name="connsiteX10" fmla="*/ 4227 w 522600"/>
                    <a:gd name="connsiteY10" fmla="*/ 455188 h 463021"/>
                    <a:gd name="connsiteX0" fmla="*/ 4227 w 522600"/>
                    <a:gd name="connsiteY0" fmla="*/ 455188 h 457596"/>
                    <a:gd name="connsiteX1" fmla="*/ 17282 w 522600"/>
                    <a:gd name="connsiteY1" fmla="*/ 222270 h 457596"/>
                    <a:gd name="connsiteX2" fmla="*/ 87132 w 522600"/>
                    <a:gd name="connsiteY2" fmla="*/ 158770 h 457596"/>
                    <a:gd name="connsiteX3" fmla="*/ 210957 w 522600"/>
                    <a:gd name="connsiteY3" fmla="*/ 120670 h 457596"/>
                    <a:gd name="connsiteX4" fmla="*/ 217307 w 522600"/>
                    <a:gd name="connsiteY4" fmla="*/ 15895 h 457596"/>
                    <a:gd name="connsiteX5" fmla="*/ 312201 w 522600"/>
                    <a:gd name="connsiteY5" fmla="*/ 12720 h 457596"/>
                    <a:gd name="connsiteX6" fmla="*/ 322197 w 522600"/>
                    <a:gd name="connsiteY6" fmla="*/ 134302 h 457596"/>
                    <a:gd name="connsiteX7" fmla="*/ 461782 w 522600"/>
                    <a:gd name="connsiteY7" fmla="*/ 189420 h 457596"/>
                    <a:gd name="connsiteX8" fmla="*/ 509052 w 522600"/>
                    <a:gd name="connsiteY8" fmla="*/ 251776 h 457596"/>
                    <a:gd name="connsiteX9" fmla="*/ 522107 w 522600"/>
                    <a:gd name="connsiteY9" fmla="*/ 454045 h 457596"/>
                    <a:gd name="connsiteX10" fmla="*/ 4227 w 522600"/>
                    <a:gd name="connsiteY10" fmla="*/ 455188 h 457596"/>
                    <a:gd name="connsiteX0" fmla="*/ 12757 w 531130"/>
                    <a:gd name="connsiteY0" fmla="*/ 455188 h 457596"/>
                    <a:gd name="connsiteX1" fmla="*/ 6876 w 531130"/>
                    <a:gd name="connsiteY1" fmla="*/ 237256 h 457596"/>
                    <a:gd name="connsiteX2" fmla="*/ 95662 w 531130"/>
                    <a:gd name="connsiteY2" fmla="*/ 158770 h 457596"/>
                    <a:gd name="connsiteX3" fmla="*/ 219487 w 531130"/>
                    <a:gd name="connsiteY3" fmla="*/ 120670 h 457596"/>
                    <a:gd name="connsiteX4" fmla="*/ 225837 w 531130"/>
                    <a:gd name="connsiteY4" fmla="*/ 15895 h 457596"/>
                    <a:gd name="connsiteX5" fmla="*/ 320731 w 531130"/>
                    <a:gd name="connsiteY5" fmla="*/ 12720 h 457596"/>
                    <a:gd name="connsiteX6" fmla="*/ 330727 w 531130"/>
                    <a:gd name="connsiteY6" fmla="*/ 134302 h 457596"/>
                    <a:gd name="connsiteX7" fmla="*/ 470312 w 531130"/>
                    <a:gd name="connsiteY7" fmla="*/ 189420 h 457596"/>
                    <a:gd name="connsiteX8" fmla="*/ 517582 w 531130"/>
                    <a:gd name="connsiteY8" fmla="*/ 251776 h 457596"/>
                    <a:gd name="connsiteX9" fmla="*/ 530637 w 531130"/>
                    <a:gd name="connsiteY9" fmla="*/ 454045 h 457596"/>
                    <a:gd name="connsiteX10" fmla="*/ 12757 w 531130"/>
                    <a:gd name="connsiteY10" fmla="*/ 455188 h 457596"/>
                    <a:gd name="connsiteX0" fmla="*/ 7226 w 536419"/>
                    <a:gd name="connsiteY0" fmla="*/ 447695 h 456315"/>
                    <a:gd name="connsiteX1" fmla="*/ 12165 w 536419"/>
                    <a:gd name="connsiteY1" fmla="*/ 237256 h 456315"/>
                    <a:gd name="connsiteX2" fmla="*/ 100951 w 536419"/>
                    <a:gd name="connsiteY2" fmla="*/ 158770 h 456315"/>
                    <a:gd name="connsiteX3" fmla="*/ 224776 w 536419"/>
                    <a:gd name="connsiteY3" fmla="*/ 120670 h 456315"/>
                    <a:gd name="connsiteX4" fmla="*/ 231126 w 536419"/>
                    <a:gd name="connsiteY4" fmla="*/ 15895 h 456315"/>
                    <a:gd name="connsiteX5" fmla="*/ 326020 w 536419"/>
                    <a:gd name="connsiteY5" fmla="*/ 12720 h 456315"/>
                    <a:gd name="connsiteX6" fmla="*/ 336016 w 536419"/>
                    <a:gd name="connsiteY6" fmla="*/ 134302 h 456315"/>
                    <a:gd name="connsiteX7" fmla="*/ 475601 w 536419"/>
                    <a:gd name="connsiteY7" fmla="*/ 189420 h 456315"/>
                    <a:gd name="connsiteX8" fmla="*/ 522871 w 536419"/>
                    <a:gd name="connsiteY8" fmla="*/ 251776 h 456315"/>
                    <a:gd name="connsiteX9" fmla="*/ 535926 w 536419"/>
                    <a:gd name="connsiteY9" fmla="*/ 454045 h 456315"/>
                    <a:gd name="connsiteX10" fmla="*/ 7226 w 536419"/>
                    <a:gd name="connsiteY10" fmla="*/ 447695 h 456315"/>
                    <a:gd name="connsiteX0" fmla="*/ 7226 w 528834"/>
                    <a:gd name="connsiteY0" fmla="*/ 447695 h 456315"/>
                    <a:gd name="connsiteX1" fmla="*/ 12165 w 528834"/>
                    <a:gd name="connsiteY1" fmla="*/ 237256 h 456315"/>
                    <a:gd name="connsiteX2" fmla="*/ 100951 w 528834"/>
                    <a:gd name="connsiteY2" fmla="*/ 158770 h 456315"/>
                    <a:gd name="connsiteX3" fmla="*/ 224776 w 528834"/>
                    <a:gd name="connsiteY3" fmla="*/ 120670 h 456315"/>
                    <a:gd name="connsiteX4" fmla="*/ 231126 w 528834"/>
                    <a:gd name="connsiteY4" fmla="*/ 15895 h 456315"/>
                    <a:gd name="connsiteX5" fmla="*/ 326020 w 528834"/>
                    <a:gd name="connsiteY5" fmla="*/ 12720 h 456315"/>
                    <a:gd name="connsiteX6" fmla="*/ 336016 w 528834"/>
                    <a:gd name="connsiteY6" fmla="*/ 134302 h 456315"/>
                    <a:gd name="connsiteX7" fmla="*/ 475601 w 528834"/>
                    <a:gd name="connsiteY7" fmla="*/ 189420 h 456315"/>
                    <a:gd name="connsiteX8" fmla="*/ 522871 w 528834"/>
                    <a:gd name="connsiteY8" fmla="*/ 251776 h 456315"/>
                    <a:gd name="connsiteX9" fmla="*/ 527811 w 528834"/>
                    <a:gd name="connsiteY9" fmla="*/ 454045 h 456315"/>
                    <a:gd name="connsiteX10" fmla="*/ 7226 w 528834"/>
                    <a:gd name="connsiteY10" fmla="*/ 447695 h 456315"/>
                    <a:gd name="connsiteX0" fmla="*/ 7226 w 528834"/>
                    <a:gd name="connsiteY0" fmla="*/ 447695 h 456315"/>
                    <a:gd name="connsiteX1" fmla="*/ 12165 w 528834"/>
                    <a:gd name="connsiteY1" fmla="*/ 237256 h 456315"/>
                    <a:gd name="connsiteX2" fmla="*/ 100951 w 528834"/>
                    <a:gd name="connsiteY2" fmla="*/ 158770 h 456315"/>
                    <a:gd name="connsiteX3" fmla="*/ 224776 w 528834"/>
                    <a:gd name="connsiteY3" fmla="*/ 120670 h 456315"/>
                    <a:gd name="connsiteX4" fmla="*/ 231126 w 528834"/>
                    <a:gd name="connsiteY4" fmla="*/ 15895 h 456315"/>
                    <a:gd name="connsiteX5" fmla="*/ 326020 w 528834"/>
                    <a:gd name="connsiteY5" fmla="*/ 12720 h 456315"/>
                    <a:gd name="connsiteX6" fmla="*/ 336016 w 528834"/>
                    <a:gd name="connsiteY6" fmla="*/ 134302 h 456315"/>
                    <a:gd name="connsiteX7" fmla="*/ 462076 w 528834"/>
                    <a:gd name="connsiteY7" fmla="*/ 184425 h 456315"/>
                    <a:gd name="connsiteX8" fmla="*/ 522871 w 528834"/>
                    <a:gd name="connsiteY8" fmla="*/ 251776 h 456315"/>
                    <a:gd name="connsiteX9" fmla="*/ 527811 w 528834"/>
                    <a:gd name="connsiteY9" fmla="*/ 454045 h 456315"/>
                    <a:gd name="connsiteX10" fmla="*/ 7226 w 528834"/>
                    <a:gd name="connsiteY10" fmla="*/ 447695 h 456315"/>
                    <a:gd name="connsiteX0" fmla="*/ 8515 w 530123"/>
                    <a:gd name="connsiteY0" fmla="*/ 447695 h 456315"/>
                    <a:gd name="connsiteX1" fmla="*/ 10749 w 530123"/>
                    <a:gd name="connsiteY1" fmla="*/ 244749 h 456315"/>
                    <a:gd name="connsiteX2" fmla="*/ 102240 w 530123"/>
                    <a:gd name="connsiteY2" fmla="*/ 158770 h 456315"/>
                    <a:gd name="connsiteX3" fmla="*/ 226065 w 530123"/>
                    <a:gd name="connsiteY3" fmla="*/ 120670 h 456315"/>
                    <a:gd name="connsiteX4" fmla="*/ 232415 w 530123"/>
                    <a:gd name="connsiteY4" fmla="*/ 15895 h 456315"/>
                    <a:gd name="connsiteX5" fmla="*/ 327309 w 530123"/>
                    <a:gd name="connsiteY5" fmla="*/ 12720 h 456315"/>
                    <a:gd name="connsiteX6" fmla="*/ 337305 w 530123"/>
                    <a:gd name="connsiteY6" fmla="*/ 134302 h 456315"/>
                    <a:gd name="connsiteX7" fmla="*/ 463365 w 530123"/>
                    <a:gd name="connsiteY7" fmla="*/ 184425 h 456315"/>
                    <a:gd name="connsiteX8" fmla="*/ 524160 w 530123"/>
                    <a:gd name="connsiteY8" fmla="*/ 251776 h 456315"/>
                    <a:gd name="connsiteX9" fmla="*/ 529100 w 530123"/>
                    <a:gd name="connsiteY9" fmla="*/ 454045 h 456315"/>
                    <a:gd name="connsiteX10" fmla="*/ 8515 w 530123"/>
                    <a:gd name="connsiteY10" fmla="*/ 447695 h 456315"/>
                    <a:gd name="connsiteX0" fmla="*/ 7671 w 529279"/>
                    <a:gd name="connsiteY0" fmla="*/ 447695 h 456315"/>
                    <a:gd name="connsiteX1" fmla="*/ 9905 w 529279"/>
                    <a:gd name="connsiteY1" fmla="*/ 244749 h 456315"/>
                    <a:gd name="connsiteX2" fmla="*/ 87870 w 529279"/>
                    <a:gd name="connsiteY2" fmla="*/ 166263 h 456315"/>
                    <a:gd name="connsiteX3" fmla="*/ 225221 w 529279"/>
                    <a:gd name="connsiteY3" fmla="*/ 120670 h 456315"/>
                    <a:gd name="connsiteX4" fmla="*/ 231571 w 529279"/>
                    <a:gd name="connsiteY4" fmla="*/ 15895 h 456315"/>
                    <a:gd name="connsiteX5" fmla="*/ 326465 w 529279"/>
                    <a:gd name="connsiteY5" fmla="*/ 12720 h 456315"/>
                    <a:gd name="connsiteX6" fmla="*/ 336461 w 529279"/>
                    <a:gd name="connsiteY6" fmla="*/ 134302 h 456315"/>
                    <a:gd name="connsiteX7" fmla="*/ 462521 w 529279"/>
                    <a:gd name="connsiteY7" fmla="*/ 184425 h 456315"/>
                    <a:gd name="connsiteX8" fmla="*/ 523316 w 529279"/>
                    <a:gd name="connsiteY8" fmla="*/ 251776 h 456315"/>
                    <a:gd name="connsiteX9" fmla="*/ 528256 w 529279"/>
                    <a:gd name="connsiteY9" fmla="*/ 454045 h 456315"/>
                    <a:gd name="connsiteX10" fmla="*/ 7671 w 529279"/>
                    <a:gd name="connsiteY10" fmla="*/ 447695 h 456315"/>
                    <a:gd name="connsiteX0" fmla="*/ 7671 w 529279"/>
                    <a:gd name="connsiteY0" fmla="*/ 447558 h 456178"/>
                    <a:gd name="connsiteX1" fmla="*/ 9905 w 529279"/>
                    <a:gd name="connsiteY1" fmla="*/ 244612 h 456178"/>
                    <a:gd name="connsiteX2" fmla="*/ 87870 w 529279"/>
                    <a:gd name="connsiteY2" fmla="*/ 166126 h 456178"/>
                    <a:gd name="connsiteX3" fmla="*/ 206285 w 529279"/>
                    <a:gd name="connsiteY3" fmla="*/ 118035 h 456178"/>
                    <a:gd name="connsiteX4" fmla="*/ 231571 w 529279"/>
                    <a:gd name="connsiteY4" fmla="*/ 15758 h 456178"/>
                    <a:gd name="connsiteX5" fmla="*/ 326465 w 529279"/>
                    <a:gd name="connsiteY5" fmla="*/ 12583 h 456178"/>
                    <a:gd name="connsiteX6" fmla="*/ 336461 w 529279"/>
                    <a:gd name="connsiteY6" fmla="*/ 134165 h 456178"/>
                    <a:gd name="connsiteX7" fmla="*/ 462521 w 529279"/>
                    <a:gd name="connsiteY7" fmla="*/ 184288 h 456178"/>
                    <a:gd name="connsiteX8" fmla="*/ 523316 w 529279"/>
                    <a:gd name="connsiteY8" fmla="*/ 251639 h 456178"/>
                    <a:gd name="connsiteX9" fmla="*/ 528256 w 529279"/>
                    <a:gd name="connsiteY9" fmla="*/ 453908 h 456178"/>
                    <a:gd name="connsiteX10" fmla="*/ 7671 w 529279"/>
                    <a:gd name="connsiteY10" fmla="*/ 447558 h 456178"/>
                    <a:gd name="connsiteX0" fmla="*/ 14544 w 536152"/>
                    <a:gd name="connsiteY0" fmla="*/ 447558 h 456178"/>
                    <a:gd name="connsiteX1" fmla="*/ 5958 w 536152"/>
                    <a:gd name="connsiteY1" fmla="*/ 247109 h 456178"/>
                    <a:gd name="connsiteX2" fmla="*/ 94743 w 536152"/>
                    <a:gd name="connsiteY2" fmla="*/ 166126 h 456178"/>
                    <a:gd name="connsiteX3" fmla="*/ 213158 w 536152"/>
                    <a:gd name="connsiteY3" fmla="*/ 118035 h 456178"/>
                    <a:gd name="connsiteX4" fmla="*/ 238444 w 536152"/>
                    <a:gd name="connsiteY4" fmla="*/ 15758 h 456178"/>
                    <a:gd name="connsiteX5" fmla="*/ 333338 w 536152"/>
                    <a:gd name="connsiteY5" fmla="*/ 12583 h 456178"/>
                    <a:gd name="connsiteX6" fmla="*/ 343334 w 536152"/>
                    <a:gd name="connsiteY6" fmla="*/ 134165 h 456178"/>
                    <a:gd name="connsiteX7" fmla="*/ 469394 w 536152"/>
                    <a:gd name="connsiteY7" fmla="*/ 184288 h 456178"/>
                    <a:gd name="connsiteX8" fmla="*/ 530189 w 536152"/>
                    <a:gd name="connsiteY8" fmla="*/ 251639 h 456178"/>
                    <a:gd name="connsiteX9" fmla="*/ 535129 w 536152"/>
                    <a:gd name="connsiteY9" fmla="*/ 453908 h 456178"/>
                    <a:gd name="connsiteX10" fmla="*/ 14544 w 536152"/>
                    <a:gd name="connsiteY10" fmla="*/ 447558 h 456178"/>
                    <a:gd name="connsiteX0" fmla="*/ 7226 w 542359"/>
                    <a:gd name="connsiteY0" fmla="*/ 450055 h 456488"/>
                    <a:gd name="connsiteX1" fmla="*/ 12165 w 542359"/>
                    <a:gd name="connsiteY1" fmla="*/ 247109 h 456488"/>
                    <a:gd name="connsiteX2" fmla="*/ 100950 w 542359"/>
                    <a:gd name="connsiteY2" fmla="*/ 166126 h 456488"/>
                    <a:gd name="connsiteX3" fmla="*/ 219365 w 542359"/>
                    <a:gd name="connsiteY3" fmla="*/ 118035 h 456488"/>
                    <a:gd name="connsiteX4" fmla="*/ 244651 w 542359"/>
                    <a:gd name="connsiteY4" fmla="*/ 15758 h 456488"/>
                    <a:gd name="connsiteX5" fmla="*/ 339545 w 542359"/>
                    <a:gd name="connsiteY5" fmla="*/ 12583 h 456488"/>
                    <a:gd name="connsiteX6" fmla="*/ 349541 w 542359"/>
                    <a:gd name="connsiteY6" fmla="*/ 134165 h 456488"/>
                    <a:gd name="connsiteX7" fmla="*/ 475601 w 542359"/>
                    <a:gd name="connsiteY7" fmla="*/ 184288 h 456488"/>
                    <a:gd name="connsiteX8" fmla="*/ 536396 w 542359"/>
                    <a:gd name="connsiteY8" fmla="*/ 251639 h 456488"/>
                    <a:gd name="connsiteX9" fmla="*/ 541336 w 542359"/>
                    <a:gd name="connsiteY9" fmla="*/ 453908 h 456488"/>
                    <a:gd name="connsiteX10" fmla="*/ 7226 w 542359"/>
                    <a:gd name="connsiteY10" fmla="*/ 450055 h 456488"/>
                    <a:gd name="connsiteX0" fmla="*/ 7226 w 542359"/>
                    <a:gd name="connsiteY0" fmla="*/ 450055 h 456488"/>
                    <a:gd name="connsiteX1" fmla="*/ 12165 w 542359"/>
                    <a:gd name="connsiteY1" fmla="*/ 247109 h 456488"/>
                    <a:gd name="connsiteX2" fmla="*/ 100950 w 542359"/>
                    <a:gd name="connsiteY2" fmla="*/ 166126 h 456488"/>
                    <a:gd name="connsiteX3" fmla="*/ 219365 w 542359"/>
                    <a:gd name="connsiteY3" fmla="*/ 118035 h 456488"/>
                    <a:gd name="connsiteX4" fmla="*/ 244651 w 542359"/>
                    <a:gd name="connsiteY4" fmla="*/ 15758 h 456488"/>
                    <a:gd name="connsiteX5" fmla="*/ 331430 w 542359"/>
                    <a:gd name="connsiteY5" fmla="*/ 12583 h 456488"/>
                    <a:gd name="connsiteX6" fmla="*/ 349541 w 542359"/>
                    <a:gd name="connsiteY6" fmla="*/ 134165 h 456488"/>
                    <a:gd name="connsiteX7" fmla="*/ 475601 w 542359"/>
                    <a:gd name="connsiteY7" fmla="*/ 184288 h 456488"/>
                    <a:gd name="connsiteX8" fmla="*/ 536396 w 542359"/>
                    <a:gd name="connsiteY8" fmla="*/ 251639 h 456488"/>
                    <a:gd name="connsiteX9" fmla="*/ 541336 w 542359"/>
                    <a:gd name="connsiteY9" fmla="*/ 453908 h 456488"/>
                    <a:gd name="connsiteX10" fmla="*/ 7226 w 542359"/>
                    <a:gd name="connsiteY10" fmla="*/ 450055 h 456488"/>
                    <a:gd name="connsiteX0" fmla="*/ 7226 w 542359"/>
                    <a:gd name="connsiteY0" fmla="*/ 450055 h 456488"/>
                    <a:gd name="connsiteX1" fmla="*/ 12165 w 542359"/>
                    <a:gd name="connsiteY1" fmla="*/ 247109 h 456488"/>
                    <a:gd name="connsiteX2" fmla="*/ 100950 w 542359"/>
                    <a:gd name="connsiteY2" fmla="*/ 166126 h 456488"/>
                    <a:gd name="connsiteX3" fmla="*/ 219365 w 542359"/>
                    <a:gd name="connsiteY3" fmla="*/ 118035 h 456488"/>
                    <a:gd name="connsiteX4" fmla="*/ 244651 w 542359"/>
                    <a:gd name="connsiteY4" fmla="*/ 15758 h 456488"/>
                    <a:gd name="connsiteX5" fmla="*/ 331430 w 542359"/>
                    <a:gd name="connsiteY5" fmla="*/ 12583 h 456488"/>
                    <a:gd name="connsiteX6" fmla="*/ 349541 w 542359"/>
                    <a:gd name="connsiteY6" fmla="*/ 134165 h 456488"/>
                    <a:gd name="connsiteX7" fmla="*/ 483716 w 542359"/>
                    <a:gd name="connsiteY7" fmla="*/ 179293 h 456488"/>
                    <a:gd name="connsiteX8" fmla="*/ 536396 w 542359"/>
                    <a:gd name="connsiteY8" fmla="*/ 251639 h 456488"/>
                    <a:gd name="connsiteX9" fmla="*/ 541336 w 542359"/>
                    <a:gd name="connsiteY9" fmla="*/ 453908 h 456488"/>
                    <a:gd name="connsiteX10" fmla="*/ 7226 w 542359"/>
                    <a:gd name="connsiteY10" fmla="*/ 450055 h 456488"/>
                    <a:gd name="connsiteX0" fmla="*/ 6630 w 541763"/>
                    <a:gd name="connsiteY0" fmla="*/ 450055 h 456488"/>
                    <a:gd name="connsiteX1" fmla="*/ 11569 w 541763"/>
                    <a:gd name="connsiteY1" fmla="*/ 247109 h 456488"/>
                    <a:gd name="connsiteX2" fmla="*/ 89534 w 541763"/>
                    <a:gd name="connsiteY2" fmla="*/ 166126 h 456488"/>
                    <a:gd name="connsiteX3" fmla="*/ 218769 w 541763"/>
                    <a:gd name="connsiteY3" fmla="*/ 118035 h 456488"/>
                    <a:gd name="connsiteX4" fmla="*/ 244055 w 541763"/>
                    <a:gd name="connsiteY4" fmla="*/ 15758 h 456488"/>
                    <a:gd name="connsiteX5" fmla="*/ 330834 w 541763"/>
                    <a:gd name="connsiteY5" fmla="*/ 12583 h 456488"/>
                    <a:gd name="connsiteX6" fmla="*/ 348945 w 541763"/>
                    <a:gd name="connsiteY6" fmla="*/ 134165 h 456488"/>
                    <a:gd name="connsiteX7" fmla="*/ 483120 w 541763"/>
                    <a:gd name="connsiteY7" fmla="*/ 179293 h 456488"/>
                    <a:gd name="connsiteX8" fmla="*/ 535800 w 541763"/>
                    <a:gd name="connsiteY8" fmla="*/ 251639 h 456488"/>
                    <a:gd name="connsiteX9" fmla="*/ 540740 w 541763"/>
                    <a:gd name="connsiteY9" fmla="*/ 453908 h 456488"/>
                    <a:gd name="connsiteX10" fmla="*/ 6630 w 541763"/>
                    <a:gd name="connsiteY10" fmla="*/ 450055 h 456488"/>
                    <a:gd name="connsiteX0" fmla="*/ 4856 w 539989"/>
                    <a:gd name="connsiteY0" fmla="*/ 450055 h 456488"/>
                    <a:gd name="connsiteX1" fmla="*/ 15205 w 539989"/>
                    <a:gd name="connsiteY1" fmla="*/ 227128 h 456488"/>
                    <a:gd name="connsiteX2" fmla="*/ 87760 w 539989"/>
                    <a:gd name="connsiteY2" fmla="*/ 166126 h 456488"/>
                    <a:gd name="connsiteX3" fmla="*/ 216995 w 539989"/>
                    <a:gd name="connsiteY3" fmla="*/ 118035 h 456488"/>
                    <a:gd name="connsiteX4" fmla="*/ 242281 w 539989"/>
                    <a:gd name="connsiteY4" fmla="*/ 15758 h 456488"/>
                    <a:gd name="connsiteX5" fmla="*/ 329060 w 539989"/>
                    <a:gd name="connsiteY5" fmla="*/ 12583 h 456488"/>
                    <a:gd name="connsiteX6" fmla="*/ 347171 w 539989"/>
                    <a:gd name="connsiteY6" fmla="*/ 134165 h 456488"/>
                    <a:gd name="connsiteX7" fmla="*/ 481346 w 539989"/>
                    <a:gd name="connsiteY7" fmla="*/ 179293 h 456488"/>
                    <a:gd name="connsiteX8" fmla="*/ 534026 w 539989"/>
                    <a:gd name="connsiteY8" fmla="*/ 251639 h 456488"/>
                    <a:gd name="connsiteX9" fmla="*/ 538966 w 539989"/>
                    <a:gd name="connsiteY9" fmla="*/ 453908 h 456488"/>
                    <a:gd name="connsiteX10" fmla="*/ 4856 w 539989"/>
                    <a:gd name="connsiteY10" fmla="*/ 450055 h 4564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39989" h="456488">
                      <a:moveTo>
                        <a:pt x="4856" y="450055"/>
                      </a:moveTo>
                      <a:cubicBezTo>
                        <a:pt x="-5198" y="385497"/>
                        <a:pt x="1388" y="274449"/>
                        <a:pt x="15205" y="227128"/>
                      </a:cubicBezTo>
                      <a:cubicBezTo>
                        <a:pt x="29022" y="179807"/>
                        <a:pt x="54128" y="184308"/>
                        <a:pt x="87760" y="166126"/>
                      </a:cubicBezTo>
                      <a:cubicBezTo>
                        <a:pt x="121392" y="147944"/>
                        <a:pt x="191242" y="143096"/>
                        <a:pt x="216995" y="118035"/>
                      </a:cubicBezTo>
                      <a:cubicBezTo>
                        <a:pt x="242748" y="92974"/>
                        <a:pt x="223604" y="33333"/>
                        <a:pt x="242281" y="15758"/>
                      </a:cubicBezTo>
                      <a:cubicBezTo>
                        <a:pt x="260958" y="-1817"/>
                        <a:pt x="311578" y="-7151"/>
                        <a:pt x="329060" y="12583"/>
                      </a:cubicBezTo>
                      <a:cubicBezTo>
                        <a:pt x="346542" y="32317"/>
                        <a:pt x="321790" y="106380"/>
                        <a:pt x="347171" y="134165"/>
                      </a:cubicBezTo>
                      <a:cubicBezTo>
                        <a:pt x="372552" y="161950"/>
                        <a:pt x="450204" y="159714"/>
                        <a:pt x="481346" y="179293"/>
                      </a:cubicBezTo>
                      <a:cubicBezTo>
                        <a:pt x="512489" y="198872"/>
                        <a:pt x="523972" y="202956"/>
                        <a:pt x="534026" y="251639"/>
                      </a:cubicBezTo>
                      <a:cubicBezTo>
                        <a:pt x="537201" y="301381"/>
                        <a:pt x="542141" y="328496"/>
                        <a:pt x="538966" y="453908"/>
                      </a:cubicBezTo>
                      <a:cubicBezTo>
                        <a:pt x="307191" y="461845"/>
                        <a:pt x="250800" y="448827"/>
                        <a:pt x="4856" y="450055"/>
                      </a:cubicBezTo>
                      <a:close/>
                    </a:path>
                  </a:pathLst>
                </a:custGeom>
                <a:solidFill>
                  <a:schemeClr val="bg1"/>
                </a:solidFill>
                <a:ln w="57150">
                  <a:solidFill>
                    <a:schemeClr val="tx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194" name="Oval 193">
                  <a:extLst>
                    <a:ext uri="{FF2B5EF4-FFF2-40B4-BE49-F238E27FC236}">
                      <a16:creationId xmlns:a16="http://schemas.microsoft.com/office/drawing/2014/main" id="{212FDDF9-A1F8-B344-A4DF-B707BA6D2C26}"/>
                    </a:ext>
                  </a:extLst>
                </p:cNvPr>
                <p:cNvSpPr/>
                <p:nvPr/>
              </p:nvSpPr>
              <p:spPr>
                <a:xfrm>
                  <a:off x="1964431" y="3500843"/>
                  <a:ext cx="259337" cy="299858"/>
                </a:xfrm>
                <a:prstGeom prst="ellipse">
                  <a:avLst/>
                </a:prstGeom>
                <a:solidFill>
                  <a:schemeClr val="bg1"/>
                </a:solidFill>
                <a:ln w="57150">
                  <a:solidFill>
                    <a:schemeClr val="tx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grpSp>
        </p:grpSp>
        <p:grpSp>
          <p:nvGrpSpPr>
            <p:cNvPr id="185" name="Group 184">
              <a:extLst>
                <a:ext uri="{FF2B5EF4-FFF2-40B4-BE49-F238E27FC236}">
                  <a16:creationId xmlns:a16="http://schemas.microsoft.com/office/drawing/2014/main" id="{B77D5B11-9E61-E741-8019-CB6FAFC24214}"/>
                </a:ext>
              </a:extLst>
            </p:cNvPr>
            <p:cNvGrpSpPr/>
            <p:nvPr/>
          </p:nvGrpSpPr>
          <p:grpSpPr>
            <a:xfrm>
              <a:off x="2495712" y="4589934"/>
              <a:ext cx="1256698" cy="510604"/>
              <a:chOff x="2495712" y="4589934"/>
              <a:chExt cx="1256698" cy="510604"/>
            </a:xfrm>
            <a:solidFill>
              <a:schemeClr val="tx1">
                <a:lumMod val="50000"/>
              </a:schemeClr>
            </a:solidFill>
          </p:grpSpPr>
          <p:sp>
            <p:nvSpPr>
              <p:cNvPr id="187" name="Rounded Rectangle 186">
                <a:extLst>
                  <a:ext uri="{FF2B5EF4-FFF2-40B4-BE49-F238E27FC236}">
                    <a16:creationId xmlns:a16="http://schemas.microsoft.com/office/drawing/2014/main" id="{668FCA11-2403-874C-9689-327635AEF195}"/>
                  </a:ext>
                </a:extLst>
              </p:cNvPr>
              <p:cNvSpPr/>
              <p:nvPr/>
            </p:nvSpPr>
            <p:spPr>
              <a:xfrm>
                <a:off x="2495712" y="4589934"/>
                <a:ext cx="1256697" cy="251941"/>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188" name="Rectangle 187">
                <a:extLst>
                  <a:ext uri="{FF2B5EF4-FFF2-40B4-BE49-F238E27FC236}">
                    <a16:creationId xmlns:a16="http://schemas.microsoft.com/office/drawing/2014/main" id="{266615CF-DE68-5143-A00E-76FF6AFEB18A}"/>
                  </a:ext>
                </a:extLst>
              </p:cNvPr>
              <p:cNvSpPr/>
              <p:nvPr/>
            </p:nvSpPr>
            <p:spPr>
              <a:xfrm>
                <a:off x="2498725" y="4797790"/>
                <a:ext cx="1253685" cy="13315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189" name="Rectangle 188">
                <a:extLst>
                  <a:ext uri="{FF2B5EF4-FFF2-40B4-BE49-F238E27FC236}">
                    <a16:creationId xmlns:a16="http://schemas.microsoft.com/office/drawing/2014/main" id="{1AFD75B6-95D1-1349-96FC-D73E57541265}"/>
                  </a:ext>
                </a:extLst>
              </p:cNvPr>
              <p:cNvSpPr/>
              <p:nvPr/>
            </p:nvSpPr>
            <p:spPr>
              <a:xfrm>
                <a:off x="2546350" y="4923041"/>
                <a:ext cx="109152" cy="17749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190" name="Rectangle 189">
                <a:extLst>
                  <a:ext uri="{FF2B5EF4-FFF2-40B4-BE49-F238E27FC236}">
                    <a16:creationId xmlns:a16="http://schemas.microsoft.com/office/drawing/2014/main" id="{39C85F06-AA7F-ED47-87D4-CA4D906AE6E2}"/>
                  </a:ext>
                </a:extLst>
              </p:cNvPr>
              <p:cNvSpPr/>
              <p:nvPr/>
            </p:nvSpPr>
            <p:spPr>
              <a:xfrm>
                <a:off x="3610945" y="4923041"/>
                <a:ext cx="109152" cy="17749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grpSp>
        <p:sp>
          <p:nvSpPr>
            <p:cNvPr id="186" name="Trapezoid 185">
              <a:extLst>
                <a:ext uri="{FF2B5EF4-FFF2-40B4-BE49-F238E27FC236}">
                  <a16:creationId xmlns:a16="http://schemas.microsoft.com/office/drawing/2014/main" id="{A847332E-0A73-1F46-AB5E-F884784F1EAB}"/>
                </a:ext>
              </a:extLst>
            </p:cNvPr>
            <p:cNvSpPr/>
            <p:nvPr/>
          </p:nvSpPr>
          <p:spPr>
            <a:xfrm>
              <a:off x="2655502" y="4181475"/>
              <a:ext cx="958850" cy="363303"/>
            </a:xfrm>
            <a:prstGeom prst="trapezoid">
              <a:avLst/>
            </a:prstGeom>
            <a:solidFill>
              <a:schemeClr val="tx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grpSp>
      <p:grpSp>
        <p:nvGrpSpPr>
          <p:cNvPr id="197" name="Group 196">
            <a:extLst>
              <a:ext uri="{FF2B5EF4-FFF2-40B4-BE49-F238E27FC236}">
                <a16:creationId xmlns:a16="http://schemas.microsoft.com/office/drawing/2014/main" id="{F692BB00-6B36-2446-A7C4-805D1BA49952}"/>
              </a:ext>
            </a:extLst>
          </p:cNvPr>
          <p:cNvGrpSpPr/>
          <p:nvPr/>
        </p:nvGrpSpPr>
        <p:grpSpPr>
          <a:xfrm>
            <a:off x="8084284" y="4541521"/>
            <a:ext cx="1025213" cy="1261037"/>
            <a:chOff x="2441771" y="3385414"/>
            <a:chExt cx="1325481" cy="1781019"/>
          </a:xfrm>
        </p:grpSpPr>
        <p:pic>
          <p:nvPicPr>
            <p:cNvPr id="198" name="Picture 197">
              <a:extLst>
                <a:ext uri="{FF2B5EF4-FFF2-40B4-BE49-F238E27FC236}">
                  <a16:creationId xmlns:a16="http://schemas.microsoft.com/office/drawing/2014/main" id="{038CFF7F-A3A3-A743-BFF9-42C56C72A1D7}"/>
                </a:ext>
              </a:extLst>
            </p:cNvPr>
            <p:cNvPicPr>
              <a:picLocks noChangeAspect="1"/>
            </p:cNvPicPr>
            <p:nvPr/>
          </p:nvPicPr>
          <p:blipFill rotWithShape="1">
            <a:blip r:embed="rId2"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a:xfrm>
              <a:off x="2441771" y="3385414"/>
              <a:ext cx="1325481" cy="1781019"/>
            </a:xfrm>
            <a:prstGeom prst="rect">
              <a:avLst/>
            </a:prstGeom>
          </p:spPr>
        </p:pic>
        <p:sp>
          <p:nvSpPr>
            <p:cNvPr id="199" name="Rounded Rectangle 198">
              <a:extLst>
                <a:ext uri="{FF2B5EF4-FFF2-40B4-BE49-F238E27FC236}">
                  <a16:creationId xmlns:a16="http://schemas.microsoft.com/office/drawing/2014/main" id="{EA690435-DEED-8A4A-A267-DB79C8AA06C7}"/>
                </a:ext>
              </a:extLst>
            </p:cNvPr>
            <p:cNvSpPr/>
            <p:nvPr/>
          </p:nvSpPr>
          <p:spPr>
            <a:xfrm>
              <a:off x="2655502" y="3670300"/>
              <a:ext cx="958850" cy="436656"/>
            </a:xfrm>
            <a:prstGeom prst="roundRect">
              <a:avLst/>
            </a:prstGeom>
            <a:solidFill>
              <a:schemeClr val="tx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grpSp>
          <p:nvGrpSpPr>
            <p:cNvPr id="200" name="Group 199">
              <a:extLst>
                <a:ext uri="{FF2B5EF4-FFF2-40B4-BE49-F238E27FC236}">
                  <a16:creationId xmlns:a16="http://schemas.microsoft.com/office/drawing/2014/main" id="{89C72FBD-44C0-6D40-9D37-79716A1C5F3C}"/>
                </a:ext>
              </a:extLst>
            </p:cNvPr>
            <p:cNvGrpSpPr/>
            <p:nvPr/>
          </p:nvGrpSpPr>
          <p:grpSpPr>
            <a:xfrm>
              <a:off x="2776471" y="3456093"/>
              <a:ext cx="748710" cy="1056883"/>
              <a:chOff x="1496718" y="3334932"/>
              <a:chExt cx="748710" cy="1056883"/>
            </a:xfrm>
          </p:grpSpPr>
          <p:grpSp>
            <p:nvGrpSpPr>
              <p:cNvPr id="207" name="Group 206">
                <a:extLst>
                  <a:ext uri="{FF2B5EF4-FFF2-40B4-BE49-F238E27FC236}">
                    <a16:creationId xmlns:a16="http://schemas.microsoft.com/office/drawing/2014/main" id="{891A182A-E682-DC40-9AE4-36936D38B77C}"/>
                  </a:ext>
                </a:extLst>
              </p:cNvPr>
              <p:cNvGrpSpPr/>
              <p:nvPr/>
            </p:nvGrpSpPr>
            <p:grpSpPr>
              <a:xfrm>
                <a:off x="1496718" y="3334932"/>
                <a:ext cx="748710" cy="1056883"/>
                <a:chOff x="1843570" y="3508300"/>
                <a:chExt cx="514980" cy="727982"/>
              </a:xfrm>
              <a:solidFill>
                <a:schemeClr val="bg1"/>
              </a:solidFill>
            </p:grpSpPr>
            <p:sp>
              <p:nvSpPr>
                <p:cNvPr id="211" name="Freeform 210">
                  <a:extLst>
                    <a:ext uri="{FF2B5EF4-FFF2-40B4-BE49-F238E27FC236}">
                      <a16:creationId xmlns:a16="http://schemas.microsoft.com/office/drawing/2014/main" id="{94E0921D-2875-104D-83D9-3DCBE4AF4F72}"/>
                    </a:ext>
                  </a:extLst>
                </p:cNvPr>
                <p:cNvSpPr/>
                <p:nvPr/>
              </p:nvSpPr>
              <p:spPr>
                <a:xfrm>
                  <a:off x="1843570" y="3787509"/>
                  <a:ext cx="514980" cy="448773"/>
                </a:xfrm>
                <a:custGeom>
                  <a:avLst/>
                  <a:gdLst>
                    <a:gd name="connsiteX0" fmla="*/ 36807 w 576731"/>
                    <a:gd name="connsiteY0" fmla="*/ 449906 h 505924"/>
                    <a:gd name="connsiteX1" fmla="*/ 39982 w 576731"/>
                    <a:gd name="connsiteY1" fmla="*/ 214956 h 505924"/>
                    <a:gd name="connsiteX2" fmla="*/ 55857 w 576731"/>
                    <a:gd name="connsiteY2" fmla="*/ 176856 h 505924"/>
                    <a:gd name="connsiteX3" fmla="*/ 103482 w 576731"/>
                    <a:gd name="connsiteY3" fmla="*/ 160981 h 505924"/>
                    <a:gd name="connsiteX4" fmla="*/ 205082 w 576731"/>
                    <a:gd name="connsiteY4" fmla="*/ 154631 h 505924"/>
                    <a:gd name="connsiteX5" fmla="*/ 230482 w 576731"/>
                    <a:gd name="connsiteY5" fmla="*/ 151456 h 505924"/>
                    <a:gd name="connsiteX6" fmla="*/ 233657 w 576731"/>
                    <a:gd name="connsiteY6" fmla="*/ 18106 h 505924"/>
                    <a:gd name="connsiteX7" fmla="*/ 344782 w 576731"/>
                    <a:gd name="connsiteY7" fmla="*/ 14931 h 505924"/>
                    <a:gd name="connsiteX8" fmla="*/ 344782 w 576731"/>
                    <a:gd name="connsiteY8" fmla="*/ 145106 h 505924"/>
                    <a:gd name="connsiteX9" fmla="*/ 386057 w 576731"/>
                    <a:gd name="connsiteY9" fmla="*/ 151456 h 505924"/>
                    <a:gd name="connsiteX10" fmla="*/ 478132 w 576731"/>
                    <a:gd name="connsiteY10" fmla="*/ 164156 h 505924"/>
                    <a:gd name="connsiteX11" fmla="*/ 519407 w 576731"/>
                    <a:gd name="connsiteY11" fmla="*/ 189556 h 505924"/>
                    <a:gd name="connsiteX12" fmla="*/ 541632 w 576731"/>
                    <a:gd name="connsiteY12" fmla="*/ 234006 h 505924"/>
                    <a:gd name="connsiteX13" fmla="*/ 538457 w 576731"/>
                    <a:gd name="connsiteY13" fmla="*/ 488006 h 505924"/>
                    <a:gd name="connsiteX14" fmla="*/ 36807 w 576731"/>
                    <a:gd name="connsiteY14" fmla="*/ 449906 h 505924"/>
                    <a:gd name="connsiteX0" fmla="*/ 5769 w 545693"/>
                    <a:gd name="connsiteY0" fmla="*/ 449906 h 505924"/>
                    <a:gd name="connsiteX1" fmla="*/ 8944 w 545693"/>
                    <a:gd name="connsiteY1" fmla="*/ 214956 h 505924"/>
                    <a:gd name="connsiteX2" fmla="*/ 24819 w 545693"/>
                    <a:gd name="connsiteY2" fmla="*/ 176856 h 505924"/>
                    <a:gd name="connsiteX3" fmla="*/ 72444 w 545693"/>
                    <a:gd name="connsiteY3" fmla="*/ 160981 h 505924"/>
                    <a:gd name="connsiteX4" fmla="*/ 174044 w 545693"/>
                    <a:gd name="connsiteY4" fmla="*/ 154631 h 505924"/>
                    <a:gd name="connsiteX5" fmla="*/ 199444 w 545693"/>
                    <a:gd name="connsiteY5" fmla="*/ 151456 h 505924"/>
                    <a:gd name="connsiteX6" fmla="*/ 202619 w 545693"/>
                    <a:gd name="connsiteY6" fmla="*/ 18106 h 505924"/>
                    <a:gd name="connsiteX7" fmla="*/ 313744 w 545693"/>
                    <a:gd name="connsiteY7" fmla="*/ 14931 h 505924"/>
                    <a:gd name="connsiteX8" fmla="*/ 313744 w 545693"/>
                    <a:gd name="connsiteY8" fmla="*/ 145106 h 505924"/>
                    <a:gd name="connsiteX9" fmla="*/ 355019 w 545693"/>
                    <a:gd name="connsiteY9" fmla="*/ 151456 h 505924"/>
                    <a:gd name="connsiteX10" fmla="*/ 447094 w 545693"/>
                    <a:gd name="connsiteY10" fmla="*/ 164156 h 505924"/>
                    <a:gd name="connsiteX11" fmla="*/ 488369 w 545693"/>
                    <a:gd name="connsiteY11" fmla="*/ 189556 h 505924"/>
                    <a:gd name="connsiteX12" fmla="*/ 510594 w 545693"/>
                    <a:gd name="connsiteY12" fmla="*/ 234006 h 505924"/>
                    <a:gd name="connsiteX13" fmla="*/ 507419 w 545693"/>
                    <a:gd name="connsiteY13" fmla="*/ 488006 h 505924"/>
                    <a:gd name="connsiteX14" fmla="*/ 5769 w 545693"/>
                    <a:gd name="connsiteY14" fmla="*/ 449906 h 505924"/>
                    <a:gd name="connsiteX0" fmla="*/ 21286 w 561210"/>
                    <a:gd name="connsiteY0" fmla="*/ 449906 h 508025"/>
                    <a:gd name="connsiteX1" fmla="*/ 24461 w 561210"/>
                    <a:gd name="connsiteY1" fmla="*/ 214956 h 508025"/>
                    <a:gd name="connsiteX2" fmla="*/ 40336 w 561210"/>
                    <a:gd name="connsiteY2" fmla="*/ 176856 h 508025"/>
                    <a:gd name="connsiteX3" fmla="*/ 87961 w 561210"/>
                    <a:gd name="connsiteY3" fmla="*/ 160981 h 508025"/>
                    <a:gd name="connsiteX4" fmla="*/ 189561 w 561210"/>
                    <a:gd name="connsiteY4" fmla="*/ 154631 h 508025"/>
                    <a:gd name="connsiteX5" fmla="*/ 214961 w 561210"/>
                    <a:gd name="connsiteY5" fmla="*/ 151456 h 508025"/>
                    <a:gd name="connsiteX6" fmla="*/ 218136 w 561210"/>
                    <a:gd name="connsiteY6" fmla="*/ 18106 h 508025"/>
                    <a:gd name="connsiteX7" fmla="*/ 329261 w 561210"/>
                    <a:gd name="connsiteY7" fmla="*/ 14931 h 508025"/>
                    <a:gd name="connsiteX8" fmla="*/ 329261 w 561210"/>
                    <a:gd name="connsiteY8" fmla="*/ 145106 h 508025"/>
                    <a:gd name="connsiteX9" fmla="*/ 370536 w 561210"/>
                    <a:gd name="connsiteY9" fmla="*/ 151456 h 508025"/>
                    <a:gd name="connsiteX10" fmla="*/ 462611 w 561210"/>
                    <a:gd name="connsiteY10" fmla="*/ 164156 h 508025"/>
                    <a:gd name="connsiteX11" fmla="*/ 503886 w 561210"/>
                    <a:gd name="connsiteY11" fmla="*/ 189556 h 508025"/>
                    <a:gd name="connsiteX12" fmla="*/ 526111 w 561210"/>
                    <a:gd name="connsiteY12" fmla="*/ 234006 h 508025"/>
                    <a:gd name="connsiteX13" fmla="*/ 522936 w 561210"/>
                    <a:gd name="connsiteY13" fmla="*/ 488006 h 508025"/>
                    <a:gd name="connsiteX14" fmla="*/ 21286 w 561210"/>
                    <a:gd name="connsiteY14" fmla="*/ 449906 h 508025"/>
                    <a:gd name="connsiteX0" fmla="*/ 21286 w 561210"/>
                    <a:gd name="connsiteY0" fmla="*/ 449906 h 508025"/>
                    <a:gd name="connsiteX1" fmla="*/ 24461 w 561210"/>
                    <a:gd name="connsiteY1" fmla="*/ 214956 h 508025"/>
                    <a:gd name="connsiteX2" fmla="*/ 40336 w 561210"/>
                    <a:gd name="connsiteY2" fmla="*/ 176856 h 508025"/>
                    <a:gd name="connsiteX3" fmla="*/ 87961 w 561210"/>
                    <a:gd name="connsiteY3" fmla="*/ 160981 h 508025"/>
                    <a:gd name="connsiteX4" fmla="*/ 189561 w 561210"/>
                    <a:gd name="connsiteY4" fmla="*/ 154631 h 508025"/>
                    <a:gd name="connsiteX5" fmla="*/ 214961 w 561210"/>
                    <a:gd name="connsiteY5" fmla="*/ 151456 h 508025"/>
                    <a:gd name="connsiteX6" fmla="*/ 218136 w 561210"/>
                    <a:gd name="connsiteY6" fmla="*/ 18106 h 508025"/>
                    <a:gd name="connsiteX7" fmla="*/ 329261 w 561210"/>
                    <a:gd name="connsiteY7" fmla="*/ 14931 h 508025"/>
                    <a:gd name="connsiteX8" fmla="*/ 329261 w 561210"/>
                    <a:gd name="connsiteY8" fmla="*/ 145106 h 508025"/>
                    <a:gd name="connsiteX9" fmla="*/ 370536 w 561210"/>
                    <a:gd name="connsiteY9" fmla="*/ 151456 h 508025"/>
                    <a:gd name="connsiteX10" fmla="*/ 462611 w 561210"/>
                    <a:gd name="connsiteY10" fmla="*/ 164156 h 508025"/>
                    <a:gd name="connsiteX11" fmla="*/ 503886 w 561210"/>
                    <a:gd name="connsiteY11" fmla="*/ 189556 h 508025"/>
                    <a:gd name="connsiteX12" fmla="*/ 526111 w 561210"/>
                    <a:gd name="connsiteY12" fmla="*/ 234006 h 508025"/>
                    <a:gd name="connsiteX13" fmla="*/ 522936 w 561210"/>
                    <a:gd name="connsiteY13" fmla="*/ 488006 h 508025"/>
                    <a:gd name="connsiteX14" fmla="*/ 21286 w 561210"/>
                    <a:gd name="connsiteY14" fmla="*/ 449906 h 508025"/>
                    <a:gd name="connsiteX0" fmla="*/ 4360 w 544284"/>
                    <a:gd name="connsiteY0" fmla="*/ 449906 h 508025"/>
                    <a:gd name="connsiteX1" fmla="*/ 7535 w 544284"/>
                    <a:gd name="connsiteY1" fmla="*/ 214956 h 508025"/>
                    <a:gd name="connsiteX2" fmla="*/ 23410 w 544284"/>
                    <a:gd name="connsiteY2" fmla="*/ 176856 h 508025"/>
                    <a:gd name="connsiteX3" fmla="*/ 71035 w 544284"/>
                    <a:gd name="connsiteY3" fmla="*/ 160981 h 508025"/>
                    <a:gd name="connsiteX4" fmla="*/ 172635 w 544284"/>
                    <a:gd name="connsiteY4" fmla="*/ 154631 h 508025"/>
                    <a:gd name="connsiteX5" fmla="*/ 198035 w 544284"/>
                    <a:gd name="connsiteY5" fmla="*/ 151456 h 508025"/>
                    <a:gd name="connsiteX6" fmla="*/ 201210 w 544284"/>
                    <a:gd name="connsiteY6" fmla="*/ 18106 h 508025"/>
                    <a:gd name="connsiteX7" fmla="*/ 312335 w 544284"/>
                    <a:gd name="connsiteY7" fmla="*/ 14931 h 508025"/>
                    <a:gd name="connsiteX8" fmla="*/ 312335 w 544284"/>
                    <a:gd name="connsiteY8" fmla="*/ 145106 h 508025"/>
                    <a:gd name="connsiteX9" fmla="*/ 353610 w 544284"/>
                    <a:gd name="connsiteY9" fmla="*/ 151456 h 508025"/>
                    <a:gd name="connsiteX10" fmla="*/ 445685 w 544284"/>
                    <a:gd name="connsiteY10" fmla="*/ 164156 h 508025"/>
                    <a:gd name="connsiteX11" fmla="*/ 486960 w 544284"/>
                    <a:gd name="connsiteY11" fmla="*/ 189556 h 508025"/>
                    <a:gd name="connsiteX12" fmla="*/ 509185 w 544284"/>
                    <a:gd name="connsiteY12" fmla="*/ 234006 h 508025"/>
                    <a:gd name="connsiteX13" fmla="*/ 506010 w 544284"/>
                    <a:gd name="connsiteY13" fmla="*/ 488006 h 508025"/>
                    <a:gd name="connsiteX14" fmla="*/ 4360 w 544284"/>
                    <a:gd name="connsiteY14" fmla="*/ 449906 h 508025"/>
                    <a:gd name="connsiteX0" fmla="*/ 4360 w 544284"/>
                    <a:gd name="connsiteY0" fmla="*/ 449906 h 500804"/>
                    <a:gd name="connsiteX1" fmla="*/ 7535 w 544284"/>
                    <a:gd name="connsiteY1" fmla="*/ 214956 h 500804"/>
                    <a:gd name="connsiteX2" fmla="*/ 23410 w 544284"/>
                    <a:gd name="connsiteY2" fmla="*/ 176856 h 500804"/>
                    <a:gd name="connsiteX3" fmla="*/ 71035 w 544284"/>
                    <a:gd name="connsiteY3" fmla="*/ 160981 h 500804"/>
                    <a:gd name="connsiteX4" fmla="*/ 172635 w 544284"/>
                    <a:gd name="connsiteY4" fmla="*/ 154631 h 500804"/>
                    <a:gd name="connsiteX5" fmla="*/ 198035 w 544284"/>
                    <a:gd name="connsiteY5" fmla="*/ 151456 h 500804"/>
                    <a:gd name="connsiteX6" fmla="*/ 201210 w 544284"/>
                    <a:gd name="connsiteY6" fmla="*/ 18106 h 500804"/>
                    <a:gd name="connsiteX7" fmla="*/ 312335 w 544284"/>
                    <a:gd name="connsiteY7" fmla="*/ 14931 h 500804"/>
                    <a:gd name="connsiteX8" fmla="*/ 312335 w 544284"/>
                    <a:gd name="connsiteY8" fmla="*/ 145106 h 500804"/>
                    <a:gd name="connsiteX9" fmla="*/ 353610 w 544284"/>
                    <a:gd name="connsiteY9" fmla="*/ 151456 h 500804"/>
                    <a:gd name="connsiteX10" fmla="*/ 445685 w 544284"/>
                    <a:gd name="connsiteY10" fmla="*/ 164156 h 500804"/>
                    <a:gd name="connsiteX11" fmla="*/ 486960 w 544284"/>
                    <a:gd name="connsiteY11" fmla="*/ 189556 h 500804"/>
                    <a:gd name="connsiteX12" fmla="*/ 509185 w 544284"/>
                    <a:gd name="connsiteY12" fmla="*/ 234006 h 500804"/>
                    <a:gd name="connsiteX13" fmla="*/ 506010 w 544284"/>
                    <a:gd name="connsiteY13" fmla="*/ 488006 h 500804"/>
                    <a:gd name="connsiteX14" fmla="*/ 4360 w 544284"/>
                    <a:gd name="connsiteY14" fmla="*/ 449906 h 500804"/>
                    <a:gd name="connsiteX0" fmla="*/ 4360 w 544284"/>
                    <a:gd name="connsiteY0" fmla="*/ 449906 h 500804"/>
                    <a:gd name="connsiteX1" fmla="*/ 7535 w 544284"/>
                    <a:gd name="connsiteY1" fmla="*/ 214956 h 500804"/>
                    <a:gd name="connsiteX2" fmla="*/ 23410 w 544284"/>
                    <a:gd name="connsiteY2" fmla="*/ 176856 h 500804"/>
                    <a:gd name="connsiteX3" fmla="*/ 71035 w 544284"/>
                    <a:gd name="connsiteY3" fmla="*/ 160981 h 500804"/>
                    <a:gd name="connsiteX4" fmla="*/ 172635 w 544284"/>
                    <a:gd name="connsiteY4" fmla="*/ 154631 h 500804"/>
                    <a:gd name="connsiteX5" fmla="*/ 198035 w 544284"/>
                    <a:gd name="connsiteY5" fmla="*/ 151456 h 500804"/>
                    <a:gd name="connsiteX6" fmla="*/ 201210 w 544284"/>
                    <a:gd name="connsiteY6" fmla="*/ 18106 h 500804"/>
                    <a:gd name="connsiteX7" fmla="*/ 312335 w 544284"/>
                    <a:gd name="connsiteY7" fmla="*/ 14931 h 500804"/>
                    <a:gd name="connsiteX8" fmla="*/ 312335 w 544284"/>
                    <a:gd name="connsiteY8" fmla="*/ 145106 h 500804"/>
                    <a:gd name="connsiteX9" fmla="*/ 353610 w 544284"/>
                    <a:gd name="connsiteY9" fmla="*/ 151456 h 500804"/>
                    <a:gd name="connsiteX10" fmla="*/ 445685 w 544284"/>
                    <a:gd name="connsiteY10" fmla="*/ 164156 h 500804"/>
                    <a:gd name="connsiteX11" fmla="*/ 486960 w 544284"/>
                    <a:gd name="connsiteY11" fmla="*/ 189556 h 500804"/>
                    <a:gd name="connsiteX12" fmla="*/ 509185 w 544284"/>
                    <a:gd name="connsiteY12" fmla="*/ 234006 h 500804"/>
                    <a:gd name="connsiteX13" fmla="*/ 506010 w 544284"/>
                    <a:gd name="connsiteY13" fmla="*/ 488006 h 500804"/>
                    <a:gd name="connsiteX14" fmla="*/ 4360 w 544284"/>
                    <a:gd name="connsiteY14" fmla="*/ 449906 h 500804"/>
                    <a:gd name="connsiteX0" fmla="*/ 4360 w 519024"/>
                    <a:gd name="connsiteY0" fmla="*/ 449906 h 500804"/>
                    <a:gd name="connsiteX1" fmla="*/ 7535 w 519024"/>
                    <a:gd name="connsiteY1" fmla="*/ 214956 h 500804"/>
                    <a:gd name="connsiteX2" fmla="*/ 23410 w 519024"/>
                    <a:gd name="connsiteY2" fmla="*/ 176856 h 500804"/>
                    <a:gd name="connsiteX3" fmla="*/ 71035 w 519024"/>
                    <a:gd name="connsiteY3" fmla="*/ 160981 h 500804"/>
                    <a:gd name="connsiteX4" fmla="*/ 172635 w 519024"/>
                    <a:gd name="connsiteY4" fmla="*/ 154631 h 500804"/>
                    <a:gd name="connsiteX5" fmla="*/ 198035 w 519024"/>
                    <a:gd name="connsiteY5" fmla="*/ 151456 h 500804"/>
                    <a:gd name="connsiteX6" fmla="*/ 201210 w 519024"/>
                    <a:gd name="connsiteY6" fmla="*/ 18106 h 500804"/>
                    <a:gd name="connsiteX7" fmla="*/ 312335 w 519024"/>
                    <a:gd name="connsiteY7" fmla="*/ 14931 h 500804"/>
                    <a:gd name="connsiteX8" fmla="*/ 312335 w 519024"/>
                    <a:gd name="connsiteY8" fmla="*/ 145106 h 500804"/>
                    <a:gd name="connsiteX9" fmla="*/ 353610 w 519024"/>
                    <a:gd name="connsiteY9" fmla="*/ 151456 h 500804"/>
                    <a:gd name="connsiteX10" fmla="*/ 445685 w 519024"/>
                    <a:gd name="connsiteY10" fmla="*/ 164156 h 500804"/>
                    <a:gd name="connsiteX11" fmla="*/ 486960 w 519024"/>
                    <a:gd name="connsiteY11" fmla="*/ 189556 h 500804"/>
                    <a:gd name="connsiteX12" fmla="*/ 509185 w 519024"/>
                    <a:gd name="connsiteY12" fmla="*/ 234006 h 500804"/>
                    <a:gd name="connsiteX13" fmla="*/ 506010 w 519024"/>
                    <a:gd name="connsiteY13" fmla="*/ 488006 h 500804"/>
                    <a:gd name="connsiteX14" fmla="*/ 4360 w 519024"/>
                    <a:gd name="connsiteY14" fmla="*/ 449906 h 500804"/>
                    <a:gd name="connsiteX0" fmla="*/ 4360 w 519024"/>
                    <a:gd name="connsiteY0" fmla="*/ 449906 h 488006"/>
                    <a:gd name="connsiteX1" fmla="*/ 7535 w 519024"/>
                    <a:gd name="connsiteY1" fmla="*/ 214956 h 488006"/>
                    <a:gd name="connsiteX2" fmla="*/ 23410 w 519024"/>
                    <a:gd name="connsiteY2" fmla="*/ 176856 h 488006"/>
                    <a:gd name="connsiteX3" fmla="*/ 71035 w 519024"/>
                    <a:gd name="connsiteY3" fmla="*/ 160981 h 488006"/>
                    <a:gd name="connsiteX4" fmla="*/ 172635 w 519024"/>
                    <a:gd name="connsiteY4" fmla="*/ 154631 h 488006"/>
                    <a:gd name="connsiteX5" fmla="*/ 198035 w 519024"/>
                    <a:gd name="connsiteY5" fmla="*/ 151456 h 488006"/>
                    <a:gd name="connsiteX6" fmla="*/ 201210 w 519024"/>
                    <a:gd name="connsiteY6" fmla="*/ 18106 h 488006"/>
                    <a:gd name="connsiteX7" fmla="*/ 312335 w 519024"/>
                    <a:gd name="connsiteY7" fmla="*/ 14931 h 488006"/>
                    <a:gd name="connsiteX8" fmla="*/ 312335 w 519024"/>
                    <a:gd name="connsiteY8" fmla="*/ 145106 h 488006"/>
                    <a:gd name="connsiteX9" fmla="*/ 353610 w 519024"/>
                    <a:gd name="connsiteY9" fmla="*/ 151456 h 488006"/>
                    <a:gd name="connsiteX10" fmla="*/ 445685 w 519024"/>
                    <a:gd name="connsiteY10" fmla="*/ 164156 h 488006"/>
                    <a:gd name="connsiteX11" fmla="*/ 486960 w 519024"/>
                    <a:gd name="connsiteY11" fmla="*/ 189556 h 488006"/>
                    <a:gd name="connsiteX12" fmla="*/ 509185 w 519024"/>
                    <a:gd name="connsiteY12" fmla="*/ 234006 h 488006"/>
                    <a:gd name="connsiteX13" fmla="*/ 506010 w 519024"/>
                    <a:gd name="connsiteY13" fmla="*/ 488006 h 488006"/>
                    <a:gd name="connsiteX14" fmla="*/ 4360 w 519024"/>
                    <a:gd name="connsiteY14" fmla="*/ 449906 h 488006"/>
                    <a:gd name="connsiteX0" fmla="*/ 4360 w 523534"/>
                    <a:gd name="connsiteY0" fmla="*/ 449906 h 472131"/>
                    <a:gd name="connsiteX1" fmla="*/ 7535 w 523534"/>
                    <a:gd name="connsiteY1" fmla="*/ 214956 h 472131"/>
                    <a:gd name="connsiteX2" fmla="*/ 23410 w 523534"/>
                    <a:gd name="connsiteY2" fmla="*/ 176856 h 472131"/>
                    <a:gd name="connsiteX3" fmla="*/ 71035 w 523534"/>
                    <a:gd name="connsiteY3" fmla="*/ 160981 h 472131"/>
                    <a:gd name="connsiteX4" fmla="*/ 172635 w 523534"/>
                    <a:gd name="connsiteY4" fmla="*/ 154631 h 472131"/>
                    <a:gd name="connsiteX5" fmla="*/ 198035 w 523534"/>
                    <a:gd name="connsiteY5" fmla="*/ 151456 h 472131"/>
                    <a:gd name="connsiteX6" fmla="*/ 201210 w 523534"/>
                    <a:gd name="connsiteY6" fmla="*/ 18106 h 472131"/>
                    <a:gd name="connsiteX7" fmla="*/ 312335 w 523534"/>
                    <a:gd name="connsiteY7" fmla="*/ 14931 h 472131"/>
                    <a:gd name="connsiteX8" fmla="*/ 312335 w 523534"/>
                    <a:gd name="connsiteY8" fmla="*/ 145106 h 472131"/>
                    <a:gd name="connsiteX9" fmla="*/ 353610 w 523534"/>
                    <a:gd name="connsiteY9" fmla="*/ 151456 h 472131"/>
                    <a:gd name="connsiteX10" fmla="*/ 445685 w 523534"/>
                    <a:gd name="connsiteY10" fmla="*/ 164156 h 472131"/>
                    <a:gd name="connsiteX11" fmla="*/ 486960 w 523534"/>
                    <a:gd name="connsiteY11" fmla="*/ 189556 h 472131"/>
                    <a:gd name="connsiteX12" fmla="*/ 509185 w 523534"/>
                    <a:gd name="connsiteY12" fmla="*/ 234006 h 472131"/>
                    <a:gd name="connsiteX13" fmla="*/ 512360 w 523534"/>
                    <a:gd name="connsiteY13" fmla="*/ 472131 h 472131"/>
                    <a:gd name="connsiteX14" fmla="*/ 4360 w 523534"/>
                    <a:gd name="connsiteY14" fmla="*/ 449906 h 472131"/>
                    <a:gd name="connsiteX0" fmla="*/ 4360 w 513675"/>
                    <a:gd name="connsiteY0" fmla="*/ 449906 h 472131"/>
                    <a:gd name="connsiteX1" fmla="*/ 7535 w 513675"/>
                    <a:gd name="connsiteY1" fmla="*/ 214956 h 472131"/>
                    <a:gd name="connsiteX2" fmla="*/ 23410 w 513675"/>
                    <a:gd name="connsiteY2" fmla="*/ 176856 h 472131"/>
                    <a:gd name="connsiteX3" fmla="*/ 71035 w 513675"/>
                    <a:gd name="connsiteY3" fmla="*/ 160981 h 472131"/>
                    <a:gd name="connsiteX4" fmla="*/ 172635 w 513675"/>
                    <a:gd name="connsiteY4" fmla="*/ 154631 h 472131"/>
                    <a:gd name="connsiteX5" fmla="*/ 198035 w 513675"/>
                    <a:gd name="connsiteY5" fmla="*/ 151456 h 472131"/>
                    <a:gd name="connsiteX6" fmla="*/ 201210 w 513675"/>
                    <a:gd name="connsiteY6" fmla="*/ 18106 h 472131"/>
                    <a:gd name="connsiteX7" fmla="*/ 312335 w 513675"/>
                    <a:gd name="connsiteY7" fmla="*/ 14931 h 472131"/>
                    <a:gd name="connsiteX8" fmla="*/ 312335 w 513675"/>
                    <a:gd name="connsiteY8" fmla="*/ 145106 h 472131"/>
                    <a:gd name="connsiteX9" fmla="*/ 353610 w 513675"/>
                    <a:gd name="connsiteY9" fmla="*/ 151456 h 472131"/>
                    <a:gd name="connsiteX10" fmla="*/ 445685 w 513675"/>
                    <a:gd name="connsiteY10" fmla="*/ 164156 h 472131"/>
                    <a:gd name="connsiteX11" fmla="*/ 486960 w 513675"/>
                    <a:gd name="connsiteY11" fmla="*/ 189556 h 472131"/>
                    <a:gd name="connsiteX12" fmla="*/ 509185 w 513675"/>
                    <a:gd name="connsiteY12" fmla="*/ 234006 h 472131"/>
                    <a:gd name="connsiteX13" fmla="*/ 512360 w 513675"/>
                    <a:gd name="connsiteY13" fmla="*/ 472131 h 472131"/>
                    <a:gd name="connsiteX14" fmla="*/ 4360 w 513675"/>
                    <a:gd name="connsiteY14" fmla="*/ 449906 h 472131"/>
                    <a:gd name="connsiteX0" fmla="*/ 4360 w 513675"/>
                    <a:gd name="connsiteY0" fmla="*/ 446969 h 469194"/>
                    <a:gd name="connsiteX1" fmla="*/ 7535 w 513675"/>
                    <a:gd name="connsiteY1" fmla="*/ 212019 h 469194"/>
                    <a:gd name="connsiteX2" fmla="*/ 23410 w 513675"/>
                    <a:gd name="connsiteY2" fmla="*/ 173919 h 469194"/>
                    <a:gd name="connsiteX3" fmla="*/ 71035 w 513675"/>
                    <a:gd name="connsiteY3" fmla="*/ 158044 h 469194"/>
                    <a:gd name="connsiteX4" fmla="*/ 172635 w 513675"/>
                    <a:gd name="connsiteY4" fmla="*/ 151694 h 469194"/>
                    <a:gd name="connsiteX5" fmla="*/ 188510 w 513675"/>
                    <a:gd name="connsiteY5" fmla="*/ 94544 h 469194"/>
                    <a:gd name="connsiteX6" fmla="*/ 201210 w 513675"/>
                    <a:gd name="connsiteY6" fmla="*/ 15169 h 469194"/>
                    <a:gd name="connsiteX7" fmla="*/ 312335 w 513675"/>
                    <a:gd name="connsiteY7" fmla="*/ 11994 h 469194"/>
                    <a:gd name="connsiteX8" fmla="*/ 312335 w 513675"/>
                    <a:gd name="connsiteY8" fmla="*/ 142169 h 469194"/>
                    <a:gd name="connsiteX9" fmla="*/ 353610 w 513675"/>
                    <a:gd name="connsiteY9" fmla="*/ 148519 h 469194"/>
                    <a:gd name="connsiteX10" fmla="*/ 445685 w 513675"/>
                    <a:gd name="connsiteY10" fmla="*/ 161219 h 469194"/>
                    <a:gd name="connsiteX11" fmla="*/ 486960 w 513675"/>
                    <a:gd name="connsiteY11" fmla="*/ 186619 h 469194"/>
                    <a:gd name="connsiteX12" fmla="*/ 509185 w 513675"/>
                    <a:gd name="connsiteY12" fmla="*/ 231069 h 469194"/>
                    <a:gd name="connsiteX13" fmla="*/ 512360 w 513675"/>
                    <a:gd name="connsiteY13" fmla="*/ 469194 h 469194"/>
                    <a:gd name="connsiteX14" fmla="*/ 4360 w 513675"/>
                    <a:gd name="connsiteY14" fmla="*/ 446969 h 469194"/>
                    <a:gd name="connsiteX0" fmla="*/ 4360 w 513675"/>
                    <a:gd name="connsiteY0" fmla="*/ 443409 h 465634"/>
                    <a:gd name="connsiteX1" fmla="*/ 7535 w 513675"/>
                    <a:gd name="connsiteY1" fmla="*/ 208459 h 465634"/>
                    <a:gd name="connsiteX2" fmla="*/ 23410 w 513675"/>
                    <a:gd name="connsiteY2" fmla="*/ 170359 h 465634"/>
                    <a:gd name="connsiteX3" fmla="*/ 71035 w 513675"/>
                    <a:gd name="connsiteY3" fmla="*/ 154484 h 465634"/>
                    <a:gd name="connsiteX4" fmla="*/ 172635 w 513675"/>
                    <a:gd name="connsiteY4" fmla="*/ 148134 h 465634"/>
                    <a:gd name="connsiteX5" fmla="*/ 188510 w 513675"/>
                    <a:gd name="connsiteY5" fmla="*/ 90984 h 465634"/>
                    <a:gd name="connsiteX6" fmla="*/ 201210 w 513675"/>
                    <a:gd name="connsiteY6" fmla="*/ 11609 h 465634"/>
                    <a:gd name="connsiteX7" fmla="*/ 312335 w 513675"/>
                    <a:gd name="connsiteY7" fmla="*/ 8434 h 465634"/>
                    <a:gd name="connsiteX8" fmla="*/ 312335 w 513675"/>
                    <a:gd name="connsiteY8" fmla="*/ 87809 h 465634"/>
                    <a:gd name="connsiteX9" fmla="*/ 353610 w 513675"/>
                    <a:gd name="connsiteY9" fmla="*/ 144959 h 465634"/>
                    <a:gd name="connsiteX10" fmla="*/ 445685 w 513675"/>
                    <a:gd name="connsiteY10" fmla="*/ 157659 h 465634"/>
                    <a:gd name="connsiteX11" fmla="*/ 486960 w 513675"/>
                    <a:gd name="connsiteY11" fmla="*/ 183059 h 465634"/>
                    <a:gd name="connsiteX12" fmla="*/ 509185 w 513675"/>
                    <a:gd name="connsiteY12" fmla="*/ 227509 h 465634"/>
                    <a:gd name="connsiteX13" fmla="*/ 512360 w 513675"/>
                    <a:gd name="connsiteY13" fmla="*/ 465634 h 465634"/>
                    <a:gd name="connsiteX14" fmla="*/ 4360 w 513675"/>
                    <a:gd name="connsiteY14" fmla="*/ 443409 h 465634"/>
                    <a:gd name="connsiteX0" fmla="*/ 4360 w 513675"/>
                    <a:gd name="connsiteY0" fmla="*/ 443409 h 465634"/>
                    <a:gd name="connsiteX1" fmla="*/ 7535 w 513675"/>
                    <a:gd name="connsiteY1" fmla="*/ 208459 h 465634"/>
                    <a:gd name="connsiteX2" fmla="*/ 23410 w 513675"/>
                    <a:gd name="connsiteY2" fmla="*/ 170359 h 465634"/>
                    <a:gd name="connsiteX3" fmla="*/ 71035 w 513675"/>
                    <a:gd name="connsiteY3" fmla="*/ 154484 h 465634"/>
                    <a:gd name="connsiteX4" fmla="*/ 172635 w 513675"/>
                    <a:gd name="connsiteY4" fmla="*/ 148134 h 465634"/>
                    <a:gd name="connsiteX5" fmla="*/ 188510 w 513675"/>
                    <a:gd name="connsiteY5" fmla="*/ 90984 h 465634"/>
                    <a:gd name="connsiteX6" fmla="*/ 201210 w 513675"/>
                    <a:gd name="connsiteY6" fmla="*/ 11609 h 465634"/>
                    <a:gd name="connsiteX7" fmla="*/ 312335 w 513675"/>
                    <a:gd name="connsiteY7" fmla="*/ 8434 h 465634"/>
                    <a:gd name="connsiteX8" fmla="*/ 312335 w 513675"/>
                    <a:gd name="connsiteY8" fmla="*/ 87809 h 465634"/>
                    <a:gd name="connsiteX9" fmla="*/ 334560 w 513675"/>
                    <a:gd name="connsiteY9" fmla="*/ 135434 h 465634"/>
                    <a:gd name="connsiteX10" fmla="*/ 445685 w 513675"/>
                    <a:gd name="connsiteY10" fmla="*/ 157659 h 465634"/>
                    <a:gd name="connsiteX11" fmla="*/ 486960 w 513675"/>
                    <a:gd name="connsiteY11" fmla="*/ 183059 h 465634"/>
                    <a:gd name="connsiteX12" fmla="*/ 509185 w 513675"/>
                    <a:gd name="connsiteY12" fmla="*/ 227509 h 465634"/>
                    <a:gd name="connsiteX13" fmla="*/ 512360 w 513675"/>
                    <a:gd name="connsiteY13" fmla="*/ 465634 h 465634"/>
                    <a:gd name="connsiteX14" fmla="*/ 4360 w 513675"/>
                    <a:gd name="connsiteY14" fmla="*/ 443409 h 465634"/>
                    <a:gd name="connsiteX0" fmla="*/ 4360 w 510500"/>
                    <a:gd name="connsiteY0" fmla="*/ 443409 h 449759"/>
                    <a:gd name="connsiteX1" fmla="*/ 7535 w 510500"/>
                    <a:gd name="connsiteY1" fmla="*/ 208459 h 449759"/>
                    <a:gd name="connsiteX2" fmla="*/ 23410 w 510500"/>
                    <a:gd name="connsiteY2" fmla="*/ 170359 h 449759"/>
                    <a:gd name="connsiteX3" fmla="*/ 71035 w 510500"/>
                    <a:gd name="connsiteY3" fmla="*/ 154484 h 449759"/>
                    <a:gd name="connsiteX4" fmla="*/ 172635 w 510500"/>
                    <a:gd name="connsiteY4" fmla="*/ 148134 h 449759"/>
                    <a:gd name="connsiteX5" fmla="*/ 188510 w 510500"/>
                    <a:gd name="connsiteY5" fmla="*/ 90984 h 449759"/>
                    <a:gd name="connsiteX6" fmla="*/ 201210 w 510500"/>
                    <a:gd name="connsiteY6" fmla="*/ 11609 h 449759"/>
                    <a:gd name="connsiteX7" fmla="*/ 312335 w 510500"/>
                    <a:gd name="connsiteY7" fmla="*/ 8434 h 449759"/>
                    <a:gd name="connsiteX8" fmla="*/ 312335 w 510500"/>
                    <a:gd name="connsiteY8" fmla="*/ 87809 h 449759"/>
                    <a:gd name="connsiteX9" fmla="*/ 334560 w 510500"/>
                    <a:gd name="connsiteY9" fmla="*/ 135434 h 449759"/>
                    <a:gd name="connsiteX10" fmla="*/ 445685 w 510500"/>
                    <a:gd name="connsiteY10" fmla="*/ 157659 h 449759"/>
                    <a:gd name="connsiteX11" fmla="*/ 486960 w 510500"/>
                    <a:gd name="connsiteY11" fmla="*/ 183059 h 449759"/>
                    <a:gd name="connsiteX12" fmla="*/ 509185 w 510500"/>
                    <a:gd name="connsiteY12" fmla="*/ 227509 h 449759"/>
                    <a:gd name="connsiteX13" fmla="*/ 506010 w 510500"/>
                    <a:gd name="connsiteY13" fmla="*/ 449759 h 449759"/>
                    <a:gd name="connsiteX14" fmla="*/ 4360 w 510500"/>
                    <a:gd name="connsiteY14" fmla="*/ 443409 h 449759"/>
                    <a:gd name="connsiteX0" fmla="*/ 4360 w 510500"/>
                    <a:gd name="connsiteY0" fmla="*/ 443409 h 454926"/>
                    <a:gd name="connsiteX1" fmla="*/ 7535 w 510500"/>
                    <a:gd name="connsiteY1" fmla="*/ 208459 h 454926"/>
                    <a:gd name="connsiteX2" fmla="*/ 23410 w 510500"/>
                    <a:gd name="connsiteY2" fmla="*/ 170359 h 454926"/>
                    <a:gd name="connsiteX3" fmla="*/ 71035 w 510500"/>
                    <a:gd name="connsiteY3" fmla="*/ 154484 h 454926"/>
                    <a:gd name="connsiteX4" fmla="*/ 172635 w 510500"/>
                    <a:gd name="connsiteY4" fmla="*/ 148134 h 454926"/>
                    <a:gd name="connsiteX5" fmla="*/ 188510 w 510500"/>
                    <a:gd name="connsiteY5" fmla="*/ 90984 h 454926"/>
                    <a:gd name="connsiteX6" fmla="*/ 201210 w 510500"/>
                    <a:gd name="connsiteY6" fmla="*/ 11609 h 454926"/>
                    <a:gd name="connsiteX7" fmla="*/ 312335 w 510500"/>
                    <a:gd name="connsiteY7" fmla="*/ 8434 h 454926"/>
                    <a:gd name="connsiteX8" fmla="*/ 312335 w 510500"/>
                    <a:gd name="connsiteY8" fmla="*/ 87809 h 454926"/>
                    <a:gd name="connsiteX9" fmla="*/ 334560 w 510500"/>
                    <a:gd name="connsiteY9" fmla="*/ 135434 h 454926"/>
                    <a:gd name="connsiteX10" fmla="*/ 445685 w 510500"/>
                    <a:gd name="connsiteY10" fmla="*/ 157659 h 454926"/>
                    <a:gd name="connsiteX11" fmla="*/ 486960 w 510500"/>
                    <a:gd name="connsiteY11" fmla="*/ 183059 h 454926"/>
                    <a:gd name="connsiteX12" fmla="*/ 509185 w 510500"/>
                    <a:gd name="connsiteY12" fmla="*/ 227509 h 454926"/>
                    <a:gd name="connsiteX13" fmla="*/ 506010 w 510500"/>
                    <a:gd name="connsiteY13" fmla="*/ 449759 h 454926"/>
                    <a:gd name="connsiteX14" fmla="*/ 4360 w 510500"/>
                    <a:gd name="connsiteY14" fmla="*/ 443409 h 454926"/>
                    <a:gd name="connsiteX0" fmla="*/ 6473 w 512613"/>
                    <a:gd name="connsiteY0" fmla="*/ 443409 h 454926"/>
                    <a:gd name="connsiteX1" fmla="*/ 9648 w 512613"/>
                    <a:gd name="connsiteY1" fmla="*/ 208459 h 454926"/>
                    <a:gd name="connsiteX2" fmla="*/ 73148 w 512613"/>
                    <a:gd name="connsiteY2" fmla="*/ 154484 h 454926"/>
                    <a:gd name="connsiteX3" fmla="*/ 174748 w 512613"/>
                    <a:gd name="connsiteY3" fmla="*/ 148134 h 454926"/>
                    <a:gd name="connsiteX4" fmla="*/ 190623 w 512613"/>
                    <a:gd name="connsiteY4" fmla="*/ 90984 h 454926"/>
                    <a:gd name="connsiteX5" fmla="*/ 203323 w 512613"/>
                    <a:gd name="connsiteY5" fmla="*/ 11609 h 454926"/>
                    <a:gd name="connsiteX6" fmla="*/ 314448 w 512613"/>
                    <a:gd name="connsiteY6" fmla="*/ 8434 h 454926"/>
                    <a:gd name="connsiteX7" fmla="*/ 314448 w 512613"/>
                    <a:gd name="connsiteY7" fmla="*/ 87809 h 454926"/>
                    <a:gd name="connsiteX8" fmla="*/ 336673 w 512613"/>
                    <a:gd name="connsiteY8" fmla="*/ 135434 h 454926"/>
                    <a:gd name="connsiteX9" fmla="*/ 447798 w 512613"/>
                    <a:gd name="connsiteY9" fmla="*/ 157659 h 454926"/>
                    <a:gd name="connsiteX10" fmla="*/ 489073 w 512613"/>
                    <a:gd name="connsiteY10" fmla="*/ 183059 h 454926"/>
                    <a:gd name="connsiteX11" fmla="*/ 511298 w 512613"/>
                    <a:gd name="connsiteY11" fmla="*/ 227509 h 454926"/>
                    <a:gd name="connsiteX12" fmla="*/ 508123 w 512613"/>
                    <a:gd name="connsiteY12" fmla="*/ 449759 h 454926"/>
                    <a:gd name="connsiteX13" fmla="*/ 6473 w 512613"/>
                    <a:gd name="connsiteY13" fmla="*/ 443409 h 454926"/>
                    <a:gd name="connsiteX0" fmla="*/ 4049 w 510189"/>
                    <a:gd name="connsiteY0" fmla="*/ 443409 h 454926"/>
                    <a:gd name="connsiteX1" fmla="*/ 7224 w 510189"/>
                    <a:gd name="connsiteY1" fmla="*/ 208459 h 454926"/>
                    <a:gd name="connsiteX2" fmla="*/ 70724 w 510189"/>
                    <a:gd name="connsiteY2" fmla="*/ 154484 h 454926"/>
                    <a:gd name="connsiteX3" fmla="*/ 172324 w 510189"/>
                    <a:gd name="connsiteY3" fmla="*/ 148134 h 454926"/>
                    <a:gd name="connsiteX4" fmla="*/ 188199 w 510189"/>
                    <a:gd name="connsiteY4" fmla="*/ 90984 h 454926"/>
                    <a:gd name="connsiteX5" fmla="*/ 200899 w 510189"/>
                    <a:gd name="connsiteY5" fmla="*/ 11609 h 454926"/>
                    <a:gd name="connsiteX6" fmla="*/ 312024 w 510189"/>
                    <a:gd name="connsiteY6" fmla="*/ 8434 h 454926"/>
                    <a:gd name="connsiteX7" fmla="*/ 312024 w 510189"/>
                    <a:gd name="connsiteY7" fmla="*/ 87809 h 454926"/>
                    <a:gd name="connsiteX8" fmla="*/ 334249 w 510189"/>
                    <a:gd name="connsiteY8" fmla="*/ 135434 h 454926"/>
                    <a:gd name="connsiteX9" fmla="*/ 445374 w 510189"/>
                    <a:gd name="connsiteY9" fmla="*/ 157659 h 454926"/>
                    <a:gd name="connsiteX10" fmla="*/ 486649 w 510189"/>
                    <a:gd name="connsiteY10" fmla="*/ 183059 h 454926"/>
                    <a:gd name="connsiteX11" fmla="*/ 508874 w 510189"/>
                    <a:gd name="connsiteY11" fmla="*/ 227509 h 454926"/>
                    <a:gd name="connsiteX12" fmla="*/ 505699 w 510189"/>
                    <a:gd name="connsiteY12" fmla="*/ 449759 h 454926"/>
                    <a:gd name="connsiteX13" fmla="*/ 4049 w 510189"/>
                    <a:gd name="connsiteY13" fmla="*/ 443409 h 454926"/>
                    <a:gd name="connsiteX0" fmla="*/ 4049 w 510189"/>
                    <a:gd name="connsiteY0" fmla="*/ 443409 h 454926"/>
                    <a:gd name="connsiteX1" fmla="*/ 7224 w 510189"/>
                    <a:gd name="connsiteY1" fmla="*/ 208459 h 454926"/>
                    <a:gd name="connsiteX2" fmla="*/ 70724 w 510189"/>
                    <a:gd name="connsiteY2" fmla="*/ 154484 h 454926"/>
                    <a:gd name="connsiteX3" fmla="*/ 172324 w 510189"/>
                    <a:gd name="connsiteY3" fmla="*/ 148134 h 454926"/>
                    <a:gd name="connsiteX4" fmla="*/ 188199 w 510189"/>
                    <a:gd name="connsiteY4" fmla="*/ 90984 h 454926"/>
                    <a:gd name="connsiteX5" fmla="*/ 200899 w 510189"/>
                    <a:gd name="connsiteY5" fmla="*/ 11609 h 454926"/>
                    <a:gd name="connsiteX6" fmla="*/ 312024 w 510189"/>
                    <a:gd name="connsiteY6" fmla="*/ 8434 h 454926"/>
                    <a:gd name="connsiteX7" fmla="*/ 312024 w 510189"/>
                    <a:gd name="connsiteY7" fmla="*/ 87809 h 454926"/>
                    <a:gd name="connsiteX8" fmla="*/ 334249 w 510189"/>
                    <a:gd name="connsiteY8" fmla="*/ 135434 h 454926"/>
                    <a:gd name="connsiteX9" fmla="*/ 445374 w 510189"/>
                    <a:gd name="connsiteY9" fmla="*/ 157659 h 454926"/>
                    <a:gd name="connsiteX10" fmla="*/ 508874 w 510189"/>
                    <a:gd name="connsiteY10" fmla="*/ 227509 h 454926"/>
                    <a:gd name="connsiteX11" fmla="*/ 505699 w 510189"/>
                    <a:gd name="connsiteY11" fmla="*/ 449759 h 454926"/>
                    <a:gd name="connsiteX12" fmla="*/ 4049 w 510189"/>
                    <a:gd name="connsiteY12" fmla="*/ 443409 h 454926"/>
                    <a:gd name="connsiteX0" fmla="*/ 4049 w 510189"/>
                    <a:gd name="connsiteY0" fmla="*/ 443409 h 454926"/>
                    <a:gd name="connsiteX1" fmla="*/ 7224 w 510189"/>
                    <a:gd name="connsiteY1" fmla="*/ 208459 h 454926"/>
                    <a:gd name="connsiteX2" fmla="*/ 70724 w 510189"/>
                    <a:gd name="connsiteY2" fmla="*/ 154484 h 454926"/>
                    <a:gd name="connsiteX3" fmla="*/ 172324 w 510189"/>
                    <a:gd name="connsiteY3" fmla="*/ 148134 h 454926"/>
                    <a:gd name="connsiteX4" fmla="*/ 188199 w 510189"/>
                    <a:gd name="connsiteY4" fmla="*/ 90984 h 454926"/>
                    <a:gd name="connsiteX5" fmla="*/ 200899 w 510189"/>
                    <a:gd name="connsiteY5" fmla="*/ 11609 h 454926"/>
                    <a:gd name="connsiteX6" fmla="*/ 312024 w 510189"/>
                    <a:gd name="connsiteY6" fmla="*/ 8434 h 454926"/>
                    <a:gd name="connsiteX7" fmla="*/ 312024 w 510189"/>
                    <a:gd name="connsiteY7" fmla="*/ 87809 h 454926"/>
                    <a:gd name="connsiteX8" fmla="*/ 334249 w 510189"/>
                    <a:gd name="connsiteY8" fmla="*/ 135434 h 454926"/>
                    <a:gd name="connsiteX9" fmla="*/ 445374 w 510189"/>
                    <a:gd name="connsiteY9" fmla="*/ 157659 h 454926"/>
                    <a:gd name="connsiteX10" fmla="*/ 508874 w 510189"/>
                    <a:gd name="connsiteY10" fmla="*/ 227509 h 454926"/>
                    <a:gd name="connsiteX11" fmla="*/ 505699 w 510189"/>
                    <a:gd name="connsiteY11" fmla="*/ 449759 h 454926"/>
                    <a:gd name="connsiteX12" fmla="*/ 4049 w 510189"/>
                    <a:gd name="connsiteY12" fmla="*/ 443409 h 454926"/>
                    <a:gd name="connsiteX0" fmla="*/ 5987 w 512127"/>
                    <a:gd name="connsiteY0" fmla="*/ 443409 h 454926"/>
                    <a:gd name="connsiteX1" fmla="*/ 2812 w 512127"/>
                    <a:gd name="connsiteY1" fmla="*/ 217984 h 454926"/>
                    <a:gd name="connsiteX2" fmla="*/ 72662 w 512127"/>
                    <a:gd name="connsiteY2" fmla="*/ 154484 h 454926"/>
                    <a:gd name="connsiteX3" fmla="*/ 174262 w 512127"/>
                    <a:gd name="connsiteY3" fmla="*/ 148134 h 454926"/>
                    <a:gd name="connsiteX4" fmla="*/ 190137 w 512127"/>
                    <a:gd name="connsiteY4" fmla="*/ 90984 h 454926"/>
                    <a:gd name="connsiteX5" fmla="*/ 202837 w 512127"/>
                    <a:gd name="connsiteY5" fmla="*/ 11609 h 454926"/>
                    <a:gd name="connsiteX6" fmla="*/ 313962 w 512127"/>
                    <a:gd name="connsiteY6" fmla="*/ 8434 h 454926"/>
                    <a:gd name="connsiteX7" fmla="*/ 313962 w 512127"/>
                    <a:gd name="connsiteY7" fmla="*/ 87809 h 454926"/>
                    <a:gd name="connsiteX8" fmla="*/ 336187 w 512127"/>
                    <a:gd name="connsiteY8" fmla="*/ 135434 h 454926"/>
                    <a:gd name="connsiteX9" fmla="*/ 447312 w 512127"/>
                    <a:gd name="connsiteY9" fmla="*/ 157659 h 454926"/>
                    <a:gd name="connsiteX10" fmla="*/ 510812 w 512127"/>
                    <a:gd name="connsiteY10" fmla="*/ 227509 h 454926"/>
                    <a:gd name="connsiteX11" fmla="*/ 507637 w 512127"/>
                    <a:gd name="connsiteY11" fmla="*/ 449759 h 454926"/>
                    <a:gd name="connsiteX12" fmla="*/ 5987 w 512127"/>
                    <a:gd name="connsiteY12" fmla="*/ 443409 h 454926"/>
                    <a:gd name="connsiteX0" fmla="*/ 9762 w 515902"/>
                    <a:gd name="connsiteY0" fmla="*/ 443409 h 454926"/>
                    <a:gd name="connsiteX1" fmla="*/ 6587 w 515902"/>
                    <a:gd name="connsiteY1" fmla="*/ 217984 h 454926"/>
                    <a:gd name="connsiteX2" fmla="*/ 76437 w 515902"/>
                    <a:gd name="connsiteY2" fmla="*/ 154484 h 454926"/>
                    <a:gd name="connsiteX3" fmla="*/ 178037 w 515902"/>
                    <a:gd name="connsiteY3" fmla="*/ 148134 h 454926"/>
                    <a:gd name="connsiteX4" fmla="*/ 193912 w 515902"/>
                    <a:gd name="connsiteY4" fmla="*/ 90984 h 454926"/>
                    <a:gd name="connsiteX5" fmla="*/ 206612 w 515902"/>
                    <a:gd name="connsiteY5" fmla="*/ 11609 h 454926"/>
                    <a:gd name="connsiteX6" fmla="*/ 317737 w 515902"/>
                    <a:gd name="connsiteY6" fmla="*/ 8434 h 454926"/>
                    <a:gd name="connsiteX7" fmla="*/ 317737 w 515902"/>
                    <a:gd name="connsiteY7" fmla="*/ 87809 h 454926"/>
                    <a:gd name="connsiteX8" fmla="*/ 339962 w 515902"/>
                    <a:gd name="connsiteY8" fmla="*/ 135434 h 454926"/>
                    <a:gd name="connsiteX9" fmla="*/ 451087 w 515902"/>
                    <a:gd name="connsiteY9" fmla="*/ 157659 h 454926"/>
                    <a:gd name="connsiteX10" fmla="*/ 514587 w 515902"/>
                    <a:gd name="connsiteY10" fmla="*/ 227509 h 454926"/>
                    <a:gd name="connsiteX11" fmla="*/ 511412 w 515902"/>
                    <a:gd name="connsiteY11" fmla="*/ 449759 h 454926"/>
                    <a:gd name="connsiteX12" fmla="*/ 9762 w 515902"/>
                    <a:gd name="connsiteY12" fmla="*/ 443409 h 454926"/>
                    <a:gd name="connsiteX0" fmla="*/ 9762 w 515902"/>
                    <a:gd name="connsiteY0" fmla="*/ 443409 h 454926"/>
                    <a:gd name="connsiteX1" fmla="*/ 6587 w 515902"/>
                    <a:gd name="connsiteY1" fmla="*/ 217984 h 454926"/>
                    <a:gd name="connsiteX2" fmla="*/ 76437 w 515902"/>
                    <a:gd name="connsiteY2" fmla="*/ 154484 h 454926"/>
                    <a:gd name="connsiteX3" fmla="*/ 178037 w 515902"/>
                    <a:gd name="connsiteY3" fmla="*/ 148134 h 454926"/>
                    <a:gd name="connsiteX4" fmla="*/ 193912 w 515902"/>
                    <a:gd name="connsiteY4" fmla="*/ 90984 h 454926"/>
                    <a:gd name="connsiteX5" fmla="*/ 206612 w 515902"/>
                    <a:gd name="connsiteY5" fmla="*/ 11609 h 454926"/>
                    <a:gd name="connsiteX6" fmla="*/ 317737 w 515902"/>
                    <a:gd name="connsiteY6" fmla="*/ 8434 h 454926"/>
                    <a:gd name="connsiteX7" fmla="*/ 317737 w 515902"/>
                    <a:gd name="connsiteY7" fmla="*/ 87809 h 454926"/>
                    <a:gd name="connsiteX8" fmla="*/ 339962 w 515902"/>
                    <a:gd name="connsiteY8" fmla="*/ 135434 h 454926"/>
                    <a:gd name="connsiteX9" fmla="*/ 451087 w 515902"/>
                    <a:gd name="connsiteY9" fmla="*/ 157659 h 454926"/>
                    <a:gd name="connsiteX10" fmla="*/ 514587 w 515902"/>
                    <a:gd name="connsiteY10" fmla="*/ 227509 h 454926"/>
                    <a:gd name="connsiteX11" fmla="*/ 511412 w 515902"/>
                    <a:gd name="connsiteY11" fmla="*/ 449759 h 454926"/>
                    <a:gd name="connsiteX12" fmla="*/ 9762 w 515902"/>
                    <a:gd name="connsiteY12" fmla="*/ 443409 h 454926"/>
                    <a:gd name="connsiteX0" fmla="*/ 9762 w 515902"/>
                    <a:gd name="connsiteY0" fmla="*/ 443409 h 454926"/>
                    <a:gd name="connsiteX1" fmla="*/ 6587 w 515902"/>
                    <a:gd name="connsiteY1" fmla="*/ 217984 h 454926"/>
                    <a:gd name="connsiteX2" fmla="*/ 76437 w 515902"/>
                    <a:gd name="connsiteY2" fmla="*/ 154484 h 454926"/>
                    <a:gd name="connsiteX3" fmla="*/ 193912 w 515902"/>
                    <a:gd name="connsiteY3" fmla="*/ 90984 h 454926"/>
                    <a:gd name="connsiteX4" fmla="*/ 206612 w 515902"/>
                    <a:gd name="connsiteY4" fmla="*/ 11609 h 454926"/>
                    <a:gd name="connsiteX5" fmla="*/ 317737 w 515902"/>
                    <a:gd name="connsiteY5" fmla="*/ 8434 h 454926"/>
                    <a:gd name="connsiteX6" fmla="*/ 317737 w 515902"/>
                    <a:gd name="connsiteY6" fmla="*/ 87809 h 454926"/>
                    <a:gd name="connsiteX7" fmla="*/ 339962 w 515902"/>
                    <a:gd name="connsiteY7" fmla="*/ 135434 h 454926"/>
                    <a:gd name="connsiteX8" fmla="*/ 451087 w 515902"/>
                    <a:gd name="connsiteY8" fmla="*/ 157659 h 454926"/>
                    <a:gd name="connsiteX9" fmla="*/ 514587 w 515902"/>
                    <a:gd name="connsiteY9" fmla="*/ 227509 h 454926"/>
                    <a:gd name="connsiteX10" fmla="*/ 511412 w 515902"/>
                    <a:gd name="connsiteY10" fmla="*/ 449759 h 454926"/>
                    <a:gd name="connsiteX11" fmla="*/ 9762 w 515902"/>
                    <a:gd name="connsiteY11" fmla="*/ 443409 h 454926"/>
                    <a:gd name="connsiteX0" fmla="*/ 9762 w 515902"/>
                    <a:gd name="connsiteY0" fmla="*/ 446099 h 457616"/>
                    <a:gd name="connsiteX1" fmla="*/ 6587 w 515902"/>
                    <a:gd name="connsiteY1" fmla="*/ 220674 h 457616"/>
                    <a:gd name="connsiteX2" fmla="*/ 76437 w 515902"/>
                    <a:gd name="connsiteY2" fmla="*/ 157174 h 457616"/>
                    <a:gd name="connsiteX3" fmla="*/ 190737 w 515902"/>
                    <a:gd name="connsiteY3" fmla="*/ 138124 h 457616"/>
                    <a:gd name="connsiteX4" fmla="*/ 206612 w 515902"/>
                    <a:gd name="connsiteY4" fmla="*/ 14299 h 457616"/>
                    <a:gd name="connsiteX5" fmla="*/ 317737 w 515902"/>
                    <a:gd name="connsiteY5" fmla="*/ 11124 h 457616"/>
                    <a:gd name="connsiteX6" fmla="*/ 317737 w 515902"/>
                    <a:gd name="connsiteY6" fmla="*/ 90499 h 457616"/>
                    <a:gd name="connsiteX7" fmla="*/ 339962 w 515902"/>
                    <a:gd name="connsiteY7" fmla="*/ 138124 h 457616"/>
                    <a:gd name="connsiteX8" fmla="*/ 451087 w 515902"/>
                    <a:gd name="connsiteY8" fmla="*/ 160349 h 457616"/>
                    <a:gd name="connsiteX9" fmla="*/ 514587 w 515902"/>
                    <a:gd name="connsiteY9" fmla="*/ 230199 h 457616"/>
                    <a:gd name="connsiteX10" fmla="*/ 511412 w 515902"/>
                    <a:gd name="connsiteY10" fmla="*/ 452449 h 457616"/>
                    <a:gd name="connsiteX11" fmla="*/ 9762 w 515902"/>
                    <a:gd name="connsiteY11" fmla="*/ 446099 h 457616"/>
                    <a:gd name="connsiteX0" fmla="*/ 9762 w 515902"/>
                    <a:gd name="connsiteY0" fmla="*/ 446099 h 457616"/>
                    <a:gd name="connsiteX1" fmla="*/ 6587 w 515902"/>
                    <a:gd name="connsiteY1" fmla="*/ 220674 h 457616"/>
                    <a:gd name="connsiteX2" fmla="*/ 76437 w 515902"/>
                    <a:gd name="connsiteY2" fmla="*/ 157174 h 457616"/>
                    <a:gd name="connsiteX3" fmla="*/ 190737 w 515902"/>
                    <a:gd name="connsiteY3" fmla="*/ 138124 h 457616"/>
                    <a:gd name="connsiteX4" fmla="*/ 206612 w 515902"/>
                    <a:gd name="connsiteY4" fmla="*/ 14299 h 457616"/>
                    <a:gd name="connsiteX5" fmla="*/ 317737 w 515902"/>
                    <a:gd name="connsiteY5" fmla="*/ 11124 h 457616"/>
                    <a:gd name="connsiteX6" fmla="*/ 317737 w 515902"/>
                    <a:gd name="connsiteY6" fmla="*/ 90499 h 457616"/>
                    <a:gd name="connsiteX7" fmla="*/ 451087 w 515902"/>
                    <a:gd name="connsiteY7" fmla="*/ 160349 h 457616"/>
                    <a:gd name="connsiteX8" fmla="*/ 514587 w 515902"/>
                    <a:gd name="connsiteY8" fmla="*/ 230199 h 457616"/>
                    <a:gd name="connsiteX9" fmla="*/ 511412 w 515902"/>
                    <a:gd name="connsiteY9" fmla="*/ 452449 h 457616"/>
                    <a:gd name="connsiteX10" fmla="*/ 9762 w 515902"/>
                    <a:gd name="connsiteY10" fmla="*/ 446099 h 457616"/>
                    <a:gd name="connsiteX0" fmla="*/ 9762 w 515902"/>
                    <a:gd name="connsiteY0" fmla="*/ 447482 h 458999"/>
                    <a:gd name="connsiteX1" fmla="*/ 6587 w 515902"/>
                    <a:gd name="connsiteY1" fmla="*/ 222057 h 458999"/>
                    <a:gd name="connsiteX2" fmla="*/ 76437 w 515902"/>
                    <a:gd name="connsiteY2" fmla="*/ 158557 h 458999"/>
                    <a:gd name="connsiteX3" fmla="*/ 190737 w 515902"/>
                    <a:gd name="connsiteY3" fmla="*/ 139507 h 458999"/>
                    <a:gd name="connsiteX4" fmla="*/ 206612 w 515902"/>
                    <a:gd name="connsiteY4" fmla="*/ 15682 h 458999"/>
                    <a:gd name="connsiteX5" fmla="*/ 317737 w 515902"/>
                    <a:gd name="connsiteY5" fmla="*/ 12507 h 458999"/>
                    <a:gd name="connsiteX6" fmla="*/ 330437 w 515902"/>
                    <a:gd name="connsiteY6" fmla="*/ 114107 h 458999"/>
                    <a:gd name="connsiteX7" fmla="*/ 451087 w 515902"/>
                    <a:gd name="connsiteY7" fmla="*/ 161732 h 458999"/>
                    <a:gd name="connsiteX8" fmla="*/ 514587 w 515902"/>
                    <a:gd name="connsiteY8" fmla="*/ 231582 h 458999"/>
                    <a:gd name="connsiteX9" fmla="*/ 511412 w 515902"/>
                    <a:gd name="connsiteY9" fmla="*/ 453832 h 458999"/>
                    <a:gd name="connsiteX10" fmla="*/ 9762 w 515902"/>
                    <a:gd name="connsiteY10" fmla="*/ 447482 h 458999"/>
                    <a:gd name="connsiteX0" fmla="*/ 9762 w 515902"/>
                    <a:gd name="connsiteY0" fmla="*/ 446348 h 457865"/>
                    <a:gd name="connsiteX1" fmla="*/ 6587 w 515902"/>
                    <a:gd name="connsiteY1" fmla="*/ 220923 h 457865"/>
                    <a:gd name="connsiteX2" fmla="*/ 76437 w 515902"/>
                    <a:gd name="connsiteY2" fmla="*/ 157423 h 457865"/>
                    <a:gd name="connsiteX3" fmla="*/ 200262 w 515902"/>
                    <a:gd name="connsiteY3" fmla="*/ 119323 h 457865"/>
                    <a:gd name="connsiteX4" fmla="*/ 206612 w 515902"/>
                    <a:gd name="connsiteY4" fmla="*/ 14548 h 457865"/>
                    <a:gd name="connsiteX5" fmla="*/ 317737 w 515902"/>
                    <a:gd name="connsiteY5" fmla="*/ 11373 h 457865"/>
                    <a:gd name="connsiteX6" fmla="*/ 330437 w 515902"/>
                    <a:gd name="connsiteY6" fmla="*/ 112973 h 457865"/>
                    <a:gd name="connsiteX7" fmla="*/ 451087 w 515902"/>
                    <a:gd name="connsiteY7" fmla="*/ 160598 h 457865"/>
                    <a:gd name="connsiteX8" fmla="*/ 514587 w 515902"/>
                    <a:gd name="connsiteY8" fmla="*/ 230448 h 457865"/>
                    <a:gd name="connsiteX9" fmla="*/ 511412 w 515902"/>
                    <a:gd name="connsiteY9" fmla="*/ 452698 h 457865"/>
                    <a:gd name="connsiteX10" fmla="*/ 9762 w 515902"/>
                    <a:gd name="connsiteY10" fmla="*/ 446348 h 457865"/>
                    <a:gd name="connsiteX0" fmla="*/ 8840 w 514980"/>
                    <a:gd name="connsiteY0" fmla="*/ 446348 h 457865"/>
                    <a:gd name="connsiteX1" fmla="*/ 5665 w 514980"/>
                    <a:gd name="connsiteY1" fmla="*/ 220923 h 457865"/>
                    <a:gd name="connsiteX2" fmla="*/ 62412 w 514980"/>
                    <a:gd name="connsiteY2" fmla="*/ 133367 h 457865"/>
                    <a:gd name="connsiteX3" fmla="*/ 199340 w 514980"/>
                    <a:gd name="connsiteY3" fmla="*/ 119323 h 457865"/>
                    <a:gd name="connsiteX4" fmla="*/ 205690 w 514980"/>
                    <a:gd name="connsiteY4" fmla="*/ 14548 h 457865"/>
                    <a:gd name="connsiteX5" fmla="*/ 316815 w 514980"/>
                    <a:gd name="connsiteY5" fmla="*/ 11373 h 457865"/>
                    <a:gd name="connsiteX6" fmla="*/ 329515 w 514980"/>
                    <a:gd name="connsiteY6" fmla="*/ 112973 h 457865"/>
                    <a:gd name="connsiteX7" fmla="*/ 450165 w 514980"/>
                    <a:gd name="connsiteY7" fmla="*/ 160598 h 457865"/>
                    <a:gd name="connsiteX8" fmla="*/ 513665 w 514980"/>
                    <a:gd name="connsiteY8" fmla="*/ 230448 h 457865"/>
                    <a:gd name="connsiteX9" fmla="*/ 510490 w 514980"/>
                    <a:gd name="connsiteY9" fmla="*/ 452698 h 457865"/>
                    <a:gd name="connsiteX10" fmla="*/ 8840 w 514980"/>
                    <a:gd name="connsiteY10" fmla="*/ 446348 h 457865"/>
                    <a:gd name="connsiteX0" fmla="*/ 8840 w 514980"/>
                    <a:gd name="connsiteY0" fmla="*/ 445015 h 456532"/>
                    <a:gd name="connsiteX1" fmla="*/ 5665 w 514980"/>
                    <a:gd name="connsiteY1" fmla="*/ 219590 h 456532"/>
                    <a:gd name="connsiteX2" fmla="*/ 62412 w 514980"/>
                    <a:gd name="connsiteY2" fmla="*/ 132034 h 456532"/>
                    <a:gd name="connsiteX3" fmla="*/ 186237 w 514980"/>
                    <a:gd name="connsiteY3" fmla="*/ 93934 h 456532"/>
                    <a:gd name="connsiteX4" fmla="*/ 205690 w 514980"/>
                    <a:gd name="connsiteY4" fmla="*/ 13215 h 456532"/>
                    <a:gd name="connsiteX5" fmla="*/ 316815 w 514980"/>
                    <a:gd name="connsiteY5" fmla="*/ 10040 h 456532"/>
                    <a:gd name="connsiteX6" fmla="*/ 329515 w 514980"/>
                    <a:gd name="connsiteY6" fmla="*/ 111640 h 456532"/>
                    <a:gd name="connsiteX7" fmla="*/ 450165 w 514980"/>
                    <a:gd name="connsiteY7" fmla="*/ 159265 h 456532"/>
                    <a:gd name="connsiteX8" fmla="*/ 513665 w 514980"/>
                    <a:gd name="connsiteY8" fmla="*/ 229115 h 456532"/>
                    <a:gd name="connsiteX9" fmla="*/ 510490 w 514980"/>
                    <a:gd name="connsiteY9" fmla="*/ 451365 h 456532"/>
                    <a:gd name="connsiteX10" fmla="*/ 8840 w 514980"/>
                    <a:gd name="connsiteY10" fmla="*/ 445015 h 456532"/>
                    <a:gd name="connsiteX0" fmla="*/ 8840 w 514980"/>
                    <a:gd name="connsiteY0" fmla="*/ 445015 h 456532"/>
                    <a:gd name="connsiteX1" fmla="*/ 5665 w 514980"/>
                    <a:gd name="connsiteY1" fmla="*/ 219590 h 456532"/>
                    <a:gd name="connsiteX2" fmla="*/ 62412 w 514980"/>
                    <a:gd name="connsiteY2" fmla="*/ 132034 h 456532"/>
                    <a:gd name="connsiteX3" fmla="*/ 186237 w 514980"/>
                    <a:gd name="connsiteY3" fmla="*/ 93934 h 456532"/>
                    <a:gd name="connsiteX4" fmla="*/ 205690 w 514980"/>
                    <a:gd name="connsiteY4" fmla="*/ 13215 h 456532"/>
                    <a:gd name="connsiteX5" fmla="*/ 316815 w 514980"/>
                    <a:gd name="connsiteY5" fmla="*/ 10040 h 456532"/>
                    <a:gd name="connsiteX6" fmla="*/ 329515 w 514980"/>
                    <a:gd name="connsiteY6" fmla="*/ 111640 h 456532"/>
                    <a:gd name="connsiteX7" fmla="*/ 461084 w 514980"/>
                    <a:gd name="connsiteY7" fmla="*/ 146143 h 456532"/>
                    <a:gd name="connsiteX8" fmla="*/ 513665 w 514980"/>
                    <a:gd name="connsiteY8" fmla="*/ 229115 h 456532"/>
                    <a:gd name="connsiteX9" fmla="*/ 510490 w 514980"/>
                    <a:gd name="connsiteY9" fmla="*/ 451365 h 456532"/>
                    <a:gd name="connsiteX10" fmla="*/ 8840 w 514980"/>
                    <a:gd name="connsiteY10" fmla="*/ 445015 h 456532"/>
                    <a:gd name="connsiteX0" fmla="*/ 8840 w 514980"/>
                    <a:gd name="connsiteY0" fmla="*/ 444105 h 455622"/>
                    <a:gd name="connsiteX1" fmla="*/ 5665 w 514980"/>
                    <a:gd name="connsiteY1" fmla="*/ 218680 h 455622"/>
                    <a:gd name="connsiteX2" fmla="*/ 62412 w 514980"/>
                    <a:gd name="connsiteY2" fmla="*/ 131124 h 455622"/>
                    <a:gd name="connsiteX3" fmla="*/ 186237 w 514980"/>
                    <a:gd name="connsiteY3" fmla="*/ 93024 h 455622"/>
                    <a:gd name="connsiteX4" fmla="*/ 205690 w 514980"/>
                    <a:gd name="connsiteY4" fmla="*/ 12305 h 455622"/>
                    <a:gd name="connsiteX5" fmla="*/ 316815 w 514980"/>
                    <a:gd name="connsiteY5" fmla="*/ 9130 h 455622"/>
                    <a:gd name="connsiteX6" fmla="*/ 351353 w 514980"/>
                    <a:gd name="connsiteY6" fmla="*/ 97608 h 455622"/>
                    <a:gd name="connsiteX7" fmla="*/ 461084 w 514980"/>
                    <a:gd name="connsiteY7" fmla="*/ 145233 h 455622"/>
                    <a:gd name="connsiteX8" fmla="*/ 513665 w 514980"/>
                    <a:gd name="connsiteY8" fmla="*/ 228205 h 455622"/>
                    <a:gd name="connsiteX9" fmla="*/ 510490 w 514980"/>
                    <a:gd name="connsiteY9" fmla="*/ 450455 h 455622"/>
                    <a:gd name="connsiteX10" fmla="*/ 8840 w 514980"/>
                    <a:gd name="connsiteY10" fmla="*/ 444105 h 455622"/>
                    <a:gd name="connsiteX0" fmla="*/ 8840 w 514980"/>
                    <a:gd name="connsiteY0" fmla="*/ 442755 h 454272"/>
                    <a:gd name="connsiteX1" fmla="*/ 5665 w 514980"/>
                    <a:gd name="connsiteY1" fmla="*/ 217330 h 454272"/>
                    <a:gd name="connsiteX2" fmla="*/ 62412 w 514980"/>
                    <a:gd name="connsiteY2" fmla="*/ 129774 h 454272"/>
                    <a:gd name="connsiteX3" fmla="*/ 186237 w 514980"/>
                    <a:gd name="connsiteY3" fmla="*/ 91674 h 454272"/>
                    <a:gd name="connsiteX4" fmla="*/ 205690 w 514980"/>
                    <a:gd name="connsiteY4" fmla="*/ 10955 h 454272"/>
                    <a:gd name="connsiteX5" fmla="*/ 325550 w 514980"/>
                    <a:gd name="connsiteY5" fmla="*/ 9967 h 454272"/>
                    <a:gd name="connsiteX6" fmla="*/ 351353 w 514980"/>
                    <a:gd name="connsiteY6" fmla="*/ 96258 h 454272"/>
                    <a:gd name="connsiteX7" fmla="*/ 461084 w 514980"/>
                    <a:gd name="connsiteY7" fmla="*/ 143883 h 454272"/>
                    <a:gd name="connsiteX8" fmla="*/ 513665 w 514980"/>
                    <a:gd name="connsiteY8" fmla="*/ 226855 h 454272"/>
                    <a:gd name="connsiteX9" fmla="*/ 510490 w 514980"/>
                    <a:gd name="connsiteY9" fmla="*/ 449105 h 454272"/>
                    <a:gd name="connsiteX10" fmla="*/ 8840 w 514980"/>
                    <a:gd name="connsiteY10" fmla="*/ 442755 h 454272"/>
                    <a:gd name="connsiteX0" fmla="*/ 8840 w 514980"/>
                    <a:gd name="connsiteY0" fmla="*/ 442755 h 454272"/>
                    <a:gd name="connsiteX1" fmla="*/ 5665 w 514980"/>
                    <a:gd name="connsiteY1" fmla="*/ 217330 h 454272"/>
                    <a:gd name="connsiteX2" fmla="*/ 62412 w 514980"/>
                    <a:gd name="connsiteY2" fmla="*/ 129774 h 454272"/>
                    <a:gd name="connsiteX3" fmla="*/ 186237 w 514980"/>
                    <a:gd name="connsiteY3" fmla="*/ 91674 h 454272"/>
                    <a:gd name="connsiteX4" fmla="*/ 205690 w 514980"/>
                    <a:gd name="connsiteY4" fmla="*/ 10955 h 454272"/>
                    <a:gd name="connsiteX5" fmla="*/ 325550 w 514980"/>
                    <a:gd name="connsiteY5" fmla="*/ 9967 h 454272"/>
                    <a:gd name="connsiteX6" fmla="*/ 351353 w 514980"/>
                    <a:gd name="connsiteY6" fmla="*/ 96258 h 454272"/>
                    <a:gd name="connsiteX7" fmla="*/ 461084 w 514980"/>
                    <a:gd name="connsiteY7" fmla="*/ 143883 h 454272"/>
                    <a:gd name="connsiteX8" fmla="*/ 513665 w 514980"/>
                    <a:gd name="connsiteY8" fmla="*/ 226855 h 454272"/>
                    <a:gd name="connsiteX9" fmla="*/ 510490 w 514980"/>
                    <a:gd name="connsiteY9" fmla="*/ 449105 h 454272"/>
                    <a:gd name="connsiteX10" fmla="*/ 8840 w 514980"/>
                    <a:gd name="connsiteY10" fmla="*/ 442755 h 454272"/>
                    <a:gd name="connsiteX0" fmla="*/ 8840 w 514980"/>
                    <a:gd name="connsiteY0" fmla="*/ 442755 h 454272"/>
                    <a:gd name="connsiteX1" fmla="*/ 5665 w 514980"/>
                    <a:gd name="connsiteY1" fmla="*/ 217330 h 454272"/>
                    <a:gd name="connsiteX2" fmla="*/ 62412 w 514980"/>
                    <a:gd name="connsiteY2" fmla="*/ 129774 h 454272"/>
                    <a:gd name="connsiteX3" fmla="*/ 186237 w 514980"/>
                    <a:gd name="connsiteY3" fmla="*/ 91674 h 454272"/>
                    <a:gd name="connsiteX4" fmla="*/ 205690 w 514980"/>
                    <a:gd name="connsiteY4" fmla="*/ 10955 h 454272"/>
                    <a:gd name="connsiteX5" fmla="*/ 325550 w 514980"/>
                    <a:gd name="connsiteY5" fmla="*/ 9967 h 454272"/>
                    <a:gd name="connsiteX6" fmla="*/ 351353 w 514980"/>
                    <a:gd name="connsiteY6" fmla="*/ 96258 h 454272"/>
                    <a:gd name="connsiteX7" fmla="*/ 461084 w 514980"/>
                    <a:gd name="connsiteY7" fmla="*/ 143883 h 454272"/>
                    <a:gd name="connsiteX8" fmla="*/ 513665 w 514980"/>
                    <a:gd name="connsiteY8" fmla="*/ 226855 h 454272"/>
                    <a:gd name="connsiteX9" fmla="*/ 510490 w 514980"/>
                    <a:gd name="connsiteY9" fmla="*/ 449105 h 454272"/>
                    <a:gd name="connsiteX10" fmla="*/ 8840 w 514980"/>
                    <a:gd name="connsiteY10" fmla="*/ 442755 h 454272"/>
                    <a:gd name="connsiteX0" fmla="*/ 8840 w 514980"/>
                    <a:gd name="connsiteY0" fmla="*/ 442755 h 454272"/>
                    <a:gd name="connsiteX1" fmla="*/ 5665 w 514980"/>
                    <a:gd name="connsiteY1" fmla="*/ 217330 h 454272"/>
                    <a:gd name="connsiteX2" fmla="*/ 62412 w 514980"/>
                    <a:gd name="connsiteY2" fmla="*/ 129774 h 454272"/>
                    <a:gd name="connsiteX3" fmla="*/ 186237 w 514980"/>
                    <a:gd name="connsiteY3" fmla="*/ 91674 h 454272"/>
                    <a:gd name="connsiteX4" fmla="*/ 205690 w 514980"/>
                    <a:gd name="connsiteY4" fmla="*/ 10955 h 454272"/>
                    <a:gd name="connsiteX5" fmla="*/ 325550 w 514980"/>
                    <a:gd name="connsiteY5" fmla="*/ 9967 h 454272"/>
                    <a:gd name="connsiteX6" fmla="*/ 351353 w 514980"/>
                    <a:gd name="connsiteY6" fmla="*/ 96258 h 454272"/>
                    <a:gd name="connsiteX7" fmla="*/ 461084 w 514980"/>
                    <a:gd name="connsiteY7" fmla="*/ 143883 h 454272"/>
                    <a:gd name="connsiteX8" fmla="*/ 513665 w 514980"/>
                    <a:gd name="connsiteY8" fmla="*/ 226855 h 454272"/>
                    <a:gd name="connsiteX9" fmla="*/ 510490 w 514980"/>
                    <a:gd name="connsiteY9" fmla="*/ 449105 h 454272"/>
                    <a:gd name="connsiteX10" fmla="*/ 8840 w 514980"/>
                    <a:gd name="connsiteY10" fmla="*/ 442755 h 454272"/>
                    <a:gd name="connsiteX0" fmla="*/ 8840 w 514980"/>
                    <a:gd name="connsiteY0" fmla="*/ 436996 h 448513"/>
                    <a:gd name="connsiteX1" fmla="*/ 5665 w 514980"/>
                    <a:gd name="connsiteY1" fmla="*/ 211571 h 448513"/>
                    <a:gd name="connsiteX2" fmla="*/ 62412 w 514980"/>
                    <a:gd name="connsiteY2" fmla="*/ 124015 h 448513"/>
                    <a:gd name="connsiteX3" fmla="*/ 186237 w 514980"/>
                    <a:gd name="connsiteY3" fmla="*/ 85915 h 448513"/>
                    <a:gd name="connsiteX4" fmla="*/ 205690 w 514980"/>
                    <a:gd name="connsiteY4" fmla="*/ 5196 h 448513"/>
                    <a:gd name="connsiteX5" fmla="*/ 325550 w 514980"/>
                    <a:gd name="connsiteY5" fmla="*/ 4208 h 448513"/>
                    <a:gd name="connsiteX6" fmla="*/ 351353 w 514980"/>
                    <a:gd name="connsiteY6" fmla="*/ 90499 h 448513"/>
                    <a:gd name="connsiteX7" fmla="*/ 461084 w 514980"/>
                    <a:gd name="connsiteY7" fmla="*/ 138124 h 448513"/>
                    <a:gd name="connsiteX8" fmla="*/ 513665 w 514980"/>
                    <a:gd name="connsiteY8" fmla="*/ 221096 h 448513"/>
                    <a:gd name="connsiteX9" fmla="*/ 510490 w 514980"/>
                    <a:gd name="connsiteY9" fmla="*/ 443346 h 448513"/>
                    <a:gd name="connsiteX10" fmla="*/ 8840 w 514980"/>
                    <a:gd name="connsiteY10" fmla="*/ 436996 h 448513"/>
                    <a:gd name="connsiteX0" fmla="*/ 8840 w 514980"/>
                    <a:gd name="connsiteY0" fmla="*/ 436996 h 448513"/>
                    <a:gd name="connsiteX1" fmla="*/ 5665 w 514980"/>
                    <a:gd name="connsiteY1" fmla="*/ 211571 h 448513"/>
                    <a:gd name="connsiteX2" fmla="*/ 62412 w 514980"/>
                    <a:gd name="connsiteY2" fmla="*/ 124015 h 448513"/>
                    <a:gd name="connsiteX3" fmla="*/ 186237 w 514980"/>
                    <a:gd name="connsiteY3" fmla="*/ 85915 h 448513"/>
                    <a:gd name="connsiteX4" fmla="*/ 205690 w 514980"/>
                    <a:gd name="connsiteY4" fmla="*/ 5196 h 448513"/>
                    <a:gd name="connsiteX5" fmla="*/ 325550 w 514980"/>
                    <a:gd name="connsiteY5" fmla="*/ 4208 h 448513"/>
                    <a:gd name="connsiteX6" fmla="*/ 351353 w 514980"/>
                    <a:gd name="connsiteY6" fmla="*/ 90499 h 448513"/>
                    <a:gd name="connsiteX7" fmla="*/ 461084 w 514980"/>
                    <a:gd name="connsiteY7" fmla="*/ 138124 h 448513"/>
                    <a:gd name="connsiteX8" fmla="*/ 513665 w 514980"/>
                    <a:gd name="connsiteY8" fmla="*/ 221096 h 448513"/>
                    <a:gd name="connsiteX9" fmla="*/ 510490 w 514980"/>
                    <a:gd name="connsiteY9" fmla="*/ 443346 h 448513"/>
                    <a:gd name="connsiteX10" fmla="*/ 8840 w 514980"/>
                    <a:gd name="connsiteY10" fmla="*/ 436996 h 448513"/>
                    <a:gd name="connsiteX0" fmla="*/ 8840 w 514980"/>
                    <a:gd name="connsiteY0" fmla="*/ 436996 h 448513"/>
                    <a:gd name="connsiteX1" fmla="*/ 5665 w 514980"/>
                    <a:gd name="connsiteY1" fmla="*/ 211571 h 448513"/>
                    <a:gd name="connsiteX2" fmla="*/ 62412 w 514980"/>
                    <a:gd name="connsiteY2" fmla="*/ 124015 h 448513"/>
                    <a:gd name="connsiteX3" fmla="*/ 186237 w 514980"/>
                    <a:gd name="connsiteY3" fmla="*/ 85915 h 448513"/>
                    <a:gd name="connsiteX4" fmla="*/ 205690 w 514980"/>
                    <a:gd name="connsiteY4" fmla="*/ 5196 h 448513"/>
                    <a:gd name="connsiteX5" fmla="*/ 325550 w 514980"/>
                    <a:gd name="connsiteY5" fmla="*/ 4208 h 448513"/>
                    <a:gd name="connsiteX6" fmla="*/ 351353 w 514980"/>
                    <a:gd name="connsiteY6" fmla="*/ 90499 h 448513"/>
                    <a:gd name="connsiteX7" fmla="*/ 461084 w 514980"/>
                    <a:gd name="connsiteY7" fmla="*/ 138124 h 448513"/>
                    <a:gd name="connsiteX8" fmla="*/ 513665 w 514980"/>
                    <a:gd name="connsiteY8" fmla="*/ 221096 h 448513"/>
                    <a:gd name="connsiteX9" fmla="*/ 510490 w 514980"/>
                    <a:gd name="connsiteY9" fmla="*/ 443346 h 448513"/>
                    <a:gd name="connsiteX10" fmla="*/ 8840 w 514980"/>
                    <a:gd name="connsiteY10" fmla="*/ 436996 h 448513"/>
                    <a:gd name="connsiteX0" fmla="*/ 8840 w 514980"/>
                    <a:gd name="connsiteY0" fmla="*/ 436996 h 448513"/>
                    <a:gd name="connsiteX1" fmla="*/ 5665 w 514980"/>
                    <a:gd name="connsiteY1" fmla="*/ 211571 h 448513"/>
                    <a:gd name="connsiteX2" fmla="*/ 62412 w 514980"/>
                    <a:gd name="connsiteY2" fmla="*/ 124015 h 448513"/>
                    <a:gd name="connsiteX3" fmla="*/ 168766 w 514980"/>
                    <a:gd name="connsiteY3" fmla="*/ 88102 h 448513"/>
                    <a:gd name="connsiteX4" fmla="*/ 205690 w 514980"/>
                    <a:gd name="connsiteY4" fmla="*/ 5196 h 448513"/>
                    <a:gd name="connsiteX5" fmla="*/ 325550 w 514980"/>
                    <a:gd name="connsiteY5" fmla="*/ 4208 h 448513"/>
                    <a:gd name="connsiteX6" fmla="*/ 351353 w 514980"/>
                    <a:gd name="connsiteY6" fmla="*/ 90499 h 448513"/>
                    <a:gd name="connsiteX7" fmla="*/ 461084 w 514980"/>
                    <a:gd name="connsiteY7" fmla="*/ 138124 h 448513"/>
                    <a:gd name="connsiteX8" fmla="*/ 513665 w 514980"/>
                    <a:gd name="connsiteY8" fmla="*/ 221096 h 448513"/>
                    <a:gd name="connsiteX9" fmla="*/ 510490 w 514980"/>
                    <a:gd name="connsiteY9" fmla="*/ 443346 h 448513"/>
                    <a:gd name="connsiteX10" fmla="*/ 8840 w 514980"/>
                    <a:gd name="connsiteY10" fmla="*/ 436996 h 448513"/>
                    <a:gd name="connsiteX0" fmla="*/ 8840 w 514980"/>
                    <a:gd name="connsiteY0" fmla="*/ 440628 h 452145"/>
                    <a:gd name="connsiteX1" fmla="*/ 5665 w 514980"/>
                    <a:gd name="connsiteY1" fmla="*/ 215203 h 452145"/>
                    <a:gd name="connsiteX2" fmla="*/ 62412 w 514980"/>
                    <a:gd name="connsiteY2" fmla="*/ 127647 h 452145"/>
                    <a:gd name="connsiteX3" fmla="*/ 168766 w 514980"/>
                    <a:gd name="connsiteY3" fmla="*/ 91734 h 452145"/>
                    <a:gd name="connsiteX4" fmla="*/ 179484 w 514980"/>
                    <a:gd name="connsiteY4" fmla="*/ 4454 h 452145"/>
                    <a:gd name="connsiteX5" fmla="*/ 325550 w 514980"/>
                    <a:gd name="connsiteY5" fmla="*/ 7840 h 452145"/>
                    <a:gd name="connsiteX6" fmla="*/ 351353 w 514980"/>
                    <a:gd name="connsiteY6" fmla="*/ 94131 h 452145"/>
                    <a:gd name="connsiteX7" fmla="*/ 461084 w 514980"/>
                    <a:gd name="connsiteY7" fmla="*/ 141756 h 452145"/>
                    <a:gd name="connsiteX8" fmla="*/ 513665 w 514980"/>
                    <a:gd name="connsiteY8" fmla="*/ 224728 h 452145"/>
                    <a:gd name="connsiteX9" fmla="*/ 510490 w 514980"/>
                    <a:gd name="connsiteY9" fmla="*/ 446978 h 452145"/>
                    <a:gd name="connsiteX10" fmla="*/ 8840 w 514980"/>
                    <a:gd name="connsiteY10" fmla="*/ 440628 h 452145"/>
                    <a:gd name="connsiteX0" fmla="*/ 8840 w 514980"/>
                    <a:gd name="connsiteY0" fmla="*/ 442422 h 453939"/>
                    <a:gd name="connsiteX1" fmla="*/ 5665 w 514980"/>
                    <a:gd name="connsiteY1" fmla="*/ 216997 h 453939"/>
                    <a:gd name="connsiteX2" fmla="*/ 62412 w 514980"/>
                    <a:gd name="connsiteY2" fmla="*/ 129441 h 453939"/>
                    <a:gd name="connsiteX3" fmla="*/ 168766 w 514980"/>
                    <a:gd name="connsiteY3" fmla="*/ 93528 h 453939"/>
                    <a:gd name="connsiteX4" fmla="*/ 179484 w 514980"/>
                    <a:gd name="connsiteY4" fmla="*/ 6248 h 453939"/>
                    <a:gd name="connsiteX5" fmla="*/ 351756 w 514980"/>
                    <a:gd name="connsiteY5" fmla="*/ 886 h 453939"/>
                    <a:gd name="connsiteX6" fmla="*/ 351353 w 514980"/>
                    <a:gd name="connsiteY6" fmla="*/ 95925 h 453939"/>
                    <a:gd name="connsiteX7" fmla="*/ 461084 w 514980"/>
                    <a:gd name="connsiteY7" fmla="*/ 143550 h 453939"/>
                    <a:gd name="connsiteX8" fmla="*/ 513665 w 514980"/>
                    <a:gd name="connsiteY8" fmla="*/ 226522 h 453939"/>
                    <a:gd name="connsiteX9" fmla="*/ 510490 w 514980"/>
                    <a:gd name="connsiteY9" fmla="*/ 448772 h 453939"/>
                    <a:gd name="connsiteX10" fmla="*/ 8840 w 514980"/>
                    <a:gd name="connsiteY10" fmla="*/ 442422 h 453939"/>
                    <a:gd name="connsiteX0" fmla="*/ 8840 w 514980"/>
                    <a:gd name="connsiteY0" fmla="*/ 442422 h 453939"/>
                    <a:gd name="connsiteX1" fmla="*/ 5665 w 514980"/>
                    <a:gd name="connsiteY1" fmla="*/ 216997 h 453939"/>
                    <a:gd name="connsiteX2" fmla="*/ 62412 w 514980"/>
                    <a:gd name="connsiteY2" fmla="*/ 129441 h 453939"/>
                    <a:gd name="connsiteX3" fmla="*/ 168766 w 514980"/>
                    <a:gd name="connsiteY3" fmla="*/ 93528 h 453939"/>
                    <a:gd name="connsiteX4" fmla="*/ 179484 w 514980"/>
                    <a:gd name="connsiteY4" fmla="*/ 6248 h 453939"/>
                    <a:gd name="connsiteX5" fmla="*/ 351756 w 514980"/>
                    <a:gd name="connsiteY5" fmla="*/ 886 h 453939"/>
                    <a:gd name="connsiteX6" fmla="*/ 366640 w 514980"/>
                    <a:gd name="connsiteY6" fmla="*/ 100299 h 453939"/>
                    <a:gd name="connsiteX7" fmla="*/ 461084 w 514980"/>
                    <a:gd name="connsiteY7" fmla="*/ 143550 h 453939"/>
                    <a:gd name="connsiteX8" fmla="*/ 513665 w 514980"/>
                    <a:gd name="connsiteY8" fmla="*/ 226522 h 453939"/>
                    <a:gd name="connsiteX9" fmla="*/ 510490 w 514980"/>
                    <a:gd name="connsiteY9" fmla="*/ 448772 h 453939"/>
                    <a:gd name="connsiteX10" fmla="*/ 8840 w 514980"/>
                    <a:gd name="connsiteY10" fmla="*/ 442422 h 453939"/>
                    <a:gd name="connsiteX0" fmla="*/ 8840 w 514980"/>
                    <a:gd name="connsiteY0" fmla="*/ 442422 h 450476"/>
                    <a:gd name="connsiteX1" fmla="*/ 5665 w 514980"/>
                    <a:gd name="connsiteY1" fmla="*/ 216997 h 450476"/>
                    <a:gd name="connsiteX2" fmla="*/ 62412 w 514980"/>
                    <a:gd name="connsiteY2" fmla="*/ 129441 h 450476"/>
                    <a:gd name="connsiteX3" fmla="*/ 168766 w 514980"/>
                    <a:gd name="connsiteY3" fmla="*/ 93528 h 450476"/>
                    <a:gd name="connsiteX4" fmla="*/ 179484 w 514980"/>
                    <a:gd name="connsiteY4" fmla="*/ 6248 h 450476"/>
                    <a:gd name="connsiteX5" fmla="*/ 351756 w 514980"/>
                    <a:gd name="connsiteY5" fmla="*/ 886 h 450476"/>
                    <a:gd name="connsiteX6" fmla="*/ 366640 w 514980"/>
                    <a:gd name="connsiteY6" fmla="*/ 100299 h 450476"/>
                    <a:gd name="connsiteX7" fmla="*/ 461084 w 514980"/>
                    <a:gd name="connsiteY7" fmla="*/ 143550 h 450476"/>
                    <a:gd name="connsiteX8" fmla="*/ 513665 w 514980"/>
                    <a:gd name="connsiteY8" fmla="*/ 226522 h 450476"/>
                    <a:gd name="connsiteX9" fmla="*/ 510490 w 514980"/>
                    <a:gd name="connsiteY9" fmla="*/ 448772 h 450476"/>
                    <a:gd name="connsiteX10" fmla="*/ 8840 w 514980"/>
                    <a:gd name="connsiteY10" fmla="*/ 442422 h 450476"/>
                    <a:gd name="connsiteX0" fmla="*/ 8840 w 514980"/>
                    <a:gd name="connsiteY0" fmla="*/ 442422 h 448772"/>
                    <a:gd name="connsiteX1" fmla="*/ 5665 w 514980"/>
                    <a:gd name="connsiteY1" fmla="*/ 216997 h 448772"/>
                    <a:gd name="connsiteX2" fmla="*/ 62412 w 514980"/>
                    <a:gd name="connsiteY2" fmla="*/ 129441 h 448772"/>
                    <a:gd name="connsiteX3" fmla="*/ 168766 w 514980"/>
                    <a:gd name="connsiteY3" fmla="*/ 93528 h 448772"/>
                    <a:gd name="connsiteX4" fmla="*/ 179484 w 514980"/>
                    <a:gd name="connsiteY4" fmla="*/ 6248 h 448772"/>
                    <a:gd name="connsiteX5" fmla="*/ 351756 w 514980"/>
                    <a:gd name="connsiteY5" fmla="*/ 886 h 448772"/>
                    <a:gd name="connsiteX6" fmla="*/ 366640 w 514980"/>
                    <a:gd name="connsiteY6" fmla="*/ 100299 h 448772"/>
                    <a:gd name="connsiteX7" fmla="*/ 461084 w 514980"/>
                    <a:gd name="connsiteY7" fmla="*/ 143550 h 448772"/>
                    <a:gd name="connsiteX8" fmla="*/ 513665 w 514980"/>
                    <a:gd name="connsiteY8" fmla="*/ 226522 h 448772"/>
                    <a:gd name="connsiteX9" fmla="*/ 510490 w 514980"/>
                    <a:gd name="connsiteY9" fmla="*/ 448772 h 448772"/>
                    <a:gd name="connsiteX10" fmla="*/ 8840 w 514980"/>
                    <a:gd name="connsiteY10" fmla="*/ 442422 h 448772"/>
                    <a:gd name="connsiteX0" fmla="*/ 8840 w 514980"/>
                    <a:gd name="connsiteY0" fmla="*/ 442422 h 448772"/>
                    <a:gd name="connsiteX1" fmla="*/ 5665 w 514980"/>
                    <a:gd name="connsiteY1" fmla="*/ 216997 h 448772"/>
                    <a:gd name="connsiteX2" fmla="*/ 62412 w 514980"/>
                    <a:gd name="connsiteY2" fmla="*/ 129441 h 448772"/>
                    <a:gd name="connsiteX3" fmla="*/ 168766 w 514980"/>
                    <a:gd name="connsiteY3" fmla="*/ 93528 h 448772"/>
                    <a:gd name="connsiteX4" fmla="*/ 179484 w 514980"/>
                    <a:gd name="connsiteY4" fmla="*/ 6248 h 448772"/>
                    <a:gd name="connsiteX5" fmla="*/ 351756 w 514980"/>
                    <a:gd name="connsiteY5" fmla="*/ 886 h 448772"/>
                    <a:gd name="connsiteX6" fmla="*/ 357905 w 514980"/>
                    <a:gd name="connsiteY6" fmla="*/ 98112 h 448772"/>
                    <a:gd name="connsiteX7" fmla="*/ 461084 w 514980"/>
                    <a:gd name="connsiteY7" fmla="*/ 143550 h 448772"/>
                    <a:gd name="connsiteX8" fmla="*/ 513665 w 514980"/>
                    <a:gd name="connsiteY8" fmla="*/ 226522 h 448772"/>
                    <a:gd name="connsiteX9" fmla="*/ 510490 w 514980"/>
                    <a:gd name="connsiteY9" fmla="*/ 448772 h 448772"/>
                    <a:gd name="connsiteX10" fmla="*/ 8840 w 514980"/>
                    <a:gd name="connsiteY10" fmla="*/ 442422 h 448772"/>
                    <a:gd name="connsiteX0" fmla="*/ 8840 w 514980"/>
                    <a:gd name="connsiteY0" fmla="*/ 442422 h 448772"/>
                    <a:gd name="connsiteX1" fmla="*/ 5665 w 514980"/>
                    <a:gd name="connsiteY1" fmla="*/ 216997 h 448772"/>
                    <a:gd name="connsiteX2" fmla="*/ 62412 w 514980"/>
                    <a:gd name="connsiteY2" fmla="*/ 129441 h 448772"/>
                    <a:gd name="connsiteX3" fmla="*/ 168766 w 514980"/>
                    <a:gd name="connsiteY3" fmla="*/ 93528 h 448772"/>
                    <a:gd name="connsiteX4" fmla="*/ 179484 w 514980"/>
                    <a:gd name="connsiteY4" fmla="*/ 6248 h 448772"/>
                    <a:gd name="connsiteX5" fmla="*/ 351756 w 514980"/>
                    <a:gd name="connsiteY5" fmla="*/ 886 h 448772"/>
                    <a:gd name="connsiteX6" fmla="*/ 357905 w 514980"/>
                    <a:gd name="connsiteY6" fmla="*/ 98112 h 448772"/>
                    <a:gd name="connsiteX7" fmla="*/ 454533 w 514980"/>
                    <a:gd name="connsiteY7" fmla="*/ 136989 h 448772"/>
                    <a:gd name="connsiteX8" fmla="*/ 513665 w 514980"/>
                    <a:gd name="connsiteY8" fmla="*/ 226522 h 448772"/>
                    <a:gd name="connsiteX9" fmla="*/ 510490 w 514980"/>
                    <a:gd name="connsiteY9" fmla="*/ 448772 h 448772"/>
                    <a:gd name="connsiteX10" fmla="*/ 8840 w 514980"/>
                    <a:gd name="connsiteY10" fmla="*/ 442422 h 448772"/>
                    <a:gd name="connsiteX0" fmla="*/ 8840 w 514980"/>
                    <a:gd name="connsiteY0" fmla="*/ 442422 h 448772"/>
                    <a:gd name="connsiteX1" fmla="*/ 5665 w 514980"/>
                    <a:gd name="connsiteY1" fmla="*/ 216997 h 448772"/>
                    <a:gd name="connsiteX2" fmla="*/ 62412 w 514980"/>
                    <a:gd name="connsiteY2" fmla="*/ 129441 h 448772"/>
                    <a:gd name="connsiteX3" fmla="*/ 168766 w 514980"/>
                    <a:gd name="connsiteY3" fmla="*/ 93528 h 448772"/>
                    <a:gd name="connsiteX4" fmla="*/ 179484 w 514980"/>
                    <a:gd name="connsiteY4" fmla="*/ 6248 h 448772"/>
                    <a:gd name="connsiteX5" fmla="*/ 351756 w 514980"/>
                    <a:gd name="connsiteY5" fmla="*/ 886 h 448772"/>
                    <a:gd name="connsiteX6" fmla="*/ 357905 w 514980"/>
                    <a:gd name="connsiteY6" fmla="*/ 98112 h 448772"/>
                    <a:gd name="connsiteX7" fmla="*/ 454533 w 514980"/>
                    <a:gd name="connsiteY7" fmla="*/ 136989 h 448772"/>
                    <a:gd name="connsiteX8" fmla="*/ 513665 w 514980"/>
                    <a:gd name="connsiteY8" fmla="*/ 226522 h 448772"/>
                    <a:gd name="connsiteX9" fmla="*/ 510490 w 514980"/>
                    <a:gd name="connsiteY9" fmla="*/ 448772 h 448772"/>
                    <a:gd name="connsiteX10" fmla="*/ 8840 w 514980"/>
                    <a:gd name="connsiteY10" fmla="*/ 442422 h 448772"/>
                    <a:gd name="connsiteX0" fmla="*/ 8840 w 514980"/>
                    <a:gd name="connsiteY0" fmla="*/ 442422 h 448772"/>
                    <a:gd name="connsiteX1" fmla="*/ 5665 w 514980"/>
                    <a:gd name="connsiteY1" fmla="*/ 216997 h 448772"/>
                    <a:gd name="connsiteX2" fmla="*/ 62412 w 514980"/>
                    <a:gd name="connsiteY2" fmla="*/ 129441 h 448772"/>
                    <a:gd name="connsiteX3" fmla="*/ 168766 w 514980"/>
                    <a:gd name="connsiteY3" fmla="*/ 93528 h 448772"/>
                    <a:gd name="connsiteX4" fmla="*/ 179484 w 514980"/>
                    <a:gd name="connsiteY4" fmla="*/ 6248 h 448772"/>
                    <a:gd name="connsiteX5" fmla="*/ 351756 w 514980"/>
                    <a:gd name="connsiteY5" fmla="*/ 886 h 448772"/>
                    <a:gd name="connsiteX6" fmla="*/ 357905 w 514980"/>
                    <a:gd name="connsiteY6" fmla="*/ 98112 h 448772"/>
                    <a:gd name="connsiteX7" fmla="*/ 454533 w 514980"/>
                    <a:gd name="connsiteY7" fmla="*/ 136989 h 448772"/>
                    <a:gd name="connsiteX8" fmla="*/ 513665 w 514980"/>
                    <a:gd name="connsiteY8" fmla="*/ 226522 h 448772"/>
                    <a:gd name="connsiteX9" fmla="*/ 510490 w 514980"/>
                    <a:gd name="connsiteY9" fmla="*/ 448772 h 448772"/>
                    <a:gd name="connsiteX10" fmla="*/ 8840 w 514980"/>
                    <a:gd name="connsiteY10" fmla="*/ 442422 h 448772"/>
                    <a:gd name="connsiteX0" fmla="*/ 8840 w 514980"/>
                    <a:gd name="connsiteY0" fmla="*/ 442422 h 448772"/>
                    <a:gd name="connsiteX1" fmla="*/ 5665 w 514980"/>
                    <a:gd name="connsiteY1" fmla="*/ 216997 h 448772"/>
                    <a:gd name="connsiteX2" fmla="*/ 62412 w 514980"/>
                    <a:gd name="connsiteY2" fmla="*/ 129441 h 448772"/>
                    <a:gd name="connsiteX3" fmla="*/ 168766 w 514980"/>
                    <a:gd name="connsiteY3" fmla="*/ 93528 h 448772"/>
                    <a:gd name="connsiteX4" fmla="*/ 179484 w 514980"/>
                    <a:gd name="connsiteY4" fmla="*/ 6248 h 448772"/>
                    <a:gd name="connsiteX5" fmla="*/ 351756 w 514980"/>
                    <a:gd name="connsiteY5" fmla="*/ 886 h 448772"/>
                    <a:gd name="connsiteX6" fmla="*/ 353538 w 514980"/>
                    <a:gd name="connsiteY6" fmla="*/ 98112 h 448772"/>
                    <a:gd name="connsiteX7" fmla="*/ 454533 w 514980"/>
                    <a:gd name="connsiteY7" fmla="*/ 136989 h 448772"/>
                    <a:gd name="connsiteX8" fmla="*/ 513665 w 514980"/>
                    <a:gd name="connsiteY8" fmla="*/ 226522 h 448772"/>
                    <a:gd name="connsiteX9" fmla="*/ 510490 w 514980"/>
                    <a:gd name="connsiteY9" fmla="*/ 448772 h 448772"/>
                    <a:gd name="connsiteX10" fmla="*/ 8840 w 514980"/>
                    <a:gd name="connsiteY10" fmla="*/ 442422 h 448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14980" h="448772">
                      <a:moveTo>
                        <a:pt x="8840" y="442422"/>
                      </a:moveTo>
                      <a:cubicBezTo>
                        <a:pt x="-1214" y="377864"/>
                        <a:pt x="-3264" y="269160"/>
                        <a:pt x="5665" y="216997"/>
                      </a:cubicBezTo>
                      <a:cubicBezTo>
                        <a:pt x="14594" y="164834"/>
                        <a:pt x="35229" y="150019"/>
                        <a:pt x="62412" y="129441"/>
                      </a:cubicBezTo>
                      <a:cubicBezTo>
                        <a:pt x="89595" y="108863"/>
                        <a:pt x="149254" y="114060"/>
                        <a:pt x="168766" y="93528"/>
                      </a:cubicBezTo>
                      <a:cubicBezTo>
                        <a:pt x="188278" y="72996"/>
                        <a:pt x="189023" y="43922"/>
                        <a:pt x="179484" y="6248"/>
                      </a:cubicBezTo>
                      <a:cubicBezTo>
                        <a:pt x="202703" y="-7370"/>
                        <a:pt x="323111" y="6352"/>
                        <a:pt x="351756" y="886"/>
                      </a:cubicBezTo>
                      <a:cubicBezTo>
                        <a:pt x="354195" y="39159"/>
                        <a:pt x="342961" y="75428"/>
                        <a:pt x="353538" y="98112"/>
                      </a:cubicBezTo>
                      <a:cubicBezTo>
                        <a:pt x="364115" y="120796"/>
                        <a:pt x="427845" y="115587"/>
                        <a:pt x="454533" y="136989"/>
                      </a:cubicBezTo>
                      <a:cubicBezTo>
                        <a:pt x="481221" y="158391"/>
                        <a:pt x="503611" y="177839"/>
                        <a:pt x="513665" y="226522"/>
                      </a:cubicBezTo>
                      <a:cubicBezTo>
                        <a:pt x="516840" y="276264"/>
                        <a:pt x="513665" y="323360"/>
                        <a:pt x="510490" y="448772"/>
                      </a:cubicBezTo>
                      <a:lnTo>
                        <a:pt x="8840" y="442422"/>
                      </a:lnTo>
                      <a:close/>
                    </a:path>
                  </a:pathLst>
                </a:custGeom>
                <a:grpFill/>
                <a:ln w="571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212" name="Oval 211">
                  <a:extLst>
                    <a:ext uri="{FF2B5EF4-FFF2-40B4-BE49-F238E27FC236}">
                      <a16:creationId xmlns:a16="http://schemas.microsoft.com/office/drawing/2014/main" id="{A2848A44-3067-3B4B-BAC6-AF08EE4D9805}"/>
                    </a:ext>
                  </a:extLst>
                </p:cNvPr>
                <p:cNvSpPr/>
                <p:nvPr/>
              </p:nvSpPr>
              <p:spPr>
                <a:xfrm>
                  <a:off x="1971467" y="3508300"/>
                  <a:ext cx="282088" cy="336550"/>
                </a:xfrm>
                <a:prstGeom prst="ellipse">
                  <a:avLst/>
                </a:prstGeom>
                <a:grpFill/>
                <a:ln w="571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grpSp>
          <p:grpSp>
            <p:nvGrpSpPr>
              <p:cNvPr id="208" name="Group 207">
                <a:extLst>
                  <a:ext uri="{FF2B5EF4-FFF2-40B4-BE49-F238E27FC236}">
                    <a16:creationId xmlns:a16="http://schemas.microsoft.com/office/drawing/2014/main" id="{BA5504CD-4E69-A549-8499-05FDA3FD0395}"/>
                  </a:ext>
                </a:extLst>
              </p:cNvPr>
              <p:cNvGrpSpPr/>
              <p:nvPr/>
            </p:nvGrpSpPr>
            <p:grpSpPr>
              <a:xfrm>
                <a:off x="1553120" y="3388644"/>
                <a:ext cx="633802" cy="938165"/>
                <a:chOff x="1806977" y="3500843"/>
                <a:chExt cx="539989" cy="738018"/>
              </a:xfrm>
            </p:grpSpPr>
            <p:sp>
              <p:nvSpPr>
                <p:cNvPr id="209" name="Freeform 208">
                  <a:extLst>
                    <a:ext uri="{FF2B5EF4-FFF2-40B4-BE49-F238E27FC236}">
                      <a16:creationId xmlns:a16="http://schemas.microsoft.com/office/drawing/2014/main" id="{AD31A43B-DE9C-524B-A17F-A2E4FDCA06C5}"/>
                    </a:ext>
                  </a:extLst>
                </p:cNvPr>
                <p:cNvSpPr/>
                <p:nvPr/>
              </p:nvSpPr>
              <p:spPr>
                <a:xfrm>
                  <a:off x="1806977" y="3782373"/>
                  <a:ext cx="539989" cy="456488"/>
                </a:xfrm>
                <a:custGeom>
                  <a:avLst/>
                  <a:gdLst>
                    <a:gd name="connsiteX0" fmla="*/ 36807 w 576731"/>
                    <a:gd name="connsiteY0" fmla="*/ 449906 h 505924"/>
                    <a:gd name="connsiteX1" fmla="*/ 39982 w 576731"/>
                    <a:gd name="connsiteY1" fmla="*/ 214956 h 505924"/>
                    <a:gd name="connsiteX2" fmla="*/ 55857 w 576731"/>
                    <a:gd name="connsiteY2" fmla="*/ 176856 h 505924"/>
                    <a:gd name="connsiteX3" fmla="*/ 103482 w 576731"/>
                    <a:gd name="connsiteY3" fmla="*/ 160981 h 505924"/>
                    <a:gd name="connsiteX4" fmla="*/ 205082 w 576731"/>
                    <a:gd name="connsiteY4" fmla="*/ 154631 h 505924"/>
                    <a:gd name="connsiteX5" fmla="*/ 230482 w 576731"/>
                    <a:gd name="connsiteY5" fmla="*/ 151456 h 505924"/>
                    <a:gd name="connsiteX6" fmla="*/ 233657 w 576731"/>
                    <a:gd name="connsiteY6" fmla="*/ 18106 h 505924"/>
                    <a:gd name="connsiteX7" fmla="*/ 344782 w 576731"/>
                    <a:gd name="connsiteY7" fmla="*/ 14931 h 505924"/>
                    <a:gd name="connsiteX8" fmla="*/ 344782 w 576731"/>
                    <a:gd name="connsiteY8" fmla="*/ 145106 h 505924"/>
                    <a:gd name="connsiteX9" fmla="*/ 386057 w 576731"/>
                    <a:gd name="connsiteY9" fmla="*/ 151456 h 505924"/>
                    <a:gd name="connsiteX10" fmla="*/ 478132 w 576731"/>
                    <a:gd name="connsiteY10" fmla="*/ 164156 h 505924"/>
                    <a:gd name="connsiteX11" fmla="*/ 519407 w 576731"/>
                    <a:gd name="connsiteY11" fmla="*/ 189556 h 505924"/>
                    <a:gd name="connsiteX12" fmla="*/ 541632 w 576731"/>
                    <a:gd name="connsiteY12" fmla="*/ 234006 h 505924"/>
                    <a:gd name="connsiteX13" fmla="*/ 538457 w 576731"/>
                    <a:gd name="connsiteY13" fmla="*/ 488006 h 505924"/>
                    <a:gd name="connsiteX14" fmla="*/ 36807 w 576731"/>
                    <a:gd name="connsiteY14" fmla="*/ 449906 h 505924"/>
                    <a:gd name="connsiteX0" fmla="*/ 5769 w 545693"/>
                    <a:gd name="connsiteY0" fmla="*/ 449906 h 505924"/>
                    <a:gd name="connsiteX1" fmla="*/ 8944 w 545693"/>
                    <a:gd name="connsiteY1" fmla="*/ 214956 h 505924"/>
                    <a:gd name="connsiteX2" fmla="*/ 24819 w 545693"/>
                    <a:gd name="connsiteY2" fmla="*/ 176856 h 505924"/>
                    <a:gd name="connsiteX3" fmla="*/ 72444 w 545693"/>
                    <a:gd name="connsiteY3" fmla="*/ 160981 h 505924"/>
                    <a:gd name="connsiteX4" fmla="*/ 174044 w 545693"/>
                    <a:gd name="connsiteY4" fmla="*/ 154631 h 505924"/>
                    <a:gd name="connsiteX5" fmla="*/ 199444 w 545693"/>
                    <a:gd name="connsiteY5" fmla="*/ 151456 h 505924"/>
                    <a:gd name="connsiteX6" fmla="*/ 202619 w 545693"/>
                    <a:gd name="connsiteY6" fmla="*/ 18106 h 505924"/>
                    <a:gd name="connsiteX7" fmla="*/ 313744 w 545693"/>
                    <a:gd name="connsiteY7" fmla="*/ 14931 h 505924"/>
                    <a:gd name="connsiteX8" fmla="*/ 313744 w 545693"/>
                    <a:gd name="connsiteY8" fmla="*/ 145106 h 505924"/>
                    <a:gd name="connsiteX9" fmla="*/ 355019 w 545693"/>
                    <a:gd name="connsiteY9" fmla="*/ 151456 h 505924"/>
                    <a:gd name="connsiteX10" fmla="*/ 447094 w 545693"/>
                    <a:gd name="connsiteY10" fmla="*/ 164156 h 505924"/>
                    <a:gd name="connsiteX11" fmla="*/ 488369 w 545693"/>
                    <a:gd name="connsiteY11" fmla="*/ 189556 h 505924"/>
                    <a:gd name="connsiteX12" fmla="*/ 510594 w 545693"/>
                    <a:gd name="connsiteY12" fmla="*/ 234006 h 505924"/>
                    <a:gd name="connsiteX13" fmla="*/ 507419 w 545693"/>
                    <a:gd name="connsiteY13" fmla="*/ 488006 h 505924"/>
                    <a:gd name="connsiteX14" fmla="*/ 5769 w 545693"/>
                    <a:gd name="connsiteY14" fmla="*/ 449906 h 505924"/>
                    <a:gd name="connsiteX0" fmla="*/ 21286 w 561210"/>
                    <a:gd name="connsiteY0" fmla="*/ 449906 h 508025"/>
                    <a:gd name="connsiteX1" fmla="*/ 24461 w 561210"/>
                    <a:gd name="connsiteY1" fmla="*/ 214956 h 508025"/>
                    <a:gd name="connsiteX2" fmla="*/ 40336 w 561210"/>
                    <a:gd name="connsiteY2" fmla="*/ 176856 h 508025"/>
                    <a:gd name="connsiteX3" fmla="*/ 87961 w 561210"/>
                    <a:gd name="connsiteY3" fmla="*/ 160981 h 508025"/>
                    <a:gd name="connsiteX4" fmla="*/ 189561 w 561210"/>
                    <a:gd name="connsiteY4" fmla="*/ 154631 h 508025"/>
                    <a:gd name="connsiteX5" fmla="*/ 214961 w 561210"/>
                    <a:gd name="connsiteY5" fmla="*/ 151456 h 508025"/>
                    <a:gd name="connsiteX6" fmla="*/ 218136 w 561210"/>
                    <a:gd name="connsiteY6" fmla="*/ 18106 h 508025"/>
                    <a:gd name="connsiteX7" fmla="*/ 329261 w 561210"/>
                    <a:gd name="connsiteY7" fmla="*/ 14931 h 508025"/>
                    <a:gd name="connsiteX8" fmla="*/ 329261 w 561210"/>
                    <a:gd name="connsiteY8" fmla="*/ 145106 h 508025"/>
                    <a:gd name="connsiteX9" fmla="*/ 370536 w 561210"/>
                    <a:gd name="connsiteY9" fmla="*/ 151456 h 508025"/>
                    <a:gd name="connsiteX10" fmla="*/ 462611 w 561210"/>
                    <a:gd name="connsiteY10" fmla="*/ 164156 h 508025"/>
                    <a:gd name="connsiteX11" fmla="*/ 503886 w 561210"/>
                    <a:gd name="connsiteY11" fmla="*/ 189556 h 508025"/>
                    <a:gd name="connsiteX12" fmla="*/ 526111 w 561210"/>
                    <a:gd name="connsiteY12" fmla="*/ 234006 h 508025"/>
                    <a:gd name="connsiteX13" fmla="*/ 522936 w 561210"/>
                    <a:gd name="connsiteY13" fmla="*/ 488006 h 508025"/>
                    <a:gd name="connsiteX14" fmla="*/ 21286 w 561210"/>
                    <a:gd name="connsiteY14" fmla="*/ 449906 h 508025"/>
                    <a:gd name="connsiteX0" fmla="*/ 21286 w 561210"/>
                    <a:gd name="connsiteY0" fmla="*/ 449906 h 508025"/>
                    <a:gd name="connsiteX1" fmla="*/ 24461 w 561210"/>
                    <a:gd name="connsiteY1" fmla="*/ 214956 h 508025"/>
                    <a:gd name="connsiteX2" fmla="*/ 40336 w 561210"/>
                    <a:gd name="connsiteY2" fmla="*/ 176856 h 508025"/>
                    <a:gd name="connsiteX3" fmla="*/ 87961 w 561210"/>
                    <a:gd name="connsiteY3" fmla="*/ 160981 h 508025"/>
                    <a:gd name="connsiteX4" fmla="*/ 189561 w 561210"/>
                    <a:gd name="connsiteY4" fmla="*/ 154631 h 508025"/>
                    <a:gd name="connsiteX5" fmla="*/ 214961 w 561210"/>
                    <a:gd name="connsiteY5" fmla="*/ 151456 h 508025"/>
                    <a:gd name="connsiteX6" fmla="*/ 218136 w 561210"/>
                    <a:gd name="connsiteY6" fmla="*/ 18106 h 508025"/>
                    <a:gd name="connsiteX7" fmla="*/ 329261 w 561210"/>
                    <a:gd name="connsiteY7" fmla="*/ 14931 h 508025"/>
                    <a:gd name="connsiteX8" fmla="*/ 329261 w 561210"/>
                    <a:gd name="connsiteY8" fmla="*/ 145106 h 508025"/>
                    <a:gd name="connsiteX9" fmla="*/ 370536 w 561210"/>
                    <a:gd name="connsiteY9" fmla="*/ 151456 h 508025"/>
                    <a:gd name="connsiteX10" fmla="*/ 462611 w 561210"/>
                    <a:gd name="connsiteY10" fmla="*/ 164156 h 508025"/>
                    <a:gd name="connsiteX11" fmla="*/ 503886 w 561210"/>
                    <a:gd name="connsiteY11" fmla="*/ 189556 h 508025"/>
                    <a:gd name="connsiteX12" fmla="*/ 526111 w 561210"/>
                    <a:gd name="connsiteY12" fmla="*/ 234006 h 508025"/>
                    <a:gd name="connsiteX13" fmla="*/ 522936 w 561210"/>
                    <a:gd name="connsiteY13" fmla="*/ 488006 h 508025"/>
                    <a:gd name="connsiteX14" fmla="*/ 21286 w 561210"/>
                    <a:gd name="connsiteY14" fmla="*/ 449906 h 508025"/>
                    <a:gd name="connsiteX0" fmla="*/ 4360 w 544284"/>
                    <a:gd name="connsiteY0" fmla="*/ 449906 h 508025"/>
                    <a:gd name="connsiteX1" fmla="*/ 7535 w 544284"/>
                    <a:gd name="connsiteY1" fmla="*/ 214956 h 508025"/>
                    <a:gd name="connsiteX2" fmla="*/ 23410 w 544284"/>
                    <a:gd name="connsiteY2" fmla="*/ 176856 h 508025"/>
                    <a:gd name="connsiteX3" fmla="*/ 71035 w 544284"/>
                    <a:gd name="connsiteY3" fmla="*/ 160981 h 508025"/>
                    <a:gd name="connsiteX4" fmla="*/ 172635 w 544284"/>
                    <a:gd name="connsiteY4" fmla="*/ 154631 h 508025"/>
                    <a:gd name="connsiteX5" fmla="*/ 198035 w 544284"/>
                    <a:gd name="connsiteY5" fmla="*/ 151456 h 508025"/>
                    <a:gd name="connsiteX6" fmla="*/ 201210 w 544284"/>
                    <a:gd name="connsiteY6" fmla="*/ 18106 h 508025"/>
                    <a:gd name="connsiteX7" fmla="*/ 312335 w 544284"/>
                    <a:gd name="connsiteY7" fmla="*/ 14931 h 508025"/>
                    <a:gd name="connsiteX8" fmla="*/ 312335 w 544284"/>
                    <a:gd name="connsiteY8" fmla="*/ 145106 h 508025"/>
                    <a:gd name="connsiteX9" fmla="*/ 353610 w 544284"/>
                    <a:gd name="connsiteY9" fmla="*/ 151456 h 508025"/>
                    <a:gd name="connsiteX10" fmla="*/ 445685 w 544284"/>
                    <a:gd name="connsiteY10" fmla="*/ 164156 h 508025"/>
                    <a:gd name="connsiteX11" fmla="*/ 486960 w 544284"/>
                    <a:gd name="connsiteY11" fmla="*/ 189556 h 508025"/>
                    <a:gd name="connsiteX12" fmla="*/ 509185 w 544284"/>
                    <a:gd name="connsiteY12" fmla="*/ 234006 h 508025"/>
                    <a:gd name="connsiteX13" fmla="*/ 506010 w 544284"/>
                    <a:gd name="connsiteY13" fmla="*/ 488006 h 508025"/>
                    <a:gd name="connsiteX14" fmla="*/ 4360 w 544284"/>
                    <a:gd name="connsiteY14" fmla="*/ 449906 h 508025"/>
                    <a:gd name="connsiteX0" fmla="*/ 4360 w 544284"/>
                    <a:gd name="connsiteY0" fmla="*/ 449906 h 500804"/>
                    <a:gd name="connsiteX1" fmla="*/ 7535 w 544284"/>
                    <a:gd name="connsiteY1" fmla="*/ 214956 h 500804"/>
                    <a:gd name="connsiteX2" fmla="*/ 23410 w 544284"/>
                    <a:gd name="connsiteY2" fmla="*/ 176856 h 500804"/>
                    <a:gd name="connsiteX3" fmla="*/ 71035 w 544284"/>
                    <a:gd name="connsiteY3" fmla="*/ 160981 h 500804"/>
                    <a:gd name="connsiteX4" fmla="*/ 172635 w 544284"/>
                    <a:gd name="connsiteY4" fmla="*/ 154631 h 500804"/>
                    <a:gd name="connsiteX5" fmla="*/ 198035 w 544284"/>
                    <a:gd name="connsiteY5" fmla="*/ 151456 h 500804"/>
                    <a:gd name="connsiteX6" fmla="*/ 201210 w 544284"/>
                    <a:gd name="connsiteY6" fmla="*/ 18106 h 500804"/>
                    <a:gd name="connsiteX7" fmla="*/ 312335 w 544284"/>
                    <a:gd name="connsiteY7" fmla="*/ 14931 h 500804"/>
                    <a:gd name="connsiteX8" fmla="*/ 312335 w 544284"/>
                    <a:gd name="connsiteY8" fmla="*/ 145106 h 500804"/>
                    <a:gd name="connsiteX9" fmla="*/ 353610 w 544284"/>
                    <a:gd name="connsiteY9" fmla="*/ 151456 h 500804"/>
                    <a:gd name="connsiteX10" fmla="*/ 445685 w 544284"/>
                    <a:gd name="connsiteY10" fmla="*/ 164156 h 500804"/>
                    <a:gd name="connsiteX11" fmla="*/ 486960 w 544284"/>
                    <a:gd name="connsiteY11" fmla="*/ 189556 h 500804"/>
                    <a:gd name="connsiteX12" fmla="*/ 509185 w 544284"/>
                    <a:gd name="connsiteY12" fmla="*/ 234006 h 500804"/>
                    <a:gd name="connsiteX13" fmla="*/ 506010 w 544284"/>
                    <a:gd name="connsiteY13" fmla="*/ 488006 h 500804"/>
                    <a:gd name="connsiteX14" fmla="*/ 4360 w 544284"/>
                    <a:gd name="connsiteY14" fmla="*/ 449906 h 500804"/>
                    <a:gd name="connsiteX0" fmla="*/ 4360 w 544284"/>
                    <a:gd name="connsiteY0" fmla="*/ 449906 h 500804"/>
                    <a:gd name="connsiteX1" fmla="*/ 7535 w 544284"/>
                    <a:gd name="connsiteY1" fmla="*/ 214956 h 500804"/>
                    <a:gd name="connsiteX2" fmla="*/ 23410 w 544284"/>
                    <a:gd name="connsiteY2" fmla="*/ 176856 h 500804"/>
                    <a:gd name="connsiteX3" fmla="*/ 71035 w 544284"/>
                    <a:gd name="connsiteY3" fmla="*/ 160981 h 500804"/>
                    <a:gd name="connsiteX4" fmla="*/ 172635 w 544284"/>
                    <a:gd name="connsiteY4" fmla="*/ 154631 h 500804"/>
                    <a:gd name="connsiteX5" fmla="*/ 198035 w 544284"/>
                    <a:gd name="connsiteY5" fmla="*/ 151456 h 500804"/>
                    <a:gd name="connsiteX6" fmla="*/ 201210 w 544284"/>
                    <a:gd name="connsiteY6" fmla="*/ 18106 h 500804"/>
                    <a:gd name="connsiteX7" fmla="*/ 312335 w 544284"/>
                    <a:gd name="connsiteY7" fmla="*/ 14931 h 500804"/>
                    <a:gd name="connsiteX8" fmla="*/ 312335 w 544284"/>
                    <a:gd name="connsiteY8" fmla="*/ 145106 h 500804"/>
                    <a:gd name="connsiteX9" fmla="*/ 353610 w 544284"/>
                    <a:gd name="connsiteY9" fmla="*/ 151456 h 500804"/>
                    <a:gd name="connsiteX10" fmla="*/ 445685 w 544284"/>
                    <a:gd name="connsiteY10" fmla="*/ 164156 h 500804"/>
                    <a:gd name="connsiteX11" fmla="*/ 486960 w 544284"/>
                    <a:gd name="connsiteY11" fmla="*/ 189556 h 500804"/>
                    <a:gd name="connsiteX12" fmla="*/ 509185 w 544284"/>
                    <a:gd name="connsiteY12" fmla="*/ 234006 h 500804"/>
                    <a:gd name="connsiteX13" fmla="*/ 506010 w 544284"/>
                    <a:gd name="connsiteY13" fmla="*/ 488006 h 500804"/>
                    <a:gd name="connsiteX14" fmla="*/ 4360 w 544284"/>
                    <a:gd name="connsiteY14" fmla="*/ 449906 h 500804"/>
                    <a:gd name="connsiteX0" fmla="*/ 4360 w 519024"/>
                    <a:gd name="connsiteY0" fmla="*/ 449906 h 500804"/>
                    <a:gd name="connsiteX1" fmla="*/ 7535 w 519024"/>
                    <a:gd name="connsiteY1" fmla="*/ 214956 h 500804"/>
                    <a:gd name="connsiteX2" fmla="*/ 23410 w 519024"/>
                    <a:gd name="connsiteY2" fmla="*/ 176856 h 500804"/>
                    <a:gd name="connsiteX3" fmla="*/ 71035 w 519024"/>
                    <a:gd name="connsiteY3" fmla="*/ 160981 h 500804"/>
                    <a:gd name="connsiteX4" fmla="*/ 172635 w 519024"/>
                    <a:gd name="connsiteY4" fmla="*/ 154631 h 500804"/>
                    <a:gd name="connsiteX5" fmla="*/ 198035 w 519024"/>
                    <a:gd name="connsiteY5" fmla="*/ 151456 h 500804"/>
                    <a:gd name="connsiteX6" fmla="*/ 201210 w 519024"/>
                    <a:gd name="connsiteY6" fmla="*/ 18106 h 500804"/>
                    <a:gd name="connsiteX7" fmla="*/ 312335 w 519024"/>
                    <a:gd name="connsiteY7" fmla="*/ 14931 h 500804"/>
                    <a:gd name="connsiteX8" fmla="*/ 312335 w 519024"/>
                    <a:gd name="connsiteY8" fmla="*/ 145106 h 500804"/>
                    <a:gd name="connsiteX9" fmla="*/ 353610 w 519024"/>
                    <a:gd name="connsiteY9" fmla="*/ 151456 h 500804"/>
                    <a:gd name="connsiteX10" fmla="*/ 445685 w 519024"/>
                    <a:gd name="connsiteY10" fmla="*/ 164156 h 500804"/>
                    <a:gd name="connsiteX11" fmla="*/ 486960 w 519024"/>
                    <a:gd name="connsiteY11" fmla="*/ 189556 h 500804"/>
                    <a:gd name="connsiteX12" fmla="*/ 509185 w 519024"/>
                    <a:gd name="connsiteY12" fmla="*/ 234006 h 500804"/>
                    <a:gd name="connsiteX13" fmla="*/ 506010 w 519024"/>
                    <a:gd name="connsiteY13" fmla="*/ 488006 h 500804"/>
                    <a:gd name="connsiteX14" fmla="*/ 4360 w 519024"/>
                    <a:gd name="connsiteY14" fmla="*/ 449906 h 500804"/>
                    <a:gd name="connsiteX0" fmla="*/ 4360 w 519024"/>
                    <a:gd name="connsiteY0" fmla="*/ 449906 h 488006"/>
                    <a:gd name="connsiteX1" fmla="*/ 7535 w 519024"/>
                    <a:gd name="connsiteY1" fmla="*/ 214956 h 488006"/>
                    <a:gd name="connsiteX2" fmla="*/ 23410 w 519024"/>
                    <a:gd name="connsiteY2" fmla="*/ 176856 h 488006"/>
                    <a:gd name="connsiteX3" fmla="*/ 71035 w 519024"/>
                    <a:gd name="connsiteY3" fmla="*/ 160981 h 488006"/>
                    <a:gd name="connsiteX4" fmla="*/ 172635 w 519024"/>
                    <a:gd name="connsiteY4" fmla="*/ 154631 h 488006"/>
                    <a:gd name="connsiteX5" fmla="*/ 198035 w 519024"/>
                    <a:gd name="connsiteY5" fmla="*/ 151456 h 488006"/>
                    <a:gd name="connsiteX6" fmla="*/ 201210 w 519024"/>
                    <a:gd name="connsiteY6" fmla="*/ 18106 h 488006"/>
                    <a:gd name="connsiteX7" fmla="*/ 312335 w 519024"/>
                    <a:gd name="connsiteY7" fmla="*/ 14931 h 488006"/>
                    <a:gd name="connsiteX8" fmla="*/ 312335 w 519024"/>
                    <a:gd name="connsiteY8" fmla="*/ 145106 h 488006"/>
                    <a:gd name="connsiteX9" fmla="*/ 353610 w 519024"/>
                    <a:gd name="connsiteY9" fmla="*/ 151456 h 488006"/>
                    <a:gd name="connsiteX10" fmla="*/ 445685 w 519024"/>
                    <a:gd name="connsiteY10" fmla="*/ 164156 h 488006"/>
                    <a:gd name="connsiteX11" fmla="*/ 486960 w 519024"/>
                    <a:gd name="connsiteY11" fmla="*/ 189556 h 488006"/>
                    <a:gd name="connsiteX12" fmla="*/ 509185 w 519024"/>
                    <a:gd name="connsiteY12" fmla="*/ 234006 h 488006"/>
                    <a:gd name="connsiteX13" fmla="*/ 506010 w 519024"/>
                    <a:gd name="connsiteY13" fmla="*/ 488006 h 488006"/>
                    <a:gd name="connsiteX14" fmla="*/ 4360 w 519024"/>
                    <a:gd name="connsiteY14" fmla="*/ 449906 h 488006"/>
                    <a:gd name="connsiteX0" fmla="*/ 4360 w 523534"/>
                    <a:gd name="connsiteY0" fmla="*/ 449906 h 472131"/>
                    <a:gd name="connsiteX1" fmla="*/ 7535 w 523534"/>
                    <a:gd name="connsiteY1" fmla="*/ 214956 h 472131"/>
                    <a:gd name="connsiteX2" fmla="*/ 23410 w 523534"/>
                    <a:gd name="connsiteY2" fmla="*/ 176856 h 472131"/>
                    <a:gd name="connsiteX3" fmla="*/ 71035 w 523534"/>
                    <a:gd name="connsiteY3" fmla="*/ 160981 h 472131"/>
                    <a:gd name="connsiteX4" fmla="*/ 172635 w 523534"/>
                    <a:gd name="connsiteY4" fmla="*/ 154631 h 472131"/>
                    <a:gd name="connsiteX5" fmla="*/ 198035 w 523534"/>
                    <a:gd name="connsiteY5" fmla="*/ 151456 h 472131"/>
                    <a:gd name="connsiteX6" fmla="*/ 201210 w 523534"/>
                    <a:gd name="connsiteY6" fmla="*/ 18106 h 472131"/>
                    <a:gd name="connsiteX7" fmla="*/ 312335 w 523534"/>
                    <a:gd name="connsiteY7" fmla="*/ 14931 h 472131"/>
                    <a:gd name="connsiteX8" fmla="*/ 312335 w 523534"/>
                    <a:gd name="connsiteY8" fmla="*/ 145106 h 472131"/>
                    <a:gd name="connsiteX9" fmla="*/ 353610 w 523534"/>
                    <a:gd name="connsiteY9" fmla="*/ 151456 h 472131"/>
                    <a:gd name="connsiteX10" fmla="*/ 445685 w 523534"/>
                    <a:gd name="connsiteY10" fmla="*/ 164156 h 472131"/>
                    <a:gd name="connsiteX11" fmla="*/ 486960 w 523534"/>
                    <a:gd name="connsiteY11" fmla="*/ 189556 h 472131"/>
                    <a:gd name="connsiteX12" fmla="*/ 509185 w 523534"/>
                    <a:gd name="connsiteY12" fmla="*/ 234006 h 472131"/>
                    <a:gd name="connsiteX13" fmla="*/ 512360 w 523534"/>
                    <a:gd name="connsiteY13" fmla="*/ 472131 h 472131"/>
                    <a:gd name="connsiteX14" fmla="*/ 4360 w 523534"/>
                    <a:gd name="connsiteY14" fmla="*/ 449906 h 472131"/>
                    <a:gd name="connsiteX0" fmla="*/ 4360 w 513675"/>
                    <a:gd name="connsiteY0" fmla="*/ 449906 h 472131"/>
                    <a:gd name="connsiteX1" fmla="*/ 7535 w 513675"/>
                    <a:gd name="connsiteY1" fmla="*/ 214956 h 472131"/>
                    <a:gd name="connsiteX2" fmla="*/ 23410 w 513675"/>
                    <a:gd name="connsiteY2" fmla="*/ 176856 h 472131"/>
                    <a:gd name="connsiteX3" fmla="*/ 71035 w 513675"/>
                    <a:gd name="connsiteY3" fmla="*/ 160981 h 472131"/>
                    <a:gd name="connsiteX4" fmla="*/ 172635 w 513675"/>
                    <a:gd name="connsiteY4" fmla="*/ 154631 h 472131"/>
                    <a:gd name="connsiteX5" fmla="*/ 198035 w 513675"/>
                    <a:gd name="connsiteY5" fmla="*/ 151456 h 472131"/>
                    <a:gd name="connsiteX6" fmla="*/ 201210 w 513675"/>
                    <a:gd name="connsiteY6" fmla="*/ 18106 h 472131"/>
                    <a:gd name="connsiteX7" fmla="*/ 312335 w 513675"/>
                    <a:gd name="connsiteY7" fmla="*/ 14931 h 472131"/>
                    <a:gd name="connsiteX8" fmla="*/ 312335 w 513675"/>
                    <a:gd name="connsiteY8" fmla="*/ 145106 h 472131"/>
                    <a:gd name="connsiteX9" fmla="*/ 353610 w 513675"/>
                    <a:gd name="connsiteY9" fmla="*/ 151456 h 472131"/>
                    <a:gd name="connsiteX10" fmla="*/ 445685 w 513675"/>
                    <a:gd name="connsiteY10" fmla="*/ 164156 h 472131"/>
                    <a:gd name="connsiteX11" fmla="*/ 486960 w 513675"/>
                    <a:gd name="connsiteY11" fmla="*/ 189556 h 472131"/>
                    <a:gd name="connsiteX12" fmla="*/ 509185 w 513675"/>
                    <a:gd name="connsiteY12" fmla="*/ 234006 h 472131"/>
                    <a:gd name="connsiteX13" fmla="*/ 512360 w 513675"/>
                    <a:gd name="connsiteY13" fmla="*/ 472131 h 472131"/>
                    <a:gd name="connsiteX14" fmla="*/ 4360 w 513675"/>
                    <a:gd name="connsiteY14" fmla="*/ 449906 h 472131"/>
                    <a:gd name="connsiteX0" fmla="*/ 4360 w 513675"/>
                    <a:gd name="connsiteY0" fmla="*/ 446969 h 469194"/>
                    <a:gd name="connsiteX1" fmla="*/ 7535 w 513675"/>
                    <a:gd name="connsiteY1" fmla="*/ 212019 h 469194"/>
                    <a:gd name="connsiteX2" fmla="*/ 23410 w 513675"/>
                    <a:gd name="connsiteY2" fmla="*/ 173919 h 469194"/>
                    <a:gd name="connsiteX3" fmla="*/ 71035 w 513675"/>
                    <a:gd name="connsiteY3" fmla="*/ 158044 h 469194"/>
                    <a:gd name="connsiteX4" fmla="*/ 172635 w 513675"/>
                    <a:gd name="connsiteY4" fmla="*/ 151694 h 469194"/>
                    <a:gd name="connsiteX5" fmla="*/ 188510 w 513675"/>
                    <a:gd name="connsiteY5" fmla="*/ 94544 h 469194"/>
                    <a:gd name="connsiteX6" fmla="*/ 201210 w 513675"/>
                    <a:gd name="connsiteY6" fmla="*/ 15169 h 469194"/>
                    <a:gd name="connsiteX7" fmla="*/ 312335 w 513675"/>
                    <a:gd name="connsiteY7" fmla="*/ 11994 h 469194"/>
                    <a:gd name="connsiteX8" fmla="*/ 312335 w 513675"/>
                    <a:gd name="connsiteY8" fmla="*/ 142169 h 469194"/>
                    <a:gd name="connsiteX9" fmla="*/ 353610 w 513675"/>
                    <a:gd name="connsiteY9" fmla="*/ 148519 h 469194"/>
                    <a:gd name="connsiteX10" fmla="*/ 445685 w 513675"/>
                    <a:gd name="connsiteY10" fmla="*/ 161219 h 469194"/>
                    <a:gd name="connsiteX11" fmla="*/ 486960 w 513675"/>
                    <a:gd name="connsiteY11" fmla="*/ 186619 h 469194"/>
                    <a:gd name="connsiteX12" fmla="*/ 509185 w 513675"/>
                    <a:gd name="connsiteY12" fmla="*/ 231069 h 469194"/>
                    <a:gd name="connsiteX13" fmla="*/ 512360 w 513675"/>
                    <a:gd name="connsiteY13" fmla="*/ 469194 h 469194"/>
                    <a:gd name="connsiteX14" fmla="*/ 4360 w 513675"/>
                    <a:gd name="connsiteY14" fmla="*/ 446969 h 469194"/>
                    <a:gd name="connsiteX0" fmla="*/ 4360 w 513675"/>
                    <a:gd name="connsiteY0" fmla="*/ 443409 h 465634"/>
                    <a:gd name="connsiteX1" fmla="*/ 7535 w 513675"/>
                    <a:gd name="connsiteY1" fmla="*/ 208459 h 465634"/>
                    <a:gd name="connsiteX2" fmla="*/ 23410 w 513675"/>
                    <a:gd name="connsiteY2" fmla="*/ 170359 h 465634"/>
                    <a:gd name="connsiteX3" fmla="*/ 71035 w 513675"/>
                    <a:gd name="connsiteY3" fmla="*/ 154484 h 465634"/>
                    <a:gd name="connsiteX4" fmla="*/ 172635 w 513675"/>
                    <a:gd name="connsiteY4" fmla="*/ 148134 h 465634"/>
                    <a:gd name="connsiteX5" fmla="*/ 188510 w 513675"/>
                    <a:gd name="connsiteY5" fmla="*/ 90984 h 465634"/>
                    <a:gd name="connsiteX6" fmla="*/ 201210 w 513675"/>
                    <a:gd name="connsiteY6" fmla="*/ 11609 h 465634"/>
                    <a:gd name="connsiteX7" fmla="*/ 312335 w 513675"/>
                    <a:gd name="connsiteY7" fmla="*/ 8434 h 465634"/>
                    <a:gd name="connsiteX8" fmla="*/ 312335 w 513675"/>
                    <a:gd name="connsiteY8" fmla="*/ 87809 h 465634"/>
                    <a:gd name="connsiteX9" fmla="*/ 353610 w 513675"/>
                    <a:gd name="connsiteY9" fmla="*/ 144959 h 465634"/>
                    <a:gd name="connsiteX10" fmla="*/ 445685 w 513675"/>
                    <a:gd name="connsiteY10" fmla="*/ 157659 h 465634"/>
                    <a:gd name="connsiteX11" fmla="*/ 486960 w 513675"/>
                    <a:gd name="connsiteY11" fmla="*/ 183059 h 465634"/>
                    <a:gd name="connsiteX12" fmla="*/ 509185 w 513675"/>
                    <a:gd name="connsiteY12" fmla="*/ 227509 h 465634"/>
                    <a:gd name="connsiteX13" fmla="*/ 512360 w 513675"/>
                    <a:gd name="connsiteY13" fmla="*/ 465634 h 465634"/>
                    <a:gd name="connsiteX14" fmla="*/ 4360 w 513675"/>
                    <a:gd name="connsiteY14" fmla="*/ 443409 h 465634"/>
                    <a:gd name="connsiteX0" fmla="*/ 4360 w 513675"/>
                    <a:gd name="connsiteY0" fmla="*/ 443409 h 465634"/>
                    <a:gd name="connsiteX1" fmla="*/ 7535 w 513675"/>
                    <a:gd name="connsiteY1" fmla="*/ 208459 h 465634"/>
                    <a:gd name="connsiteX2" fmla="*/ 23410 w 513675"/>
                    <a:gd name="connsiteY2" fmla="*/ 170359 h 465634"/>
                    <a:gd name="connsiteX3" fmla="*/ 71035 w 513675"/>
                    <a:gd name="connsiteY3" fmla="*/ 154484 h 465634"/>
                    <a:gd name="connsiteX4" fmla="*/ 172635 w 513675"/>
                    <a:gd name="connsiteY4" fmla="*/ 148134 h 465634"/>
                    <a:gd name="connsiteX5" fmla="*/ 188510 w 513675"/>
                    <a:gd name="connsiteY5" fmla="*/ 90984 h 465634"/>
                    <a:gd name="connsiteX6" fmla="*/ 201210 w 513675"/>
                    <a:gd name="connsiteY6" fmla="*/ 11609 h 465634"/>
                    <a:gd name="connsiteX7" fmla="*/ 312335 w 513675"/>
                    <a:gd name="connsiteY7" fmla="*/ 8434 h 465634"/>
                    <a:gd name="connsiteX8" fmla="*/ 312335 w 513675"/>
                    <a:gd name="connsiteY8" fmla="*/ 87809 h 465634"/>
                    <a:gd name="connsiteX9" fmla="*/ 334560 w 513675"/>
                    <a:gd name="connsiteY9" fmla="*/ 135434 h 465634"/>
                    <a:gd name="connsiteX10" fmla="*/ 445685 w 513675"/>
                    <a:gd name="connsiteY10" fmla="*/ 157659 h 465634"/>
                    <a:gd name="connsiteX11" fmla="*/ 486960 w 513675"/>
                    <a:gd name="connsiteY11" fmla="*/ 183059 h 465634"/>
                    <a:gd name="connsiteX12" fmla="*/ 509185 w 513675"/>
                    <a:gd name="connsiteY12" fmla="*/ 227509 h 465634"/>
                    <a:gd name="connsiteX13" fmla="*/ 512360 w 513675"/>
                    <a:gd name="connsiteY13" fmla="*/ 465634 h 465634"/>
                    <a:gd name="connsiteX14" fmla="*/ 4360 w 513675"/>
                    <a:gd name="connsiteY14" fmla="*/ 443409 h 465634"/>
                    <a:gd name="connsiteX0" fmla="*/ 4360 w 510500"/>
                    <a:gd name="connsiteY0" fmla="*/ 443409 h 449759"/>
                    <a:gd name="connsiteX1" fmla="*/ 7535 w 510500"/>
                    <a:gd name="connsiteY1" fmla="*/ 208459 h 449759"/>
                    <a:gd name="connsiteX2" fmla="*/ 23410 w 510500"/>
                    <a:gd name="connsiteY2" fmla="*/ 170359 h 449759"/>
                    <a:gd name="connsiteX3" fmla="*/ 71035 w 510500"/>
                    <a:gd name="connsiteY3" fmla="*/ 154484 h 449759"/>
                    <a:gd name="connsiteX4" fmla="*/ 172635 w 510500"/>
                    <a:gd name="connsiteY4" fmla="*/ 148134 h 449759"/>
                    <a:gd name="connsiteX5" fmla="*/ 188510 w 510500"/>
                    <a:gd name="connsiteY5" fmla="*/ 90984 h 449759"/>
                    <a:gd name="connsiteX6" fmla="*/ 201210 w 510500"/>
                    <a:gd name="connsiteY6" fmla="*/ 11609 h 449759"/>
                    <a:gd name="connsiteX7" fmla="*/ 312335 w 510500"/>
                    <a:gd name="connsiteY7" fmla="*/ 8434 h 449759"/>
                    <a:gd name="connsiteX8" fmla="*/ 312335 w 510500"/>
                    <a:gd name="connsiteY8" fmla="*/ 87809 h 449759"/>
                    <a:gd name="connsiteX9" fmla="*/ 334560 w 510500"/>
                    <a:gd name="connsiteY9" fmla="*/ 135434 h 449759"/>
                    <a:gd name="connsiteX10" fmla="*/ 445685 w 510500"/>
                    <a:gd name="connsiteY10" fmla="*/ 157659 h 449759"/>
                    <a:gd name="connsiteX11" fmla="*/ 486960 w 510500"/>
                    <a:gd name="connsiteY11" fmla="*/ 183059 h 449759"/>
                    <a:gd name="connsiteX12" fmla="*/ 509185 w 510500"/>
                    <a:gd name="connsiteY12" fmla="*/ 227509 h 449759"/>
                    <a:gd name="connsiteX13" fmla="*/ 506010 w 510500"/>
                    <a:gd name="connsiteY13" fmla="*/ 449759 h 449759"/>
                    <a:gd name="connsiteX14" fmla="*/ 4360 w 510500"/>
                    <a:gd name="connsiteY14" fmla="*/ 443409 h 449759"/>
                    <a:gd name="connsiteX0" fmla="*/ 4360 w 510500"/>
                    <a:gd name="connsiteY0" fmla="*/ 443409 h 454926"/>
                    <a:gd name="connsiteX1" fmla="*/ 7535 w 510500"/>
                    <a:gd name="connsiteY1" fmla="*/ 208459 h 454926"/>
                    <a:gd name="connsiteX2" fmla="*/ 23410 w 510500"/>
                    <a:gd name="connsiteY2" fmla="*/ 170359 h 454926"/>
                    <a:gd name="connsiteX3" fmla="*/ 71035 w 510500"/>
                    <a:gd name="connsiteY3" fmla="*/ 154484 h 454926"/>
                    <a:gd name="connsiteX4" fmla="*/ 172635 w 510500"/>
                    <a:gd name="connsiteY4" fmla="*/ 148134 h 454926"/>
                    <a:gd name="connsiteX5" fmla="*/ 188510 w 510500"/>
                    <a:gd name="connsiteY5" fmla="*/ 90984 h 454926"/>
                    <a:gd name="connsiteX6" fmla="*/ 201210 w 510500"/>
                    <a:gd name="connsiteY6" fmla="*/ 11609 h 454926"/>
                    <a:gd name="connsiteX7" fmla="*/ 312335 w 510500"/>
                    <a:gd name="connsiteY7" fmla="*/ 8434 h 454926"/>
                    <a:gd name="connsiteX8" fmla="*/ 312335 w 510500"/>
                    <a:gd name="connsiteY8" fmla="*/ 87809 h 454926"/>
                    <a:gd name="connsiteX9" fmla="*/ 334560 w 510500"/>
                    <a:gd name="connsiteY9" fmla="*/ 135434 h 454926"/>
                    <a:gd name="connsiteX10" fmla="*/ 445685 w 510500"/>
                    <a:gd name="connsiteY10" fmla="*/ 157659 h 454926"/>
                    <a:gd name="connsiteX11" fmla="*/ 486960 w 510500"/>
                    <a:gd name="connsiteY11" fmla="*/ 183059 h 454926"/>
                    <a:gd name="connsiteX12" fmla="*/ 509185 w 510500"/>
                    <a:gd name="connsiteY12" fmla="*/ 227509 h 454926"/>
                    <a:gd name="connsiteX13" fmla="*/ 506010 w 510500"/>
                    <a:gd name="connsiteY13" fmla="*/ 449759 h 454926"/>
                    <a:gd name="connsiteX14" fmla="*/ 4360 w 510500"/>
                    <a:gd name="connsiteY14" fmla="*/ 443409 h 454926"/>
                    <a:gd name="connsiteX0" fmla="*/ 6473 w 512613"/>
                    <a:gd name="connsiteY0" fmla="*/ 443409 h 454926"/>
                    <a:gd name="connsiteX1" fmla="*/ 9648 w 512613"/>
                    <a:gd name="connsiteY1" fmla="*/ 208459 h 454926"/>
                    <a:gd name="connsiteX2" fmla="*/ 73148 w 512613"/>
                    <a:gd name="connsiteY2" fmla="*/ 154484 h 454926"/>
                    <a:gd name="connsiteX3" fmla="*/ 174748 w 512613"/>
                    <a:gd name="connsiteY3" fmla="*/ 148134 h 454926"/>
                    <a:gd name="connsiteX4" fmla="*/ 190623 w 512613"/>
                    <a:gd name="connsiteY4" fmla="*/ 90984 h 454926"/>
                    <a:gd name="connsiteX5" fmla="*/ 203323 w 512613"/>
                    <a:gd name="connsiteY5" fmla="*/ 11609 h 454926"/>
                    <a:gd name="connsiteX6" fmla="*/ 314448 w 512613"/>
                    <a:gd name="connsiteY6" fmla="*/ 8434 h 454926"/>
                    <a:gd name="connsiteX7" fmla="*/ 314448 w 512613"/>
                    <a:gd name="connsiteY7" fmla="*/ 87809 h 454926"/>
                    <a:gd name="connsiteX8" fmla="*/ 336673 w 512613"/>
                    <a:gd name="connsiteY8" fmla="*/ 135434 h 454926"/>
                    <a:gd name="connsiteX9" fmla="*/ 447798 w 512613"/>
                    <a:gd name="connsiteY9" fmla="*/ 157659 h 454926"/>
                    <a:gd name="connsiteX10" fmla="*/ 489073 w 512613"/>
                    <a:gd name="connsiteY10" fmla="*/ 183059 h 454926"/>
                    <a:gd name="connsiteX11" fmla="*/ 511298 w 512613"/>
                    <a:gd name="connsiteY11" fmla="*/ 227509 h 454926"/>
                    <a:gd name="connsiteX12" fmla="*/ 508123 w 512613"/>
                    <a:gd name="connsiteY12" fmla="*/ 449759 h 454926"/>
                    <a:gd name="connsiteX13" fmla="*/ 6473 w 512613"/>
                    <a:gd name="connsiteY13" fmla="*/ 443409 h 454926"/>
                    <a:gd name="connsiteX0" fmla="*/ 4049 w 510189"/>
                    <a:gd name="connsiteY0" fmla="*/ 443409 h 454926"/>
                    <a:gd name="connsiteX1" fmla="*/ 7224 w 510189"/>
                    <a:gd name="connsiteY1" fmla="*/ 208459 h 454926"/>
                    <a:gd name="connsiteX2" fmla="*/ 70724 w 510189"/>
                    <a:gd name="connsiteY2" fmla="*/ 154484 h 454926"/>
                    <a:gd name="connsiteX3" fmla="*/ 172324 w 510189"/>
                    <a:gd name="connsiteY3" fmla="*/ 148134 h 454926"/>
                    <a:gd name="connsiteX4" fmla="*/ 188199 w 510189"/>
                    <a:gd name="connsiteY4" fmla="*/ 90984 h 454926"/>
                    <a:gd name="connsiteX5" fmla="*/ 200899 w 510189"/>
                    <a:gd name="connsiteY5" fmla="*/ 11609 h 454926"/>
                    <a:gd name="connsiteX6" fmla="*/ 312024 w 510189"/>
                    <a:gd name="connsiteY6" fmla="*/ 8434 h 454926"/>
                    <a:gd name="connsiteX7" fmla="*/ 312024 w 510189"/>
                    <a:gd name="connsiteY7" fmla="*/ 87809 h 454926"/>
                    <a:gd name="connsiteX8" fmla="*/ 334249 w 510189"/>
                    <a:gd name="connsiteY8" fmla="*/ 135434 h 454926"/>
                    <a:gd name="connsiteX9" fmla="*/ 445374 w 510189"/>
                    <a:gd name="connsiteY9" fmla="*/ 157659 h 454926"/>
                    <a:gd name="connsiteX10" fmla="*/ 486649 w 510189"/>
                    <a:gd name="connsiteY10" fmla="*/ 183059 h 454926"/>
                    <a:gd name="connsiteX11" fmla="*/ 508874 w 510189"/>
                    <a:gd name="connsiteY11" fmla="*/ 227509 h 454926"/>
                    <a:gd name="connsiteX12" fmla="*/ 505699 w 510189"/>
                    <a:gd name="connsiteY12" fmla="*/ 449759 h 454926"/>
                    <a:gd name="connsiteX13" fmla="*/ 4049 w 510189"/>
                    <a:gd name="connsiteY13" fmla="*/ 443409 h 454926"/>
                    <a:gd name="connsiteX0" fmla="*/ 4049 w 510189"/>
                    <a:gd name="connsiteY0" fmla="*/ 443409 h 454926"/>
                    <a:gd name="connsiteX1" fmla="*/ 7224 w 510189"/>
                    <a:gd name="connsiteY1" fmla="*/ 208459 h 454926"/>
                    <a:gd name="connsiteX2" fmla="*/ 70724 w 510189"/>
                    <a:gd name="connsiteY2" fmla="*/ 154484 h 454926"/>
                    <a:gd name="connsiteX3" fmla="*/ 172324 w 510189"/>
                    <a:gd name="connsiteY3" fmla="*/ 148134 h 454926"/>
                    <a:gd name="connsiteX4" fmla="*/ 188199 w 510189"/>
                    <a:gd name="connsiteY4" fmla="*/ 90984 h 454926"/>
                    <a:gd name="connsiteX5" fmla="*/ 200899 w 510189"/>
                    <a:gd name="connsiteY5" fmla="*/ 11609 h 454926"/>
                    <a:gd name="connsiteX6" fmla="*/ 312024 w 510189"/>
                    <a:gd name="connsiteY6" fmla="*/ 8434 h 454926"/>
                    <a:gd name="connsiteX7" fmla="*/ 312024 w 510189"/>
                    <a:gd name="connsiteY7" fmla="*/ 87809 h 454926"/>
                    <a:gd name="connsiteX8" fmla="*/ 334249 w 510189"/>
                    <a:gd name="connsiteY8" fmla="*/ 135434 h 454926"/>
                    <a:gd name="connsiteX9" fmla="*/ 445374 w 510189"/>
                    <a:gd name="connsiteY9" fmla="*/ 157659 h 454926"/>
                    <a:gd name="connsiteX10" fmla="*/ 508874 w 510189"/>
                    <a:gd name="connsiteY10" fmla="*/ 227509 h 454926"/>
                    <a:gd name="connsiteX11" fmla="*/ 505699 w 510189"/>
                    <a:gd name="connsiteY11" fmla="*/ 449759 h 454926"/>
                    <a:gd name="connsiteX12" fmla="*/ 4049 w 510189"/>
                    <a:gd name="connsiteY12" fmla="*/ 443409 h 454926"/>
                    <a:gd name="connsiteX0" fmla="*/ 4049 w 510189"/>
                    <a:gd name="connsiteY0" fmla="*/ 443409 h 454926"/>
                    <a:gd name="connsiteX1" fmla="*/ 7224 w 510189"/>
                    <a:gd name="connsiteY1" fmla="*/ 208459 h 454926"/>
                    <a:gd name="connsiteX2" fmla="*/ 70724 w 510189"/>
                    <a:gd name="connsiteY2" fmla="*/ 154484 h 454926"/>
                    <a:gd name="connsiteX3" fmla="*/ 172324 w 510189"/>
                    <a:gd name="connsiteY3" fmla="*/ 148134 h 454926"/>
                    <a:gd name="connsiteX4" fmla="*/ 188199 w 510189"/>
                    <a:gd name="connsiteY4" fmla="*/ 90984 h 454926"/>
                    <a:gd name="connsiteX5" fmla="*/ 200899 w 510189"/>
                    <a:gd name="connsiteY5" fmla="*/ 11609 h 454926"/>
                    <a:gd name="connsiteX6" fmla="*/ 312024 w 510189"/>
                    <a:gd name="connsiteY6" fmla="*/ 8434 h 454926"/>
                    <a:gd name="connsiteX7" fmla="*/ 312024 w 510189"/>
                    <a:gd name="connsiteY7" fmla="*/ 87809 h 454926"/>
                    <a:gd name="connsiteX8" fmla="*/ 334249 w 510189"/>
                    <a:gd name="connsiteY8" fmla="*/ 135434 h 454926"/>
                    <a:gd name="connsiteX9" fmla="*/ 445374 w 510189"/>
                    <a:gd name="connsiteY9" fmla="*/ 157659 h 454926"/>
                    <a:gd name="connsiteX10" fmla="*/ 508874 w 510189"/>
                    <a:gd name="connsiteY10" fmla="*/ 227509 h 454926"/>
                    <a:gd name="connsiteX11" fmla="*/ 505699 w 510189"/>
                    <a:gd name="connsiteY11" fmla="*/ 449759 h 454926"/>
                    <a:gd name="connsiteX12" fmla="*/ 4049 w 510189"/>
                    <a:gd name="connsiteY12" fmla="*/ 443409 h 454926"/>
                    <a:gd name="connsiteX0" fmla="*/ 5987 w 512127"/>
                    <a:gd name="connsiteY0" fmla="*/ 443409 h 454926"/>
                    <a:gd name="connsiteX1" fmla="*/ 2812 w 512127"/>
                    <a:gd name="connsiteY1" fmla="*/ 217984 h 454926"/>
                    <a:gd name="connsiteX2" fmla="*/ 72662 w 512127"/>
                    <a:gd name="connsiteY2" fmla="*/ 154484 h 454926"/>
                    <a:gd name="connsiteX3" fmla="*/ 174262 w 512127"/>
                    <a:gd name="connsiteY3" fmla="*/ 148134 h 454926"/>
                    <a:gd name="connsiteX4" fmla="*/ 190137 w 512127"/>
                    <a:gd name="connsiteY4" fmla="*/ 90984 h 454926"/>
                    <a:gd name="connsiteX5" fmla="*/ 202837 w 512127"/>
                    <a:gd name="connsiteY5" fmla="*/ 11609 h 454926"/>
                    <a:gd name="connsiteX6" fmla="*/ 313962 w 512127"/>
                    <a:gd name="connsiteY6" fmla="*/ 8434 h 454926"/>
                    <a:gd name="connsiteX7" fmla="*/ 313962 w 512127"/>
                    <a:gd name="connsiteY7" fmla="*/ 87809 h 454926"/>
                    <a:gd name="connsiteX8" fmla="*/ 336187 w 512127"/>
                    <a:gd name="connsiteY8" fmla="*/ 135434 h 454926"/>
                    <a:gd name="connsiteX9" fmla="*/ 447312 w 512127"/>
                    <a:gd name="connsiteY9" fmla="*/ 157659 h 454926"/>
                    <a:gd name="connsiteX10" fmla="*/ 510812 w 512127"/>
                    <a:gd name="connsiteY10" fmla="*/ 227509 h 454926"/>
                    <a:gd name="connsiteX11" fmla="*/ 507637 w 512127"/>
                    <a:gd name="connsiteY11" fmla="*/ 449759 h 454926"/>
                    <a:gd name="connsiteX12" fmla="*/ 5987 w 512127"/>
                    <a:gd name="connsiteY12" fmla="*/ 443409 h 454926"/>
                    <a:gd name="connsiteX0" fmla="*/ 9762 w 515902"/>
                    <a:gd name="connsiteY0" fmla="*/ 443409 h 454926"/>
                    <a:gd name="connsiteX1" fmla="*/ 6587 w 515902"/>
                    <a:gd name="connsiteY1" fmla="*/ 217984 h 454926"/>
                    <a:gd name="connsiteX2" fmla="*/ 76437 w 515902"/>
                    <a:gd name="connsiteY2" fmla="*/ 154484 h 454926"/>
                    <a:gd name="connsiteX3" fmla="*/ 178037 w 515902"/>
                    <a:gd name="connsiteY3" fmla="*/ 148134 h 454926"/>
                    <a:gd name="connsiteX4" fmla="*/ 193912 w 515902"/>
                    <a:gd name="connsiteY4" fmla="*/ 90984 h 454926"/>
                    <a:gd name="connsiteX5" fmla="*/ 206612 w 515902"/>
                    <a:gd name="connsiteY5" fmla="*/ 11609 h 454926"/>
                    <a:gd name="connsiteX6" fmla="*/ 317737 w 515902"/>
                    <a:gd name="connsiteY6" fmla="*/ 8434 h 454926"/>
                    <a:gd name="connsiteX7" fmla="*/ 317737 w 515902"/>
                    <a:gd name="connsiteY7" fmla="*/ 87809 h 454926"/>
                    <a:gd name="connsiteX8" fmla="*/ 339962 w 515902"/>
                    <a:gd name="connsiteY8" fmla="*/ 135434 h 454926"/>
                    <a:gd name="connsiteX9" fmla="*/ 451087 w 515902"/>
                    <a:gd name="connsiteY9" fmla="*/ 157659 h 454926"/>
                    <a:gd name="connsiteX10" fmla="*/ 514587 w 515902"/>
                    <a:gd name="connsiteY10" fmla="*/ 227509 h 454926"/>
                    <a:gd name="connsiteX11" fmla="*/ 511412 w 515902"/>
                    <a:gd name="connsiteY11" fmla="*/ 449759 h 454926"/>
                    <a:gd name="connsiteX12" fmla="*/ 9762 w 515902"/>
                    <a:gd name="connsiteY12" fmla="*/ 443409 h 454926"/>
                    <a:gd name="connsiteX0" fmla="*/ 9762 w 515902"/>
                    <a:gd name="connsiteY0" fmla="*/ 443409 h 454926"/>
                    <a:gd name="connsiteX1" fmla="*/ 6587 w 515902"/>
                    <a:gd name="connsiteY1" fmla="*/ 217984 h 454926"/>
                    <a:gd name="connsiteX2" fmla="*/ 76437 w 515902"/>
                    <a:gd name="connsiteY2" fmla="*/ 154484 h 454926"/>
                    <a:gd name="connsiteX3" fmla="*/ 178037 w 515902"/>
                    <a:gd name="connsiteY3" fmla="*/ 148134 h 454926"/>
                    <a:gd name="connsiteX4" fmla="*/ 193912 w 515902"/>
                    <a:gd name="connsiteY4" fmla="*/ 90984 h 454926"/>
                    <a:gd name="connsiteX5" fmla="*/ 206612 w 515902"/>
                    <a:gd name="connsiteY5" fmla="*/ 11609 h 454926"/>
                    <a:gd name="connsiteX6" fmla="*/ 317737 w 515902"/>
                    <a:gd name="connsiteY6" fmla="*/ 8434 h 454926"/>
                    <a:gd name="connsiteX7" fmla="*/ 317737 w 515902"/>
                    <a:gd name="connsiteY7" fmla="*/ 87809 h 454926"/>
                    <a:gd name="connsiteX8" fmla="*/ 339962 w 515902"/>
                    <a:gd name="connsiteY8" fmla="*/ 135434 h 454926"/>
                    <a:gd name="connsiteX9" fmla="*/ 451087 w 515902"/>
                    <a:gd name="connsiteY9" fmla="*/ 157659 h 454926"/>
                    <a:gd name="connsiteX10" fmla="*/ 514587 w 515902"/>
                    <a:gd name="connsiteY10" fmla="*/ 227509 h 454926"/>
                    <a:gd name="connsiteX11" fmla="*/ 511412 w 515902"/>
                    <a:gd name="connsiteY11" fmla="*/ 449759 h 454926"/>
                    <a:gd name="connsiteX12" fmla="*/ 9762 w 515902"/>
                    <a:gd name="connsiteY12" fmla="*/ 443409 h 454926"/>
                    <a:gd name="connsiteX0" fmla="*/ 9762 w 515902"/>
                    <a:gd name="connsiteY0" fmla="*/ 443409 h 454926"/>
                    <a:gd name="connsiteX1" fmla="*/ 6587 w 515902"/>
                    <a:gd name="connsiteY1" fmla="*/ 217984 h 454926"/>
                    <a:gd name="connsiteX2" fmla="*/ 76437 w 515902"/>
                    <a:gd name="connsiteY2" fmla="*/ 154484 h 454926"/>
                    <a:gd name="connsiteX3" fmla="*/ 193912 w 515902"/>
                    <a:gd name="connsiteY3" fmla="*/ 90984 h 454926"/>
                    <a:gd name="connsiteX4" fmla="*/ 206612 w 515902"/>
                    <a:gd name="connsiteY4" fmla="*/ 11609 h 454926"/>
                    <a:gd name="connsiteX5" fmla="*/ 317737 w 515902"/>
                    <a:gd name="connsiteY5" fmla="*/ 8434 h 454926"/>
                    <a:gd name="connsiteX6" fmla="*/ 317737 w 515902"/>
                    <a:gd name="connsiteY6" fmla="*/ 87809 h 454926"/>
                    <a:gd name="connsiteX7" fmla="*/ 339962 w 515902"/>
                    <a:gd name="connsiteY7" fmla="*/ 135434 h 454926"/>
                    <a:gd name="connsiteX8" fmla="*/ 451087 w 515902"/>
                    <a:gd name="connsiteY8" fmla="*/ 157659 h 454926"/>
                    <a:gd name="connsiteX9" fmla="*/ 514587 w 515902"/>
                    <a:gd name="connsiteY9" fmla="*/ 227509 h 454926"/>
                    <a:gd name="connsiteX10" fmla="*/ 511412 w 515902"/>
                    <a:gd name="connsiteY10" fmla="*/ 449759 h 454926"/>
                    <a:gd name="connsiteX11" fmla="*/ 9762 w 515902"/>
                    <a:gd name="connsiteY11" fmla="*/ 443409 h 454926"/>
                    <a:gd name="connsiteX0" fmla="*/ 9762 w 515902"/>
                    <a:gd name="connsiteY0" fmla="*/ 446099 h 457616"/>
                    <a:gd name="connsiteX1" fmla="*/ 6587 w 515902"/>
                    <a:gd name="connsiteY1" fmla="*/ 220674 h 457616"/>
                    <a:gd name="connsiteX2" fmla="*/ 76437 w 515902"/>
                    <a:gd name="connsiteY2" fmla="*/ 157174 h 457616"/>
                    <a:gd name="connsiteX3" fmla="*/ 190737 w 515902"/>
                    <a:gd name="connsiteY3" fmla="*/ 138124 h 457616"/>
                    <a:gd name="connsiteX4" fmla="*/ 206612 w 515902"/>
                    <a:gd name="connsiteY4" fmla="*/ 14299 h 457616"/>
                    <a:gd name="connsiteX5" fmla="*/ 317737 w 515902"/>
                    <a:gd name="connsiteY5" fmla="*/ 11124 h 457616"/>
                    <a:gd name="connsiteX6" fmla="*/ 317737 w 515902"/>
                    <a:gd name="connsiteY6" fmla="*/ 90499 h 457616"/>
                    <a:gd name="connsiteX7" fmla="*/ 339962 w 515902"/>
                    <a:gd name="connsiteY7" fmla="*/ 138124 h 457616"/>
                    <a:gd name="connsiteX8" fmla="*/ 451087 w 515902"/>
                    <a:gd name="connsiteY8" fmla="*/ 160349 h 457616"/>
                    <a:gd name="connsiteX9" fmla="*/ 514587 w 515902"/>
                    <a:gd name="connsiteY9" fmla="*/ 230199 h 457616"/>
                    <a:gd name="connsiteX10" fmla="*/ 511412 w 515902"/>
                    <a:gd name="connsiteY10" fmla="*/ 452449 h 457616"/>
                    <a:gd name="connsiteX11" fmla="*/ 9762 w 515902"/>
                    <a:gd name="connsiteY11" fmla="*/ 446099 h 457616"/>
                    <a:gd name="connsiteX0" fmla="*/ 9762 w 515902"/>
                    <a:gd name="connsiteY0" fmla="*/ 446099 h 457616"/>
                    <a:gd name="connsiteX1" fmla="*/ 6587 w 515902"/>
                    <a:gd name="connsiteY1" fmla="*/ 220674 h 457616"/>
                    <a:gd name="connsiteX2" fmla="*/ 76437 w 515902"/>
                    <a:gd name="connsiteY2" fmla="*/ 157174 h 457616"/>
                    <a:gd name="connsiteX3" fmla="*/ 190737 w 515902"/>
                    <a:gd name="connsiteY3" fmla="*/ 138124 h 457616"/>
                    <a:gd name="connsiteX4" fmla="*/ 206612 w 515902"/>
                    <a:gd name="connsiteY4" fmla="*/ 14299 h 457616"/>
                    <a:gd name="connsiteX5" fmla="*/ 317737 w 515902"/>
                    <a:gd name="connsiteY5" fmla="*/ 11124 h 457616"/>
                    <a:gd name="connsiteX6" fmla="*/ 317737 w 515902"/>
                    <a:gd name="connsiteY6" fmla="*/ 90499 h 457616"/>
                    <a:gd name="connsiteX7" fmla="*/ 451087 w 515902"/>
                    <a:gd name="connsiteY7" fmla="*/ 160349 h 457616"/>
                    <a:gd name="connsiteX8" fmla="*/ 514587 w 515902"/>
                    <a:gd name="connsiteY8" fmla="*/ 230199 h 457616"/>
                    <a:gd name="connsiteX9" fmla="*/ 511412 w 515902"/>
                    <a:gd name="connsiteY9" fmla="*/ 452449 h 457616"/>
                    <a:gd name="connsiteX10" fmla="*/ 9762 w 515902"/>
                    <a:gd name="connsiteY10" fmla="*/ 446099 h 457616"/>
                    <a:gd name="connsiteX0" fmla="*/ 9762 w 515902"/>
                    <a:gd name="connsiteY0" fmla="*/ 447482 h 458999"/>
                    <a:gd name="connsiteX1" fmla="*/ 6587 w 515902"/>
                    <a:gd name="connsiteY1" fmla="*/ 222057 h 458999"/>
                    <a:gd name="connsiteX2" fmla="*/ 76437 w 515902"/>
                    <a:gd name="connsiteY2" fmla="*/ 158557 h 458999"/>
                    <a:gd name="connsiteX3" fmla="*/ 190737 w 515902"/>
                    <a:gd name="connsiteY3" fmla="*/ 139507 h 458999"/>
                    <a:gd name="connsiteX4" fmla="*/ 206612 w 515902"/>
                    <a:gd name="connsiteY4" fmla="*/ 15682 h 458999"/>
                    <a:gd name="connsiteX5" fmla="*/ 317737 w 515902"/>
                    <a:gd name="connsiteY5" fmla="*/ 12507 h 458999"/>
                    <a:gd name="connsiteX6" fmla="*/ 330437 w 515902"/>
                    <a:gd name="connsiteY6" fmla="*/ 114107 h 458999"/>
                    <a:gd name="connsiteX7" fmla="*/ 451087 w 515902"/>
                    <a:gd name="connsiteY7" fmla="*/ 161732 h 458999"/>
                    <a:gd name="connsiteX8" fmla="*/ 514587 w 515902"/>
                    <a:gd name="connsiteY8" fmla="*/ 231582 h 458999"/>
                    <a:gd name="connsiteX9" fmla="*/ 511412 w 515902"/>
                    <a:gd name="connsiteY9" fmla="*/ 453832 h 458999"/>
                    <a:gd name="connsiteX10" fmla="*/ 9762 w 515902"/>
                    <a:gd name="connsiteY10" fmla="*/ 447482 h 458999"/>
                    <a:gd name="connsiteX0" fmla="*/ 9762 w 515902"/>
                    <a:gd name="connsiteY0" fmla="*/ 446348 h 457865"/>
                    <a:gd name="connsiteX1" fmla="*/ 6587 w 515902"/>
                    <a:gd name="connsiteY1" fmla="*/ 220923 h 457865"/>
                    <a:gd name="connsiteX2" fmla="*/ 76437 w 515902"/>
                    <a:gd name="connsiteY2" fmla="*/ 157423 h 457865"/>
                    <a:gd name="connsiteX3" fmla="*/ 200262 w 515902"/>
                    <a:gd name="connsiteY3" fmla="*/ 119323 h 457865"/>
                    <a:gd name="connsiteX4" fmla="*/ 206612 w 515902"/>
                    <a:gd name="connsiteY4" fmla="*/ 14548 h 457865"/>
                    <a:gd name="connsiteX5" fmla="*/ 317737 w 515902"/>
                    <a:gd name="connsiteY5" fmla="*/ 11373 h 457865"/>
                    <a:gd name="connsiteX6" fmla="*/ 330437 w 515902"/>
                    <a:gd name="connsiteY6" fmla="*/ 112973 h 457865"/>
                    <a:gd name="connsiteX7" fmla="*/ 451087 w 515902"/>
                    <a:gd name="connsiteY7" fmla="*/ 160598 h 457865"/>
                    <a:gd name="connsiteX8" fmla="*/ 514587 w 515902"/>
                    <a:gd name="connsiteY8" fmla="*/ 230448 h 457865"/>
                    <a:gd name="connsiteX9" fmla="*/ 511412 w 515902"/>
                    <a:gd name="connsiteY9" fmla="*/ 452698 h 457865"/>
                    <a:gd name="connsiteX10" fmla="*/ 9762 w 515902"/>
                    <a:gd name="connsiteY10" fmla="*/ 446348 h 457865"/>
                    <a:gd name="connsiteX0" fmla="*/ 9762 w 515902"/>
                    <a:gd name="connsiteY0" fmla="*/ 446681 h 458198"/>
                    <a:gd name="connsiteX1" fmla="*/ 6587 w 515902"/>
                    <a:gd name="connsiteY1" fmla="*/ 221256 h 458198"/>
                    <a:gd name="connsiteX2" fmla="*/ 76437 w 515902"/>
                    <a:gd name="connsiteY2" fmla="*/ 157756 h 458198"/>
                    <a:gd name="connsiteX3" fmla="*/ 200262 w 515902"/>
                    <a:gd name="connsiteY3" fmla="*/ 119656 h 458198"/>
                    <a:gd name="connsiteX4" fmla="*/ 206612 w 515902"/>
                    <a:gd name="connsiteY4" fmla="*/ 14881 h 458198"/>
                    <a:gd name="connsiteX5" fmla="*/ 317737 w 515902"/>
                    <a:gd name="connsiteY5" fmla="*/ 11706 h 458198"/>
                    <a:gd name="connsiteX6" fmla="*/ 311502 w 515902"/>
                    <a:gd name="connsiteY6" fmla="*/ 118302 h 458198"/>
                    <a:gd name="connsiteX7" fmla="*/ 451087 w 515902"/>
                    <a:gd name="connsiteY7" fmla="*/ 160931 h 458198"/>
                    <a:gd name="connsiteX8" fmla="*/ 514587 w 515902"/>
                    <a:gd name="connsiteY8" fmla="*/ 230781 h 458198"/>
                    <a:gd name="connsiteX9" fmla="*/ 511412 w 515902"/>
                    <a:gd name="connsiteY9" fmla="*/ 453031 h 458198"/>
                    <a:gd name="connsiteX10" fmla="*/ 9762 w 515902"/>
                    <a:gd name="connsiteY10" fmla="*/ 446681 h 458198"/>
                    <a:gd name="connsiteX0" fmla="*/ 9762 w 515902"/>
                    <a:gd name="connsiteY0" fmla="*/ 446681 h 458198"/>
                    <a:gd name="connsiteX1" fmla="*/ 6587 w 515902"/>
                    <a:gd name="connsiteY1" fmla="*/ 221256 h 458198"/>
                    <a:gd name="connsiteX2" fmla="*/ 76437 w 515902"/>
                    <a:gd name="connsiteY2" fmla="*/ 157756 h 458198"/>
                    <a:gd name="connsiteX3" fmla="*/ 200262 w 515902"/>
                    <a:gd name="connsiteY3" fmla="*/ 119656 h 458198"/>
                    <a:gd name="connsiteX4" fmla="*/ 206612 w 515902"/>
                    <a:gd name="connsiteY4" fmla="*/ 14881 h 458198"/>
                    <a:gd name="connsiteX5" fmla="*/ 301506 w 515902"/>
                    <a:gd name="connsiteY5" fmla="*/ 11706 h 458198"/>
                    <a:gd name="connsiteX6" fmla="*/ 311502 w 515902"/>
                    <a:gd name="connsiteY6" fmla="*/ 118302 h 458198"/>
                    <a:gd name="connsiteX7" fmla="*/ 451087 w 515902"/>
                    <a:gd name="connsiteY7" fmla="*/ 160931 h 458198"/>
                    <a:gd name="connsiteX8" fmla="*/ 514587 w 515902"/>
                    <a:gd name="connsiteY8" fmla="*/ 230781 h 458198"/>
                    <a:gd name="connsiteX9" fmla="*/ 511412 w 515902"/>
                    <a:gd name="connsiteY9" fmla="*/ 453031 h 458198"/>
                    <a:gd name="connsiteX10" fmla="*/ 9762 w 515902"/>
                    <a:gd name="connsiteY10" fmla="*/ 446681 h 458198"/>
                    <a:gd name="connsiteX0" fmla="*/ 9762 w 515902"/>
                    <a:gd name="connsiteY0" fmla="*/ 446681 h 458198"/>
                    <a:gd name="connsiteX1" fmla="*/ 6587 w 515902"/>
                    <a:gd name="connsiteY1" fmla="*/ 221256 h 458198"/>
                    <a:gd name="connsiteX2" fmla="*/ 76437 w 515902"/>
                    <a:gd name="connsiteY2" fmla="*/ 157756 h 458198"/>
                    <a:gd name="connsiteX3" fmla="*/ 200262 w 515902"/>
                    <a:gd name="connsiteY3" fmla="*/ 119656 h 458198"/>
                    <a:gd name="connsiteX4" fmla="*/ 206612 w 515902"/>
                    <a:gd name="connsiteY4" fmla="*/ 14881 h 458198"/>
                    <a:gd name="connsiteX5" fmla="*/ 301506 w 515902"/>
                    <a:gd name="connsiteY5" fmla="*/ 11706 h 458198"/>
                    <a:gd name="connsiteX6" fmla="*/ 311502 w 515902"/>
                    <a:gd name="connsiteY6" fmla="*/ 118302 h 458198"/>
                    <a:gd name="connsiteX7" fmla="*/ 442972 w 515902"/>
                    <a:gd name="connsiteY7" fmla="*/ 180912 h 458198"/>
                    <a:gd name="connsiteX8" fmla="*/ 514587 w 515902"/>
                    <a:gd name="connsiteY8" fmla="*/ 230781 h 458198"/>
                    <a:gd name="connsiteX9" fmla="*/ 511412 w 515902"/>
                    <a:gd name="connsiteY9" fmla="*/ 453031 h 458198"/>
                    <a:gd name="connsiteX10" fmla="*/ 9762 w 515902"/>
                    <a:gd name="connsiteY10" fmla="*/ 446681 h 458198"/>
                    <a:gd name="connsiteX0" fmla="*/ 9762 w 511905"/>
                    <a:gd name="connsiteY0" fmla="*/ 446681 h 458198"/>
                    <a:gd name="connsiteX1" fmla="*/ 6587 w 511905"/>
                    <a:gd name="connsiteY1" fmla="*/ 221256 h 458198"/>
                    <a:gd name="connsiteX2" fmla="*/ 76437 w 511905"/>
                    <a:gd name="connsiteY2" fmla="*/ 157756 h 458198"/>
                    <a:gd name="connsiteX3" fmla="*/ 200262 w 511905"/>
                    <a:gd name="connsiteY3" fmla="*/ 119656 h 458198"/>
                    <a:gd name="connsiteX4" fmla="*/ 206612 w 511905"/>
                    <a:gd name="connsiteY4" fmla="*/ 14881 h 458198"/>
                    <a:gd name="connsiteX5" fmla="*/ 301506 w 511905"/>
                    <a:gd name="connsiteY5" fmla="*/ 11706 h 458198"/>
                    <a:gd name="connsiteX6" fmla="*/ 311502 w 511905"/>
                    <a:gd name="connsiteY6" fmla="*/ 118302 h 458198"/>
                    <a:gd name="connsiteX7" fmla="*/ 442972 w 511905"/>
                    <a:gd name="connsiteY7" fmla="*/ 180912 h 458198"/>
                    <a:gd name="connsiteX8" fmla="*/ 498357 w 511905"/>
                    <a:gd name="connsiteY8" fmla="*/ 250762 h 458198"/>
                    <a:gd name="connsiteX9" fmla="*/ 511412 w 511905"/>
                    <a:gd name="connsiteY9" fmla="*/ 453031 h 458198"/>
                    <a:gd name="connsiteX10" fmla="*/ 9762 w 511905"/>
                    <a:gd name="connsiteY10" fmla="*/ 446681 h 458198"/>
                    <a:gd name="connsiteX0" fmla="*/ 9762 w 511905"/>
                    <a:gd name="connsiteY0" fmla="*/ 446681 h 458198"/>
                    <a:gd name="connsiteX1" fmla="*/ 6587 w 511905"/>
                    <a:gd name="connsiteY1" fmla="*/ 221256 h 458198"/>
                    <a:gd name="connsiteX2" fmla="*/ 76437 w 511905"/>
                    <a:gd name="connsiteY2" fmla="*/ 157756 h 458198"/>
                    <a:gd name="connsiteX3" fmla="*/ 200262 w 511905"/>
                    <a:gd name="connsiteY3" fmla="*/ 119656 h 458198"/>
                    <a:gd name="connsiteX4" fmla="*/ 206612 w 511905"/>
                    <a:gd name="connsiteY4" fmla="*/ 14881 h 458198"/>
                    <a:gd name="connsiteX5" fmla="*/ 301506 w 511905"/>
                    <a:gd name="connsiteY5" fmla="*/ 11706 h 458198"/>
                    <a:gd name="connsiteX6" fmla="*/ 311502 w 511905"/>
                    <a:gd name="connsiteY6" fmla="*/ 118302 h 458198"/>
                    <a:gd name="connsiteX7" fmla="*/ 437562 w 511905"/>
                    <a:gd name="connsiteY7" fmla="*/ 198396 h 458198"/>
                    <a:gd name="connsiteX8" fmla="*/ 498357 w 511905"/>
                    <a:gd name="connsiteY8" fmla="*/ 250762 h 458198"/>
                    <a:gd name="connsiteX9" fmla="*/ 511412 w 511905"/>
                    <a:gd name="connsiteY9" fmla="*/ 453031 h 458198"/>
                    <a:gd name="connsiteX10" fmla="*/ 9762 w 511905"/>
                    <a:gd name="connsiteY10" fmla="*/ 446681 h 458198"/>
                    <a:gd name="connsiteX0" fmla="*/ 9762 w 511905"/>
                    <a:gd name="connsiteY0" fmla="*/ 446681 h 458198"/>
                    <a:gd name="connsiteX1" fmla="*/ 6587 w 511905"/>
                    <a:gd name="connsiteY1" fmla="*/ 221256 h 458198"/>
                    <a:gd name="connsiteX2" fmla="*/ 76437 w 511905"/>
                    <a:gd name="connsiteY2" fmla="*/ 157756 h 458198"/>
                    <a:gd name="connsiteX3" fmla="*/ 200262 w 511905"/>
                    <a:gd name="connsiteY3" fmla="*/ 119656 h 458198"/>
                    <a:gd name="connsiteX4" fmla="*/ 206612 w 511905"/>
                    <a:gd name="connsiteY4" fmla="*/ 14881 h 458198"/>
                    <a:gd name="connsiteX5" fmla="*/ 301506 w 511905"/>
                    <a:gd name="connsiteY5" fmla="*/ 11706 h 458198"/>
                    <a:gd name="connsiteX6" fmla="*/ 311502 w 511905"/>
                    <a:gd name="connsiteY6" fmla="*/ 118302 h 458198"/>
                    <a:gd name="connsiteX7" fmla="*/ 451087 w 511905"/>
                    <a:gd name="connsiteY7" fmla="*/ 188406 h 458198"/>
                    <a:gd name="connsiteX8" fmla="*/ 498357 w 511905"/>
                    <a:gd name="connsiteY8" fmla="*/ 250762 h 458198"/>
                    <a:gd name="connsiteX9" fmla="*/ 511412 w 511905"/>
                    <a:gd name="connsiteY9" fmla="*/ 453031 h 458198"/>
                    <a:gd name="connsiteX10" fmla="*/ 9762 w 511905"/>
                    <a:gd name="connsiteY10" fmla="*/ 446681 h 458198"/>
                    <a:gd name="connsiteX0" fmla="*/ 9762 w 511905"/>
                    <a:gd name="connsiteY0" fmla="*/ 447695 h 459212"/>
                    <a:gd name="connsiteX1" fmla="*/ 6587 w 511905"/>
                    <a:gd name="connsiteY1" fmla="*/ 222270 h 459212"/>
                    <a:gd name="connsiteX2" fmla="*/ 76437 w 511905"/>
                    <a:gd name="connsiteY2" fmla="*/ 158770 h 459212"/>
                    <a:gd name="connsiteX3" fmla="*/ 200262 w 511905"/>
                    <a:gd name="connsiteY3" fmla="*/ 120670 h 459212"/>
                    <a:gd name="connsiteX4" fmla="*/ 206612 w 511905"/>
                    <a:gd name="connsiteY4" fmla="*/ 15895 h 459212"/>
                    <a:gd name="connsiteX5" fmla="*/ 301506 w 511905"/>
                    <a:gd name="connsiteY5" fmla="*/ 12720 h 459212"/>
                    <a:gd name="connsiteX6" fmla="*/ 311502 w 511905"/>
                    <a:gd name="connsiteY6" fmla="*/ 134302 h 459212"/>
                    <a:gd name="connsiteX7" fmla="*/ 451087 w 511905"/>
                    <a:gd name="connsiteY7" fmla="*/ 189420 h 459212"/>
                    <a:gd name="connsiteX8" fmla="*/ 498357 w 511905"/>
                    <a:gd name="connsiteY8" fmla="*/ 251776 h 459212"/>
                    <a:gd name="connsiteX9" fmla="*/ 511412 w 511905"/>
                    <a:gd name="connsiteY9" fmla="*/ 454045 h 459212"/>
                    <a:gd name="connsiteX10" fmla="*/ 9762 w 511905"/>
                    <a:gd name="connsiteY10" fmla="*/ 447695 h 459212"/>
                    <a:gd name="connsiteX0" fmla="*/ 4227 w 522600"/>
                    <a:gd name="connsiteY0" fmla="*/ 455188 h 463021"/>
                    <a:gd name="connsiteX1" fmla="*/ 17282 w 522600"/>
                    <a:gd name="connsiteY1" fmla="*/ 222270 h 463021"/>
                    <a:gd name="connsiteX2" fmla="*/ 87132 w 522600"/>
                    <a:gd name="connsiteY2" fmla="*/ 158770 h 463021"/>
                    <a:gd name="connsiteX3" fmla="*/ 210957 w 522600"/>
                    <a:gd name="connsiteY3" fmla="*/ 120670 h 463021"/>
                    <a:gd name="connsiteX4" fmla="*/ 217307 w 522600"/>
                    <a:gd name="connsiteY4" fmla="*/ 15895 h 463021"/>
                    <a:gd name="connsiteX5" fmla="*/ 312201 w 522600"/>
                    <a:gd name="connsiteY5" fmla="*/ 12720 h 463021"/>
                    <a:gd name="connsiteX6" fmla="*/ 322197 w 522600"/>
                    <a:gd name="connsiteY6" fmla="*/ 134302 h 463021"/>
                    <a:gd name="connsiteX7" fmla="*/ 461782 w 522600"/>
                    <a:gd name="connsiteY7" fmla="*/ 189420 h 463021"/>
                    <a:gd name="connsiteX8" fmla="*/ 509052 w 522600"/>
                    <a:gd name="connsiteY8" fmla="*/ 251776 h 463021"/>
                    <a:gd name="connsiteX9" fmla="*/ 522107 w 522600"/>
                    <a:gd name="connsiteY9" fmla="*/ 454045 h 463021"/>
                    <a:gd name="connsiteX10" fmla="*/ 4227 w 522600"/>
                    <a:gd name="connsiteY10" fmla="*/ 455188 h 463021"/>
                    <a:gd name="connsiteX0" fmla="*/ 4227 w 522600"/>
                    <a:gd name="connsiteY0" fmla="*/ 455188 h 457596"/>
                    <a:gd name="connsiteX1" fmla="*/ 17282 w 522600"/>
                    <a:gd name="connsiteY1" fmla="*/ 222270 h 457596"/>
                    <a:gd name="connsiteX2" fmla="*/ 87132 w 522600"/>
                    <a:gd name="connsiteY2" fmla="*/ 158770 h 457596"/>
                    <a:gd name="connsiteX3" fmla="*/ 210957 w 522600"/>
                    <a:gd name="connsiteY3" fmla="*/ 120670 h 457596"/>
                    <a:gd name="connsiteX4" fmla="*/ 217307 w 522600"/>
                    <a:gd name="connsiteY4" fmla="*/ 15895 h 457596"/>
                    <a:gd name="connsiteX5" fmla="*/ 312201 w 522600"/>
                    <a:gd name="connsiteY5" fmla="*/ 12720 h 457596"/>
                    <a:gd name="connsiteX6" fmla="*/ 322197 w 522600"/>
                    <a:gd name="connsiteY6" fmla="*/ 134302 h 457596"/>
                    <a:gd name="connsiteX7" fmla="*/ 461782 w 522600"/>
                    <a:gd name="connsiteY7" fmla="*/ 189420 h 457596"/>
                    <a:gd name="connsiteX8" fmla="*/ 509052 w 522600"/>
                    <a:gd name="connsiteY8" fmla="*/ 251776 h 457596"/>
                    <a:gd name="connsiteX9" fmla="*/ 522107 w 522600"/>
                    <a:gd name="connsiteY9" fmla="*/ 454045 h 457596"/>
                    <a:gd name="connsiteX10" fmla="*/ 4227 w 522600"/>
                    <a:gd name="connsiteY10" fmla="*/ 455188 h 457596"/>
                    <a:gd name="connsiteX0" fmla="*/ 12757 w 531130"/>
                    <a:gd name="connsiteY0" fmla="*/ 455188 h 457596"/>
                    <a:gd name="connsiteX1" fmla="*/ 6876 w 531130"/>
                    <a:gd name="connsiteY1" fmla="*/ 237256 h 457596"/>
                    <a:gd name="connsiteX2" fmla="*/ 95662 w 531130"/>
                    <a:gd name="connsiteY2" fmla="*/ 158770 h 457596"/>
                    <a:gd name="connsiteX3" fmla="*/ 219487 w 531130"/>
                    <a:gd name="connsiteY3" fmla="*/ 120670 h 457596"/>
                    <a:gd name="connsiteX4" fmla="*/ 225837 w 531130"/>
                    <a:gd name="connsiteY4" fmla="*/ 15895 h 457596"/>
                    <a:gd name="connsiteX5" fmla="*/ 320731 w 531130"/>
                    <a:gd name="connsiteY5" fmla="*/ 12720 h 457596"/>
                    <a:gd name="connsiteX6" fmla="*/ 330727 w 531130"/>
                    <a:gd name="connsiteY6" fmla="*/ 134302 h 457596"/>
                    <a:gd name="connsiteX7" fmla="*/ 470312 w 531130"/>
                    <a:gd name="connsiteY7" fmla="*/ 189420 h 457596"/>
                    <a:gd name="connsiteX8" fmla="*/ 517582 w 531130"/>
                    <a:gd name="connsiteY8" fmla="*/ 251776 h 457596"/>
                    <a:gd name="connsiteX9" fmla="*/ 530637 w 531130"/>
                    <a:gd name="connsiteY9" fmla="*/ 454045 h 457596"/>
                    <a:gd name="connsiteX10" fmla="*/ 12757 w 531130"/>
                    <a:gd name="connsiteY10" fmla="*/ 455188 h 457596"/>
                    <a:gd name="connsiteX0" fmla="*/ 7226 w 536419"/>
                    <a:gd name="connsiteY0" fmla="*/ 447695 h 456315"/>
                    <a:gd name="connsiteX1" fmla="*/ 12165 w 536419"/>
                    <a:gd name="connsiteY1" fmla="*/ 237256 h 456315"/>
                    <a:gd name="connsiteX2" fmla="*/ 100951 w 536419"/>
                    <a:gd name="connsiteY2" fmla="*/ 158770 h 456315"/>
                    <a:gd name="connsiteX3" fmla="*/ 224776 w 536419"/>
                    <a:gd name="connsiteY3" fmla="*/ 120670 h 456315"/>
                    <a:gd name="connsiteX4" fmla="*/ 231126 w 536419"/>
                    <a:gd name="connsiteY4" fmla="*/ 15895 h 456315"/>
                    <a:gd name="connsiteX5" fmla="*/ 326020 w 536419"/>
                    <a:gd name="connsiteY5" fmla="*/ 12720 h 456315"/>
                    <a:gd name="connsiteX6" fmla="*/ 336016 w 536419"/>
                    <a:gd name="connsiteY6" fmla="*/ 134302 h 456315"/>
                    <a:gd name="connsiteX7" fmla="*/ 475601 w 536419"/>
                    <a:gd name="connsiteY7" fmla="*/ 189420 h 456315"/>
                    <a:gd name="connsiteX8" fmla="*/ 522871 w 536419"/>
                    <a:gd name="connsiteY8" fmla="*/ 251776 h 456315"/>
                    <a:gd name="connsiteX9" fmla="*/ 535926 w 536419"/>
                    <a:gd name="connsiteY9" fmla="*/ 454045 h 456315"/>
                    <a:gd name="connsiteX10" fmla="*/ 7226 w 536419"/>
                    <a:gd name="connsiteY10" fmla="*/ 447695 h 456315"/>
                    <a:gd name="connsiteX0" fmla="*/ 7226 w 528834"/>
                    <a:gd name="connsiteY0" fmla="*/ 447695 h 456315"/>
                    <a:gd name="connsiteX1" fmla="*/ 12165 w 528834"/>
                    <a:gd name="connsiteY1" fmla="*/ 237256 h 456315"/>
                    <a:gd name="connsiteX2" fmla="*/ 100951 w 528834"/>
                    <a:gd name="connsiteY2" fmla="*/ 158770 h 456315"/>
                    <a:gd name="connsiteX3" fmla="*/ 224776 w 528834"/>
                    <a:gd name="connsiteY3" fmla="*/ 120670 h 456315"/>
                    <a:gd name="connsiteX4" fmla="*/ 231126 w 528834"/>
                    <a:gd name="connsiteY4" fmla="*/ 15895 h 456315"/>
                    <a:gd name="connsiteX5" fmla="*/ 326020 w 528834"/>
                    <a:gd name="connsiteY5" fmla="*/ 12720 h 456315"/>
                    <a:gd name="connsiteX6" fmla="*/ 336016 w 528834"/>
                    <a:gd name="connsiteY6" fmla="*/ 134302 h 456315"/>
                    <a:gd name="connsiteX7" fmla="*/ 475601 w 528834"/>
                    <a:gd name="connsiteY7" fmla="*/ 189420 h 456315"/>
                    <a:gd name="connsiteX8" fmla="*/ 522871 w 528834"/>
                    <a:gd name="connsiteY8" fmla="*/ 251776 h 456315"/>
                    <a:gd name="connsiteX9" fmla="*/ 527811 w 528834"/>
                    <a:gd name="connsiteY9" fmla="*/ 454045 h 456315"/>
                    <a:gd name="connsiteX10" fmla="*/ 7226 w 528834"/>
                    <a:gd name="connsiteY10" fmla="*/ 447695 h 456315"/>
                    <a:gd name="connsiteX0" fmla="*/ 7226 w 528834"/>
                    <a:gd name="connsiteY0" fmla="*/ 447695 h 456315"/>
                    <a:gd name="connsiteX1" fmla="*/ 12165 w 528834"/>
                    <a:gd name="connsiteY1" fmla="*/ 237256 h 456315"/>
                    <a:gd name="connsiteX2" fmla="*/ 100951 w 528834"/>
                    <a:gd name="connsiteY2" fmla="*/ 158770 h 456315"/>
                    <a:gd name="connsiteX3" fmla="*/ 224776 w 528834"/>
                    <a:gd name="connsiteY3" fmla="*/ 120670 h 456315"/>
                    <a:gd name="connsiteX4" fmla="*/ 231126 w 528834"/>
                    <a:gd name="connsiteY4" fmla="*/ 15895 h 456315"/>
                    <a:gd name="connsiteX5" fmla="*/ 326020 w 528834"/>
                    <a:gd name="connsiteY5" fmla="*/ 12720 h 456315"/>
                    <a:gd name="connsiteX6" fmla="*/ 336016 w 528834"/>
                    <a:gd name="connsiteY6" fmla="*/ 134302 h 456315"/>
                    <a:gd name="connsiteX7" fmla="*/ 462076 w 528834"/>
                    <a:gd name="connsiteY7" fmla="*/ 184425 h 456315"/>
                    <a:gd name="connsiteX8" fmla="*/ 522871 w 528834"/>
                    <a:gd name="connsiteY8" fmla="*/ 251776 h 456315"/>
                    <a:gd name="connsiteX9" fmla="*/ 527811 w 528834"/>
                    <a:gd name="connsiteY9" fmla="*/ 454045 h 456315"/>
                    <a:gd name="connsiteX10" fmla="*/ 7226 w 528834"/>
                    <a:gd name="connsiteY10" fmla="*/ 447695 h 456315"/>
                    <a:gd name="connsiteX0" fmla="*/ 8515 w 530123"/>
                    <a:gd name="connsiteY0" fmla="*/ 447695 h 456315"/>
                    <a:gd name="connsiteX1" fmla="*/ 10749 w 530123"/>
                    <a:gd name="connsiteY1" fmla="*/ 244749 h 456315"/>
                    <a:gd name="connsiteX2" fmla="*/ 102240 w 530123"/>
                    <a:gd name="connsiteY2" fmla="*/ 158770 h 456315"/>
                    <a:gd name="connsiteX3" fmla="*/ 226065 w 530123"/>
                    <a:gd name="connsiteY3" fmla="*/ 120670 h 456315"/>
                    <a:gd name="connsiteX4" fmla="*/ 232415 w 530123"/>
                    <a:gd name="connsiteY4" fmla="*/ 15895 h 456315"/>
                    <a:gd name="connsiteX5" fmla="*/ 327309 w 530123"/>
                    <a:gd name="connsiteY5" fmla="*/ 12720 h 456315"/>
                    <a:gd name="connsiteX6" fmla="*/ 337305 w 530123"/>
                    <a:gd name="connsiteY6" fmla="*/ 134302 h 456315"/>
                    <a:gd name="connsiteX7" fmla="*/ 463365 w 530123"/>
                    <a:gd name="connsiteY7" fmla="*/ 184425 h 456315"/>
                    <a:gd name="connsiteX8" fmla="*/ 524160 w 530123"/>
                    <a:gd name="connsiteY8" fmla="*/ 251776 h 456315"/>
                    <a:gd name="connsiteX9" fmla="*/ 529100 w 530123"/>
                    <a:gd name="connsiteY9" fmla="*/ 454045 h 456315"/>
                    <a:gd name="connsiteX10" fmla="*/ 8515 w 530123"/>
                    <a:gd name="connsiteY10" fmla="*/ 447695 h 456315"/>
                    <a:gd name="connsiteX0" fmla="*/ 7671 w 529279"/>
                    <a:gd name="connsiteY0" fmla="*/ 447695 h 456315"/>
                    <a:gd name="connsiteX1" fmla="*/ 9905 w 529279"/>
                    <a:gd name="connsiteY1" fmla="*/ 244749 h 456315"/>
                    <a:gd name="connsiteX2" fmla="*/ 87870 w 529279"/>
                    <a:gd name="connsiteY2" fmla="*/ 166263 h 456315"/>
                    <a:gd name="connsiteX3" fmla="*/ 225221 w 529279"/>
                    <a:gd name="connsiteY3" fmla="*/ 120670 h 456315"/>
                    <a:gd name="connsiteX4" fmla="*/ 231571 w 529279"/>
                    <a:gd name="connsiteY4" fmla="*/ 15895 h 456315"/>
                    <a:gd name="connsiteX5" fmla="*/ 326465 w 529279"/>
                    <a:gd name="connsiteY5" fmla="*/ 12720 h 456315"/>
                    <a:gd name="connsiteX6" fmla="*/ 336461 w 529279"/>
                    <a:gd name="connsiteY6" fmla="*/ 134302 h 456315"/>
                    <a:gd name="connsiteX7" fmla="*/ 462521 w 529279"/>
                    <a:gd name="connsiteY7" fmla="*/ 184425 h 456315"/>
                    <a:gd name="connsiteX8" fmla="*/ 523316 w 529279"/>
                    <a:gd name="connsiteY8" fmla="*/ 251776 h 456315"/>
                    <a:gd name="connsiteX9" fmla="*/ 528256 w 529279"/>
                    <a:gd name="connsiteY9" fmla="*/ 454045 h 456315"/>
                    <a:gd name="connsiteX10" fmla="*/ 7671 w 529279"/>
                    <a:gd name="connsiteY10" fmla="*/ 447695 h 456315"/>
                    <a:gd name="connsiteX0" fmla="*/ 7671 w 529279"/>
                    <a:gd name="connsiteY0" fmla="*/ 447558 h 456178"/>
                    <a:gd name="connsiteX1" fmla="*/ 9905 w 529279"/>
                    <a:gd name="connsiteY1" fmla="*/ 244612 h 456178"/>
                    <a:gd name="connsiteX2" fmla="*/ 87870 w 529279"/>
                    <a:gd name="connsiteY2" fmla="*/ 166126 h 456178"/>
                    <a:gd name="connsiteX3" fmla="*/ 206285 w 529279"/>
                    <a:gd name="connsiteY3" fmla="*/ 118035 h 456178"/>
                    <a:gd name="connsiteX4" fmla="*/ 231571 w 529279"/>
                    <a:gd name="connsiteY4" fmla="*/ 15758 h 456178"/>
                    <a:gd name="connsiteX5" fmla="*/ 326465 w 529279"/>
                    <a:gd name="connsiteY5" fmla="*/ 12583 h 456178"/>
                    <a:gd name="connsiteX6" fmla="*/ 336461 w 529279"/>
                    <a:gd name="connsiteY6" fmla="*/ 134165 h 456178"/>
                    <a:gd name="connsiteX7" fmla="*/ 462521 w 529279"/>
                    <a:gd name="connsiteY7" fmla="*/ 184288 h 456178"/>
                    <a:gd name="connsiteX8" fmla="*/ 523316 w 529279"/>
                    <a:gd name="connsiteY8" fmla="*/ 251639 h 456178"/>
                    <a:gd name="connsiteX9" fmla="*/ 528256 w 529279"/>
                    <a:gd name="connsiteY9" fmla="*/ 453908 h 456178"/>
                    <a:gd name="connsiteX10" fmla="*/ 7671 w 529279"/>
                    <a:gd name="connsiteY10" fmla="*/ 447558 h 456178"/>
                    <a:gd name="connsiteX0" fmla="*/ 14544 w 536152"/>
                    <a:gd name="connsiteY0" fmla="*/ 447558 h 456178"/>
                    <a:gd name="connsiteX1" fmla="*/ 5958 w 536152"/>
                    <a:gd name="connsiteY1" fmla="*/ 247109 h 456178"/>
                    <a:gd name="connsiteX2" fmla="*/ 94743 w 536152"/>
                    <a:gd name="connsiteY2" fmla="*/ 166126 h 456178"/>
                    <a:gd name="connsiteX3" fmla="*/ 213158 w 536152"/>
                    <a:gd name="connsiteY3" fmla="*/ 118035 h 456178"/>
                    <a:gd name="connsiteX4" fmla="*/ 238444 w 536152"/>
                    <a:gd name="connsiteY4" fmla="*/ 15758 h 456178"/>
                    <a:gd name="connsiteX5" fmla="*/ 333338 w 536152"/>
                    <a:gd name="connsiteY5" fmla="*/ 12583 h 456178"/>
                    <a:gd name="connsiteX6" fmla="*/ 343334 w 536152"/>
                    <a:gd name="connsiteY6" fmla="*/ 134165 h 456178"/>
                    <a:gd name="connsiteX7" fmla="*/ 469394 w 536152"/>
                    <a:gd name="connsiteY7" fmla="*/ 184288 h 456178"/>
                    <a:gd name="connsiteX8" fmla="*/ 530189 w 536152"/>
                    <a:gd name="connsiteY8" fmla="*/ 251639 h 456178"/>
                    <a:gd name="connsiteX9" fmla="*/ 535129 w 536152"/>
                    <a:gd name="connsiteY9" fmla="*/ 453908 h 456178"/>
                    <a:gd name="connsiteX10" fmla="*/ 14544 w 536152"/>
                    <a:gd name="connsiteY10" fmla="*/ 447558 h 456178"/>
                    <a:gd name="connsiteX0" fmla="*/ 7226 w 542359"/>
                    <a:gd name="connsiteY0" fmla="*/ 450055 h 456488"/>
                    <a:gd name="connsiteX1" fmla="*/ 12165 w 542359"/>
                    <a:gd name="connsiteY1" fmla="*/ 247109 h 456488"/>
                    <a:gd name="connsiteX2" fmla="*/ 100950 w 542359"/>
                    <a:gd name="connsiteY2" fmla="*/ 166126 h 456488"/>
                    <a:gd name="connsiteX3" fmla="*/ 219365 w 542359"/>
                    <a:gd name="connsiteY3" fmla="*/ 118035 h 456488"/>
                    <a:gd name="connsiteX4" fmla="*/ 244651 w 542359"/>
                    <a:gd name="connsiteY4" fmla="*/ 15758 h 456488"/>
                    <a:gd name="connsiteX5" fmla="*/ 339545 w 542359"/>
                    <a:gd name="connsiteY5" fmla="*/ 12583 h 456488"/>
                    <a:gd name="connsiteX6" fmla="*/ 349541 w 542359"/>
                    <a:gd name="connsiteY6" fmla="*/ 134165 h 456488"/>
                    <a:gd name="connsiteX7" fmla="*/ 475601 w 542359"/>
                    <a:gd name="connsiteY7" fmla="*/ 184288 h 456488"/>
                    <a:gd name="connsiteX8" fmla="*/ 536396 w 542359"/>
                    <a:gd name="connsiteY8" fmla="*/ 251639 h 456488"/>
                    <a:gd name="connsiteX9" fmla="*/ 541336 w 542359"/>
                    <a:gd name="connsiteY9" fmla="*/ 453908 h 456488"/>
                    <a:gd name="connsiteX10" fmla="*/ 7226 w 542359"/>
                    <a:gd name="connsiteY10" fmla="*/ 450055 h 456488"/>
                    <a:gd name="connsiteX0" fmla="*/ 7226 w 542359"/>
                    <a:gd name="connsiteY0" fmla="*/ 450055 h 456488"/>
                    <a:gd name="connsiteX1" fmla="*/ 12165 w 542359"/>
                    <a:gd name="connsiteY1" fmla="*/ 247109 h 456488"/>
                    <a:gd name="connsiteX2" fmla="*/ 100950 w 542359"/>
                    <a:gd name="connsiteY2" fmla="*/ 166126 h 456488"/>
                    <a:gd name="connsiteX3" fmla="*/ 219365 w 542359"/>
                    <a:gd name="connsiteY3" fmla="*/ 118035 h 456488"/>
                    <a:gd name="connsiteX4" fmla="*/ 244651 w 542359"/>
                    <a:gd name="connsiteY4" fmla="*/ 15758 h 456488"/>
                    <a:gd name="connsiteX5" fmla="*/ 331430 w 542359"/>
                    <a:gd name="connsiteY5" fmla="*/ 12583 h 456488"/>
                    <a:gd name="connsiteX6" fmla="*/ 349541 w 542359"/>
                    <a:gd name="connsiteY6" fmla="*/ 134165 h 456488"/>
                    <a:gd name="connsiteX7" fmla="*/ 475601 w 542359"/>
                    <a:gd name="connsiteY7" fmla="*/ 184288 h 456488"/>
                    <a:gd name="connsiteX8" fmla="*/ 536396 w 542359"/>
                    <a:gd name="connsiteY8" fmla="*/ 251639 h 456488"/>
                    <a:gd name="connsiteX9" fmla="*/ 541336 w 542359"/>
                    <a:gd name="connsiteY9" fmla="*/ 453908 h 456488"/>
                    <a:gd name="connsiteX10" fmla="*/ 7226 w 542359"/>
                    <a:gd name="connsiteY10" fmla="*/ 450055 h 456488"/>
                    <a:gd name="connsiteX0" fmla="*/ 7226 w 542359"/>
                    <a:gd name="connsiteY0" fmla="*/ 450055 h 456488"/>
                    <a:gd name="connsiteX1" fmla="*/ 12165 w 542359"/>
                    <a:gd name="connsiteY1" fmla="*/ 247109 h 456488"/>
                    <a:gd name="connsiteX2" fmla="*/ 100950 w 542359"/>
                    <a:gd name="connsiteY2" fmla="*/ 166126 h 456488"/>
                    <a:gd name="connsiteX3" fmla="*/ 219365 w 542359"/>
                    <a:gd name="connsiteY3" fmla="*/ 118035 h 456488"/>
                    <a:gd name="connsiteX4" fmla="*/ 244651 w 542359"/>
                    <a:gd name="connsiteY4" fmla="*/ 15758 h 456488"/>
                    <a:gd name="connsiteX5" fmla="*/ 331430 w 542359"/>
                    <a:gd name="connsiteY5" fmla="*/ 12583 h 456488"/>
                    <a:gd name="connsiteX6" fmla="*/ 349541 w 542359"/>
                    <a:gd name="connsiteY6" fmla="*/ 134165 h 456488"/>
                    <a:gd name="connsiteX7" fmla="*/ 483716 w 542359"/>
                    <a:gd name="connsiteY7" fmla="*/ 179293 h 456488"/>
                    <a:gd name="connsiteX8" fmla="*/ 536396 w 542359"/>
                    <a:gd name="connsiteY8" fmla="*/ 251639 h 456488"/>
                    <a:gd name="connsiteX9" fmla="*/ 541336 w 542359"/>
                    <a:gd name="connsiteY9" fmla="*/ 453908 h 456488"/>
                    <a:gd name="connsiteX10" fmla="*/ 7226 w 542359"/>
                    <a:gd name="connsiteY10" fmla="*/ 450055 h 456488"/>
                    <a:gd name="connsiteX0" fmla="*/ 6630 w 541763"/>
                    <a:gd name="connsiteY0" fmla="*/ 450055 h 456488"/>
                    <a:gd name="connsiteX1" fmla="*/ 11569 w 541763"/>
                    <a:gd name="connsiteY1" fmla="*/ 247109 h 456488"/>
                    <a:gd name="connsiteX2" fmla="*/ 89534 w 541763"/>
                    <a:gd name="connsiteY2" fmla="*/ 166126 h 456488"/>
                    <a:gd name="connsiteX3" fmla="*/ 218769 w 541763"/>
                    <a:gd name="connsiteY3" fmla="*/ 118035 h 456488"/>
                    <a:gd name="connsiteX4" fmla="*/ 244055 w 541763"/>
                    <a:gd name="connsiteY4" fmla="*/ 15758 h 456488"/>
                    <a:gd name="connsiteX5" fmla="*/ 330834 w 541763"/>
                    <a:gd name="connsiteY5" fmla="*/ 12583 h 456488"/>
                    <a:gd name="connsiteX6" fmla="*/ 348945 w 541763"/>
                    <a:gd name="connsiteY6" fmla="*/ 134165 h 456488"/>
                    <a:gd name="connsiteX7" fmla="*/ 483120 w 541763"/>
                    <a:gd name="connsiteY7" fmla="*/ 179293 h 456488"/>
                    <a:gd name="connsiteX8" fmla="*/ 535800 w 541763"/>
                    <a:gd name="connsiteY8" fmla="*/ 251639 h 456488"/>
                    <a:gd name="connsiteX9" fmla="*/ 540740 w 541763"/>
                    <a:gd name="connsiteY9" fmla="*/ 453908 h 456488"/>
                    <a:gd name="connsiteX10" fmla="*/ 6630 w 541763"/>
                    <a:gd name="connsiteY10" fmla="*/ 450055 h 456488"/>
                    <a:gd name="connsiteX0" fmla="*/ 4856 w 539989"/>
                    <a:gd name="connsiteY0" fmla="*/ 450055 h 456488"/>
                    <a:gd name="connsiteX1" fmla="*/ 15205 w 539989"/>
                    <a:gd name="connsiteY1" fmla="*/ 227128 h 456488"/>
                    <a:gd name="connsiteX2" fmla="*/ 87760 w 539989"/>
                    <a:gd name="connsiteY2" fmla="*/ 166126 h 456488"/>
                    <a:gd name="connsiteX3" fmla="*/ 216995 w 539989"/>
                    <a:gd name="connsiteY3" fmla="*/ 118035 h 456488"/>
                    <a:gd name="connsiteX4" fmla="*/ 242281 w 539989"/>
                    <a:gd name="connsiteY4" fmla="*/ 15758 h 456488"/>
                    <a:gd name="connsiteX5" fmla="*/ 329060 w 539989"/>
                    <a:gd name="connsiteY5" fmla="*/ 12583 h 456488"/>
                    <a:gd name="connsiteX6" fmla="*/ 347171 w 539989"/>
                    <a:gd name="connsiteY6" fmla="*/ 134165 h 456488"/>
                    <a:gd name="connsiteX7" fmla="*/ 481346 w 539989"/>
                    <a:gd name="connsiteY7" fmla="*/ 179293 h 456488"/>
                    <a:gd name="connsiteX8" fmla="*/ 534026 w 539989"/>
                    <a:gd name="connsiteY8" fmla="*/ 251639 h 456488"/>
                    <a:gd name="connsiteX9" fmla="*/ 538966 w 539989"/>
                    <a:gd name="connsiteY9" fmla="*/ 453908 h 456488"/>
                    <a:gd name="connsiteX10" fmla="*/ 4856 w 539989"/>
                    <a:gd name="connsiteY10" fmla="*/ 450055 h 4564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39989" h="456488">
                      <a:moveTo>
                        <a:pt x="4856" y="450055"/>
                      </a:moveTo>
                      <a:cubicBezTo>
                        <a:pt x="-5198" y="385497"/>
                        <a:pt x="1388" y="274449"/>
                        <a:pt x="15205" y="227128"/>
                      </a:cubicBezTo>
                      <a:cubicBezTo>
                        <a:pt x="29022" y="179807"/>
                        <a:pt x="54128" y="184308"/>
                        <a:pt x="87760" y="166126"/>
                      </a:cubicBezTo>
                      <a:cubicBezTo>
                        <a:pt x="121392" y="147944"/>
                        <a:pt x="191242" y="143096"/>
                        <a:pt x="216995" y="118035"/>
                      </a:cubicBezTo>
                      <a:cubicBezTo>
                        <a:pt x="242748" y="92974"/>
                        <a:pt x="223604" y="33333"/>
                        <a:pt x="242281" y="15758"/>
                      </a:cubicBezTo>
                      <a:cubicBezTo>
                        <a:pt x="260958" y="-1817"/>
                        <a:pt x="311578" y="-7151"/>
                        <a:pt x="329060" y="12583"/>
                      </a:cubicBezTo>
                      <a:cubicBezTo>
                        <a:pt x="346542" y="32317"/>
                        <a:pt x="321790" y="106380"/>
                        <a:pt x="347171" y="134165"/>
                      </a:cubicBezTo>
                      <a:cubicBezTo>
                        <a:pt x="372552" y="161950"/>
                        <a:pt x="450204" y="159714"/>
                        <a:pt x="481346" y="179293"/>
                      </a:cubicBezTo>
                      <a:cubicBezTo>
                        <a:pt x="512489" y="198872"/>
                        <a:pt x="523972" y="202956"/>
                        <a:pt x="534026" y="251639"/>
                      </a:cubicBezTo>
                      <a:cubicBezTo>
                        <a:pt x="537201" y="301381"/>
                        <a:pt x="542141" y="328496"/>
                        <a:pt x="538966" y="453908"/>
                      </a:cubicBezTo>
                      <a:cubicBezTo>
                        <a:pt x="307191" y="461845"/>
                        <a:pt x="250800" y="448827"/>
                        <a:pt x="4856" y="450055"/>
                      </a:cubicBezTo>
                      <a:close/>
                    </a:path>
                  </a:pathLst>
                </a:custGeom>
                <a:solidFill>
                  <a:schemeClr val="bg1"/>
                </a:solidFill>
                <a:ln w="57150">
                  <a:solidFill>
                    <a:schemeClr val="tx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210" name="Oval 209">
                  <a:extLst>
                    <a:ext uri="{FF2B5EF4-FFF2-40B4-BE49-F238E27FC236}">
                      <a16:creationId xmlns:a16="http://schemas.microsoft.com/office/drawing/2014/main" id="{2E1EC022-110A-4340-873B-597DBD51ADAB}"/>
                    </a:ext>
                  </a:extLst>
                </p:cNvPr>
                <p:cNvSpPr/>
                <p:nvPr/>
              </p:nvSpPr>
              <p:spPr>
                <a:xfrm>
                  <a:off x="1964431" y="3500843"/>
                  <a:ext cx="259337" cy="299858"/>
                </a:xfrm>
                <a:prstGeom prst="ellipse">
                  <a:avLst/>
                </a:prstGeom>
                <a:solidFill>
                  <a:schemeClr val="bg1"/>
                </a:solidFill>
                <a:ln w="57150">
                  <a:solidFill>
                    <a:schemeClr val="tx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grpSp>
        </p:grpSp>
        <p:grpSp>
          <p:nvGrpSpPr>
            <p:cNvPr id="201" name="Group 200">
              <a:extLst>
                <a:ext uri="{FF2B5EF4-FFF2-40B4-BE49-F238E27FC236}">
                  <a16:creationId xmlns:a16="http://schemas.microsoft.com/office/drawing/2014/main" id="{3C1D1A70-BF6B-F148-B48D-35520E77C3BC}"/>
                </a:ext>
              </a:extLst>
            </p:cNvPr>
            <p:cNvGrpSpPr/>
            <p:nvPr/>
          </p:nvGrpSpPr>
          <p:grpSpPr>
            <a:xfrm>
              <a:off x="2495712" y="4589934"/>
              <a:ext cx="1256698" cy="510604"/>
              <a:chOff x="2495712" y="4589934"/>
              <a:chExt cx="1256698" cy="510604"/>
            </a:xfrm>
            <a:solidFill>
              <a:schemeClr val="tx1">
                <a:lumMod val="50000"/>
              </a:schemeClr>
            </a:solidFill>
          </p:grpSpPr>
          <p:sp>
            <p:nvSpPr>
              <p:cNvPr id="203" name="Rounded Rectangle 202">
                <a:extLst>
                  <a:ext uri="{FF2B5EF4-FFF2-40B4-BE49-F238E27FC236}">
                    <a16:creationId xmlns:a16="http://schemas.microsoft.com/office/drawing/2014/main" id="{2EE65E06-7B98-BC43-8DCB-97190138DF7C}"/>
                  </a:ext>
                </a:extLst>
              </p:cNvPr>
              <p:cNvSpPr/>
              <p:nvPr/>
            </p:nvSpPr>
            <p:spPr>
              <a:xfrm>
                <a:off x="2495712" y="4589934"/>
                <a:ext cx="1256697" cy="251941"/>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204" name="Rectangle 203">
                <a:extLst>
                  <a:ext uri="{FF2B5EF4-FFF2-40B4-BE49-F238E27FC236}">
                    <a16:creationId xmlns:a16="http://schemas.microsoft.com/office/drawing/2014/main" id="{44B43FF5-B046-D94C-ABAB-5877419445E4}"/>
                  </a:ext>
                </a:extLst>
              </p:cNvPr>
              <p:cNvSpPr/>
              <p:nvPr/>
            </p:nvSpPr>
            <p:spPr>
              <a:xfrm>
                <a:off x="2498725" y="4797790"/>
                <a:ext cx="1253685" cy="13315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205" name="Rectangle 204">
                <a:extLst>
                  <a:ext uri="{FF2B5EF4-FFF2-40B4-BE49-F238E27FC236}">
                    <a16:creationId xmlns:a16="http://schemas.microsoft.com/office/drawing/2014/main" id="{4195F183-B7AB-ED4E-A25F-4A8B35F81D7C}"/>
                  </a:ext>
                </a:extLst>
              </p:cNvPr>
              <p:cNvSpPr/>
              <p:nvPr/>
            </p:nvSpPr>
            <p:spPr>
              <a:xfrm>
                <a:off x="2546350" y="4923041"/>
                <a:ext cx="109152" cy="17749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206" name="Rectangle 205">
                <a:extLst>
                  <a:ext uri="{FF2B5EF4-FFF2-40B4-BE49-F238E27FC236}">
                    <a16:creationId xmlns:a16="http://schemas.microsoft.com/office/drawing/2014/main" id="{DF6D99E0-9D9C-3A43-98AC-2A48FC7E3225}"/>
                  </a:ext>
                </a:extLst>
              </p:cNvPr>
              <p:cNvSpPr/>
              <p:nvPr/>
            </p:nvSpPr>
            <p:spPr>
              <a:xfrm>
                <a:off x="3610945" y="4923041"/>
                <a:ext cx="109152" cy="17749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grpSp>
        <p:sp>
          <p:nvSpPr>
            <p:cNvPr id="202" name="Trapezoid 201">
              <a:extLst>
                <a:ext uri="{FF2B5EF4-FFF2-40B4-BE49-F238E27FC236}">
                  <a16:creationId xmlns:a16="http://schemas.microsoft.com/office/drawing/2014/main" id="{CECC9474-A110-9C4F-BCAC-ACF15E08A54E}"/>
                </a:ext>
              </a:extLst>
            </p:cNvPr>
            <p:cNvSpPr/>
            <p:nvPr/>
          </p:nvSpPr>
          <p:spPr>
            <a:xfrm>
              <a:off x="2655502" y="4181475"/>
              <a:ext cx="958850" cy="363303"/>
            </a:xfrm>
            <a:prstGeom prst="trapezoid">
              <a:avLst/>
            </a:prstGeom>
            <a:solidFill>
              <a:schemeClr val="tx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grpSp>
      <p:grpSp>
        <p:nvGrpSpPr>
          <p:cNvPr id="213" name="Group 212">
            <a:extLst>
              <a:ext uri="{FF2B5EF4-FFF2-40B4-BE49-F238E27FC236}">
                <a16:creationId xmlns:a16="http://schemas.microsoft.com/office/drawing/2014/main" id="{24A03E98-3F80-364A-99B5-74C7A19685F0}"/>
              </a:ext>
            </a:extLst>
          </p:cNvPr>
          <p:cNvGrpSpPr/>
          <p:nvPr/>
        </p:nvGrpSpPr>
        <p:grpSpPr>
          <a:xfrm>
            <a:off x="9394139" y="5260525"/>
            <a:ext cx="1025213" cy="1261037"/>
            <a:chOff x="2441771" y="3385414"/>
            <a:chExt cx="1325481" cy="1781019"/>
          </a:xfrm>
        </p:grpSpPr>
        <p:pic>
          <p:nvPicPr>
            <p:cNvPr id="214" name="Picture 213">
              <a:extLst>
                <a:ext uri="{FF2B5EF4-FFF2-40B4-BE49-F238E27FC236}">
                  <a16:creationId xmlns:a16="http://schemas.microsoft.com/office/drawing/2014/main" id="{E4CA6338-9D9B-2749-8894-67A550E47B13}"/>
                </a:ext>
              </a:extLst>
            </p:cNvPr>
            <p:cNvPicPr>
              <a:picLocks noChangeAspect="1"/>
            </p:cNvPicPr>
            <p:nvPr/>
          </p:nvPicPr>
          <p:blipFill rotWithShape="1">
            <a:blip r:embed="rId2"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a:xfrm>
              <a:off x="2441771" y="3385414"/>
              <a:ext cx="1325481" cy="1781019"/>
            </a:xfrm>
            <a:prstGeom prst="rect">
              <a:avLst/>
            </a:prstGeom>
          </p:spPr>
        </p:pic>
        <p:sp>
          <p:nvSpPr>
            <p:cNvPr id="215" name="Rounded Rectangle 214">
              <a:extLst>
                <a:ext uri="{FF2B5EF4-FFF2-40B4-BE49-F238E27FC236}">
                  <a16:creationId xmlns:a16="http://schemas.microsoft.com/office/drawing/2014/main" id="{7C05138A-3D23-7440-9146-4D4F317E3487}"/>
                </a:ext>
              </a:extLst>
            </p:cNvPr>
            <p:cNvSpPr/>
            <p:nvPr/>
          </p:nvSpPr>
          <p:spPr>
            <a:xfrm>
              <a:off x="2655502" y="3670300"/>
              <a:ext cx="958850" cy="436656"/>
            </a:xfrm>
            <a:prstGeom prst="roundRect">
              <a:avLst/>
            </a:prstGeom>
            <a:solidFill>
              <a:schemeClr val="tx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grpSp>
          <p:nvGrpSpPr>
            <p:cNvPr id="216" name="Group 215">
              <a:extLst>
                <a:ext uri="{FF2B5EF4-FFF2-40B4-BE49-F238E27FC236}">
                  <a16:creationId xmlns:a16="http://schemas.microsoft.com/office/drawing/2014/main" id="{4DBD30F7-D47A-5242-B445-F15FA9408791}"/>
                </a:ext>
              </a:extLst>
            </p:cNvPr>
            <p:cNvGrpSpPr/>
            <p:nvPr/>
          </p:nvGrpSpPr>
          <p:grpSpPr>
            <a:xfrm>
              <a:off x="2776471" y="3456093"/>
              <a:ext cx="748710" cy="1056883"/>
              <a:chOff x="1496718" y="3334932"/>
              <a:chExt cx="748710" cy="1056883"/>
            </a:xfrm>
          </p:grpSpPr>
          <p:grpSp>
            <p:nvGrpSpPr>
              <p:cNvPr id="223" name="Group 222">
                <a:extLst>
                  <a:ext uri="{FF2B5EF4-FFF2-40B4-BE49-F238E27FC236}">
                    <a16:creationId xmlns:a16="http://schemas.microsoft.com/office/drawing/2014/main" id="{19D72686-6748-FE4B-BDDA-0BAA3901DE2D}"/>
                  </a:ext>
                </a:extLst>
              </p:cNvPr>
              <p:cNvGrpSpPr/>
              <p:nvPr/>
            </p:nvGrpSpPr>
            <p:grpSpPr>
              <a:xfrm>
                <a:off x="1496718" y="3334932"/>
                <a:ext cx="748710" cy="1056883"/>
                <a:chOff x="1843570" y="3508300"/>
                <a:chExt cx="514980" cy="727982"/>
              </a:xfrm>
              <a:solidFill>
                <a:schemeClr val="bg1"/>
              </a:solidFill>
            </p:grpSpPr>
            <p:sp>
              <p:nvSpPr>
                <p:cNvPr id="227" name="Freeform 226">
                  <a:extLst>
                    <a:ext uri="{FF2B5EF4-FFF2-40B4-BE49-F238E27FC236}">
                      <a16:creationId xmlns:a16="http://schemas.microsoft.com/office/drawing/2014/main" id="{38D499AD-4216-C14D-BE75-0C9DC15F0392}"/>
                    </a:ext>
                  </a:extLst>
                </p:cNvPr>
                <p:cNvSpPr/>
                <p:nvPr/>
              </p:nvSpPr>
              <p:spPr>
                <a:xfrm>
                  <a:off x="1843570" y="3787509"/>
                  <a:ext cx="514980" cy="448773"/>
                </a:xfrm>
                <a:custGeom>
                  <a:avLst/>
                  <a:gdLst>
                    <a:gd name="connsiteX0" fmla="*/ 36807 w 576731"/>
                    <a:gd name="connsiteY0" fmla="*/ 449906 h 505924"/>
                    <a:gd name="connsiteX1" fmla="*/ 39982 w 576731"/>
                    <a:gd name="connsiteY1" fmla="*/ 214956 h 505924"/>
                    <a:gd name="connsiteX2" fmla="*/ 55857 w 576731"/>
                    <a:gd name="connsiteY2" fmla="*/ 176856 h 505924"/>
                    <a:gd name="connsiteX3" fmla="*/ 103482 w 576731"/>
                    <a:gd name="connsiteY3" fmla="*/ 160981 h 505924"/>
                    <a:gd name="connsiteX4" fmla="*/ 205082 w 576731"/>
                    <a:gd name="connsiteY4" fmla="*/ 154631 h 505924"/>
                    <a:gd name="connsiteX5" fmla="*/ 230482 w 576731"/>
                    <a:gd name="connsiteY5" fmla="*/ 151456 h 505924"/>
                    <a:gd name="connsiteX6" fmla="*/ 233657 w 576731"/>
                    <a:gd name="connsiteY6" fmla="*/ 18106 h 505924"/>
                    <a:gd name="connsiteX7" fmla="*/ 344782 w 576731"/>
                    <a:gd name="connsiteY7" fmla="*/ 14931 h 505924"/>
                    <a:gd name="connsiteX8" fmla="*/ 344782 w 576731"/>
                    <a:gd name="connsiteY8" fmla="*/ 145106 h 505924"/>
                    <a:gd name="connsiteX9" fmla="*/ 386057 w 576731"/>
                    <a:gd name="connsiteY9" fmla="*/ 151456 h 505924"/>
                    <a:gd name="connsiteX10" fmla="*/ 478132 w 576731"/>
                    <a:gd name="connsiteY10" fmla="*/ 164156 h 505924"/>
                    <a:gd name="connsiteX11" fmla="*/ 519407 w 576731"/>
                    <a:gd name="connsiteY11" fmla="*/ 189556 h 505924"/>
                    <a:gd name="connsiteX12" fmla="*/ 541632 w 576731"/>
                    <a:gd name="connsiteY12" fmla="*/ 234006 h 505924"/>
                    <a:gd name="connsiteX13" fmla="*/ 538457 w 576731"/>
                    <a:gd name="connsiteY13" fmla="*/ 488006 h 505924"/>
                    <a:gd name="connsiteX14" fmla="*/ 36807 w 576731"/>
                    <a:gd name="connsiteY14" fmla="*/ 449906 h 505924"/>
                    <a:gd name="connsiteX0" fmla="*/ 5769 w 545693"/>
                    <a:gd name="connsiteY0" fmla="*/ 449906 h 505924"/>
                    <a:gd name="connsiteX1" fmla="*/ 8944 w 545693"/>
                    <a:gd name="connsiteY1" fmla="*/ 214956 h 505924"/>
                    <a:gd name="connsiteX2" fmla="*/ 24819 w 545693"/>
                    <a:gd name="connsiteY2" fmla="*/ 176856 h 505924"/>
                    <a:gd name="connsiteX3" fmla="*/ 72444 w 545693"/>
                    <a:gd name="connsiteY3" fmla="*/ 160981 h 505924"/>
                    <a:gd name="connsiteX4" fmla="*/ 174044 w 545693"/>
                    <a:gd name="connsiteY4" fmla="*/ 154631 h 505924"/>
                    <a:gd name="connsiteX5" fmla="*/ 199444 w 545693"/>
                    <a:gd name="connsiteY5" fmla="*/ 151456 h 505924"/>
                    <a:gd name="connsiteX6" fmla="*/ 202619 w 545693"/>
                    <a:gd name="connsiteY6" fmla="*/ 18106 h 505924"/>
                    <a:gd name="connsiteX7" fmla="*/ 313744 w 545693"/>
                    <a:gd name="connsiteY7" fmla="*/ 14931 h 505924"/>
                    <a:gd name="connsiteX8" fmla="*/ 313744 w 545693"/>
                    <a:gd name="connsiteY8" fmla="*/ 145106 h 505924"/>
                    <a:gd name="connsiteX9" fmla="*/ 355019 w 545693"/>
                    <a:gd name="connsiteY9" fmla="*/ 151456 h 505924"/>
                    <a:gd name="connsiteX10" fmla="*/ 447094 w 545693"/>
                    <a:gd name="connsiteY10" fmla="*/ 164156 h 505924"/>
                    <a:gd name="connsiteX11" fmla="*/ 488369 w 545693"/>
                    <a:gd name="connsiteY11" fmla="*/ 189556 h 505924"/>
                    <a:gd name="connsiteX12" fmla="*/ 510594 w 545693"/>
                    <a:gd name="connsiteY12" fmla="*/ 234006 h 505924"/>
                    <a:gd name="connsiteX13" fmla="*/ 507419 w 545693"/>
                    <a:gd name="connsiteY13" fmla="*/ 488006 h 505924"/>
                    <a:gd name="connsiteX14" fmla="*/ 5769 w 545693"/>
                    <a:gd name="connsiteY14" fmla="*/ 449906 h 505924"/>
                    <a:gd name="connsiteX0" fmla="*/ 21286 w 561210"/>
                    <a:gd name="connsiteY0" fmla="*/ 449906 h 508025"/>
                    <a:gd name="connsiteX1" fmla="*/ 24461 w 561210"/>
                    <a:gd name="connsiteY1" fmla="*/ 214956 h 508025"/>
                    <a:gd name="connsiteX2" fmla="*/ 40336 w 561210"/>
                    <a:gd name="connsiteY2" fmla="*/ 176856 h 508025"/>
                    <a:gd name="connsiteX3" fmla="*/ 87961 w 561210"/>
                    <a:gd name="connsiteY3" fmla="*/ 160981 h 508025"/>
                    <a:gd name="connsiteX4" fmla="*/ 189561 w 561210"/>
                    <a:gd name="connsiteY4" fmla="*/ 154631 h 508025"/>
                    <a:gd name="connsiteX5" fmla="*/ 214961 w 561210"/>
                    <a:gd name="connsiteY5" fmla="*/ 151456 h 508025"/>
                    <a:gd name="connsiteX6" fmla="*/ 218136 w 561210"/>
                    <a:gd name="connsiteY6" fmla="*/ 18106 h 508025"/>
                    <a:gd name="connsiteX7" fmla="*/ 329261 w 561210"/>
                    <a:gd name="connsiteY7" fmla="*/ 14931 h 508025"/>
                    <a:gd name="connsiteX8" fmla="*/ 329261 w 561210"/>
                    <a:gd name="connsiteY8" fmla="*/ 145106 h 508025"/>
                    <a:gd name="connsiteX9" fmla="*/ 370536 w 561210"/>
                    <a:gd name="connsiteY9" fmla="*/ 151456 h 508025"/>
                    <a:gd name="connsiteX10" fmla="*/ 462611 w 561210"/>
                    <a:gd name="connsiteY10" fmla="*/ 164156 h 508025"/>
                    <a:gd name="connsiteX11" fmla="*/ 503886 w 561210"/>
                    <a:gd name="connsiteY11" fmla="*/ 189556 h 508025"/>
                    <a:gd name="connsiteX12" fmla="*/ 526111 w 561210"/>
                    <a:gd name="connsiteY12" fmla="*/ 234006 h 508025"/>
                    <a:gd name="connsiteX13" fmla="*/ 522936 w 561210"/>
                    <a:gd name="connsiteY13" fmla="*/ 488006 h 508025"/>
                    <a:gd name="connsiteX14" fmla="*/ 21286 w 561210"/>
                    <a:gd name="connsiteY14" fmla="*/ 449906 h 508025"/>
                    <a:gd name="connsiteX0" fmla="*/ 21286 w 561210"/>
                    <a:gd name="connsiteY0" fmla="*/ 449906 h 508025"/>
                    <a:gd name="connsiteX1" fmla="*/ 24461 w 561210"/>
                    <a:gd name="connsiteY1" fmla="*/ 214956 h 508025"/>
                    <a:gd name="connsiteX2" fmla="*/ 40336 w 561210"/>
                    <a:gd name="connsiteY2" fmla="*/ 176856 h 508025"/>
                    <a:gd name="connsiteX3" fmla="*/ 87961 w 561210"/>
                    <a:gd name="connsiteY3" fmla="*/ 160981 h 508025"/>
                    <a:gd name="connsiteX4" fmla="*/ 189561 w 561210"/>
                    <a:gd name="connsiteY4" fmla="*/ 154631 h 508025"/>
                    <a:gd name="connsiteX5" fmla="*/ 214961 w 561210"/>
                    <a:gd name="connsiteY5" fmla="*/ 151456 h 508025"/>
                    <a:gd name="connsiteX6" fmla="*/ 218136 w 561210"/>
                    <a:gd name="connsiteY6" fmla="*/ 18106 h 508025"/>
                    <a:gd name="connsiteX7" fmla="*/ 329261 w 561210"/>
                    <a:gd name="connsiteY7" fmla="*/ 14931 h 508025"/>
                    <a:gd name="connsiteX8" fmla="*/ 329261 w 561210"/>
                    <a:gd name="connsiteY8" fmla="*/ 145106 h 508025"/>
                    <a:gd name="connsiteX9" fmla="*/ 370536 w 561210"/>
                    <a:gd name="connsiteY9" fmla="*/ 151456 h 508025"/>
                    <a:gd name="connsiteX10" fmla="*/ 462611 w 561210"/>
                    <a:gd name="connsiteY10" fmla="*/ 164156 h 508025"/>
                    <a:gd name="connsiteX11" fmla="*/ 503886 w 561210"/>
                    <a:gd name="connsiteY11" fmla="*/ 189556 h 508025"/>
                    <a:gd name="connsiteX12" fmla="*/ 526111 w 561210"/>
                    <a:gd name="connsiteY12" fmla="*/ 234006 h 508025"/>
                    <a:gd name="connsiteX13" fmla="*/ 522936 w 561210"/>
                    <a:gd name="connsiteY13" fmla="*/ 488006 h 508025"/>
                    <a:gd name="connsiteX14" fmla="*/ 21286 w 561210"/>
                    <a:gd name="connsiteY14" fmla="*/ 449906 h 508025"/>
                    <a:gd name="connsiteX0" fmla="*/ 4360 w 544284"/>
                    <a:gd name="connsiteY0" fmla="*/ 449906 h 508025"/>
                    <a:gd name="connsiteX1" fmla="*/ 7535 w 544284"/>
                    <a:gd name="connsiteY1" fmla="*/ 214956 h 508025"/>
                    <a:gd name="connsiteX2" fmla="*/ 23410 w 544284"/>
                    <a:gd name="connsiteY2" fmla="*/ 176856 h 508025"/>
                    <a:gd name="connsiteX3" fmla="*/ 71035 w 544284"/>
                    <a:gd name="connsiteY3" fmla="*/ 160981 h 508025"/>
                    <a:gd name="connsiteX4" fmla="*/ 172635 w 544284"/>
                    <a:gd name="connsiteY4" fmla="*/ 154631 h 508025"/>
                    <a:gd name="connsiteX5" fmla="*/ 198035 w 544284"/>
                    <a:gd name="connsiteY5" fmla="*/ 151456 h 508025"/>
                    <a:gd name="connsiteX6" fmla="*/ 201210 w 544284"/>
                    <a:gd name="connsiteY6" fmla="*/ 18106 h 508025"/>
                    <a:gd name="connsiteX7" fmla="*/ 312335 w 544284"/>
                    <a:gd name="connsiteY7" fmla="*/ 14931 h 508025"/>
                    <a:gd name="connsiteX8" fmla="*/ 312335 w 544284"/>
                    <a:gd name="connsiteY8" fmla="*/ 145106 h 508025"/>
                    <a:gd name="connsiteX9" fmla="*/ 353610 w 544284"/>
                    <a:gd name="connsiteY9" fmla="*/ 151456 h 508025"/>
                    <a:gd name="connsiteX10" fmla="*/ 445685 w 544284"/>
                    <a:gd name="connsiteY10" fmla="*/ 164156 h 508025"/>
                    <a:gd name="connsiteX11" fmla="*/ 486960 w 544284"/>
                    <a:gd name="connsiteY11" fmla="*/ 189556 h 508025"/>
                    <a:gd name="connsiteX12" fmla="*/ 509185 w 544284"/>
                    <a:gd name="connsiteY12" fmla="*/ 234006 h 508025"/>
                    <a:gd name="connsiteX13" fmla="*/ 506010 w 544284"/>
                    <a:gd name="connsiteY13" fmla="*/ 488006 h 508025"/>
                    <a:gd name="connsiteX14" fmla="*/ 4360 w 544284"/>
                    <a:gd name="connsiteY14" fmla="*/ 449906 h 508025"/>
                    <a:gd name="connsiteX0" fmla="*/ 4360 w 544284"/>
                    <a:gd name="connsiteY0" fmla="*/ 449906 h 500804"/>
                    <a:gd name="connsiteX1" fmla="*/ 7535 w 544284"/>
                    <a:gd name="connsiteY1" fmla="*/ 214956 h 500804"/>
                    <a:gd name="connsiteX2" fmla="*/ 23410 w 544284"/>
                    <a:gd name="connsiteY2" fmla="*/ 176856 h 500804"/>
                    <a:gd name="connsiteX3" fmla="*/ 71035 w 544284"/>
                    <a:gd name="connsiteY3" fmla="*/ 160981 h 500804"/>
                    <a:gd name="connsiteX4" fmla="*/ 172635 w 544284"/>
                    <a:gd name="connsiteY4" fmla="*/ 154631 h 500804"/>
                    <a:gd name="connsiteX5" fmla="*/ 198035 w 544284"/>
                    <a:gd name="connsiteY5" fmla="*/ 151456 h 500804"/>
                    <a:gd name="connsiteX6" fmla="*/ 201210 w 544284"/>
                    <a:gd name="connsiteY6" fmla="*/ 18106 h 500804"/>
                    <a:gd name="connsiteX7" fmla="*/ 312335 w 544284"/>
                    <a:gd name="connsiteY7" fmla="*/ 14931 h 500804"/>
                    <a:gd name="connsiteX8" fmla="*/ 312335 w 544284"/>
                    <a:gd name="connsiteY8" fmla="*/ 145106 h 500804"/>
                    <a:gd name="connsiteX9" fmla="*/ 353610 w 544284"/>
                    <a:gd name="connsiteY9" fmla="*/ 151456 h 500804"/>
                    <a:gd name="connsiteX10" fmla="*/ 445685 w 544284"/>
                    <a:gd name="connsiteY10" fmla="*/ 164156 h 500804"/>
                    <a:gd name="connsiteX11" fmla="*/ 486960 w 544284"/>
                    <a:gd name="connsiteY11" fmla="*/ 189556 h 500804"/>
                    <a:gd name="connsiteX12" fmla="*/ 509185 w 544284"/>
                    <a:gd name="connsiteY12" fmla="*/ 234006 h 500804"/>
                    <a:gd name="connsiteX13" fmla="*/ 506010 w 544284"/>
                    <a:gd name="connsiteY13" fmla="*/ 488006 h 500804"/>
                    <a:gd name="connsiteX14" fmla="*/ 4360 w 544284"/>
                    <a:gd name="connsiteY14" fmla="*/ 449906 h 500804"/>
                    <a:gd name="connsiteX0" fmla="*/ 4360 w 544284"/>
                    <a:gd name="connsiteY0" fmla="*/ 449906 h 500804"/>
                    <a:gd name="connsiteX1" fmla="*/ 7535 w 544284"/>
                    <a:gd name="connsiteY1" fmla="*/ 214956 h 500804"/>
                    <a:gd name="connsiteX2" fmla="*/ 23410 w 544284"/>
                    <a:gd name="connsiteY2" fmla="*/ 176856 h 500804"/>
                    <a:gd name="connsiteX3" fmla="*/ 71035 w 544284"/>
                    <a:gd name="connsiteY3" fmla="*/ 160981 h 500804"/>
                    <a:gd name="connsiteX4" fmla="*/ 172635 w 544284"/>
                    <a:gd name="connsiteY4" fmla="*/ 154631 h 500804"/>
                    <a:gd name="connsiteX5" fmla="*/ 198035 w 544284"/>
                    <a:gd name="connsiteY5" fmla="*/ 151456 h 500804"/>
                    <a:gd name="connsiteX6" fmla="*/ 201210 w 544284"/>
                    <a:gd name="connsiteY6" fmla="*/ 18106 h 500804"/>
                    <a:gd name="connsiteX7" fmla="*/ 312335 w 544284"/>
                    <a:gd name="connsiteY7" fmla="*/ 14931 h 500804"/>
                    <a:gd name="connsiteX8" fmla="*/ 312335 w 544284"/>
                    <a:gd name="connsiteY8" fmla="*/ 145106 h 500804"/>
                    <a:gd name="connsiteX9" fmla="*/ 353610 w 544284"/>
                    <a:gd name="connsiteY9" fmla="*/ 151456 h 500804"/>
                    <a:gd name="connsiteX10" fmla="*/ 445685 w 544284"/>
                    <a:gd name="connsiteY10" fmla="*/ 164156 h 500804"/>
                    <a:gd name="connsiteX11" fmla="*/ 486960 w 544284"/>
                    <a:gd name="connsiteY11" fmla="*/ 189556 h 500804"/>
                    <a:gd name="connsiteX12" fmla="*/ 509185 w 544284"/>
                    <a:gd name="connsiteY12" fmla="*/ 234006 h 500804"/>
                    <a:gd name="connsiteX13" fmla="*/ 506010 w 544284"/>
                    <a:gd name="connsiteY13" fmla="*/ 488006 h 500804"/>
                    <a:gd name="connsiteX14" fmla="*/ 4360 w 544284"/>
                    <a:gd name="connsiteY14" fmla="*/ 449906 h 500804"/>
                    <a:gd name="connsiteX0" fmla="*/ 4360 w 519024"/>
                    <a:gd name="connsiteY0" fmla="*/ 449906 h 500804"/>
                    <a:gd name="connsiteX1" fmla="*/ 7535 w 519024"/>
                    <a:gd name="connsiteY1" fmla="*/ 214956 h 500804"/>
                    <a:gd name="connsiteX2" fmla="*/ 23410 w 519024"/>
                    <a:gd name="connsiteY2" fmla="*/ 176856 h 500804"/>
                    <a:gd name="connsiteX3" fmla="*/ 71035 w 519024"/>
                    <a:gd name="connsiteY3" fmla="*/ 160981 h 500804"/>
                    <a:gd name="connsiteX4" fmla="*/ 172635 w 519024"/>
                    <a:gd name="connsiteY4" fmla="*/ 154631 h 500804"/>
                    <a:gd name="connsiteX5" fmla="*/ 198035 w 519024"/>
                    <a:gd name="connsiteY5" fmla="*/ 151456 h 500804"/>
                    <a:gd name="connsiteX6" fmla="*/ 201210 w 519024"/>
                    <a:gd name="connsiteY6" fmla="*/ 18106 h 500804"/>
                    <a:gd name="connsiteX7" fmla="*/ 312335 w 519024"/>
                    <a:gd name="connsiteY7" fmla="*/ 14931 h 500804"/>
                    <a:gd name="connsiteX8" fmla="*/ 312335 w 519024"/>
                    <a:gd name="connsiteY8" fmla="*/ 145106 h 500804"/>
                    <a:gd name="connsiteX9" fmla="*/ 353610 w 519024"/>
                    <a:gd name="connsiteY9" fmla="*/ 151456 h 500804"/>
                    <a:gd name="connsiteX10" fmla="*/ 445685 w 519024"/>
                    <a:gd name="connsiteY10" fmla="*/ 164156 h 500804"/>
                    <a:gd name="connsiteX11" fmla="*/ 486960 w 519024"/>
                    <a:gd name="connsiteY11" fmla="*/ 189556 h 500804"/>
                    <a:gd name="connsiteX12" fmla="*/ 509185 w 519024"/>
                    <a:gd name="connsiteY12" fmla="*/ 234006 h 500804"/>
                    <a:gd name="connsiteX13" fmla="*/ 506010 w 519024"/>
                    <a:gd name="connsiteY13" fmla="*/ 488006 h 500804"/>
                    <a:gd name="connsiteX14" fmla="*/ 4360 w 519024"/>
                    <a:gd name="connsiteY14" fmla="*/ 449906 h 500804"/>
                    <a:gd name="connsiteX0" fmla="*/ 4360 w 519024"/>
                    <a:gd name="connsiteY0" fmla="*/ 449906 h 488006"/>
                    <a:gd name="connsiteX1" fmla="*/ 7535 w 519024"/>
                    <a:gd name="connsiteY1" fmla="*/ 214956 h 488006"/>
                    <a:gd name="connsiteX2" fmla="*/ 23410 w 519024"/>
                    <a:gd name="connsiteY2" fmla="*/ 176856 h 488006"/>
                    <a:gd name="connsiteX3" fmla="*/ 71035 w 519024"/>
                    <a:gd name="connsiteY3" fmla="*/ 160981 h 488006"/>
                    <a:gd name="connsiteX4" fmla="*/ 172635 w 519024"/>
                    <a:gd name="connsiteY4" fmla="*/ 154631 h 488006"/>
                    <a:gd name="connsiteX5" fmla="*/ 198035 w 519024"/>
                    <a:gd name="connsiteY5" fmla="*/ 151456 h 488006"/>
                    <a:gd name="connsiteX6" fmla="*/ 201210 w 519024"/>
                    <a:gd name="connsiteY6" fmla="*/ 18106 h 488006"/>
                    <a:gd name="connsiteX7" fmla="*/ 312335 w 519024"/>
                    <a:gd name="connsiteY7" fmla="*/ 14931 h 488006"/>
                    <a:gd name="connsiteX8" fmla="*/ 312335 w 519024"/>
                    <a:gd name="connsiteY8" fmla="*/ 145106 h 488006"/>
                    <a:gd name="connsiteX9" fmla="*/ 353610 w 519024"/>
                    <a:gd name="connsiteY9" fmla="*/ 151456 h 488006"/>
                    <a:gd name="connsiteX10" fmla="*/ 445685 w 519024"/>
                    <a:gd name="connsiteY10" fmla="*/ 164156 h 488006"/>
                    <a:gd name="connsiteX11" fmla="*/ 486960 w 519024"/>
                    <a:gd name="connsiteY11" fmla="*/ 189556 h 488006"/>
                    <a:gd name="connsiteX12" fmla="*/ 509185 w 519024"/>
                    <a:gd name="connsiteY12" fmla="*/ 234006 h 488006"/>
                    <a:gd name="connsiteX13" fmla="*/ 506010 w 519024"/>
                    <a:gd name="connsiteY13" fmla="*/ 488006 h 488006"/>
                    <a:gd name="connsiteX14" fmla="*/ 4360 w 519024"/>
                    <a:gd name="connsiteY14" fmla="*/ 449906 h 488006"/>
                    <a:gd name="connsiteX0" fmla="*/ 4360 w 523534"/>
                    <a:gd name="connsiteY0" fmla="*/ 449906 h 472131"/>
                    <a:gd name="connsiteX1" fmla="*/ 7535 w 523534"/>
                    <a:gd name="connsiteY1" fmla="*/ 214956 h 472131"/>
                    <a:gd name="connsiteX2" fmla="*/ 23410 w 523534"/>
                    <a:gd name="connsiteY2" fmla="*/ 176856 h 472131"/>
                    <a:gd name="connsiteX3" fmla="*/ 71035 w 523534"/>
                    <a:gd name="connsiteY3" fmla="*/ 160981 h 472131"/>
                    <a:gd name="connsiteX4" fmla="*/ 172635 w 523534"/>
                    <a:gd name="connsiteY4" fmla="*/ 154631 h 472131"/>
                    <a:gd name="connsiteX5" fmla="*/ 198035 w 523534"/>
                    <a:gd name="connsiteY5" fmla="*/ 151456 h 472131"/>
                    <a:gd name="connsiteX6" fmla="*/ 201210 w 523534"/>
                    <a:gd name="connsiteY6" fmla="*/ 18106 h 472131"/>
                    <a:gd name="connsiteX7" fmla="*/ 312335 w 523534"/>
                    <a:gd name="connsiteY7" fmla="*/ 14931 h 472131"/>
                    <a:gd name="connsiteX8" fmla="*/ 312335 w 523534"/>
                    <a:gd name="connsiteY8" fmla="*/ 145106 h 472131"/>
                    <a:gd name="connsiteX9" fmla="*/ 353610 w 523534"/>
                    <a:gd name="connsiteY9" fmla="*/ 151456 h 472131"/>
                    <a:gd name="connsiteX10" fmla="*/ 445685 w 523534"/>
                    <a:gd name="connsiteY10" fmla="*/ 164156 h 472131"/>
                    <a:gd name="connsiteX11" fmla="*/ 486960 w 523534"/>
                    <a:gd name="connsiteY11" fmla="*/ 189556 h 472131"/>
                    <a:gd name="connsiteX12" fmla="*/ 509185 w 523534"/>
                    <a:gd name="connsiteY12" fmla="*/ 234006 h 472131"/>
                    <a:gd name="connsiteX13" fmla="*/ 512360 w 523534"/>
                    <a:gd name="connsiteY13" fmla="*/ 472131 h 472131"/>
                    <a:gd name="connsiteX14" fmla="*/ 4360 w 523534"/>
                    <a:gd name="connsiteY14" fmla="*/ 449906 h 472131"/>
                    <a:gd name="connsiteX0" fmla="*/ 4360 w 513675"/>
                    <a:gd name="connsiteY0" fmla="*/ 449906 h 472131"/>
                    <a:gd name="connsiteX1" fmla="*/ 7535 w 513675"/>
                    <a:gd name="connsiteY1" fmla="*/ 214956 h 472131"/>
                    <a:gd name="connsiteX2" fmla="*/ 23410 w 513675"/>
                    <a:gd name="connsiteY2" fmla="*/ 176856 h 472131"/>
                    <a:gd name="connsiteX3" fmla="*/ 71035 w 513675"/>
                    <a:gd name="connsiteY3" fmla="*/ 160981 h 472131"/>
                    <a:gd name="connsiteX4" fmla="*/ 172635 w 513675"/>
                    <a:gd name="connsiteY4" fmla="*/ 154631 h 472131"/>
                    <a:gd name="connsiteX5" fmla="*/ 198035 w 513675"/>
                    <a:gd name="connsiteY5" fmla="*/ 151456 h 472131"/>
                    <a:gd name="connsiteX6" fmla="*/ 201210 w 513675"/>
                    <a:gd name="connsiteY6" fmla="*/ 18106 h 472131"/>
                    <a:gd name="connsiteX7" fmla="*/ 312335 w 513675"/>
                    <a:gd name="connsiteY7" fmla="*/ 14931 h 472131"/>
                    <a:gd name="connsiteX8" fmla="*/ 312335 w 513675"/>
                    <a:gd name="connsiteY8" fmla="*/ 145106 h 472131"/>
                    <a:gd name="connsiteX9" fmla="*/ 353610 w 513675"/>
                    <a:gd name="connsiteY9" fmla="*/ 151456 h 472131"/>
                    <a:gd name="connsiteX10" fmla="*/ 445685 w 513675"/>
                    <a:gd name="connsiteY10" fmla="*/ 164156 h 472131"/>
                    <a:gd name="connsiteX11" fmla="*/ 486960 w 513675"/>
                    <a:gd name="connsiteY11" fmla="*/ 189556 h 472131"/>
                    <a:gd name="connsiteX12" fmla="*/ 509185 w 513675"/>
                    <a:gd name="connsiteY12" fmla="*/ 234006 h 472131"/>
                    <a:gd name="connsiteX13" fmla="*/ 512360 w 513675"/>
                    <a:gd name="connsiteY13" fmla="*/ 472131 h 472131"/>
                    <a:gd name="connsiteX14" fmla="*/ 4360 w 513675"/>
                    <a:gd name="connsiteY14" fmla="*/ 449906 h 472131"/>
                    <a:gd name="connsiteX0" fmla="*/ 4360 w 513675"/>
                    <a:gd name="connsiteY0" fmla="*/ 446969 h 469194"/>
                    <a:gd name="connsiteX1" fmla="*/ 7535 w 513675"/>
                    <a:gd name="connsiteY1" fmla="*/ 212019 h 469194"/>
                    <a:gd name="connsiteX2" fmla="*/ 23410 w 513675"/>
                    <a:gd name="connsiteY2" fmla="*/ 173919 h 469194"/>
                    <a:gd name="connsiteX3" fmla="*/ 71035 w 513675"/>
                    <a:gd name="connsiteY3" fmla="*/ 158044 h 469194"/>
                    <a:gd name="connsiteX4" fmla="*/ 172635 w 513675"/>
                    <a:gd name="connsiteY4" fmla="*/ 151694 h 469194"/>
                    <a:gd name="connsiteX5" fmla="*/ 188510 w 513675"/>
                    <a:gd name="connsiteY5" fmla="*/ 94544 h 469194"/>
                    <a:gd name="connsiteX6" fmla="*/ 201210 w 513675"/>
                    <a:gd name="connsiteY6" fmla="*/ 15169 h 469194"/>
                    <a:gd name="connsiteX7" fmla="*/ 312335 w 513675"/>
                    <a:gd name="connsiteY7" fmla="*/ 11994 h 469194"/>
                    <a:gd name="connsiteX8" fmla="*/ 312335 w 513675"/>
                    <a:gd name="connsiteY8" fmla="*/ 142169 h 469194"/>
                    <a:gd name="connsiteX9" fmla="*/ 353610 w 513675"/>
                    <a:gd name="connsiteY9" fmla="*/ 148519 h 469194"/>
                    <a:gd name="connsiteX10" fmla="*/ 445685 w 513675"/>
                    <a:gd name="connsiteY10" fmla="*/ 161219 h 469194"/>
                    <a:gd name="connsiteX11" fmla="*/ 486960 w 513675"/>
                    <a:gd name="connsiteY11" fmla="*/ 186619 h 469194"/>
                    <a:gd name="connsiteX12" fmla="*/ 509185 w 513675"/>
                    <a:gd name="connsiteY12" fmla="*/ 231069 h 469194"/>
                    <a:gd name="connsiteX13" fmla="*/ 512360 w 513675"/>
                    <a:gd name="connsiteY13" fmla="*/ 469194 h 469194"/>
                    <a:gd name="connsiteX14" fmla="*/ 4360 w 513675"/>
                    <a:gd name="connsiteY14" fmla="*/ 446969 h 469194"/>
                    <a:gd name="connsiteX0" fmla="*/ 4360 w 513675"/>
                    <a:gd name="connsiteY0" fmla="*/ 443409 h 465634"/>
                    <a:gd name="connsiteX1" fmla="*/ 7535 w 513675"/>
                    <a:gd name="connsiteY1" fmla="*/ 208459 h 465634"/>
                    <a:gd name="connsiteX2" fmla="*/ 23410 w 513675"/>
                    <a:gd name="connsiteY2" fmla="*/ 170359 h 465634"/>
                    <a:gd name="connsiteX3" fmla="*/ 71035 w 513675"/>
                    <a:gd name="connsiteY3" fmla="*/ 154484 h 465634"/>
                    <a:gd name="connsiteX4" fmla="*/ 172635 w 513675"/>
                    <a:gd name="connsiteY4" fmla="*/ 148134 h 465634"/>
                    <a:gd name="connsiteX5" fmla="*/ 188510 w 513675"/>
                    <a:gd name="connsiteY5" fmla="*/ 90984 h 465634"/>
                    <a:gd name="connsiteX6" fmla="*/ 201210 w 513675"/>
                    <a:gd name="connsiteY6" fmla="*/ 11609 h 465634"/>
                    <a:gd name="connsiteX7" fmla="*/ 312335 w 513675"/>
                    <a:gd name="connsiteY7" fmla="*/ 8434 h 465634"/>
                    <a:gd name="connsiteX8" fmla="*/ 312335 w 513675"/>
                    <a:gd name="connsiteY8" fmla="*/ 87809 h 465634"/>
                    <a:gd name="connsiteX9" fmla="*/ 353610 w 513675"/>
                    <a:gd name="connsiteY9" fmla="*/ 144959 h 465634"/>
                    <a:gd name="connsiteX10" fmla="*/ 445685 w 513675"/>
                    <a:gd name="connsiteY10" fmla="*/ 157659 h 465634"/>
                    <a:gd name="connsiteX11" fmla="*/ 486960 w 513675"/>
                    <a:gd name="connsiteY11" fmla="*/ 183059 h 465634"/>
                    <a:gd name="connsiteX12" fmla="*/ 509185 w 513675"/>
                    <a:gd name="connsiteY12" fmla="*/ 227509 h 465634"/>
                    <a:gd name="connsiteX13" fmla="*/ 512360 w 513675"/>
                    <a:gd name="connsiteY13" fmla="*/ 465634 h 465634"/>
                    <a:gd name="connsiteX14" fmla="*/ 4360 w 513675"/>
                    <a:gd name="connsiteY14" fmla="*/ 443409 h 465634"/>
                    <a:gd name="connsiteX0" fmla="*/ 4360 w 513675"/>
                    <a:gd name="connsiteY0" fmla="*/ 443409 h 465634"/>
                    <a:gd name="connsiteX1" fmla="*/ 7535 w 513675"/>
                    <a:gd name="connsiteY1" fmla="*/ 208459 h 465634"/>
                    <a:gd name="connsiteX2" fmla="*/ 23410 w 513675"/>
                    <a:gd name="connsiteY2" fmla="*/ 170359 h 465634"/>
                    <a:gd name="connsiteX3" fmla="*/ 71035 w 513675"/>
                    <a:gd name="connsiteY3" fmla="*/ 154484 h 465634"/>
                    <a:gd name="connsiteX4" fmla="*/ 172635 w 513675"/>
                    <a:gd name="connsiteY4" fmla="*/ 148134 h 465634"/>
                    <a:gd name="connsiteX5" fmla="*/ 188510 w 513675"/>
                    <a:gd name="connsiteY5" fmla="*/ 90984 h 465634"/>
                    <a:gd name="connsiteX6" fmla="*/ 201210 w 513675"/>
                    <a:gd name="connsiteY6" fmla="*/ 11609 h 465634"/>
                    <a:gd name="connsiteX7" fmla="*/ 312335 w 513675"/>
                    <a:gd name="connsiteY7" fmla="*/ 8434 h 465634"/>
                    <a:gd name="connsiteX8" fmla="*/ 312335 w 513675"/>
                    <a:gd name="connsiteY8" fmla="*/ 87809 h 465634"/>
                    <a:gd name="connsiteX9" fmla="*/ 334560 w 513675"/>
                    <a:gd name="connsiteY9" fmla="*/ 135434 h 465634"/>
                    <a:gd name="connsiteX10" fmla="*/ 445685 w 513675"/>
                    <a:gd name="connsiteY10" fmla="*/ 157659 h 465634"/>
                    <a:gd name="connsiteX11" fmla="*/ 486960 w 513675"/>
                    <a:gd name="connsiteY11" fmla="*/ 183059 h 465634"/>
                    <a:gd name="connsiteX12" fmla="*/ 509185 w 513675"/>
                    <a:gd name="connsiteY12" fmla="*/ 227509 h 465634"/>
                    <a:gd name="connsiteX13" fmla="*/ 512360 w 513675"/>
                    <a:gd name="connsiteY13" fmla="*/ 465634 h 465634"/>
                    <a:gd name="connsiteX14" fmla="*/ 4360 w 513675"/>
                    <a:gd name="connsiteY14" fmla="*/ 443409 h 465634"/>
                    <a:gd name="connsiteX0" fmla="*/ 4360 w 510500"/>
                    <a:gd name="connsiteY0" fmla="*/ 443409 h 449759"/>
                    <a:gd name="connsiteX1" fmla="*/ 7535 w 510500"/>
                    <a:gd name="connsiteY1" fmla="*/ 208459 h 449759"/>
                    <a:gd name="connsiteX2" fmla="*/ 23410 w 510500"/>
                    <a:gd name="connsiteY2" fmla="*/ 170359 h 449759"/>
                    <a:gd name="connsiteX3" fmla="*/ 71035 w 510500"/>
                    <a:gd name="connsiteY3" fmla="*/ 154484 h 449759"/>
                    <a:gd name="connsiteX4" fmla="*/ 172635 w 510500"/>
                    <a:gd name="connsiteY4" fmla="*/ 148134 h 449759"/>
                    <a:gd name="connsiteX5" fmla="*/ 188510 w 510500"/>
                    <a:gd name="connsiteY5" fmla="*/ 90984 h 449759"/>
                    <a:gd name="connsiteX6" fmla="*/ 201210 w 510500"/>
                    <a:gd name="connsiteY6" fmla="*/ 11609 h 449759"/>
                    <a:gd name="connsiteX7" fmla="*/ 312335 w 510500"/>
                    <a:gd name="connsiteY7" fmla="*/ 8434 h 449759"/>
                    <a:gd name="connsiteX8" fmla="*/ 312335 w 510500"/>
                    <a:gd name="connsiteY8" fmla="*/ 87809 h 449759"/>
                    <a:gd name="connsiteX9" fmla="*/ 334560 w 510500"/>
                    <a:gd name="connsiteY9" fmla="*/ 135434 h 449759"/>
                    <a:gd name="connsiteX10" fmla="*/ 445685 w 510500"/>
                    <a:gd name="connsiteY10" fmla="*/ 157659 h 449759"/>
                    <a:gd name="connsiteX11" fmla="*/ 486960 w 510500"/>
                    <a:gd name="connsiteY11" fmla="*/ 183059 h 449759"/>
                    <a:gd name="connsiteX12" fmla="*/ 509185 w 510500"/>
                    <a:gd name="connsiteY12" fmla="*/ 227509 h 449759"/>
                    <a:gd name="connsiteX13" fmla="*/ 506010 w 510500"/>
                    <a:gd name="connsiteY13" fmla="*/ 449759 h 449759"/>
                    <a:gd name="connsiteX14" fmla="*/ 4360 w 510500"/>
                    <a:gd name="connsiteY14" fmla="*/ 443409 h 449759"/>
                    <a:gd name="connsiteX0" fmla="*/ 4360 w 510500"/>
                    <a:gd name="connsiteY0" fmla="*/ 443409 h 454926"/>
                    <a:gd name="connsiteX1" fmla="*/ 7535 w 510500"/>
                    <a:gd name="connsiteY1" fmla="*/ 208459 h 454926"/>
                    <a:gd name="connsiteX2" fmla="*/ 23410 w 510500"/>
                    <a:gd name="connsiteY2" fmla="*/ 170359 h 454926"/>
                    <a:gd name="connsiteX3" fmla="*/ 71035 w 510500"/>
                    <a:gd name="connsiteY3" fmla="*/ 154484 h 454926"/>
                    <a:gd name="connsiteX4" fmla="*/ 172635 w 510500"/>
                    <a:gd name="connsiteY4" fmla="*/ 148134 h 454926"/>
                    <a:gd name="connsiteX5" fmla="*/ 188510 w 510500"/>
                    <a:gd name="connsiteY5" fmla="*/ 90984 h 454926"/>
                    <a:gd name="connsiteX6" fmla="*/ 201210 w 510500"/>
                    <a:gd name="connsiteY6" fmla="*/ 11609 h 454926"/>
                    <a:gd name="connsiteX7" fmla="*/ 312335 w 510500"/>
                    <a:gd name="connsiteY7" fmla="*/ 8434 h 454926"/>
                    <a:gd name="connsiteX8" fmla="*/ 312335 w 510500"/>
                    <a:gd name="connsiteY8" fmla="*/ 87809 h 454926"/>
                    <a:gd name="connsiteX9" fmla="*/ 334560 w 510500"/>
                    <a:gd name="connsiteY9" fmla="*/ 135434 h 454926"/>
                    <a:gd name="connsiteX10" fmla="*/ 445685 w 510500"/>
                    <a:gd name="connsiteY10" fmla="*/ 157659 h 454926"/>
                    <a:gd name="connsiteX11" fmla="*/ 486960 w 510500"/>
                    <a:gd name="connsiteY11" fmla="*/ 183059 h 454926"/>
                    <a:gd name="connsiteX12" fmla="*/ 509185 w 510500"/>
                    <a:gd name="connsiteY12" fmla="*/ 227509 h 454926"/>
                    <a:gd name="connsiteX13" fmla="*/ 506010 w 510500"/>
                    <a:gd name="connsiteY13" fmla="*/ 449759 h 454926"/>
                    <a:gd name="connsiteX14" fmla="*/ 4360 w 510500"/>
                    <a:gd name="connsiteY14" fmla="*/ 443409 h 454926"/>
                    <a:gd name="connsiteX0" fmla="*/ 6473 w 512613"/>
                    <a:gd name="connsiteY0" fmla="*/ 443409 h 454926"/>
                    <a:gd name="connsiteX1" fmla="*/ 9648 w 512613"/>
                    <a:gd name="connsiteY1" fmla="*/ 208459 h 454926"/>
                    <a:gd name="connsiteX2" fmla="*/ 73148 w 512613"/>
                    <a:gd name="connsiteY2" fmla="*/ 154484 h 454926"/>
                    <a:gd name="connsiteX3" fmla="*/ 174748 w 512613"/>
                    <a:gd name="connsiteY3" fmla="*/ 148134 h 454926"/>
                    <a:gd name="connsiteX4" fmla="*/ 190623 w 512613"/>
                    <a:gd name="connsiteY4" fmla="*/ 90984 h 454926"/>
                    <a:gd name="connsiteX5" fmla="*/ 203323 w 512613"/>
                    <a:gd name="connsiteY5" fmla="*/ 11609 h 454926"/>
                    <a:gd name="connsiteX6" fmla="*/ 314448 w 512613"/>
                    <a:gd name="connsiteY6" fmla="*/ 8434 h 454926"/>
                    <a:gd name="connsiteX7" fmla="*/ 314448 w 512613"/>
                    <a:gd name="connsiteY7" fmla="*/ 87809 h 454926"/>
                    <a:gd name="connsiteX8" fmla="*/ 336673 w 512613"/>
                    <a:gd name="connsiteY8" fmla="*/ 135434 h 454926"/>
                    <a:gd name="connsiteX9" fmla="*/ 447798 w 512613"/>
                    <a:gd name="connsiteY9" fmla="*/ 157659 h 454926"/>
                    <a:gd name="connsiteX10" fmla="*/ 489073 w 512613"/>
                    <a:gd name="connsiteY10" fmla="*/ 183059 h 454926"/>
                    <a:gd name="connsiteX11" fmla="*/ 511298 w 512613"/>
                    <a:gd name="connsiteY11" fmla="*/ 227509 h 454926"/>
                    <a:gd name="connsiteX12" fmla="*/ 508123 w 512613"/>
                    <a:gd name="connsiteY12" fmla="*/ 449759 h 454926"/>
                    <a:gd name="connsiteX13" fmla="*/ 6473 w 512613"/>
                    <a:gd name="connsiteY13" fmla="*/ 443409 h 454926"/>
                    <a:gd name="connsiteX0" fmla="*/ 4049 w 510189"/>
                    <a:gd name="connsiteY0" fmla="*/ 443409 h 454926"/>
                    <a:gd name="connsiteX1" fmla="*/ 7224 w 510189"/>
                    <a:gd name="connsiteY1" fmla="*/ 208459 h 454926"/>
                    <a:gd name="connsiteX2" fmla="*/ 70724 w 510189"/>
                    <a:gd name="connsiteY2" fmla="*/ 154484 h 454926"/>
                    <a:gd name="connsiteX3" fmla="*/ 172324 w 510189"/>
                    <a:gd name="connsiteY3" fmla="*/ 148134 h 454926"/>
                    <a:gd name="connsiteX4" fmla="*/ 188199 w 510189"/>
                    <a:gd name="connsiteY4" fmla="*/ 90984 h 454926"/>
                    <a:gd name="connsiteX5" fmla="*/ 200899 w 510189"/>
                    <a:gd name="connsiteY5" fmla="*/ 11609 h 454926"/>
                    <a:gd name="connsiteX6" fmla="*/ 312024 w 510189"/>
                    <a:gd name="connsiteY6" fmla="*/ 8434 h 454926"/>
                    <a:gd name="connsiteX7" fmla="*/ 312024 w 510189"/>
                    <a:gd name="connsiteY7" fmla="*/ 87809 h 454926"/>
                    <a:gd name="connsiteX8" fmla="*/ 334249 w 510189"/>
                    <a:gd name="connsiteY8" fmla="*/ 135434 h 454926"/>
                    <a:gd name="connsiteX9" fmla="*/ 445374 w 510189"/>
                    <a:gd name="connsiteY9" fmla="*/ 157659 h 454926"/>
                    <a:gd name="connsiteX10" fmla="*/ 486649 w 510189"/>
                    <a:gd name="connsiteY10" fmla="*/ 183059 h 454926"/>
                    <a:gd name="connsiteX11" fmla="*/ 508874 w 510189"/>
                    <a:gd name="connsiteY11" fmla="*/ 227509 h 454926"/>
                    <a:gd name="connsiteX12" fmla="*/ 505699 w 510189"/>
                    <a:gd name="connsiteY12" fmla="*/ 449759 h 454926"/>
                    <a:gd name="connsiteX13" fmla="*/ 4049 w 510189"/>
                    <a:gd name="connsiteY13" fmla="*/ 443409 h 454926"/>
                    <a:gd name="connsiteX0" fmla="*/ 4049 w 510189"/>
                    <a:gd name="connsiteY0" fmla="*/ 443409 h 454926"/>
                    <a:gd name="connsiteX1" fmla="*/ 7224 w 510189"/>
                    <a:gd name="connsiteY1" fmla="*/ 208459 h 454926"/>
                    <a:gd name="connsiteX2" fmla="*/ 70724 w 510189"/>
                    <a:gd name="connsiteY2" fmla="*/ 154484 h 454926"/>
                    <a:gd name="connsiteX3" fmla="*/ 172324 w 510189"/>
                    <a:gd name="connsiteY3" fmla="*/ 148134 h 454926"/>
                    <a:gd name="connsiteX4" fmla="*/ 188199 w 510189"/>
                    <a:gd name="connsiteY4" fmla="*/ 90984 h 454926"/>
                    <a:gd name="connsiteX5" fmla="*/ 200899 w 510189"/>
                    <a:gd name="connsiteY5" fmla="*/ 11609 h 454926"/>
                    <a:gd name="connsiteX6" fmla="*/ 312024 w 510189"/>
                    <a:gd name="connsiteY6" fmla="*/ 8434 h 454926"/>
                    <a:gd name="connsiteX7" fmla="*/ 312024 w 510189"/>
                    <a:gd name="connsiteY7" fmla="*/ 87809 h 454926"/>
                    <a:gd name="connsiteX8" fmla="*/ 334249 w 510189"/>
                    <a:gd name="connsiteY8" fmla="*/ 135434 h 454926"/>
                    <a:gd name="connsiteX9" fmla="*/ 445374 w 510189"/>
                    <a:gd name="connsiteY9" fmla="*/ 157659 h 454926"/>
                    <a:gd name="connsiteX10" fmla="*/ 508874 w 510189"/>
                    <a:gd name="connsiteY10" fmla="*/ 227509 h 454926"/>
                    <a:gd name="connsiteX11" fmla="*/ 505699 w 510189"/>
                    <a:gd name="connsiteY11" fmla="*/ 449759 h 454926"/>
                    <a:gd name="connsiteX12" fmla="*/ 4049 w 510189"/>
                    <a:gd name="connsiteY12" fmla="*/ 443409 h 454926"/>
                    <a:gd name="connsiteX0" fmla="*/ 4049 w 510189"/>
                    <a:gd name="connsiteY0" fmla="*/ 443409 h 454926"/>
                    <a:gd name="connsiteX1" fmla="*/ 7224 w 510189"/>
                    <a:gd name="connsiteY1" fmla="*/ 208459 h 454926"/>
                    <a:gd name="connsiteX2" fmla="*/ 70724 w 510189"/>
                    <a:gd name="connsiteY2" fmla="*/ 154484 h 454926"/>
                    <a:gd name="connsiteX3" fmla="*/ 172324 w 510189"/>
                    <a:gd name="connsiteY3" fmla="*/ 148134 h 454926"/>
                    <a:gd name="connsiteX4" fmla="*/ 188199 w 510189"/>
                    <a:gd name="connsiteY4" fmla="*/ 90984 h 454926"/>
                    <a:gd name="connsiteX5" fmla="*/ 200899 w 510189"/>
                    <a:gd name="connsiteY5" fmla="*/ 11609 h 454926"/>
                    <a:gd name="connsiteX6" fmla="*/ 312024 w 510189"/>
                    <a:gd name="connsiteY6" fmla="*/ 8434 h 454926"/>
                    <a:gd name="connsiteX7" fmla="*/ 312024 w 510189"/>
                    <a:gd name="connsiteY7" fmla="*/ 87809 h 454926"/>
                    <a:gd name="connsiteX8" fmla="*/ 334249 w 510189"/>
                    <a:gd name="connsiteY8" fmla="*/ 135434 h 454926"/>
                    <a:gd name="connsiteX9" fmla="*/ 445374 w 510189"/>
                    <a:gd name="connsiteY9" fmla="*/ 157659 h 454926"/>
                    <a:gd name="connsiteX10" fmla="*/ 508874 w 510189"/>
                    <a:gd name="connsiteY10" fmla="*/ 227509 h 454926"/>
                    <a:gd name="connsiteX11" fmla="*/ 505699 w 510189"/>
                    <a:gd name="connsiteY11" fmla="*/ 449759 h 454926"/>
                    <a:gd name="connsiteX12" fmla="*/ 4049 w 510189"/>
                    <a:gd name="connsiteY12" fmla="*/ 443409 h 454926"/>
                    <a:gd name="connsiteX0" fmla="*/ 5987 w 512127"/>
                    <a:gd name="connsiteY0" fmla="*/ 443409 h 454926"/>
                    <a:gd name="connsiteX1" fmla="*/ 2812 w 512127"/>
                    <a:gd name="connsiteY1" fmla="*/ 217984 h 454926"/>
                    <a:gd name="connsiteX2" fmla="*/ 72662 w 512127"/>
                    <a:gd name="connsiteY2" fmla="*/ 154484 h 454926"/>
                    <a:gd name="connsiteX3" fmla="*/ 174262 w 512127"/>
                    <a:gd name="connsiteY3" fmla="*/ 148134 h 454926"/>
                    <a:gd name="connsiteX4" fmla="*/ 190137 w 512127"/>
                    <a:gd name="connsiteY4" fmla="*/ 90984 h 454926"/>
                    <a:gd name="connsiteX5" fmla="*/ 202837 w 512127"/>
                    <a:gd name="connsiteY5" fmla="*/ 11609 h 454926"/>
                    <a:gd name="connsiteX6" fmla="*/ 313962 w 512127"/>
                    <a:gd name="connsiteY6" fmla="*/ 8434 h 454926"/>
                    <a:gd name="connsiteX7" fmla="*/ 313962 w 512127"/>
                    <a:gd name="connsiteY7" fmla="*/ 87809 h 454926"/>
                    <a:gd name="connsiteX8" fmla="*/ 336187 w 512127"/>
                    <a:gd name="connsiteY8" fmla="*/ 135434 h 454926"/>
                    <a:gd name="connsiteX9" fmla="*/ 447312 w 512127"/>
                    <a:gd name="connsiteY9" fmla="*/ 157659 h 454926"/>
                    <a:gd name="connsiteX10" fmla="*/ 510812 w 512127"/>
                    <a:gd name="connsiteY10" fmla="*/ 227509 h 454926"/>
                    <a:gd name="connsiteX11" fmla="*/ 507637 w 512127"/>
                    <a:gd name="connsiteY11" fmla="*/ 449759 h 454926"/>
                    <a:gd name="connsiteX12" fmla="*/ 5987 w 512127"/>
                    <a:gd name="connsiteY12" fmla="*/ 443409 h 454926"/>
                    <a:gd name="connsiteX0" fmla="*/ 9762 w 515902"/>
                    <a:gd name="connsiteY0" fmla="*/ 443409 h 454926"/>
                    <a:gd name="connsiteX1" fmla="*/ 6587 w 515902"/>
                    <a:gd name="connsiteY1" fmla="*/ 217984 h 454926"/>
                    <a:gd name="connsiteX2" fmla="*/ 76437 w 515902"/>
                    <a:gd name="connsiteY2" fmla="*/ 154484 h 454926"/>
                    <a:gd name="connsiteX3" fmla="*/ 178037 w 515902"/>
                    <a:gd name="connsiteY3" fmla="*/ 148134 h 454926"/>
                    <a:gd name="connsiteX4" fmla="*/ 193912 w 515902"/>
                    <a:gd name="connsiteY4" fmla="*/ 90984 h 454926"/>
                    <a:gd name="connsiteX5" fmla="*/ 206612 w 515902"/>
                    <a:gd name="connsiteY5" fmla="*/ 11609 h 454926"/>
                    <a:gd name="connsiteX6" fmla="*/ 317737 w 515902"/>
                    <a:gd name="connsiteY6" fmla="*/ 8434 h 454926"/>
                    <a:gd name="connsiteX7" fmla="*/ 317737 w 515902"/>
                    <a:gd name="connsiteY7" fmla="*/ 87809 h 454926"/>
                    <a:gd name="connsiteX8" fmla="*/ 339962 w 515902"/>
                    <a:gd name="connsiteY8" fmla="*/ 135434 h 454926"/>
                    <a:gd name="connsiteX9" fmla="*/ 451087 w 515902"/>
                    <a:gd name="connsiteY9" fmla="*/ 157659 h 454926"/>
                    <a:gd name="connsiteX10" fmla="*/ 514587 w 515902"/>
                    <a:gd name="connsiteY10" fmla="*/ 227509 h 454926"/>
                    <a:gd name="connsiteX11" fmla="*/ 511412 w 515902"/>
                    <a:gd name="connsiteY11" fmla="*/ 449759 h 454926"/>
                    <a:gd name="connsiteX12" fmla="*/ 9762 w 515902"/>
                    <a:gd name="connsiteY12" fmla="*/ 443409 h 454926"/>
                    <a:gd name="connsiteX0" fmla="*/ 9762 w 515902"/>
                    <a:gd name="connsiteY0" fmla="*/ 443409 h 454926"/>
                    <a:gd name="connsiteX1" fmla="*/ 6587 w 515902"/>
                    <a:gd name="connsiteY1" fmla="*/ 217984 h 454926"/>
                    <a:gd name="connsiteX2" fmla="*/ 76437 w 515902"/>
                    <a:gd name="connsiteY2" fmla="*/ 154484 h 454926"/>
                    <a:gd name="connsiteX3" fmla="*/ 178037 w 515902"/>
                    <a:gd name="connsiteY3" fmla="*/ 148134 h 454926"/>
                    <a:gd name="connsiteX4" fmla="*/ 193912 w 515902"/>
                    <a:gd name="connsiteY4" fmla="*/ 90984 h 454926"/>
                    <a:gd name="connsiteX5" fmla="*/ 206612 w 515902"/>
                    <a:gd name="connsiteY5" fmla="*/ 11609 h 454926"/>
                    <a:gd name="connsiteX6" fmla="*/ 317737 w 515902"/>
                    <a:gd name="connsiteY6" fmla="*/ 8434 h 454926"/>
                    <a:gd name="connsiteX7" fmla="*/ 317737 w 515902"/>
                    <a:gd name="connsiteY7" fmla="*/ 87809 h 454926"/>
                    <a:gd name="connsiteX8" fmla="*/ 339962 w 515902"/>
                    <a:gd name="connsiteY8" fmla="*/ 135434 h 454926"/>
                    <a:gd name="connsiteX9" fmla="*/ 451087 w 515902"/>
                    <a:gd name="connsiteY9" fmla="*/ 157659 h 454926"/>
                    <a:gd name="connsiteX10" fmla="*/ 514587 w 515902"/>
                    <a:gd name="connsiteY10" fmla="*/ 227509 h 454926"/>
                    <a:gd name="connsiteX11" fmla="*/ 511412 w 515902"/>
                    <a:gd name="connsiteY11" fmla="*/ 449759 h 454926"/>
                    <a:gd name="connsiteX12" fmla="*/ 9762 w 515902"/>
                    <a:gd name="connsiteY12" fmla="*/ 443409 h 454926"/>
                    <a:gd name="connsiteX0" fmla="*/ 9762 w 515902"/>
                    <a:gd name="connsiteY0" fmla="*/ 443409 h 454926"/>
                    <a:gd name="connsiteX1" fmla="*/ 6587 w 515902"/>
                    <a:gd name="connsiteY1" fmla="*/ 217984 h 454926"/>
                    <a:gd name="connsiteX2" fmla="*/ 76437 w 515902"/>
                    <a:gd name="connsiteY2" fmla="*/ 154484 h 454926"/>
                    <a:gd name="connsiteX3" fmla="*/ 193912 w 515902"/>
                    <a:gd name="connsiteY3" fmla="*/ 90984 h 454926"/>
                    <a:gd name="connsiteX4" fmla="*/ 206612 w 515902"/>
                    <a:gd name="connsiteY4" fmla="*/ 11609 h 454926"/>
                    <a:gd name="connsiteX5" fmla="*/ 317737 w 515902"/>
                    <a:gd name="connsiteY5" fmla="*/ 8434 h 454926"/>
                    <a:gd name="connsiteX6" fmla="*/ 317737 w 515902"/>
                    <a:gd name="connsiteY6" fmla="*/ 87809 h 454926"/>
                    <a:gd name="connsiteX7" fmla="*/ 339962 w 515902"/>
                    <a:gd name="connsiteY7" fmla="*/ 135434 h 454926"/>
                    <a:gd name="connsiteX8" fmla="*/ 451087 w 515902"/>
                    <a:gd name="connsiteY8" fmla="*/ 157659 h 454926"/>
                    <a:gd name="connsiteX9" fmla="*/ 514587 w 515902"/>
                    <a:gd name="connsiteY9" fmla="*/ 227509 h 454926"/>
                    <a:gd name="connsiteX10" fmla="*/ 511412 w 515902"/>
                    <a:gd name="connsiteY10" fmla="*/ 449759 h 454926"/>
                    <a:gd name="connsiteX11" fmla="*/ 9762 w 515902"/>
                    <a:gd name="connsiteY11" fmla="*/ 443409 h 454926"/>
                    <a:gd name="connsiteX0" fmla="*/ 9762 w 515902"/>
                    <a:gd name="connsiteY0" fmla="*/ 446099 h 457616"/>
                    <a:gd name="connsiteX1" fmla="*/ 6587 w 515902"/>
                    <a:gd name="connsiteY1" fmla="*/ 220674 h 457616"/>
                    <a:gd name="connsiteX2" fmla="*/ 76437 w 515902"/>
                    <a:gd name="connsiteY2" fmla="*/ 157174 h 457616"/>
                    <a:gd name="connsiteX3" fmla="*/ 190737 w 515902"/>
                    <a:gd name="connsiteY3" fmla="*/ 138124 h 457616"/>
                    <a:gd name="connsiteX4" fmla="*/ 206612 w 515902"/>
                    <a:gd name="connsiteY4" fmla="*/ 14299 h 457616"/>
                    <a:gd name="connsiteX5" fmla="*/ 317737 w 515902"/>
                    <a:gd name="connsiteY5" fmla="*/ 11124 h 457616"/>
                    <a:gd name="connsiteX6" fmla="*/ 317737 w 515902"/>
                    <a:gd name="connsiteY6" fmla="*/ 90499 h 457616"/>
                    <a:gd name="connsiteX7" fmla="*/ 339962 w 515902"/>
                    <a:gd name="connsiteY7" fmla="*/ 138124 h 457616"/>
                    <a:gd name="connsiteX8" fmla="*/ 451087 w 515902"/>
                    <a:gd name="connsiteY8" fmla="*/ 160349 h 457616"/>
                    <a:gd name="connsiteX9" fmla="*/ 514587 w 515902"/>
                    <a:gd name="connsiteY9" fmla="*/ 230199 h 457616"/>
                    <a:gd name="connsiteX10" fmla="*/ 511412 w 515902"/>
                    <a:gd name="connsiteY10" fmla="*/ 452449 h 457616"/>
                    <a:gd name="connsiteX11" fmla="*/ 9762 w 515902"/>
                    <a:gd name="connsiteY11" fmla="*/ 446099 h 457616"/>
                    <a:gd name="connsiteX0" fmla="*/ 9762 w 515902"/>
                    <a:gd name="connsiteY0" fmla="*/ 446099 h 457616"/>
                    <a:gd name="connsiteX1" fmla="*/ 6587 w 515902"/>
                    <a:gd name="connsiteY1" fmla="*/ 220674 h 457616"/>
                    <a:gd name="connsiteX2" fmla="*/ 76437 w 515902"/>
                    <a:gd name="connsiteY2" fmla="*/ 157174 h 457616"/>
                    <a:gd name="connsiteX3" fmla="*/ 190737 w 515902"/>
                    <a:gd name="connsiteY3" fmla="*/ 138124 h 457616"/>
                    <a:gd name="connsiteX4" fmla="*/ 206612 w 515902"/>
                    <a:gd name="connsiteY4" fmla="*/ 14299 h 457616"/>
                    <a:gd name="connsiteX5" fmla="*/ 317737 w 515902"/>
                    <a:gd name="connsiteY5" fmla="*/ 11124 h 457616"/>
                    <a:gd name="connsiteX6" fmla="*/ 317737 w 515902"/>
                    <a:gd name="connsiteY6" fmla="*/ 90499 h 457616"/>
                    <a:gd name="connsiteX7" fmla="*/ 451087 w 515902"/>
                    <a:gd name="connsiteY7" fmla="*/ 160349 h 457616"/>
                    <a:gd name="connsiteX8" fmla="*/ 514587 w 515902"/>
                    <a:gd name="connsiteY8" fmla="*/ 230199 h 457616"/>
                    <a:gd name="connsiteX9" fmla="*/ 511412 w 515902"/>
                    <a:gd name="connsiteY9" fmla="*/ 452449 h 457616"/>
                    <a:gd name="connsiteX10" fmla="*/ 9762 w 515902"/>
                    <a:gd name="connsiteY10" fmla="*/ 446099 h 457616"/>
                    <a:gd name="connsiteX0" fmla="*/ 9762 w 515902"/>
                    <a:gd name="connsiteY0" fmla="*/ 447482 h 458999"/>
                    <a:gd name="connsiteX1" fmla="*/ 6587 w 515902"/>
                    <a:gd name="connsiteY1" fmla="*/ 222057 h 458999"/>
                    <a:gd name="connsiteX2" fmla="*/ 76437 w 515902"/>
                    <a:gd name="connsiteY2" fmla="*/ 158557 h 458999"/>
                    <a:gd name="connsiteX3" fmla="*/ 190737 w 515902"/>
                    <a:gd name="connsiteY3" fmla="*/ 139507 h 458999"/>
                    <a:gd name="connsiteX4" fmla="*/ 206612 w 515902"/>
                    <a:gd name="connsiteY4" fmla="*/ 15682 h 458999"/>
                    <a:gd name="connsiteX5" fmla="*/ 317737 w 515902"/>
                    <a:gd name="connsiteY5" fmla="*/ 12507 h 458999"/>
                    <a:gd name="connsiteX6" fmla="*/ 330437 w 515902"/>
                    <a:gd name="connsiteY6" fmla="*/ 114107 h 458999"/>
                    <a:gd name="connsiteX7" fmla="*/ 451087 w 515902"/>
                    <a:gd name="connsiteY7" fmla="*/ 161732 h 458999"/>
                    <a:gd name="connsiteX8" fmla="*/ 514587 w 515902"/>
                    <a:gd name="connsiteY8" fmla="*/ 231582 h 458999"/>
                    <a:gd name="connsiteX9" fmla="*/ 511412 w 515902"/>
                    <a:gd name="connsiteY9" fmla="*/ 453832 h 458999"/>
                    <a:gd name="connsiteX10" fmla="*/ 9762 w 515902"/>
                    <a:gd name="connsiteY10" fmla="*/ 447482 h 458999"/>
                    <a:gd name="connsiteX0" fmla="*/ 9762 w 515902"/>
                    <a:gd name="connsiteY0" fmla="*/ 446348 h 457865"/>
                    <a:gd name="connsiteX1" fmla="*/ 6587 w 515902"/>
                    <a:gd name="connsiteY1" fmla="*/ 220923 h 457865"/>
                    <a:gd name="connsiteX2" fmla="*/ 76437 w 515902"/>
                    <a:gd name="connsiteY2" fmla="*/ 157423 h 457865"/>
                    <a:gd name="connsiteX3" fmla="*/ 200262 w 515902"/>
                    <a:gd name="connsiteY3" fmla="*/ 119323 h 457865"/>
                    <a:gd name="connsiteX4" fmla="*/ 206612 w 515902"/>
                    <a:gd name="connsiteY4" fmla="*/ 14548 h 457865"/>
                    <a:gd name="connsiteX5" fmla="*/ 317737 w 515902"/>
                    <a:gd name="connsiteY5" fmla="*/ 11373 h 457865"/>
                    <a:gd name="connsiteX6" fmla="*/ 330437 w 515902"/>
                    <a:gd name="connsiteY6" fmla="*/ 112973 h 457865"/>
                    <a:gd name="connsiteX7" fmla="*/ 451087 w 515902"/>
                    <a:gd name="connsiteY7" fmla="*/ 160598 h 457865"/>
                    <a:gd name="connsiteX8" fmla="*/ 514587 w 515902"/>
                    <a:gd name="connsiteY8" fmla="*/ 230448 h 457865"/>
                    <a:gd name="connsiteX9" fmla="*/ 511412 w 515902"/>
                    <a:gd name="connsiteY9" fmla="*/ 452698 h 457865"/>
                    <a:gd name="connsiteX10" fmla="*/ 9762 w 515902"/>
                    <a:gd name="connsiteY10" fmla="*/ 446348 h 457865"/>
                    <a:gd name="connsiteX0" fmla="*/ 8840 w 514980"/>
                    <a:gd name="connsiteY0" fmla="*/ 446348 h 457865"/>
                    <a:gd name="connsiteX1" fmla="*/ 5665 w 514980"/>
                    <a:gd name="connsiteY1" fmla="*/ 220923 h 457865"/>
                    <a:gd name="connsiteX2" fmla="*/ 62412 w 514980"/>
                    <a:gd name="connsiteY2" fmla="*/ 133367 h 457865"/>
                    <a:gd name="connsiteX3" fmla="*/ 199340 w 514980"/>
                    <a:gd name="connsiteY3" fmla="*/ 119323 h 457865"/>
                    <a:gd name="connsiteX4" fmla="*/ 205690 w 514980"/>
                    <a:gd name="connsiteY4" fmla="*/ 14548 h 457865"/>
                    <a:gd name="connsiteX5" fmla="*/ 316815 w 514980"/>
                    <a:gd name="connsiteY5" fmla="*/ 11373 h 457865"/>
                    <a:gd name="connsiteX6" fmla="*/ 329515 w 514980"/>
                    <a:gd name="connsiteY6" fmla="*/ 112973 h 457865"/>
                    <a:gd name="connsiteX7" fmla="*/ 450165 w 514980"/>
                    <a:gd name="connsiteY7" fmla="*/ 160598 h 457865"/>
                    <a:gd name="connsiteX8" fmla="*/ 513665 w 514980"/>
                    <a:gd name="connsiteY8" fmla="*/ 230448 h 457865"/>
                    <a:gd name="connsiteX9" fmla="*/ 510490 w 514980"/>
                    <a:gd name="connsiteY9" fmla="*/ 452698 h 457865"/>
                    <a:gd name="connsiteX10" fmla="*/ 8840 w 514980"/>
                    <a:gd name="connsiteY10" fmla="*/ 446348 h 457865"/>
                    <a:gd name="connsiteX0" fmla="*/ 8840 w 514980"/>
                    <a:gd name="connsiteY0" fmla="*/ 445015 h 456532"/>
                    <a:gd name="connsiteX1" fmla="*/ 5665 w 514980"/>
                    <a:gd name="connsiteY1" fmla="*/ 219590 h 456532"/>
                    <a:gd name="connsiteX2" fmla="*/ 62412 w 514980"/>
                    <a:gd name="connsiteY2" fmla="*/ 132034 h 456532"/>
                    <a:gd name="connsiteX3" fmla="*/ 186237 w 514980"/>
                    <a:gd name="connsiteY3" fmla="*/ 93934 h 456532"/>
                    <a:gd name="connsiteX4" fmla="*/ 205690 w 514980"/>
                    <a:gd name="connsiteY4" fmla="*/ 13215 h 456532"/>
                    <a:gd name="connsiteX5" fmla="*/ 316815 w 514980"/>
                    <a:gd name="connsiteY5" fmla="*/ 10040 h 456532"/>
                    <a:gd name="connsiteX6" fmla="*/ 329515 w 514980"/>
                    <a:gd name="connsiteY6" fmla="*/ 111640 h 456532"/>
                    <a:gd name="connsiteX7" fmla="*/ 450165 w 514980"/>
                    <a:gd name="connsiteY7" fmla="*/ 159265 h 456532"/>
                    <a:gd name="connsiteX8" fmla="*/ 513665 w 514980"/>
                    <a:gd name="connsiteY8" fmla="*/ 229115 h 456532"/>
                    <a:gd name="connsiteX9" fmla="*/ 510490 w 514980"/>
                    <a:gd name="connsiteY9" fmla="*/ 451365 h 456532"/>
                    <a:gd name="connsiteX10" fmla="*/ 8840 w 514980"/>
                    <a:gd name="connsiteY10" fmla="*/ 445015 h 456532"/>
                    <a:gd name="connsiteX0" fmla="*/ 8840 w 514980"/>
                    <a:gd name="connsiteY0" fmla="*/ 445015 h 456532"/>
                    <a:gd name="connsiteX1" fmla="*/ 5665 w 514980"/>
                    <a:gd name="connsiteY1" fmla="*/ 219590 h 456532"/>
                    <a:gd name="connsiteX2" fmla="*/ 62412 w 514980"/>
                    <a:gd name="connsiteY2" fmla="*/ 132034 h 456532"/>
                    <a:gd name="connsiteX3" fmla="*/ 186237 w 514980"/>
                    <a:gd name="connsiteY3" fmla="*/ 93934 h 456532"/>
                    <a:gd name="connsiteX4" fmla="*/ 205690 w 514980"/>
                    <a:gd name="connsiteY4" fmla="*/ 13215 h 456532"/>
                    <a:gd name="connsiteX5" fmla="*/ 316815 w 514980"/>
                    <a:gd name="connsiteY5" fmla="*/ 10040 h 456532"/>
                    <a:gd name="connsiteX6" fmla="*/ 329515 w 514980"/>
                    <a:gd name="connsiteY6" fmla="*/ 111640 h 456532"/>
                    <a:gd name="connsiteX7" fmla="*/ 461084 w 514980"/>
                    <a:gd name="connsiteY7" fmla="*/ 146143 h 456532"/>
                    <a:gd name="connsiteX8" fmla="*/ 513665 w 514980"/>
                    <a:gd name="connsiteY8" fmla="*/ 229115 h 456532"/>
                    <a:gd name="connsiteX9" fmla="*/ 510490 w 514980"/>
                    <a:gd name="connsiteY9" fmla="*/ 451365 h 456532"/>
                    <a:gd name="connsiteX10" fmla="*/ 8840 w 514980"/>
                    <a:gd name="connsiteY10" fmla="*/ 445015 h 456532"/>
                    <a:gd name="connsiteX0" fmla="*/ 8840 w 514980"/>
                    <a:gd name="connsiteY0" fmla="*/ 444105 h 455622"/>
                    <a:gd name="connsiteX1" fmla="*/ 5665 w 514980"/>
                    <a:gd name="connsiteY1" fmla="*/ 218680 h 455622"/>
                    <a:gd name="connsiteX2" fmla="*/ 62412 w 514980"/>
                    <a:gd name="connsiteY2" fmla="*/ 131124 h 455622"/>
                    <a:gd name="connsiteX3" fmla="*/ 186237 w 514980"/>
                    <a:gd name="connsiteY3" fmla="*/ 93024 h 455622"/>
                    <a:gd name="connsiteX4" fmla="*/ 205690 w 514980"/>
                    <a:gd name="connsiteY4" fmla="*/ 12305 h 455622"/>
                    <a:gd name="connsiteX5" fmla="*/ 316815 w 514980"/>
                    <a:gd name="connsiteY5" fmla="*/ 9130 h 455622"/>
                    <a:gd name="connsiteX6" fmla="*/ 351353 w 514980"/>
                    <a:gd name="connsiteY6" fmla="*/ 97608 h 455622"/>
                    <a:gd name="connsiteX7" fmla="*/ 461084 w 514980"/>
                    <a:gd name="connsiteY7" fmla="*/ 145233 h 455622"/>
                    <a:gd name="connsiteX8" fmla="*/ 513665 w 514980"/>
                    <a:gd name="connsiteY8" fmla="*/ 228205 h 455622"/>
                    <a:gd name="connsiteX9" fmla="*/ 510490 w 514980"/>
                    <a:gd name="connsiteY9" fmla="*/ 450455 h 455622"/>
                    <a:gd name="connsiteX10" fmla="*/ 8840 w 514980"/>
                    <a:gd name="connsiteY10" fmla="*/ 444105 h 455622"/>
                    <a:gd name="connsiteX0" fmla="*/ 8840 w 514980"/>
                    <a:gd name="connsiteY0" fmla="*/ 442755 h 454272"/>
                    <a:gd name="connsiteX1" fmla="*/ 5665 w 514980"/>
                    <a:gd name="connsiteY1" fmla="*/ 217330 h 454272"/>
                    <a:gd name="connsiteX2" fmla="*/ 62412 w 514980"/>
                    <a:gd name="connsiteY2" fmla="*/ 129774 h 454272"/>
                    <a:gd name="connsiteX3" fmla="*/ 186237 w 514980"/>
                    <a:gd name="connsiteY3" fmla="*/ 91674 h 454272"/>
                    <a:gd name="connsiteX4" fmla="*/ 205690 w 514980"/>
                    <a:gd name="connsiteY4" fmla="*/ 10955 h 454272"/>
                    <a:gd name="connsiteX5" fmla="*/ 325550 w 514980"/>
                    <a:gd name="connsiteY5" fmla="*/ 9967 h 454272"/>
                    <a:gd name="connsiteX6" fmla="*/ 351353 w 514980"/>
                    <a:gd name="connsiteY6" fmla="*/ 96258 h 454272"/>
                    <a:gd name="connsiteX7" fmla="*/ 461084 w 514980"/>
                    <a:gd name="connsiteY7" fmla="*/ 143883 h 454272"/>
                    <a:gd name="connsiteX8" fmla="*/ 513665 w 514980"/>
                    <a:gd name="connsiteY8" fmla="*/ 226855 h 454272"/>
                    <a:gd name="connsiteX9" fmla="*/ 510490 w 514980"/>
                    <a:gd name="connsiteY9" fmla="*/ 449105 h 454272"/>
                    <a:gd name="connsiteX10" fmla="*/ 8840 w 514980"/>
                    <a:gd name="connsiteY10" fmla="*/ 442755 h 454272"/>
                    <a:gd name="connsiteX0" fmla="*/ 8840 w 514980"/>
                    <a:gd name="connsiteY0" fmla="*/ 442755 h 454272"/>
                    <a:gd name="connsiteX1" fmla="*/ 5665 w 514980"/>
                    <a:gd name="connsiteY1" fmla="*/ 217330 h 454272"/>
                    <a:gd name="connsiteX2" fmla="*/ 62412 w 514980"/>
                    <a:gd name="connsiteY2" fmla="*/ 129774 h 454272"/>
                    <a:gd name="connsiteX3" fmla="*/ 186237 w 514980"/>
                    <a:gd name="connsiteY3" fmla="*/ 91674 h 454272"/>
                    <a:gd name="connsiteX4" fmla="*/ 205690 w 514980"/>
                    <a:gd name="connsiteY4" fmla="*/ 10955 h 454272"/>
                    <a:gd name="connsiteX5" fmla="*/ 325550 w 514980"/>
                    <a:gd name="connsiteY5" fmla="*/ 9967 h 454272"/>
                    <a:gd name="connsiteX6" fmla="*/ 351353 w 514980"/>
                    <a:gd name="connsiteY6" fmla="*/ 96258 h 454272"/>
                    <a:gd name="connsiteX7" fmla="*/ 461084 w 514980"/>
                    <a:gd name="connsiteY7" fmla="*/ 143883 h 454272"/>
                    <a:gd name="connsiteX8" fmla="*/ 513665 w 514980"/>
                    <a:gd name="connsiteY8" fmla="*/ 226855 h 454272"/>
                    <a:gd name="connsiteX9" fmla="*/ 510490 w 514980"/>
                    <a:gd name="connsiteY9" fmla="*/ 449105 h 454272"/>
                    <a:gd name="connsiteX10" fmla="*/ 8840 w 514980"/>
                    <a:gd name="connsiteY10" fmla="*/ 442755 h 454272"/>
                    <a:gd name="connsiteX0" fmla="*/ 8840 w 514980"/>
                    <a:gd name="connsiteY0" fmla="*/ 442755 h 454272"/>
                    <a:gd name="connsiteX1" fmla="*/ 5665 w 514980"/>
                    <a:gd name="connsiteY1" fmla="*/ 217330 h 454272"/>
                    <a:gd name="connsiteX2" fmla="*/ 62412 w 514980"/>
                    <a:gd name="connsiteY2" fmla="*/ 129774 h 454272"/>
                    <a:gd name="connsiteX3" fmla="*/ 186237 w 514980"/>
                    <a:gd name="connsiteY3" fmla="*/ 91674 h 454272"/>
                    <a:gd name="connsiteX4" fmla="*/ 205690 w 514980"/>
                    <a:gd name="connsiteY4" fmla="*/ 10955 h 454272"/>
                    <a:gd name="connsiteX5" fmla="*/ 325550 w 514980"/>
                    <a:gd name="connsiteY5" fmla="*/ 9967 h 454272"/>
                    <a:gd name="connsiteX6" fmla="*/ 351353 w 514980"/>
                    <a:gd name="connsiteY6" fmla="*/ 96258 h 454272"/>
                    <a:gd name="connsiteX7" fmla="*/ 461084 w 514980"/>
                    <a:gd name="connsiteY7" fmla="*/ 143883 h 454272"/>
                    <a:gd name="connsiteX8" fmla="*/ 513665 w 514980"/>
                    <a:gd name="connsiteY8" fmla="*/ 226855 h 454272"/>
                    <a:gd name="connsiteX9" fmla="*/ 510490 w 514980"/>
                    <a:gd name="connsiteY9" fmla="*/ 449105 h 454272"/>
                    <a:gd name="connsiteX10" fmla="*/ 8840 w 514980"/>
                    <a:gd name="connsiteY10" fmla="*/ 442755 h 454272"/>
                    <a:gd name="connsiteX0" fmla="*/ 8840 w 514980"/>
                    <a:gd name="connsiteY0" fmla="*/ 442755 h 454272"/>
                    <a:gd name="connsiteX1" fmla="*/ 5665 w 514980"/>
                    <a:gd name="connsiteY1" fmla="*/ 217330 h 454272"/>
                    <a:gd name="connsiteX2" fmla="*/ 62412 w 514980"/>
                    <a:gd name="connsiteY2" fmla="*/ 129774 h 454272"/>
                    <a:gd name="connsiteX3" fmla="*/ 186237 w 514980"/>
                    <a:gd name="connsiteY3" fmla="*/ 91674 h 454272"/>
                    <a:gd name="connsiteX4" fmla="*/ 205690 w 514980"/>
                    <a:gd name="connsiteY4" fmla="*/ 10955 h 454272"/>
                    <a:gd name="connsiteX5" fmla="*/ 325550 w 514980"/>
                    <a:gd name="connsiteY5" fmla="*/ 9967 h 454272"/>
                    <a:gd name="connsiteX6" fmla="*/ 351353 w 514980"/>
                    <a:gd name="connsiteY6" fmla="*/ 96258 h 454272"/>
                    <a:gd name="connsiteX7" fmla="*/ 461084 w 514980"/>
                    <a:gd name="connsiteY7" fmla="*/ 143883 h 454272"/>
                    <a:gd name="connsiteX8" fmla="*/ 513665 w 514980"/>
                    <a:gd name="connsiteY8" fmla="*/ 226855 h 454272"/>
                    <a:gd name="connsiteX9" fmla="*/ 510490 w 514980"/>
                    <a:gd name="connsiteY9" fmla="*/ 449105 h 454272"/>
                    <a:gd name="connsiteX10" fmla="*/ 8840 w 514980"/>
                    <a:gd name="connsiteY10" fmla="*/ 442755 h 454272"/>
                    <a:gd name="connsiteX0" fmla="*/ 8840 w 514980"/>
                    <a:gd name="connsiteY0" fmla="*/ 436996 h 448513"/>
                    <a:gd name="connsiteX1" fmla="*/ 5665 w 514980"/>
                    <a:gd name="connsiteY1" fmla="*/ 211571 h 448513"/>
                    <a:gd name="connsiteX2" fmla="*/ 62412 w 514980"/>
                    <a:gd name="connsiteY2" fmla="*/ 124015 h 448513"/>
                    <a:gd name="connsiteX3" fmla="*/ 186237 w 514980"/>
                    <a:gd name="connsiteY3" fmla="*/ 85915 h 448513"/>
                    <a:gd name="connsiteX4" fmla="*/ 205690 w 514980"/>
                    <a:gd name="connsiteY4" fmla="*/ 5196 h 448513"/>
                    <a:gd name="connsiteX5" fmla="*/ 325550 w 514980"/>
                    <a:gd name="connsiteY5" fmla="*/ 4208 h 448513"/>
                    <a:gd name="connsiteX6" fmla="*/ 351353 w 514980"/>
                    <a:gd name="connsiteY6" fmla="*/ 90499 h 448513"/>
                    <a:gd name="connsiteX7" fmla="*/ 461084 w 514980"/>
                    <a:gd name="connsiteY7" fmla="*/ 138124 h 448513"/>
                    <a:gd name="connsiteX8" fmla="*/ 513665 w 514980"/>
                    <a:gd name="connsiteY8" fmla="*/ 221096 h 448513"/>
                    <a:gd name="connsiteX9" fmla="*/ 510490 w 514980"/>
                    <a:gd name="connsiteY9" fmla="*/ 443346 h 448513"/>
                    <a:gd name="connsiteX10" fmla="*/ 8840 w 514980"/>
                    <a:gd name="connsiteY10" fmla="*/ 436996 h 448513"/>
                    <a:gd name="connsiteX0" fmla="*/ 8840 w 514980"/>
                    <a:gd name="connsiteY0" fmla="*/ 436996 h 448513"/>
                    <a:gd name="connsiteX1" fmla="*/ 5665 w 514980"/>
                    <a:gd name="connsiteY1" fmla="*/ 211571 h 448513"/>
                    <a:gd name="connsiteX2" fmla="*/ 62412 w 514980"/>
                    <a:gd name="connsiteY2" fmla="*/ 124015 h 448513"/>
                    <a:gd name="connsiteX3" fmla="*/ 186237 w 514980"/>
                    <a:gd name="connsiteY3" fmla="*/ 85915 h 448513"/>
                    <a:gd name="connsiteX4" fmla="*/ 205690 w 514980"/>
                    <a:gd name="connsiteY4" fmla="*/ 5196 h 448513"/>
                    <a:gd name="connsiteX5" fmla="*/ 325550 w 514980"/>
                    <a:gd name="connsiteY5" fmla="*/ 4208 h 448513"/>
                    <a:gd name="connsiteX6" fmla="*/ 351353 w 514980"/>
                    <a:gd name="connsiteY6" fmla="*/ 90499 h 448513"/>
                    <a:gd name="connsiteX7" fmla="*/ 461084 w 514980"/>
                    <a:gd name="connsiteY7" fmla="*/ 138124 h 448513"/>
                    <a:gd name="connsiteX8" fmla="*/ 513665 w 514980"/>
                    <a:gd name="connsiteY8" fmla="*/ 221096 h 448513"/>
                    <a:gd name="connsiteX9" fmla="*/ 510490 w 514980"/>
                    <a:gd name="connsiteY9" fmla="*/ 443346 h 448513"/>
                    <a:gd name="connsiteX10" fmla="*/ 8840 w 514980"/>
                    <a:gd name="connsiteY10" fmla="*/ 436996 h 448513"/>
                    <a:gd name="connsiteX0" fmla="*/ 8840 w 514980"/>
                    <a:gd name="connsiteY0" fmla="*/ 436996 h 448513"/>
                    <a:gd name="connsiteX1" fmla="*/ 5665 w 514980"/>
                    <a:gd name="connsiteY1" fmla="*/ 211571 h 448513"/>
                    <a:gd name="connsiteX2" fmla="*/ 62412 w 514980"/>
                    <a:gd name="connsiteY2" fmla="*/ 124015 h 448513"/>
                    <a:gd name="connsiteX3" fmla="*/ 186237 w 514980"/>
                    <a:gd name="connsiteY3" fmla="*/ 85915 h 448513"/>
                    <a:gd name="connsiteX4" fmla="*/ 205690 w 514980"/>
                    <a:gd name="connsiteY4" fmla="*/ 5196 h 448513"/>
                    <a:gd name="connsiteX5" fmla="*/ 325550 w 514980"/>
                    <a:gd name="connsiteY5" fmla="*/ 4208 h 448513"/>
                    <a:gd name="connsiteX6" fmla="*/ 351353 w 514980"/>
                    <a:gd name="connsiteY6" fmla="*/ 90499 h 448513"/>
                    <a:gd name="connsiteX7" fmla="*/ 461084 w 514980"/>
                    <a:gd name="connsiteY7" fmla="*/ 138124 h 448513"/>
                    <a:gd name="connsiteX8" fmla="*/ 513665 w 514980"/>
                    <a:gd name="connsiteY8" fmla="*/ 221096 h 448513"/>
                    <a:gd name="connsiteX9" fmla="*/ 510490 w 514980"/>
                    <a:gd name="connsiteY9" fmla="*/ 443346 h 448513"/>
                    <a:gd name="connsiteX10" fmla="*/ 8840 w 514980"/>
                    <a:gd name="connsiteY10" fmla="*/ 436996 h 448513"/>
                    <a:gd name="connsiteX0" fmla="*/ 8840 w 514980"/>
                    <a:gd name="connsiteY0" fmla="*/ 436996 h 448513"/>
                    <a:gd name="connsiteX1" fmla="*/ 5665 w 514980"/>
                    <a:gd name="connsiteY1" fmla="*/ 211571 h 448513"/>
                    <a:gd name="connsiteX2" fmla="*/ 62412 w 514980"/>
                    <a:gd name="connsiteY2" fmla="*/ 124015 h 448513"/>
                    <a:gd name="connsiteX3" fmla="*/ 168766 w 514980"/>
                    <a:gd name="connsiteY3" fmla="*/ 88102 h 448513"/>
                    <a:gd name="connsiteX4" fmla="*/ 205690 w 514980"/>
                    <a:gd name="connsiteY4" fmla="*/ 5196 h 448513"/>
                    <a:gd name="connsiteX5" fmla="*/ 325550 w 514980"/>
                    <a:gd name="connsiteY5" fmla="*/ 4208 h 448513"/>
                    <a:gd name="connsiteX6" fmla="*/ 351353 w 514980"/>
                    <a:gd name="connsiteY6" fmla="*/ 90499 h 448513"/>
                    <a:gd name="connsiteX7" fmla="*/ 461084 w 514980"/>
                    <a:gd name="connsiteY7" fmla="*/ 138124 h 448513"/>
                    <a:gd name="connsiteX8" fmla="*/ 513665 w 514980"/>
                    <a:gd name="connsiteY8" fmla="*/ 221096 h 448513"/>
                    <a:gd name="connsiteX9" fmla="*/ 510490 w 514980"/>
                    <a:gd name="connsiteY9" fmla="*/ 443346 h 448513"/>
                    <a:gd name="connsiteX10" fmla="*/ 8840 w 514980"/>
                    <a:gd name="connsiteY10" fmla="*/ 436996 h 448513"/>
                    <a:gd name="connsiteX0" fmla="*/ 8840 w 514980"/>
                    <a:gd name="connsiteY0" fmla="*/ 440628 h 452145"/>
                    <a:gd name="connsiteX1" fmla="*/ 5665 w 514980"/>
                    <a:gd name="connsiteY1" fmla="*/ 215203 h 452145"/>
                    <a:gd name="connsiteX2" fmla="*/ 62412 w 514980"/>
                    <a:gd name="connsiteY2" fmla="*/ 127647 h 452145"/>
                    <a:gd name="connsiteX3" fmla="*/ 168766 w 514980"/>
                    <a:gd name="connsiteY3" fmla="*/ 91734 h 452145"/>
                    <a:gd name="connsiteX4" fmla="*/ 179484 w 514980"/>
                    <a:gd name="connsiteY4" fmla="*/ 4454 h 452145"/>
                    <a:gd name="connsiteX5" fmla="*/ 325550 w 514980"/>
                    <a:gd name="connsiteY5" fmla="*/ 7840 h 452145"/>
                    <a:gd name="connsiteX6" fmla="*/ 351353 w 514980"/>
                    <a:gd name="connsiteY6" fmla="*/ 94131 h 452145"/>
                    <a:gd name="connsiteX7" fmla="*/ 461084 w 514980"/>
                    <a:gd name="connsiteY7" fmla="*/ 141756 h 452145"/>
                    <a:gd name="connsiteX8" fmla="*/ 513665 w 514980"/>
                    <a:gd name="connsiteY8" fmla="*/ 224728 h 452145"/>
                    <a:gd name="connsiteX9" fmla="*/ 510490 w 514980"/>
                    <a:gd name="connsiteY9" fmla="*/ 446978 h 452145"/>
                    <a:gd name="connsiteX10" fmla="*/ 8840 w 514980"/>
                    <a:gd name="connsiteY10" fmla="*/ 440628 h 452145"/>
                    <a:gd name="connsiteX0" fmla="*/ 8840 w 514980"/>
                    <a:gd name="connsiteY0" fmla="*/ 442422 h 453939"/>
                    <a:gd name="connsiteX1" fmla="*/ 5665 w 514980"/>
                    <a:gd name="connsiteY1" fmla="*/ 216997 h 453939"/>
                    <a:gd name="connsiteX2" fmla="*/ 62412 w 514980"/>
                    <a:gd name="connsiteY2" fmla="*/ 129441 h 453939"/>
                    <a:gd name="connsiteX3" fmla="*/ 168766 w 514980"/>
                    <a:gd name="connsiteY3" fmla="*/ 93528 h 453939"/>
                    <a:gd name="connsiteX4" fmla="*/ 179484 w 514980"/>
                    <a:gd name="connsiteY4" fmla="*/ 6248 h 453939"/>
                    <a:gd name="connsiteX5" fmla="*/ 351756 w 514980"/>
                    <a:gd name="connsiteY5" fmla="*/ 886 h 453939"/>
                    <a:gd name="connsiteX6" fmla="*/ 351353 w 514980"/>
                    <a:gd name="connsiteY6" fmla="*/ 95925 h 453939"/>
                    <a:gd name="connsiteX7" fmla="*/ 461084 w 514980"/>
                    <a:gd name="connsiteY7" fmla="*/ 143550 h 453939"/>
                    <a:gd name="connsiteX8" fmla="*/ 513665 w 514980"/>
                    <a:gd name="connsiteY8" fmla="*/ 226522 h 453939"/>
                    <a:gd name="connsiteX9" fmla="*/ 510490 w 514980"/>
                    <a:gd name="connsiteY9" fmla="*/ 448772 h 453939"/>
                    <a:gd name="connsiteX10" fmla="*/ 8840 w 514980"/>
                    <a:gd name="connsiteY10" fmla="*/ 442422 h 453939"/>
                    <a:gd name="connsiteX0" fmla="*/ 8840 w 514980"/>
                    <a:gd name="connsiteY0" fmla="*/ 442422 h 453939"/>
                    <a:gd name="connsiteX1" fmla="*/ 5665 w 514980"/>
                    <a:gd name="connsiteY1" fmla="*/ 216997 h 453939"/>
                    <a:gd name="connsiteX2" fmla="*/ 62412 w 514980"/>
                    <a:gd name="connsiteY2" fmla="*/ 129441 h 453939"/>
                    <a:gd name="connsiteX3" fmla="*/ 168766 w 514980"/>
                    <a:gd name="connsiteY3" fmla="*/ 93528 h 453939"/>
                    <a:gd name="connsiteX4" fmla="*/ 179484 w 514980"/>
                    <a:gd name="connsiteY4" fmla="*/ 6248 h 453939"/>
                    <a:gd name="connsiteX5" fmla="*/ 351756 w 514980"/>
                    <a:gd name="connsiteY5" fmla="*/ 886 h 453939"/>
                    <a:gd name="connsiteX6" fmla="*/ 366640 w 514980"/>
                    <a:gd name="connsiteY6" fmla="*/ 100299 h 453939"/>
                    <a:gd name="connsiteX7" fmla="*/ 461084 w 514980"/>
                    <a:gd name="connsiteY7" fmla="*/ 143550 h 453939"/>
                    <a:gd name="connsiteX8" fmla="*/ 513665 w 514980"/>
                    <a:gd name="connsiteY8" fmla="*/ 226522 h 453939"/>
                    <a:gd name="connsiteX9" fmla="*/ 510490 w 514980"/>
                    <a:gd name="connsiteY9" fmla="*/ 448772 h 453939"/>
                    <a:gd name="connsiteX10" fmla="*/ 8840 w 514980"/>
                    <a:gd name="connsiteY10" fmla="*/ 442422 h 453939"/>
                    <a:gd name="connsiteX0" fmla="*/ 8840 w 514980"/>
                    <a:gd name="connsiteY0" fmla="*/ 442422 h 450476"/>
                    <a:gd name="connsiteX1" fmla="*/ 5665 w 514980"/>
                    <a:gd name="connsiteY1" fmla="*/ 216997 h 450476"/>
                    <a:gd name="connsiteX2" fmla="*/ 62412 w 514980"/>
                    <a:gd name="connsiteY2" fmla="*/ 129441 h 450476"/>
                    <a:gd name="connsiteX3" fmla="*/ 168766 w 514980"/>
                    <a:gd name="connsiteY3" fmla="*/ 93528 h 450476"/>
                    <a:gd name="connsiteX4" fmla="*/ 179484 w 514980"/>
                    <a:gd name="connsiteY4" fmla="*/ 6248 h 450476"/>
                    <a:gd name="connsiteX5" fmla="*/ 351756 w 514980"/>
                    <a:gd name="connsiteY5" fmla="*/ 886 h 450476"/>
                    <a:gd name="connsiteX6" fmla="*/ 366640 w 514980"/>
                    <a:gd name="connsiteY6" fmla="*/ 100299 h 450476"/>
                    <a:gd name="connsiteX7" fmla="*/ 461084 w 514980"/>
                    <a:gd name="connsiteY7" fmla="*/ 143550 h 450476"/>
                    <a:gd name="connsiteX8" fmla="*/ 513665 w 514980"/>
                    <a:gd name="connsiteY8" fmla="*/ 226522 h 450476"/>
                    <a:gd name="connsiteX9" fmla="*/ 510490 w 514980"/>
                    <a:gd name="connsiteY9" fmla="*/ 448772 h 450476"/>
                    <a:gd name="connsiteX10" fmla="*/ 8840 w 514980"/>
                    <a:gd name="connsiteY10" fmla="*/ 442422 h 450476"/>
                    <a:gd name="connsiteX0" fmla="*/ 8840 w 514980"/>
                    <a:gd name="connsiteY0" fmla="*/ 442422 h 448772"/>
                    <a:gd name="connsiteX1" fmla="*/ 5665 w 514980"/>
                    <a:gd name="connsiteY1" fmla="*/ 216997 h 448772"/>
                    <a:gd name="connsiteX2" fmla="*/ 62412 w 514980"/>
                    <a:gd name="connsiteY2" fmla="*/ 129441 h 448772"/>
                    <a:gd name="connsiteX3" fmla="*/ 168766 w 514980"/>
                    <a:gd name="connsiteY3" fmla="*/ 93528 h 448772"/>
                    <a:gd name="connsiteX4" fmla="*/ 179484 w 514980"/>
                    <a:gd name="connsiteY4" fmla="*/ 6248 h 448772"/>
                    <a:gd name="connsiteX5" fmla="*/ 351756 w 514980"/>
                    <a:gd name="connsiteY5" fmla="*/ 886 h 448772"/>
                    <a:gd name="connsiteX6" fmla="*/ 366640 w 514980"/>
                    <a:gd name="connsiteY6" fmla="*/ 100299 h 448772"/>
                    <a:gd name="connsiteX7" fmla="*/ 461084 w 514980"/>
                    <a:gd name="connsiteY7" fmla="*/ 143550 h 448772"/>
                    <a:gd name="connsiteX8" fmla="*/ 513665 w 514980"/>
                    <a:gd name="connsiteY8" fmla="*/ 226522 h 448772"/>
                    <a:gd name="connsiteX9" fmla="*/ 510490 w 514980"/>
                    <a:gd name="connsiteY9" fmla="*/ 448772 h 448772"/>
                    <a:gd name="connsiteX10" fmla="*/ 8840 w 514980"/>
                    <a:gd name="connsiteY10" fmla="*/ 442422 h 448772"/>
                    <a:gd name="connsiteX0" fmla="*/ 8840 w 514980"/>
                    <a:gd name="connsiteY0" fmla="*/ 442422 h 448772"/>
                    <a:gd name="connsiteX1" fmla="*/ 5665 w 514980"/>
                    <a:gd name="connsiteY1" fmla="*/ 216997 h 448772"/>
                    <a:gd name="connsiteX2" fmla="*/ 62412 w 514980"/>
                    <a:gd name="connsiteY2" fmla="*/ 129441 h 448772"/>
                    <a:gd name="connsiteX3" fmla="*/ 168766 w 514980"/>
                    <a:gd name="connsiteY3" fmla="*/ 93528 h 448772"/>
                    <a:gd name="connsiteX4" fmla="*/ 179484 w 514980"/>
                    <a:gd name="connsiteY4" fmla="*/ 6248 h 448772"/>
                    <a:gd name="connsiteX5" fmla="*/ 351756 w 514980"/>
                    <a:gd name="connsiteY5" fmla="*/ 886 h 448772"/>
                    <a:gd name="connsiteX6" fmla="*/ 357905 w 514980"/>
                    <a:gd name="connsiteY6" fmla="*/ 98112 h 448772"/>
                    <a:gd name="connsiteX7" fmla="*/ 461084 w 514980"/>
                    <a:gd name="connsiteY7" fmla="*/ 143550 h 448772"/>
                    <a:gd name="connsiteX8" fmla="*/ 513665 w 514980"/>
                    <a:gd name="connsiteY8" fmla="*/ 226522 h 448772"/>
                    <a:gd name="connsiteX9" fmla="*/ 510490 w 514980"/>
                    <a:gd name="connsiteY9" fmla="*/ 448772 h 448772"/>
                    <a:gd name="connsiteX10" fmla="*/ 8840 w 514980"/>
                    <a:gd name="connsiteY10" fmla="*/ 442422 h 448772"/>
                    <a:gd name="connsiteX0" fmla="*/ 8840 w 514980"/>
                    <a:gd name="connsiteY0" fmla="*/ 442422 h 448772"/>
                    <a:gd name="connsiteX1" fmla="*/ 5665 w 514980"/>
                    <a:gd name="connsiteY1" fmla="*/ 216997 h 448772"/>
                    <a:gd name="connsiteX2" fmla="*/ 62412 w 514980"/>
                    <a:gd name="connsiteY2" fmla="*/ 129441 h 448772"/>
                    <a:gd name="connsiteX3" fmla="*/ 168766 w 514980"/>
                    <a:gd name="connsiteY3" fmla="*/ 93528 h 448772"/>
                    <a:gd name="connsiteX4" fmla="*/ 179484 w 514980"/>
                    <a:gd name="connsiteY4" fmla="*/ 6248 h 448772"/>
                    <a:gd name="connsiteX5" fmla="*/ 351756 w 514980"/>
                    <a:gd name="connsiteY5" fmla="*/ 886 h 448772"/>
                    <a:gd name="connsiteX6" fmla="*/ 357905 w 514980"/>
                    <a:gd name="connsiteY6" fmla="*/ 98112 h 448772"/>
                    <a:gd name="connsiteX7" fmla="*/ 454533 w 514980"/>
                    <a:gd name="connsiteY7" fmla="*/ 136989 h 448772"/>
                    <a:gd name="connsiteX8" fmla="*/ 513665 w 514980"/>
                    <a:gd name="connsiteY8" fmla="*/ 226522 h 448772"/>
                    <a:gd name="connsiteX9" fmla="*/ 510490 w 514980"/>
                    <a:gd name="connsiteY9" fmla="*/ 448772 h 448772"/>
                    <a:gd name="connsiteX10" fmla="*/ 8840 w 514980"/>
                    <a:gd name="connsiteY10" fmla="*/ 442422 h 448772"/>
                    <a:gd name="connsiteX0" fmla="*/ 8840 w 514980"/>
                    <a:gd name="connsiteY0" fmla="*/ 442422 h 448772"/>
                    <a:gd name="connsiteX1" fmla="*/ 5665 w 514980"/>
                    <a:gd name="connsiteY1" fmla="*/ 216997 h 448772"/>
                    <a:gd name="connsiteX2" fmla="*/ 62412 w 514980"/>
                    <a:gd name="connsiteY2" fmla="*/ 129441 h 448772"/>
                    <a:gd name="connsiteX3" fmla="*/ 168766 w 514980"/>
                    <a:gd name="connsiteY3" fmla="*/ 93528 h 448772"/>
                    <a:gd name="connsiteX4" fmla="*/ 179484 w 514980"/>
                    <a:gd name="connsiteY4" fmla="*/ 6248 h 448772"/>
                    <a:gd name="connsiteX5" fmla="*/ 351756 w 514980"/>
                    <a:gd name="connsiteY5" fmla="*/ 886 h 448772"/>
                    <a:gd name="connsiteX6" fmla="*/ 357905 w 514980"/>
                    <a:gd name="connsiteY6" fmla="*/ 98112 h 448772"/>
                    <a:gd name="connsiteX7" fmla="*/ 454533 w 514980"/>
                    <a:gd name="connsiteY7" fmla="*/ 136989 h 448772"/>
                    <a:gd name="connsiteX8" fmla="*/ 513665 w 514980"/>
                    <a:gd name="connsiteY8" fmla="*/ 226522 h 448772"/>
                    <a:gd name="connsiteX9" fmla="*/ 510490 w 514980"/>
                    <a:gd name="connsiteY9" fmla="*/ 448772 h 448772"/>
                    <a:gd name="connsiteX10" fmla="*/ 8840 w 514980"/>
                    <a:gd name="connsiteY10" fmla="*/ 442422 h 448772"/>
                    <a:gd name="connsiteX0" fmla="*/ 8840 w 514980"/>
                    <a:gd name="connsiteY0" fmla="*/ 442422 h 448772"/>
                    <a:gd name="connsiteX1" fmla="*/ 5665 w 514980"/>
                    <a:gd name="connsiteY1" fmla="*/ 216997 h 448772"/>
                    <a:gd name="connsiteX2" fmla="*/ 62412 w 514980"/>
                    <a:gd name="connsiteY2" fmla="*/ 129441 h 448772"/>
                    <a:gd name="connsiteX3" fmla="*/ 168766 w 514980"/>
                    <a:gd name="connsiteY3" fmla="*/ 93528 h 448772"/>
                    <a:gd name="connsiteX4" fmla="*/ 179484 w 514980"/>
                    <a:gd name="connsiteY4" fmla="*/ 6248 h 448772"/>
                    <a:gd name="connsiteX5" fmla="*/ 351756 w 514980"/>
                    <a:gd name="connsiteY5" fmla="*/ 886 h 448772"/>
                    <a:gd name="connsiteX6" fmla="*/ 357905 w 514980"/>
                    <a:gd name="connsiteY6" fmla="*/ 98112 h 448772"/>
                    <a:gd name="connsiteX7" fmla="*/ 454533 w 514980"/>
                    <a:gd name="connsiteY7" fmla="*/ 136989 h 448772"/>
                    <a:gd name="connsiteX8" fmla="*/ 513665 w 514980"/>
                    <a:gd name="connsiteY8" fmla="*/ 226522 h 448772"/>
                    <a:gd name="connsiteX9" fmla="*/ 510490 w 514980"/>
                    <a:gd name="connsiteY9" fmla="*/ 448772 h 448772"/>
                    <a:gd name="connsiteX10" fmla="*/ 8840 w 514980"/>
                    <a:gd name="connsiteY10" fmla="*/ 442422 h 448772"/>
                    <a:gd name="connsiteX0" fmla="*/ 8840 w 514980"/>
                    <a:gd name="connsiteY0" fmla="*/ 442422 h 448772"/>
                    <a:gd name="connsiteX1" fmla="*/ 5665 w 514980"/>
                    <a:gd name="connsiteY1" fmla="*/ 216997 h 448772"/>
                    <a:gd name="connsiteX2" fmla="*/ 62412 w 514980"/>
                    <a:gd name="connsiteY2" fmla="*/ 129441 h 448772"/>
                    <a:gd name="connsiteX3" fmla="*/ 168766 w 514980"/>
                    <a:gd name="connsiteY3" fmla="*/ 93528 h 448772"/>
                    <a:gd name="connsiteX4" fmla="*/ 179484 w 514980"/>
                    <a:gd name="connsiteY4" fmla="*/ 6248 h 448772"/>
                    <a:gd name="connsiteX5" fmla="*/ 351756 w 514980"/>
                    <a:gd name="connsiteY5" fmla="*/ 886 h 448772"/>
                    <a:gd name="connsiteX6" fmla="*/ 353538 w 514980"/>
                    <a:gd name="connsiteY6" fmla="*/ 98112 h 448772"/>
                    <a:gd name="connsiteX7" fmla="*/ 454533 w 514980"/>
                    <a:gd name="connsiteY7" fmla="*/ 136989 h 448772"/>
                    <a:gd name="connsiteX8" fmla="*/ 513665 w 514980"/>
                    <a:gd name="connsiteY8" fmla="*/ 226522 h 448772"/>
                    <a:gd name="connsiteX9" fmla="*/ 510490 w 514980"/>
                    <a:gd name="connsiteY9" fmla="*/ 448772 h 448772"/>
                    <a:gd name="connsiteX10" fmla="*/ 8840 w 514980"/>
                    <a:gd name="connsiteY10" fmla="*/ 442422 h 448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14980" h="448772">
                      <a:moveTo>
                        <a:pt x="8840" y="442422"/>
                      </a:moveTo>
                      <a:cubicBezTo>
                        <a:pt x="-1214" y="377864"/>
                        <a:pt x="-3264" y="269160"/>
                        <a:pt x="5665" y="216997"/>
                      </a:cubicBezTo>
                      <a:cubicBezTo>
                        <a:pt x="14594" y="164834"/>
                        <a:pt x="35229" y="150019"/>
                        <a:pt x="62412" y="129441"/>
                      </a:cubicBezTo>
                      <a:cubicBezTo>
                        <a:pt x="89595" y="108863"/>
                        <a:pt x="149254" y="114060"/>
                        <a:pt x="168766" y="93528"/>
                      </a:cubicBezTo>
                      <a:cubicBezTo>
                        <a:pt x="188278" y="72996"/>
                        <a:pt x="189023" y="43922"/>
                        <a:pt x="179484" y="6248"/>
                      </a:cubicBezTo>
                      <a:cubicBezTo>
                        <a:pt x="202703" y="-7370"/>
                        <a:pt x="323111" y="6352"/>
                        <a:pt x="351756" y="886"/>
                      </a:cubicBezTo>
                      <a:cubicBezTo>
                        <a:pt x="354195" y="39159"/>
                        <a:pt x="342961" y="75428"/>
                        <a:pt x="353538" y="98112"/>
                      </a:cubicBezTo>
                      <a:cubicBezTo>
                        <a:pt x="364115" y="120796"/>
                        <a:pt x="427845" y="115587"/>
                        <a:pt x="454533" y="136989"/>
                      </a:cubicBezTo>
                      <a:cubicBezTo>
                        <a:pt x="481221" y="158391"/>
                        <a:pt x="503611" y="177839"/>
                        <a:pt x="513665" y="226522"/>
                      </a:cubicBezTo>
                      <a:cubicBezTo>
                        <a:pt x="516840" y="276264"/>
                        <a:pt x="513665" y="323360"/>
                        <a:pt x="510490" y="448772"/>
                      </a:cubicBezTo>
                      <a:lnTo>
                        <a:pt x="8840" y="442422"/>
                      </a:lnTo>
                      <a:close/>
                    </a:path>
                  </a:pathLst>
                </a:custGeom>
                <a:grpFill/>
                <a:ln w="571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228" name="Oval 227">
                  <a:extLst>
                    <a:ext uri="{FF2B5EF4-FFF2-40B4-BE49-F238E27FC236}">
                      <a16:creationId xmlns:a16="http://schemas.microsoft.com/office/drawing/2014/main" id="{CC216107-D3F8-3F44-9A68-9C1FCDCCAD75}"/>
                    </a:ext>
                  </a:extLst>
                </p:cNvPr>
                <p:cNvSpPr/>
                <p:nvPr/>
              </p:nvSpPr>
              <p:spPr>
                <a:xfrm>
                  <a:off x="1971467" y="3508300"/>
                  <a:ext cx="282088" cy="336550"/>
                </a:xfrm>
                <a:prstGeom prst="ellipse">
                  <a:avLst/>
                </a:prstGeom>
                <a:grpFill/>
                <a:ln w="571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grpSp>
          <p:grpSp>
            <p:nvGrpSpPr>
              <p:cNvPr id="224" name="Group 223">
                <a:extLst>
                  <a:ext uri="{FF2B5EF4-FFF2-40B4-BE49-F238E27FC236}">
                    <a16:creationId xmlns:a16="http://schemas.microsoft.com/office/drawing/2014/main" id="{A363FA77-A380-654A-BBB6-056F3AD1656B}"/>
                  </a:ext>
                </a:extLst>
              </p:cNvPr>
              <p:cNvGrpSpPr/>
              <p:nvPr/>
            </p:nvGrpSpPr>
            <p:grpSpPr>
              <a:xfrm>
                <a:off x="1553120" y="3388644"/>
                <a:ext cx="633802" cy="938165"/>
                <a:chOff x="1806977" y="3500843"/>
                <a:chExt cx="539989" cy="738018"/>
              </a:xfrm>
            </p:grpSpPr>
            <p:sp>
              <p:nvSpPr>
                <p:cNvPr id="225" name="Freeform 224">
                  <a:extLst>
                    <a:ext uri="{FF2B5EF4-FFF2-40B4-BE49-F238E27FC236}">
                      <a16:creationId xmlns:a16="http://schemas.microsoft.com/office/drawing/2014/main" id="{843A9834-9C91-A642-A6D6-EAF80C610183}"/>
                    </a:ext>
                  </a:extLst>
                </p:cNvPr>
                <p:cNvSpPr/>
                <p:nvPr/>
              </p:nvSpPr>
              <p:spPr>
                <a:xfrm>
                  <a:off x="1806977" y="3782373"/>
                  <a:ext cx="539989" cy="456488"/>
                </a:xfrm>
                <a:custGeom>
                  <a:avLst/>
                  <a:gdLst>
                    <a:gd name="connsiteX0" fmla="*/ 36807 w 576731"/>
                    <a:gd name="connsiteY0" fmla="*/ 449906 h 505924"/>
                    <a:gd name="connsiteX1" fmla="*/ 39982 w 576731"/>
                    <a:gd name="connsiteY1" fmla="*/ 214956 h 505924"/>
                    <a:gd name="connsiteX2" fmla="*/ 55857 w 576731"/>
                    <a:gd name="connsiteY2" fmla="*/ 176856 h 505924"/>
                    <a:gd name="connsiteX3" fmla="*/ 103482 w 576731"/>
                    <a:gd name="connsiteY3" fmla="*/ 160981 h 505924"/>
                    <a:gd name="connsiteX4" fmla="*/ 205082 w 576731"/>
                    <a:gd name="connsiteY4" fmla="*/ 154631 h 505924"/>
                    <a:gd name="connsiteX5" fmla="*/ 230482 w 576731"/>
                    <a:gd name="connsiteY5" fmla="*/ 151456 h 505924"/>
                    <a:gd name="connsiteX6" fmla="*/ 233657 w 576731"/>
                    <a:gd name="connsiteY6" fmla="*/ 18106 h 505924"/>
                    <a:gd name="connsiteX7" fmla="*/ 344782 w 576731"/>
                    <a:gd name="connsiteY7" fmla="*/ 14931 h 505924"/>
                    <a:gd name="connsiteX8" fmla="*/ 344782 w 576731"/>
                    <a:gd name="connsiteY8" fmla="*/ 145106 h 505924"/>
                    <a:gd name="connsiteX9" fmla="*/ 386057 w 576731"/>
                    <a:gd name="connsiteY9" fmla="*/ 151456 h 505924"/>
                    <a:gd name="connsiteX10" fmla="*/ 478132 w 576731"/>
                    <a:gd name="connsiteY10" fmla="*/ 164156 h 505924"/>
                    <a:gd name="connsiteX11" fmla="*/ 519407 w 576731"/>
                    <a:gd name="connsiteY11" fmla="*/ 189556 h 505924"/>
                    <a:gd name="connsiteX12" fmla="*/ 541632 w 576731"/>
                    <a:gd name="connsiteY12" fmla="*/ 234006 h 505924"/>
                    <a:gd name="connsiteX13" fmla="*/ 538457 w 576731"/>
                    <a:gd name="connsiteY13" fmla="*/ 488006 h 505924"/>
                    <a:gd name="connsiteX14" fmla="*/ 36807 w 576731"/>
                    <a:gd name="connsiteY14" fmla="*/ 449906 h 505924"/>
                    <a:gd name="connsiteX0" fmla="*/ 5769 w 545693"/>
                    <a:gd name="connsiteY0" fmla="*/ 449906 h 505924"/>
                    <a:gd name="connsiteX1" fmla="*/ 8944 w 545693"/>
                    <a:gd name="connsiteY1" fmla="*/ 214956 h 505924"/>
                    <a:gd name="connsiteX2" fmla="*/ 24819 w 545693"/>
                    <a:gd name="connsiteY2" fmla="*/ 176856 h 505924"/>
                    <a:gd name="connsiteX3" fmla="*/ 72444 w 545693"/>
                    <a:gd name="connsiteY3" fmla="*/ 160981 h 505924"/>
                    <a:gd name="connsiteX4" fmla="*/ 174044 w 545693"/>
                    <a:gd name="connsiteY4" fmla="*/ 154631 h 505924"/>
                    <a:gd name="connsiteX5" fmla="*/ 199444 w 545693"/>
                    <a:gd name="connsiteY5" fmla="*/ 151456 h 505924"/>
                    <a:gd name="connsiteX6" fmla="*/ 202619 w 545693"/>
                    <a:gd name="connsiteY6" fmla="*/ 18106 h 505924"/>
                    <a:gd name="connsiteX7" fmla="*/ 313744 w 545693"/>
                    <a:gd name="connsiteY7" fmla="*/ 14931 h 505924"/>
                    <a:gd name="connsiteX8" fmla="*/ 313744 w 545693"/>
                    <a:gd name="connsiteY8" fmla="*/ 145106 h 505924"/>
                    <a:gd name="connsiteX9" fmla="*/ 355019 w 545693"/>
                    <a:gd name="connsiteY9" fmla="*/ 151456 h 505924"/>
                    <a:gd name="connsiteX10" fmla="*/ 447094 w 545693"/>
                    <a:gd name="connsiteY10" fmla="*/ 164156 h 505924"/>
                    <a:gd name="connsiteX11" fmla="*/ 488369 w 545693"/>
                    <a:gd name="connsiteY11" fmla="*/ 189556 h 505924"/>
                    <a:gd name="connsiteX12" fmla="*/ 510594 w 545693"/>
                    <a:gd name="connsiteY12" fmla="*/ 234006 h 505924"/>
                    <a:gd name="connsiteX13" fmla="*/ 507419 w 545693"/>
                    <a:gd name="connsiteY13" fmla="*/ 488006 h 505924"/>
                    <a:gd name="connsiteX14" fmla="*/ 5769 w 545693"/>
                    <a:gd name="connsiteY14" fmla="*/ 449906 h 505924"/>
                    <a:gd name="connsiteX0" fmla="*/ 21286 w 561210"/>
                    <a:gd name="connsiteY0" fmla="*/ 449906 h 508025"/>
                    <a:gd name="connsiteX1" fmla="*/ 24461 w 561210"/>
                    <a:gd name="connsiteY1" fmla="*/ 214956 h 508025"/>
                    <a:gd name="connsiteX2" fmla="*/ 40336 w 561210"/>
                    <a:gd name="connsiteY2" fmla="*/ 176856 h 508025"/>
                    <a:gd name="connsiteX3" fmla="*/ 87961 w 561210"/>
                    <a:gd name="connsiteY3" fmla="*/ 160981 h 508025"/>
                    <a:gd name="connsiteX4" fmla="*/ 189561 w 561210"/>
                    <a:gd name="connsiteY4" fmla="*/ 154631 h 508025"/>
                    <a:gd name="connsiteX5" fmla="*/ 214961 w 561210"/>
                    <a:gd name="connsiteY5" fmla="*/ 151456 h 508025"/>
                    <a:gd name="connsiteX6" fmla="*/ 218136 w 561210"/>
                    <a:gd name="connsiteY6" fmla="*/ 18106 h 508025"/>
                    <a:gd name="connsiteX7" fmla="*/ 329261 w 561210"/>
                    <a:gd name="connsiteY7" fmla="*/ 14931 h 508025"/>
                    <a:gd name="connsiteX8" fmla="*/ 329261 w 561210"/>
                    <a:gd name="connsiteY8" fmla="*/ 145106 h 508025"/>
                    <a:gd name="connsiteX9" fmla="*/ 370536 w 561210"/>
                    <a:gd name="connsiteY9" fmla="*/ 151456 h 508025"/>
                    <a:gd name="connsiteX10" fmla="*/ 462611 w 561210"/>
                    <a:gd name="connsiteY10" fmla="*/ 164156 h 508025"/>
                    <a:gd name="connsiteX11" fmla="*/ 503886 w 561210"/>
                    <a:gd name="connsiteY11" fmla="*/ 189556 h 508025"/>
                    <a:gd name="connsiteX12" fmla="*/ 526111 w 561210"/>
                    <a:gd name="connsiteY12" fmla="*/ 234006 h 508025"/>
                    <a:gd name="connsiteX13" fmla="*/ 522936 w 561210"/>
                    <a:gd name="connsiteY13" fmla="*/ 488006 h 508025"/>
                    <a:gd name="connsiteX14" fmla="*/ 21286 w 561210"/>
                    <a:gd name="connsiteY14" fmla="*/ 449906 h 508025"/>
                    <a:gd name="connsiteX0" fmla="*/ 21286 w 561210"/>
                    <a:gd name="connsiteY0" fmla="*/ 449906 h 508025"/>
                    <a:gd name="connsiteX1" fmla="*/ 24461 w 561210"/>
                    <a:gd name="connsiteY1" fmla="*/ 214956 h 508025"/>
                    <a:gd name="connsiteX2" fmla="*/ 40336 w 561210"/>
                    <a:gd name="connsiteY2" fmla="*/ 176856 h 508025"/>
                    <a:gd name="connsiteX3" fmla="*/ 87961 w 561210"/>
                    <a:gd name="connsiteY3" fmla="*/ 160981 h 508025"/>
                    <a:gd name="connsiteX4" fmla="*/ 189561 w 561210"/>
                    <a:gd name="connsiteY4" fmla="*/ 154631 h 508025"/>
                    <a:gd name="connsiteX5" fmla="*/ 214961 w 561210"/>
                    <a:gd name="connsiteY5" fmla="*/ 151456 h 508025"/>
                    <a:gd name="connsiteX6" fmla="*/ 218136 w 561210"/>
                    <a:gd name="connsiteY6" fmla="*/ 18106 h 508025"/>
                    <a:gd name="connsiteX7" fmla="*/ 329261 w 561210"/>
                    <a:gd name="connsiteY7" fmla="*/ 14931 h 508025"/>
                    <a:gd name="connsiteX8" fmla="*/ 329261 w 561210"/>
                    <a:gd name="connsiteY8" fmla="*/ 145106 h 508025"/>
                    <a:gd name="connsiteX9" fmla="*/ 370536 w 561210"/>
                    <a:gd name="connsiteY9" fmla="*/ 151456 h 508025"/>
                    <a:gd name="connsiteX10" fmla="*/ 462611 w 561210"/>
                    <a:gd name="connsiteY10" fmla="*/ 164156 h 508025"/>
                    <a:gd name="connsiteX11" fmla="*/ 503886 w 561210"/>
                    <a:gd name="connsiteY11" fmla="*/ 189556 h 508025"/>
                    <a:gd name="connsiteX12" fmla="*/ 526111 w 561210"/>
                    <a:gd name="connsiteY12" fmla="*/ 234006 h 508025"/>
                    <a:gd name="connsiteX13" fmla="*/ 522936 w 561210"/>
                    <a:gd name="connsiteY13" fmla="*/ 488006 h 508025"/>
                    <a:gd name="connsiteX14" fmla="*/ 21286 w 561210"/>
                    <a:gd name="connsiteY14" fmla="*/ 449906 h 508025"/>
                    <a:gd name="connsiteX0" fmla="*/ 4360 w 544284"/>
                    <a:gd name="connsiteY0" fmla="*/ 449906 h 508025"/>
                    <a:gd name="connsiteX1" fmla="*/ 7535 w 544284"/>
                    <a:gd name="connsiteY1" fmla="*/ 214956 h 508025"/>
                    <a:gd name="connsiteX2" fmla="*/ 23410 w 544284"/>
                    <a:gd name="connsiteY2" fmla="*/ 176856 h 508025"/>
                    <a:gd name="connsiteX3" fmla="*/ 71035 w 544284"/>
                    <a:gd name="connsiteY3" fmla="*/ 160981 h 508025"/>
                    <a:gd name="connsiteX4" fmla="*/ 172635 w 544284"/>
                    <a:gd name="connsiteY4" fmla="*/ 154631 h 508025"/>
                    <a:gd name="connsiteX5" fmla="*/ 198035 w 544284"/>
                    <a:gd name="connsiteY5" fmla="*/ 151456 h 508025"/>
                    <a:gd name="connsiteX6" fmla="*/ 201210 w 544284"/>
                    <a:gd name="connsiteY6" fmla="*/ 18106 h 508025"/>
                    <a:gd name="connsiteX7" fmla="*/ 312335 w 544284"/>
                    <a:gd name="connsiteY7" fmla="*/ 14931 h 508025"/>
                    <a:gd name="connsiteX8" fmla="*/ 312335 w 544284"/>
                    <a:gd name="connsiteY8" fmla="*/ 145106 h 508025"/>
                    <a:gd name="connsiteX9" fmla="*/ 353610 w 544284"/>
                    <a:gd name="connsiteY9" fmla="*/ 151456 h 508025"/>
                    <a:gd name="connsiteX10" fmla="*/ 445685 w 544284"/>
                    <a:gd name="connsiteY10" fmla="*/ 164156 h 508025"/>
                    <a:gd name="connsiteX11" fmla="*/ 486960 w 544284"/>
                    <a:gd name="connsiteY11" fmla="*/ 189556 h 508025"/>
                    <a:gd name="connsiteX12" fmla="*/ 509185 w 544284"/>
                    <a:gd name="connsiteY12" fmla="*/ 234006 h 508025"/>
                    <a:gd name="connsiteX13" fmla="*/ 506010 w 544284"/>
                    <a:gd name="connsiteY13" fmla="*/ 488006 h 508025"/>
                    <a:gd name="connsiteX14" fmla="*/ 4360 w 544284"/>
                    <a:gd name="connsiteY14" fmla="*/ 449906 h 508025"/>
                    <a:gd name="connsiteX0" fmla="*/ 4360 w 544284"/>
                    <a:gd name="connsiteY0" fmla="*/ 449906 h 500804"/>
                    <a:gd name="connsiteX1" fmla="*/ 7535 w 544284"/>
                    <a:gd name="connsiteY1" fmla="*/ 214956 h 500804"/>
                    <a:gd name="connsiteX2" fmla="*/ 23410 w 544284"/>
                    <a:gd name="connsiteY2" fmla="*/ 176856 h 500804"/>
                    <a:gd name="connsiteX3" fmla="*/ 71035 w 544284"/>
                    <a:gd name="connsiteY3" fmla="*/ 160981 h 500804"/>
                    <a:gd name="connsiteX4" fmla="*/ 172635 w 544284"/>
                    <a:gd name="connsiteY4" fmla="*/ 154631 h 500804"/>
                    <a:gd name="connsiteX5" fmla="*/ 198035 w 544284"/>
                    <a:gd name="connsiteY5" fmla="*/ 151456 h 500804"/>
                    <a:gd name="connsiteX6" fmla="*/ 201210 w 544284"/>
                    <a:gd name="connsiteY6" fmla="*/ 18106 h 500804"/>
                    <a:gd name="connsiteX7" fmla="*/ 312335 w 544284"/>
                    <a:gd name="connsiteY7" fmla="*/ 14931 h 500804"/>
                    <a:gd name="connsiteX8" fmla="*/ 312335 w 544284"/>
                    <a:gd name="connsiteY8" fmla="*/ 145106 h 500804"/>
                    <a:gd name="connsiteX9" fmla="*/ 353610 w 544284"/>
                    <a:gd name="connsiteY9" fmla="*/ 151456 h 500804"/>
                    <a:gd name="connsiteX10" fmla="*/ 445685 w 544284"/>
                    <a:gd name="connsiteY10" fmla="*/ 164156 h 500804"/>
                    <a:gd name="connsiteX11" fmla="*/ 486960 w 544284"/>
                    <a:gd name="connsiteY11" fmla="*/ 189556 h 500804"/>
                    <a:gd name="connsiteX12" fmla="*/ 509185 w 544284"/>
                    <a:gd name="connsiteY12" fmla="*/ 234006 h 500804"/>
                    <a:gd name="connsiteX13" fmla="*/ 506010 w 544284"/>
                    <a:gd name="connsiteY13" fmla="*/ 488006 h 500804"/>
                    <a:gd name="connsiteX14" fmla="*/ 4360 w 544284"/>
                    <a:gd name="connsiteY14" fmla="*/ 449906 h 500804"/>
                    <a:gd name="connsiteX0" fmla="*/ 4360 w 544284"/>
                    <a:gd name="connsiteY0" fmla="*/ 449906 h 500804"/>
                    <a:gd name="connsiteX1" fmla="*/ 7535 w 544284"/>
                    <a:gd name="connsiteY1" fmla="*/ 214956 h 500804"/>
                    <a:gd name="connsiteX2" fmla="*/ 23410 w 544284"/>
                    <a:gd name="connsiteY2" fmla="*/ 176856 h 500804"/>
                    <a:gd name="connsiteX3" fmla="*/ 71035 w 544284"/>
                    <a:gd name="connsiteY3" fmla="*/ 160981 h 500804"/>
                    <a:gd name="connsiteX4" fmla="*/ 172635 w 544284"/>
                    <a:gd name="connsiteY4" fmla="*/ 154631 h 500804"/>
                    <a:gd name="connsiteX5" fmla="*/ 198035 w 544284"/>
                    <a:gd name="connsiteY5" fmla="*/ 151456 h 500804"/>
                    <a:gd name="connsiteX6" fmla="*/ 201210 w 544284"/>
                    <a:gd name="connsiteY6" fmla="*/ 18106 h 500804"/>
                    <a:gd name="connsiteX7" fmla="*/ 312335 w 544284"/>
                    <a:gd name="connsiteY7" fmla="*/ 14931 h 500804"/>
                    <a:gd name="connsiteX8" fmla="*/ 312335 w 544284"/>
                    <a:gd name="connsiteY8" fmla="*/ 145106 h 500804"/>
                    <a:gd name="connsiteX9" fmla="*/ 353610 w 544284"/>
                    <a:gd name="connsiteY9" fmla="*/ 151456 h 500804"/>
                    <a:gd name="connsiteX10" fmla="*/ 445685 w 544284"/>
                    <a:gd name="connsiteY10" fmla="*/ 164156 h 500804"/>
                    <a:gd name="connsiteX11" fmla="*/ 486960 w 544284"/>
                    <a:gd name="connsiteY11" fmla="*/ 189556 h 500804"/>
                    <a:gd name="connsiteX12" fmla="*/ 509185 w 544284"/>
                    <a:gd name="connsiteY12" fmla="*/ 234006 h 500804"/>
                    <a:gd name="connsiteX13" fmla="*/ 506010 w 544284"/>
                    <a:gd name="connsiteY13" fmla="*/ 488006 h 500804"/>
                    <a:gd name="connsiteX14" fmla="*/ 4360 w 544284"/>
                    <a:gd name="connsiteY14" fmla="*/ 449906 h 500804"/>
                    <a:gd name="connsiteX0" fmla="*/ 4360 w 519024"/>
                    <a:gd name="connsiteY0" fmla="*/ 449906 h 500804"/>
                    <a:gd name="connsiteX1" fmla="*/ 7535 w 519024"/>
                    <a:gd name="connsiteY1" fmla="*/ 214956 h 500804"/>
                    <a:gd name="connsiteX2" fmla="*/ 23410 w 519024"/>
                    <a:gd name="connsiteY2" fmla="*/ 176856 h 500804"/>
                    <a:gd name="connsiteX3" fmla="*/ 71035 w 519024"/>
                    <a:gd name="connsiteY3" fmla="*/ 160981 h 500804"/>
                    <a:gd name="connsiteX4" fmla="*/ 172635 w 519024"/>
                    <a:gd name="connsiteY4" fmla="*/ 154631 h 500804"/>
                    <a:gd name="connsiteX5" fmla="*/ 198035 w 519024"/>
                    <a:gd name="connsiteY5" fmla="*/ 151456 h 500804"/>
                    <a:gd name="connsiteX6" fmla="*/ 201210 w 519024"/>
                    <a:gd name="connsiteY6" fmla="*/ 18106 h 500804"/>
                    <a:gd name="connsiteX7" fmla="*/ 312335 w 519024"/>
                    <a:gd name="connsiteY7" fmla="*/ 14931 h 500804"/>
                    <a:gd name="connsiteX8" fmla="*/ 312335 w 519024"/>
                    <a:gd name="connsiteY8" fmla="*/ 145106 h 500804"/>
                    <a:gd name="connsiteX9" fmla="*/ 353610 w 519024"/>
                    <a:gd name="connsiteY9" fmla="*/ 151456 h 500804"/>
                    <a:gd name="connsiteX10" fmla="*/ 445685 w 519024"/>
                    <a:gd name="connsiteY10" fmla="*/ 164156 h 500804"/>
                    <a:gd name="connsiteX11" fmla="*/ 486960 w 519024"/>
                    <a:gd name="connsiteY11" fmla="*/ 189556 h 500804"/>
                    <a:gd name="connsiteX12" fmla="*/ 509185 w 519024"/>
                    <a:gd name="connsiteY12" fmla="*/ 234006 h 500804"/>
                    <a:gd name="connsiteX13" fmla="*/ 506010 w 519024"/>
                    <a:gd name="connsiteY13" fmla="*/ 488006 h 500804"/>
                    <a:gd name="connsiteX14" fmla="*/ 4360 w 519024"/>
                    <a:gd name="connsiteY14" fmla="*/ 449906 h 500804"/>
                    <a:gd name="connsiteX0" fmla="*/ 4360 w 519024"/>
                    <a:gd name="connsiteY0" fmla="*/ 449906 h 488006"/>
                    <a:gd name="connsiteX1" fmla="*/ 7535 w 519024"/>
                    <a:gd name="connsiteY1" fmla="*/ 214956 h 488006"/>
                    <a:gd name="connsiteX2" fmla="*/ 23410 w 519024"/>
                    <a:gd name="connsiteY2" fmla="*/ 176856 h 488006"/>
                    <a:gd name="connsiteX3" fmla="*/ 71035 w 519024"/>
                    <a:gd name="connsiteY3" fmla="*/ 160981 h 488006"/>
                    <a:gd name="connsiteX4" fmla="*/ 172635 w 519024"/>
                    <a:gd name="connsiteY4" fmla="*/ 154631 h 488006"/>
                    <a:gd name="connsiteX5" fmla="*/ 198035 w 519024"/>
                    <a:gd name="connsiteY5" fmla="*/ 151456 h 488006"/>
                    <a:gd name="connsiteX6" fmla="*/ 201210 w 519024"/>
                    <a:gd name="connsiteY6" fmla="*/ 18106 h 488006"/>
                    <a:gd name="connsiteX7" fmla="*/ 312335 w 519024"/>
                    <a:gd name="connsiteY7" fmla="*/ 14931 h 488006"/>
                    <a:gd name="connsiteX8" fmla="*/ 312335 w 519024"/>
                    <a:gd name="connsiteY8" fmla="*/ 145106 h 488006"/>
                    <a:gd name="connsiteX9" fmla="*/ 353610 w 519024"/>
                    <a:gd name="connsiteY9" fmla="*/ 151456 h 488006"/>
                    <a:gd name="connsiteX10" fmla="*/ 445685 w 519024"/>
                    <a:gd name="connsiteY10" fmla="*/ 164156 h 488006"/>
                    <a:gd name="connsiteX11" fmla="*/ 486960 w 519024"/>
                    <a:gd name="connsiteY11" fmla="*/ 189556 h 488006"/>
                    <a:gd name="connsiteX12" fmla="*/ 509185 w 519024"/>
                    <a:gd name="connsiteY12" fmla="*/ 234006 h 488006"/>
                    <a:gd name="connsiteX13" fmla="*/ 506010 w 519024"/>
                    <a:gd name="connsiteY13" fmla="*/ 488006 h 488006"/>
                    <a:gd name="connsiteX14" fmla="*/ 4360 w 519024"/>
                    <a:gd name="connsiteY14" fmla="*/ 449906 h 488006"/>
                    <a:gd name="connsiteX0" fmla="*/ 4360 w 523534"/>
                    <a:gd name="connsiteY0" fmla="*/ 449906 h 472131"/>
                    <a:gd name="connsiteX1" fmla="*/ 7535 w 523534"/>
                    <a:gd name="connsiteY1" fmla="*/ 214956 h 472131"/>
                    <a:gd name="connsiteX2" fmla="*/ 23410 w 523534"/>
                    <a:gd name="connsiteY2" fmla="*/ 176856 h 472131"/>
                    <a:gd name="connsiteX3" fmla="*/ 71035 w 523534"/>
                    <a:gd name="connsiteY3" fmla="*/ 160981 h 472131"/>
                    <a:gd name="connsiteX4" fmla="*/ 172635 w 523534"/>
                    <a:gd name="connsiteY4" fmla="*/ 154631 h 472131"/>
                    <a:gd name="connsiteX5" fmla="*/ 198035 w 523534"/>
                    <a:gd name="connsiteY5" fmla="*/ 151456 h 472131"/>
                    <a:gd name="connsiteX6" fmla="*/ 201210 w 523534"/>
                    <a:gd name="connsiteY6" fmla="*/ 18106 h 472131"/>
                    <a:gd name="connsiteX7" fmla="*/ 312335 w 523534"/>
                    <a:gd name="connsiteY7" fmla="*/ 14931 h 472131"/>
                    <a:gd name="connsiteX8" fmla="*/ 312335 w 523534"/>
                    <a:gd name="connsiteY8" fmla="*/ 145106 h 472131"/>
                    <a:gd name="connsiteX9" fmla="*/ 353610 w 523534"/>
                    <a:gd name="connsiteY9" fmla="*/ 151456 h 472131"/>
                    <a:gd name="connsiteX10" fmla="*/ 445685 w 523534"/>
                    <a:gd name="connsiteY10" fmla="*/ 164156 h 472131"/>
                    <a:gd name="connsiteX11" fmla="*/ 486960 w 523534"/>
                    <a:gd name="connsiteY11" fmla="*/ 189556 h 472131"/>
                    <a:gd name="connsiteX12" fmla="*/ 509185 w 523534"/>
                    <a:gd name="connsiteY12" fmla="*/ 234006 h 472131"/>
                    <a:gd name="connsiteX13" fmla="*/ 512360 w 523534"/>
                    <a:gd name="connsiteY13" fmla="*/ 472131 h 472131"/>
                    <a:gd name="connsiteX14" fmla="*/ 4360 w 523534"/>
                    <a:gd name="connsiteY14" fmla="*/ 449906 h 472131"/>
                    <a:gd name="connsiteX0" fmla="*/ 4360 w 513675"/>
                    <a:gd name="connsiteY0" fmla="*/ 449906 h 472131"/>
                    <a:gd name="connsiteX1" fmla="*/ 7535 w 513675"/>
                    <a:gd name="connsiteY1" fmla="*/ 214956 h 472131"/>
                    <a:gd name="connsiteX2" fmla="*/ 23410 w 513675"/>
                    <a:gd name="connsiteY2" fmla="*/ 176856 h 472131"/>
                    <a:gd name="connsiteX3" fmla="*/ 71035 w 513675"/>
                    <a:gd name="connsiteY3" fmla="*/ 160981 h 472131"/>
                    <a:gd name="connsiteX4" fmla="*/ 172635 w 513675"/>
                    <a:gd name="connsiteY4" fmla="*/ 154631 h 472131"/>
                    <a:gd name="connsiteX5" fmla="*/ 198035 w 513675"/>
                    <a:gd name="connsiteY5" fmla="*/ 151456 h 472131"/>
                    <a:gd name="connsiteX6" fmla="*/ 201210 w 513675"/>
                    <a:gd name="connsiteY6" fmla="*/ 18106 h 472131"/>
                    <a:gd name="connsiteX7" fmla="*/ 312335 w 513675"/>
                    <a:gd name="connsiteY7" fmla="*/ 14931 h 472131"/>
                    <a:gd name="connsiteX8" fmla="*/ 312335 w 513675"/>
                    <a:gd name="connsiteY8" fmla="*/ 145106 h 472131"/>
                    <a:gd name="connsiteX9" fmla="*/ 353610 w 513675"/>
                    <a:gd name="connsiteY9" fmla="*/ 151456 h 472131"/>
                    <a:gd name="connsiteX10" fmla="*/ 445685 w 513675"/>
                    <a:gd name="connsiteY10" fmla="*/ 164156 h 472131"/>
                    <a:gd name="connsiteX11" fmla="*/ 486960 w 513675"/>
                    <a:gd name="connsiteY11" fmla="*/ 189556 h 472131"/>
                    <a:gd name="connsiteX12" fmla="*/ 509185 w 513675"/>
                    <a:gd name="connsiteY12" fmla="*/ 234006 h 472131"/>
                    <a:gd name="connsiteX13" fmla="*/ 512360 w 513675"/>
                    <a:gd name="connsiteY13" fmla="*/ 472131 h 472131"/>
                    <a:gd name="connsiteX14" fmla="*/ 4360 w 513675"/>
                    <a:gd name="connsiteY14" fmla="*/ 449906 h 472131"/>
                    <a:gd name="connsiteX0" fmla="*/ 4360 w 513675"/>
                    <a:gd name="connsiteY0" fmla="*/ 446969 h 469194"/>
                    <a:gd name="connsiteX1" fmla="*/ 7535 w 513675"/>
                    <a:gd name="connsiteY1" fmla="*/ 212019 h 469194"/>
                    <a:gd name="connsiteX2" fmla="*/ 23410 w 513675"/>
                    <a:gd name="connsiteY2" fmla="*/ 173919 h 469194"/>
                    <a:gd name="connsiteX3" fmla="*/ 71035 w 513675"/>
                    <a:gd name="connsiteY3" fmla="*/ 158044 h 469194"/>
                    <a:gd name="connsiteX4" fmla="*/ 172635 w 513675"/>
                    <a:gd name="connsiteY4" fmla="*/ 151694 h 469194"/>
                    <a:gd name="connsiteX5" fmla="*/ 188510 w 513675"/>
                    <a:gd name="connsiteY5" fmla="*/ 94544 h 469194"/>
                    <a:gd name="connsiteX6" fmla="*/ 201210 w 513675"/>
                    <a:gd name="connsiteY6" fmla="*/ 15169 h 469194"/>
                    <a:gd name="connsiteX7" fmla="*/ 312335 w 513675"/>
                    <a:gd name="connsiteY7" fmla="*/ 11994 h 469194"/>
                    <a:gd name="connsiteX8" fmla="*/ 312335 w 513675"/>
                    <a:gd name="connsiteY8" fmla="*/ 142169 h 469194"/>
                    <a:gd name="connsiteX9" fmla="*/ 353610 w 513675"/>
                    <a:gd name="connsiteY9" fmla="*/ 148519 h 469194"/>
                    <a:gd name="connsiteX10" fmla="*/ 445685 w 513675"/>
                    <a:gd name="connsiteY10" fmla="*/ 161219 h 469194"/>
                    <a:gd name="connsiteX11" fmla="*/ 486960 w 513675"/>
                    <a:gd name="connsiteY11" fmla="*/ 186619 h 469194"/>
                    <a:gd name="connsiteX12" fmla="*/ 509185 w 513675"/>
                    <a:gd name="connsiteY12" fmla="*/ 231069 h 469194"/>
                    <a:gd name="connsiteX13" fmla="*/ 512360 w 513675"/>
                    <a:gd name="connsiteY13" fmla="*/ 469194 h 469194"/>
                    <a:gd name="connsiteX14" fmla="*/ 4360 w 513675"/>
                    <a:gd name="connsiteY14" fmla="*/ 446969 h 469194"/>
                    <a:gd name="connsiteX0" fmla="*/ 4360 w 513675"/>
                    <a:gd name="connsiteY0" fmla="*/ 443409 h 465634"/>
                    <a:gd name="connsiteX1" fmla="*/ 7535 w 513675"/>
                    <a:gd name="connsiteY1" fmla="*/ 208459 h 465634"/>
                    <a:gd name="connsiteX2" fmla="*/ 23410 w 513675"/>
                    <a:gd name="connsiteY2" fmla="*/ 170359 h 465634"/>
                    <a:gd name="connsiteX3" fmla="*/ 71035 w 513675"/>
                    <a:gd name="connsiteY3" fmla="*/ 154484 h 465634"/>
                    <a:gd name="connsiteX4" fmla="*/ 172635 w 513675"/>
                    <a:gd name="connsiteY4" fmla="*/ 148134 h 465634"/>
                    <a:gd name="connsiteX5" fmla="*/ 188510 w 513675"/>
                    <a:gd name="connsiteY5" fmla="*/ 90984 h 465634"/>
                    <a:gd name="connsiteX6" fmla="*/ 201210 w 513675"/>
                    <a:gd name="connsiteY6" fmla="*/ 11609 h 465634"/>
                    <a:gd name="connsiteX7" fmla="*/ 312335 w 513675"/>
                    <a:gd name="connsiteY7" fmla="*/ 8434 h 465634"/>
                    <a:gd name="connsiteX8" fmla="*/ 312335 w 513675"/>
                    <a:gd name="connsiteY8" fmla="*/ 87809 h 465634"/>
                    <a:gd name="connsiteX9" fmla="*/ 353610 w 513675"/>
                    <a:gd name="connsiteY9" fmla="*/ 144959 h 465634"/>
                    <a:gd name="connsiteX10" fmla="*/ 445685 w 513675"/>
                    <a:gd name="connsiteY10" fmla="*/ 157659 h 465634"/>
                    <a:gd name="connsiteX11" fmla="*/ 486960 w 513675"/>
                    <a:gd name="connsiteY11" fmla="*/ 183059 h 465634"/>
                    <a:gd name="connsiteX12" fmla="*/ 509185 w 513675"/>
                    <a:gd name="connsiteY12" fmla="*/ 227509 h 465634"/>
                    <a:gd name="connsiteX13" fmla="*/ 512360 w 513675"/>
                    <a:gd name="connsiteY13" fmla="*/ 465634 h 465634"/>
                    <a:gd name="connsiteX14" fmla="*/ 4360 w 513675"/>
                    <a:gd name="connsiteY14" fmla="*/ 443409 h 465634"/>
                    <a:gd name="connsiteX0" fmla="*/ 4360 w 513675"/>
                    <a:gd name="connsiteY0" fmla="*/ 443409 h 465634"/>
                    <a:gd name="connsiteX1" fmla="*/ 7535 w 513675"/>
                    <a:gd name="connsiteY1" fmla="*/ 208459 h 465634"/>
                    <a:gd name="connsiteX2" fmla="*/ 23410 w 513675"/>
                    <a:gd name="connsiteY2" fmla="*/ 170359 h 465634"/>
                    <a:gd name="connsiteX3" fmla="*/ 71035 w 513675"/>
                    <a:gd name="connsiteY3" fmla="*/ 154484 h 465634"/>
                    <a:gd name="connsiteX4" fmla="*/ 172635 w 513675"/>
                    <a:gd name="connsiteY4" fmla="*/ 148134 h 465634"/>
                    <a:gd name="connsiteX5" fmla="*/ 188510 w 513675"/>
                    <a:gd name="connsiteY5" fmla="*/ 90984 h 465634"/>
                    <a:gd name="connsiteX6" fmla="*/ 201210 w 513675"/>
                    <a:gd name="connsiteY6" fmla="*/ 11609 h 465634"/>
                    <a:gd name="connsiteX7" fmla="*/ 312335 w 513675"/>
                    <a:gd name="connsiteY7" fmla="*/ 8434 h 465634"/>
                    <a:gd name="connsiteX8" fmla="*/ 312335 w 513675"/>
                    <a:gd name="connsiteY8" fmla="*/ 87809 h 465634"/>
                    <a:gd name="connsiteX9" fmla="*/ 334560 w 513675"/>
                    <a:gd name="connsiteY9" fmla="*/ 135434 h 465634"/>
                    <a:gd name="connsiteX10" fmla="*/ 445685 w 513675"/>
                    <a:gd name="connsiteY10" fmla="*/ 157659 h 465634"/>
                    <a:gd name="connsiteX11" fmla="*/ 486960 w 513675"/>
                    <a:gd name="connsiteY11" fmla="*/ 183059 h 465634"/>
                    <a:gd name="connsiteX12" fmla="*/ 509185 w 513675"/>
                    <a:gd name="connsiteY12" fmla="*/ 227509 h 465634"/>
                    <a:gd name="connsiteX13" fmla="*/ 512360 w 513675"/>
                    <a:gd name="connsiteY13" fmla="*/ 465634 h 465634"/>
                    <a:gd name="connsiteX14" fmla="*/ 4360 w 513675"/>
                    <a:gd name="connsiteY14" fmla="*/ 443409 h 465634"/>
                    <a:gd name="connsiteX0" fmla="*/ 4360 w 510500"/>
                    <a:gd name="connsiteY0" fmla="*/ 443409 h 449759"/>
                    <a:gd name="connsiteX1" fmla="*/ 7535 w 510500"/>
                    <a:gd name="connsiteY1" fmla="*/ 208459 h 449759"/>
                    <a:gd name="connsiteX2" fmla="*/ 23410 w 510500"/>
                    <a:gd name="connsiteY2" fmla="*/ 170359 h 449759"/>
                    <a:gd name="connsiteX3" fmla="*/ 71035 w 510500"/>
                    <a:gd name="connsiteY3" fmla="*/ 154484 h 449759"/>
                    <a:gd name="connsiteX4" fmla="*/ 172635 w 510500"/>
                    <a:gd name="connsiteY4" fmla="*/ 148134 h 449759"/>
                    <a:gd name="connsiteX5" fmla="*/ 188510 w 510500"/>
                    <a:gd name="connsiteY5" fmla="*/ 90984 h 449759"/>
                    <a:gd name="connsiteX6" fmla="*/ 201210 w 510500"/>
                    <a:gd name="connsiteY6" fmla="*/ 11609 h 449759"/>
                    <a:gd name="connsiteX7" fmla="*/ 312335 w 510500"/>
                    <a:gd name="connsiteY7" fmla="*/ 8434 h 449759"/>
                    <a:gd name="connsiteX8" fmla="*/ 312335 w 510500"/>
                    <a:gd name="connsiteY8" fmla="*/ 87809 h 449759"/>
                    <a:gd name="connsiteX9" fmla="*/ 334560 w 510500"/>
                    <a:gd name="connsiteY9" fmla="*/ 135434 h 449759"/>
                    <a:gd name="connsiteX10" fmla="*/ 445685 w 510500"/>
                    <a:gd name="connsiteY10" fmla="*/ 157659 h 449759"/>
                    <a:gd name="connsiteX11" fmla="*/ 486960 w 510500"/>
                    <a:gd name="connsiteY11" fmla="*/ 183059 h 449759"/>
                    <a:gd name="connsiteX12" fmla="*/ 509185 w 510500"/>
                    <a:gd name="connsiteY12" fmla="*/ 227509 h 449759"/>
                    <a:gd name="connsiteX13" fmla="*/ 506010 w 510500"/>
                    <a:gd name="connsiteY13" fmla="*/ 449759 h 449759"/>
                    <a:gd name="connsiteX14" fmla="*/ 4360 w 510500"/>
                    <a:gd name="connsiteY14" fmla="*/ 443409 h 449759"/>
                    <a:gd name="connsiteX0" fmla="*/ 4360 w 510500"/>
                    <a:gd name="connsiteY0" fmla="*/ 443409 h 454926"/>
                    <a:gd name="connsiteX1" fmla="*/ 7535 w 510500"/>
                    <a:gd name="connsiteY1" fmla="*/ 208459 h 454926"/>
                    <a:gd name="connsiteX2" fmla="*/ 23410 w 510500"/>
                    <a:gd name="connsiteY2" fmla="*/ 170359 h 454926"/>
                    <a:gd name="connsiteX3" fmla="*/ 71035 w 510500"/>
                    <a:gd name="connsiteY3" fmla="*/ 154484 h 454926"/>
                    <a:gd name="connsiteX4" fmla="*/ 172635 w 510500"/>
                    <a:gd name="connsiteY4" fmla="*/ 148134 h 454926"/>
                    <a:gd name="connsiteX5" fmla="*/ 188510 w 510500"/>
                    <a:gd name="connsiteY5" fmla="*/ 90984 h 454926"/>
                    <a:gd name="connsiteX6" fmla="*/ 201210 w 510500"/>
                    <a:gd name="connsiteY6" fmla="*/ 11609 h 454926"/>
                    <a:gd name="connsiteX7" fmla="*/ 312335 w 510500"/>
                    <a:gd name="connsiteY7" fmla="*/ 8434 h 454926"/>
                    <a:gd name="connsiteX8" fmla="*/ 312335 w 510500"/>
                    <a:gd name="connsiteY8" fmla="*/ 87809 h 454926"/>
                    <a:gd name="connsiteX9" fmla="*/ 334560 w 510500"/>
                    <a:gd name="connsiteY9" fmla="*/ 135434 h 454926"/>
                    <a:gd name="connsiteX10" fmla="*/ 445685 w 510500"/>
                    <a:gd name="connsiteY10" fmla="*/ 157659 h 454926"/>
                    <a:gd name="connsiteX11" fmla="*/ 486960 w 510500"/>
                    <a:gd name="connsiteY11" fmla="*/ 183059 h 454926"/>
                    <a:gd name="connsiteX12" fmla="*/ 509185 w 510500"/>
                    <a:gd name="connsiteY12" fmla="*/ 227509 h 454926"/>
                    <a:gd name="connsiteX13" fmla="*/ 506010 w 510500"/>
                    <a:gd name="connsiteY13" fmla="*/ 449759 h 454926"/>
                    <a:gd name="connsiteX14" fmla="*/ 4360 w 510500"/>
                    <a:gd name="connsiteY14" fmla="*/ 443409 h 454926"/>
                    <a:gd name="connsiteX0" fmla="*/ 6473 w 512613"/>
                    <a:gd name="connsiteY0" fmla="*/ 443409 h 454926"/>
                    <a:gd name="connsiteX1" fmla="*/ 9648 w 512613"/>
                    <a:gd name="connsiteY1" fmla="*/ 208459 h 454926"/>
                    <a:gd name="connsiteX2" fmla="*/ 73148 w 512613"/>
                    <a:gd name="connsiteY2" fmla="*/ 154484 h 454926"/>
                    <a:gd name="connsiteX3" fmla="*/ 174748 w 512613"/>
                    <a:gd name="connsiteY3" fmla="*/ 148134 h 454926"/>
                    <a:gd name="connsiteX4" fmla="*/ 190623 w 512613"/>
                    <a:gd name="connsiteY4" fmla="*/ 90984 h 454926"/>
                    <a:gd name="connsiteX5" fmla="*/ 203323 w 512613"/>
                    <a:gd name="connsiteY5" fmla="*/ 11609 h 454926"/>
                    <a:gd name="connsiteX6" fmla="*/ 314448 w 512613"/>
                    <a:gd name="connsiteY6" fmla="*/ 8434 h 454926"/>
                    <a:gd name="connsiteX7" fmla="*/ 314448 w 512613"/>
                    <a:gd name="connsiteY7" fmla="*/ 87809 h 454926"/>
                    <a:gd name="connsiteX8" fmla="*/ 336673 w 512613"/>
                    <a:gd name="connsiteY8" fmla="*/ 135434 h 454926"/>
                    <a:gd name="connsiteX9" fmla="*/ 447798 w 512613"/>
                    <a:gd name="connsiteY9" fmla="*/ 157659 h 454926"/>
                    <a:gd name="connsiteX10" fmla="*/ 489073 w 512613"/>
                    <a:gd name="connsiteY10" fmla="*/ 183059 h 454926"/>
                    <a:gd name="connsiteX11" fmla="*/ 511298 w 512613"/>
                    <a:gd name="connsiteY11" fmla="*/ 227509 h 454926"/>
                    <a:gd name="connsiteX12" fmla="*/ 508123 w 512613"/>
                    <a:gd name="connsiteY12" fmla="*/ 449759 h 454926"/>
                    <a:gd name="connsiteX13" fmla="*/ 6473 w 512613"/>
                    <a:gd name="connsiteY13" fmla="*/ 443409 h 454926"/>
                    <a:gd name="connsiteX0" fmla="*/ 4049 w 510189"/>
                    <a:gd name="connsiteY0" fmla="*/ 443409 h 454926"/>
                    <a:gd name="connsiteX1" fmla="*/ 7224 w 510189"/>
                    <a:gd name="connsiteY1" fmla="*/ 208459 h 454926"/>
                    <a:gd name="connsiteX2" fmla="*/ 70724 w 510189"/>
                    <a:gd name="connsiteY2" fmla="*/ 154484 h 454926"/>
                    <a:gd name="connsiteX3" fmla="*/ 172324 w 510189"/>
                    <a:gd name="connsiteY3" fmla="*/ 148134 h 454926"/>
                    <a:gd name="connsiteX4" fmla="*/ 188199 w 510189"/>
                    <a:gd name="connsiteY4" fmla="*/ 90984 h 454926"/>
                    <a:gd name="connsiteX5" fmla="*/ 200899 w 510189"/>
                    <a:gd name="connsiteY5" fmla="*/ 11609 h 454926"/>
                    <a:gd name="connsiteX6" fmla="*/ 312024 w 510189"/>
                    <a:gd name="connsiteY6" fmla="*/ 8434 h 454926"/>
                    <a:gd name="connsiteX7" fmla="*/ 312024 w 510189"/>
                    <a:gd name="connsiteY7" fmla="*/ 87809 h 454926"/>
                    <a:gd name="connsiteX8" fmla="*/ 334249 w 510189"/>
                    <a:gd name="connsiteY8" fmla="*/ 135434 h 454926"/>
                    <a:gd name="connsiteX9" fmla="*/ 445374 w 510189"/>
                    <a:gd name="connsiteY9" fmla="*/ 157659 h 454926"/>
                    <a:gd name="connsiteX10" fmla="*/ 486649 w 510189"/>
                    <a:gd name="connsiteY10" fmla="*/ 183059 h 454926"/>
                    <a:gd name="connsiteX11" fmla="*/ 508874 w 510189"/>
                    <a:gd name="connsiteY11" fmla="*/ 227509 h 454926"/>
                    <a:gd name="connsiteX12" fmla="*/ 505699 w 510189"/>
                    <a:gd name="connsiteY12" fmla="*/ 449759 h 454926"/>
                    <a:gd name="connsiteX13" fmla="*/ 4049 w 510189"/>
                    <a:gd name="connsiteY13" fmla="*/ 443409 h 454926"/>
                    <a:gd name="connsiteX0" fmla="*/ 4049 w 510189"/>
                    <a:gd name="connsiteY0" fmla="*/ 443409 h 454926"/>
                    <a:gd name="connsiteX1" fmla="*/ 7224 w 510189"/>
                    <a:gd name="connsiteY1" fmla="*/ 208459 h 454926"/>
                    <a:gd name="connsiteX2" fmla="*/ 70724 w 510189"/>
                    <a:gd name="connsiteY2" fmla="*/ 154484 h 454926"/>
                    <a:gd name="connsiteX3" fmla="*/ 172324 w 510189"/>
                    <a:gd name="connsiteY3" fmla="*/ 148134 h 454926"/>
                    <a:gd name="connsiteX4" fmla="*/ 188199 w 510189"/>
                    <a:gd name="connsiteY4" fmla="*/ 90984 h 454926"/>
                    <a:gd name="connsiteX5" fmla="*/ 200899 w 510189"/>
                    <a:gd name="connsiteY5" fmla="*/ 11609 h 454926"/>
                    <a:gd name="connsiteX6" fmla="*/ 312024 w 510189"/>
                    <a:gd name="connsiteY6" fmla="*/ 8434 h 454926"/>
                    <a:gd name="connsiteX7" fmla="*/ 312024 w 510189"/>
                    <a:gd name="connsiteY7" fmla="*/ 87809 h 454926"/>
                    <a:gd name="connsiteX8" fmla="*/ 334249 w 510189"/>
                    <a:gd name="connsiteY8" fmla="*/ 135434 h 454926"/>
                    <a:gd name="connsiteX9" fmla="*/ 445374 w 510189"/>
                    <a:gd name="connsiteY9" fmla="*/ 157659 h 454926"/>
                    <a:gd name="connsiteX10" fmla="*/ 508874 w 510189"/>
                    <a:gd name="connsiteY10" fmla="*/ 227509 h 454926"/>
                    <a:gd name="connsiteX11" fmla="*/ 505699 w 510189"/>
                    <a:gd name="connsiteY11" fmla="*/ 449759 h 454926"/>
                    <a:gd name="connsiteX12" fmla="*/ 4049 w 510189"/>
                    <a:gd name="connsiteY12" fmla="*/ 443409 h 454926"/>
                    <a:gd name="connsiteX0" fmla="*/ 4049 w 510189"/>
                    <a:gd name="connsiteY0" fmla="*/ 443409 h 454926"/>
                    <a:gd name="connsiteX1" fmla="*/ 7224 w 510189"/>
                    <a:gd name="connsiteY1" fmla="*/ 208459 h 454926"/>
                    <a:gd name="connsiteX2" fmla="*/ 70724 w 510189"/>
                    <a:gd name="connsiteY2" fmla="*/ 154484 h 454926"/>
                    <a:gd name="connsiteX3" fmla="*/ 172324 w 510189"/>
                    <a:gd name="connsiteY3" fmla="*/ 148134 h 454926"/>
                    <a:gd name="connsiteX4" fmla="*/ 188199 w 510189"/>
                    <a:gd name="connsiteY4" fmla="*/ 90984 h 454926"/>
                    <a:gd name="connsiteX5" fmla="*/ 200899 w 510189"/>
                    <a:gd name="connsiteY5" fmla="*/ 11609 h 454926"/>
                    <a:gd name="connsiteX6" fmla="*/ 312024 w 510189"/>
                    <a:gd name="connsiteY6" fmla="*/ 8434 h 454926"/>
                    <a:gd name="connsiteX7" fmla="*/ 312024 w 510189"/>
                    <a:gd name="connsiteY7" fmla="*/ 87809 h 454926"/>
                    <a:gd name="connsiteX8" fmla="*/ 334249 w 510189"/>
                    <a:gd name="connsiteY8" fmla="*/ 135434 h 454926"/>
                    <a:gd name="connsiteX9" fmla="*/ 445374 w 510189"/>
                    <a:gd name="connsiteY9" fmla="*/ 157659 h 454926"/>
                    <a:gd name="connsiteX10" fmla="*/ 508874 w 510189"/>
                    <a:gd name="connsiteY10" fmla="*/ 227509 h 454926"/>
                    <a:gd name="connsiteX11" fmla="*/ 505699 w 510189"/>
                    <a:gd name="connsiteY11" fmla="*/ 449759 h 454926"/>
                    <a:gd name="connsiteX12" fmla="*/ 4049 w 510189"/>
                    <a:gd name="connsiteY12" fmla="*/ 443409 h 454926"/>
                    <a:gd name="connsiteX0" fmla="*/ 5987 w 512127"/>
                    <a:gd name="connsiteY0" fmla="*/ 443409 h 454926"/>
                    <a:gd name="connsiteX1" fmla="*/ 2812 w 512127"/>
                    <a:gd name="connsiteY1" fmla="*/ 217984 h 454926"/>
                    <a:gd name="connsiteX2" fmla="*/ 72662 w 512127"/>
                    <a:gd name="connsiteY2" fmla="*/ 154484 h 454926"/>
                    <a:gd name="connsiteX3" fmla="*/ 174262 w 512127"/>
                    <a:gd name="connsiteY3" fmla="*/ 148134 h 454926"/>
                    <a:gd name="connsiteX4" fmla="*/ 190137 w 512127"/>
                    <a:gd name="connsiteY4" fmla="*/ 90984 h 454926"/>
                    <a:gd name="connsiteX5" fmla="*/ 202837 w 512127"/>
                    <a:gd name="connsiteY5" fmla="*/ 11609 h 454926"/>
                    <a:gd name="connsiteX6" fmla="*/ 313962 w 512127"/>
                    <a:gd name="connsiteY6" fmla="*/ 8434 h 454926"/>
                    <a:gd name="connsiteX7" fmla="*/ 313962 w 512127"/>
                    <a:gd name="connsiteY7" fmla="*/ 87809 h 454926"/>
                    <a:gd name="connsiteX8" fmla="*/ 336187 w 512127"/>
                    <a:gd name="connsiteY8" fmla="*/ 135434 h 454926"/>
                    <a:gd name="connsiteX9" fmla="*/ 447312 w 512127"/>
                    <a:gd name="connsiteY9" fmla="*/ 157659 h 454926"/>
                    <a:gd name="connsiteX10" fmla="*/ 510812 w 512127"/>
                    <a:gd name="connsiteY10" fmla="*/ 227509 h 454926"/>
                    <a:gd name="connsiteX11" fmla="*/ 507637 w 512127"/>
                    <a:gd name="connsiteY11" fmla="*/ 449759 h 454926"/>
                    <a:gd name="connsiteX12" fmla="*/ 5987 w 512127"/>
                    <a:gd name="connsiteY12" fmla="*/ 443409 h 454926"/>
                    <a:gd name="connsiteX0" fmla="*/ 9762 w 515902"/>
                    <a:gd name="connsiteY0" fmla="*/ 443409 h 454926"/>
                    <a:gd name="connsiteX1" fmla="*/ 6587 w 515902"/>
                    <a:gd name="connsiteY1" fmla="*/ 217984 h 454926"/>
                    <a:gd name="connsiteX2" fmla="*/ 76437 w 515902"/>
                    <a:gd name="connsiteY2" fmla="*/ 154484 h 454926"/>
                    <a:gd name="connsiteX3" fmla="*/ 178037 w 515902"/>
                    <a:gd name="connsiteY3" fmla="*/ 148134 h 454926"/>
                    <a:gd name="connsiteX4" fmla="*/ 193912 w 515902"/>
                    <a:gd name="connsiteY4" fmla="*/ 90984 h 454926"/>
                    <a:gd name="connsiteX5" fmla="*/ 206612 w 515902"/>
                    <a:gd name="connsiteY5" fmla="*/ 11609 h 454926"/>
                    <a:gd name="connsiteX6" fmla="*/ 317737 w 515902"/>
                    <a:gd name="connsiteY6" fmla="*/ 8434 h 454926"/>
                    <a:gd name="connsiteX7" fmla="*/ 317737 w 515902"/>
                    <a:gd name="connsiteY7" fmla="*/ 87809 h 454926"/>
                    <a:gd name="connsiteX8" fmla="*/ 339962 w 515902"/>
                    <a:gd name="connsiteY8" fmla="*/ 135434 h 454926"/>
                    <a:gd name="connsiteX9" fmla="*/ 451087 w 515902"/>
                    <a:gd name="connsiteY9" fmla="*/ 157659 h 454926"/>
                    <a:gd name="connsiteX10" fmla="*/ 514587 w 515902"/>
                    <a:gd name="connsiteY10" fmla="*/ 227509 h 454926"/>
                    <a:gd name="connsiteX11" fmla="*/ 511412 w 515902"/>
                    <a:gd name="connsiteY11" fmla="*/ 449759 h 454926"/>
                    <a:gd name="connsiteX12" fmla="*/ 9762 w 515902"/>
                    <a:gd name="connsiteY12" fmla="*/ 443409 h 454926"/>
                    <a:gd name="connsiteX0" fmla="*/ 9762 w 515902"/>
                    <a:gd name="connsiteY0" fmla="*/ 443409 h 454926"/>
                    <a:gd name="connsiteX1" fmla="*/ 6587 w 515902"/>
                    <a:gd name="connsiteY1" fmla="*/ 217984 h 454926"/>
                    <a:gd name="connsiteX2" fmla="*/ 76437 w 515902"/>
                    <a:gd name="connsiteY2" fmla="*/ 154484 h 454926"/>
                    <a:gd name="connsiteX3" fmla="*/ 178037 w 515902"/>
                    <a:gd name="connsiteY3" fmla="*/ 148134 h 454926"/>
                    <a:gd name="connsiteX4" fmla="*/ 193912 w 515902"/>
                    <a:gd name="connsiteY4" fmla="*/ 90984 h 454926"/>
                    <a:gd name="connsiteX5" fmla="*/ 206612 w 515902"/>
                    <a:gd name="connsiteY5" fmla="*/ 11609 h 454926"/>
                    <a:gd name="connsiteX6" fmla="*/ 317737 w 515902"/>
                    <a:gd name="connsiteY6" fmla="*/ 8434 h 454926"/>
                    <a:gd name="connsiteX7" fmla="*/ 317737 w 515902"/>
                    <a:gd name="connsiteY7" fmla="*/ 87809 h 454926"/>
                    <a:gd name="connsiteX8" fmla="*/ 339962 w 515902"/>
                    <a:gd name="connsiteY8" fmla="*/ 135434 h 454926"/>
                    <a:gd name="connsiteX9" fmla="*/ 451087 w 515902"/>
                    <a:gd name="connsiteY9" fmla="*/ 157659 h 454926"/>
                    <a:gd name="connsiteX10" fmla="*/ 514587 w 515902"/>
                    <a:gd name="connsiteY10" fmla="*/ 227509 h 454926"/>
                    <a:gd name="connsiteX11" fmla="*/ 511412 w 515902"/>
                    <a:gd name="connsiteY11" fmla="*/ 449759 h 454926"/>
                    <a:gd name="connsiteX12" fmla="*/ 9762 w 515902"/>
                    <a:gd name="connsiteY12" fmla="*/ 443409 h 454926"/>
                    <a:gd name="connsiteX0" fmla="*/ 9762 w 515902"/>
                    <a:gd name="connsiteY0" fmla="*/ 443409 h 454926"/>
                    <a:gd name="connsiteX1" fmla="*/ 6587 w 515902"/>
                    <a:gd name="connsiteY1" fmla="*/ 217984 h 454926"/>
                    <a:gd name="connsiteX2" fmla="*/ 76437 w 515902"/>
                    <a:gd name="connsiteY2" fmla="*/ 154484 h 454926"/>
                    <a:gd name="connsiteX3" fmla="*/ 193912 w 515902"/>
                    <a:gd name="connsiteY3" fmla="*/ 90984 h 454926"/>
                    <a:gd name="connsiteX4" fmla="*/ 206612 w 515902"/>
                    <a:gd name="connsiteY4" fmla="*/ 11609 h 454926"/>
                    <a:gd name="connsiteX5" fmla="*/ 317737 w 515902"/>
                    <a:gd name="connsiteY5" fmla="*/ 8434 h 454926"/>
                    <a:gd name="connsiteX6" fmla="*/ 317737 w 515902"/>
                    <a:gd name="connsiteY6" fmla="*/ 87809 h 454926"/>
                    <a:gd name="connsiteX7" fmla="*/ 339962 w 515902"/>
                    <a:gd name="connsiteY7" fmla="*/ 135434 h 454926"/>
                    <a:gd name="connsiteX8" fmla="*/ 451087 w 515902"/>
                    <a:gd name="connsiteY8" fmla="*/ 157659 h 454926"/>
                    <a:gd name="connsiteX9" fmla="*/ 514587 w 515902"/>
                    <a:gd name="connsiteY9" fmla="*/ 227509 h 454926"/>
                    <a:gd name="connsiteX10" fmla="*/ 511412 w 515902"/>
                    <a:gd name="connsiteY10" fmla="*/ 449759 h 454926"/>
                    <a:gd name="connsiteX11" fmla="*/ 9762 w 515902"/>
                    <a:gd name="connsiteY11" fmla="*/ 443409 h 454926"/>
                    <a:gd name="connsiteX0" fmla="*/ 9762 w 515902"/>
                    <a:gd name="connsiteY0" fmla="*/ 446099 h 457616"/>
                    <a:gd name="connsiteX1" fmla="*/ 6587 w 515902"/>
                    <a:gd name="connsiteY1" fmla="*/ 220674 h 457616"/>
                    <a:gd name="connsiteX2" fmla="*/ 76437 w 515902"/>
                    <a:gd name="connsiteY2" fmla="*/ 157174 h 457616"/>
                    <a:gd name="connsiteX3" fmla="*/ 190737 w 515902"/>
                    <a:gd name="connsiteY3" fmla="*/ 138124 h 457616"/>
                    <a:gd name="connsiteX4" fmla="*/ 206612 w 515902"/>
                    <a:gd name="connsiteY4" fmla="*/ 14299 h 457616"/>
                    <a:gd name="connsiteX5" fmla="*/ 317737 w 515902"/>
                    <a:gd name="connsiteY5" fmla="*/ 11124 h 457616"/>
                    <a:gd name="connsiteX6" fmla="*/ 317737 w 515902"/>
                    <a:gd name="connsiteY6" fmla="*/ 90499 h 457616"/>
                    <a:gd name="connsiteX7" fmla="*/ 339962 w 515902"/>
                    <a:gd name="connsiteY7" fmla="*/ 138124 h 457616"/>
                    <a:gd name="connsiteX8" fmla="*/ 451087 w 515902"/>
                    <a:gd name="connsiteY8" fmla="*/ 160349 h 457616"/>
                    <a:gd name="connsiteX9" fmla="*/ 514587 w 515902"/>
                    <a:gd name="connsiteY9" fmla="*/ 230199 h 457616"/>
                    <a:gd name="connsiteX10" fmla="*/ 511412 w 515902"/>
                    <a:gd name="connsiteY10" fmla="*/ 452449 h 457616"/>
                    <a:gd name="connsiteX11" fmla="*/ 9762 w 515902"/>
                    <a:gd name="connsiteY11" fmla="*/ 446099 h 457616"/>
                    <a:gd name="connsiteX0" fmla="*/ 9762 w 515902"/>
                    <a:gd name="connsiteY0" fmla="*/ 446099 h 457616"/>
                    <a:gd name="connsiteX1" fmla="*/ 6587 w 515902"/>
                    <a:gd name="connsiteY1" fmla="*/ 220674 h 457616"/>
                    <a:gd name="connsiteX2" fmla="*/ 76437 w 515902"/>
                    <a:gd name="connsiteY2" fmla="*/ 157174 h 457616"/>
                    <a:gd name="connsiteX3" fmla="*/ 190737 w 515902"/>
                    <a:gd name="connsiteY3" fmla="*/ 138124 h 457616"/>
                    <a:gd name="connsiteX4" fmla="*/ 206612 w 515902"/>
                    <a:gd name="connsiteY4" fmla="*/ 14299 h 457616"/>
                    <a:gd name="connsiteX5" fmla="*/ 317737 w 515902"/>
                    <a:gd name="connsiteY5" fmla="*/ 11124 h 457616"/>
                    <a:gd name="connsiteX6" fmla="*/ 317737 w 515902"/>
                    <a:gd name="connsiteY6" fmla="*/ 90499 h 457616"/>
                    <a:gd name="connsiteX7" fmla="*/ 451087 w 515902"/>
                    <a:gd name="connsiteY7" fmla="*/ 160349 h 457616"/>
                    <a:gd name="connsiteX8" fmla="*/ 514587 w 515902"/>
                    <a:gd name="connsiteY8" fmla="*/ 230199 h 457616"/>
                    <a:gd name="connsiteX9" fmla="*/ 511412 w 515902"/>
                    <a:gd name="connsiteY9" fmla="*/ 452449 h 457616"/>
                    <a:gd name="connsiteX10" fmla="*/ 9762 w 515902"/>
                    <a:gd name="connsiteY10" fmla="*/ 446099 h 457616"/>
                    <a:gd name="connsiteX0" fmla="*/ 9762 w 515902"/>
                    <a:gd name="connsiteY0" fmla="*/ 447482 h 458999"/>
                    <a:gd name="connsiteX1" fmla="*/ 6587 w 515902"/>
                    <a:gd name="connsiteY1" fmla="*/ 222057 h 458999"/>
                    <a:gd name="connsiteX2" fmla="*/ 76437 w 515902"/>
                    <a:gd name="connsiteY2" fmla="*/ 158557 h 458999"/>
                    <a:gd name="connsiteX3" fmla="*/ 190737 w 515902"/>
                    <a:gd name="connsiteY3" fmla="*/ 139507 h 458999"/>
                    <a:gd name="connsiteX4" fmla="*/ 206612 w 515902"/>
                    <a:gd name="connsiteY4" fmla="*/ 15682 h 458999"/>
                    <a:gd name="connsiteX5" fmla="*/ 317737 w 515902"/>
                    <a:gd name="connsiteY5" fmla="*/ 12507 h 458999"/>
                    <a:gd name="connsiteX6" fmla="*/ 330437 w 515902"/>
                    <a:gd name="connsiteY6" fmla="*/ 114107 h 458999"/>
                    <a:gd name="connsiteX7" fmla="*/ 451087 w 515902"/>
                    <a:gd name="connsiteY7" fmla="*/ 161732 h 458999"/>
                    <a:gd name="connsiteX8" fmla="*/ 514587 w 515902"/>
                    <a:gd name="connsiteY8" fmla="*/ 231582 h 458999"/>
                    <a:gd name="connsiteX9" fmla="*/ 511412 w 515902"/>
                    <a:gd name="connsiteY9" fmla="*/ 453832 h 458999"/>
                    <a:gd name="connsiteX10" fmla="*/ 9762 w 515902"/>
                    <a:gd name="connsiteY10" fmla="*/ 447482 h 458999"/>
                    <a:gd name="connsiteX0" fmla="*/ 9762 w 515902"/>
                    <a:gd name="connsiteY0" fmla="*/ 446348 h 457865"/>
                    <a:gd name="connsiteX1" fmla="*/ 6587 w 515902"/>
                    <a:gd name="connsiteY1" fmla="*/ 220923 h 457865"/>
                    <a:gd name="connsiteX2" fmla="*/ 76437 w 515902"/>
                    <a:gd name="connsiteY2" fmla="*/ 157423 h 457865"/>
                    <a:gd name="connsiteX3" fmla="*/ 200262 w 515902"/>
                    <a:gd name="connsiteY3" fmla="*/ 119323 h 457865"/>
                    <a:gd name="connsiteX4" fmla="*/ 206612 w 515902"/>
                    <a:gd name="connsiteY4" fmla="*/ 14548 h 457865"/>
                    <a:gd name="connsiteX5" fmla="*/ 317737 w 515902"/>
                    <a:gd name="connsiteY5" fmla="*/ 11373 h 457865"/>
                    <a:gd name="connsiteX6" fmla="*/ 330437 w 515902"/>
                    <a:gd name="connsiteY6" fmla="*/ 112973 h 457865"/>
                    <a:gd name="connsiteX7" fmla="*/ 451087 w 515902"/>
                    <a:gd name="connsiteY7" fmla="*/ 160598 h 457865"/>
                    <a:gd name="connsiteX8" fmla="*/ 514587 w 515902"/>
                    <a:gd name="connsiteY8" fmla="*/ 230448 h 457865"/>
                    <a:gd name="connsiteX9" fmla="*/ 511412 w 515902"/>
                    <a:gd name="connsiteY9" fmla="*/ 452698 h 457865"/>
                    <a:gd name="connsiteX10" fmla="*/ 9762 w 515902"/>
                    <a:gd name="connsiteY10" fmla="*/ 446348 h 457865"/>
                    <a:gd name="connsiteX0" fmla="*/ 9762 w 515902"/>
                    <a:gd name="connsiteY0" fmla="*/ 446681 h 458198"/>
                    <a:gd name="connsiteX1" fmla="*/ 6587 w 515902"/>
                    <a:gd name="connsiteY1" fmla="*/ 221256 h 458198"/>
                    <a:gd name="connsiteX2" fmla="*/ 76437 w 515902"/>
                    <a:gd name="connsiteY2" fmla="*/ 157756 h 458198"/>
                    <a:gd name="connsiteX3" fmla="*/ 200262 w 515902"/>
                    <a:gd name="connsiteY3" fmla="*/ 119656 h 458198"/>
                    <a:gd name="connsiteX4" fmla="*/ 206612 w 515902"/>
                    <a:gd name="connsiteY4" fmla="*/ 14881 h 458198"/>
                    <a:gd name="connsiteX5" fmla="*/ 317737 w 515902"/>
                    <a:gd name="connsiteY5" fmla="*/ 11706 h 458198"/>
                    <a:gd name="connsiteX6" fmla="*/ 311502 w 515902"/>
                    <a:gd name="connsiteY6" fmla="*/ 118302 h 458198"/>
                    <a:gd name="connsiteX7" fmla="*/ 451087 w 515902"/>
                    <a:gd name="connsiteY7" fmla="*/ 160931 h 458198"/>
                    <a:gd name="connsiteX8" fmla="*/ 514587 w 515902"/>
                    <a:gd name="connsiteY8" fmla="*/ 230781 h 458198"/>
                    <a:gd name="connsiteX9" fmla="*/ 511412 w 515902"/>
                    <a:gd name="connsiteY9" fmla="*/ 453031 h 458198"/>
                    <a:gd name="connsiteX10" fmla="*/ 9762 w 515902"/>
                    <a:gd name="connsiteY10" fmla="*/ 446681 h 458198"/>
                    <a:gd name="connsiteX0" fmla="*/ 9762 w 515902"/>
                    <a:gd name="connsiteY0" fmla="*/ 446681 h 458198"/>
                    <a:gd name="connsiteX1" fmla="*/ 6587 w 515902"/>
                    <a:gd name="connsiteY1" fmla="*/ 221256 h 458198"/>
                    <a:gd name="connsiteX2" fmla="*/ 76437 w 515902"/>
                    <a:gd name="connsiteY2" fmla="*/ 157756 h 458198"/>
                    <a:gd name="connsiteX3" fmla="*/ 200262 w 515902"/>
                    <a:gd name="connsiteY3" fmla="*/ 119656 h 458198"/>
                    <a:gd name="connsiteX4" fmla="*/ 206612 w 515902"/>
                    <a:gd name="connsiteY4" fmla="*/ 14881 h 458198"/>
                    <a:gd name="connsiteX5" fmla="*/ 301506 w 515902"/>
                    <a:gd name="connsiteY5" fmla="*/ 11706 h 458198"/>
                    <a:gd name="connsiteX6" fmla="*/ 311502 w 515902"/>
                    <a:gd name="connsiteY6" fmla="*/ 118302 h 458198"/>
                    <a:gd name="connsiteX7" fmla="*/ 451087 w 515902"/>
                    <a:gd name="connsiteY7" fmla="*/ 160931 h 458198"/>
                    <a:gd name="connsiteX8" fmla="*/ 514587 w 515902"/>
                    <a:gd name="connsiteY8" fmla="*/ 230781 h 458198"/>
                    <a:gd name="connsiteX9" fmla="*/ 511412 w 515902"/>
                    <a:gd name="connsiteY9" fmla="*/ 453031 h 458198"/>
                    <a:gd name="connsiteX10" fmla="*/ 9762 w 515902"/>
                    <a:gd name="connsiteY10" fmla="*/ 446681 h 458198"/>
                    <a:gd name="connsiteX0" fmla="*/ 9762 w 515902"/>
                    <a:gd name="connsiteY0" fmla="*/ 446681 h 458198"/>
                    <a:gd name="connsiteX1" fmla="*/ 6587 w 515902"/>
                    <a:gd name="connsiteY1" fmla="*/ 221256 h 458198"/>
                    <a:gd name="connsiteX2" fmla="*/ 76437 w 515902"/>
                    <a:gd name="connsiteY2" fmla="*/ 157756 h 458198"/>
                    <a:gd name="connsiteX3" fmla="*/ 200262 w 515902"/>
                    <a:gd name="connsiteY3" fmla="*/ 119656 h 458198"/>
                    <a:gd name="connsiteX4" fmla="*/ 206612 w 515902"/>
                    <a:gd name="connsiteY4" fmla="*/ 14881 h 458198"/>
                    <a:gd name="connsiteX5" fmla="*/ 301506 w 515902"/>
                    <a:gd name="connsiteY5" fmla="*/ 11706 h 458198"/>
                    <a:gd name="connsiteX6" fmla="*/ 311502 w 515902"/>
                    <a:gd name="connsiteY6" fmla="*/ 118302 h 458198"/>
                    <a:gd name="connsiteX7" fmla="*/ 442972 w 515902"/>
                    <a:gd name="connsiteY7" fmla="*/ 180912 h 458198"/>
                    <a:gd name="connsiteX8" fmla="*/ 514587 w 515902"/>
                    <a:gd name="connsiteY8" fmla="*/ 230781 h 458198"/>
                    <a:gd name="connsiteX9" fmla="*/ 511412 w 515902"/>
                    <a:gd name="connsiteY9" fmla="*/ 453031 h 458198"/>
                    <a:gd name="connsiteX10" fmla="*/ 9762 w 515902"/>
                    <a:gd name="connsiteY10" fmla="*/ 446681 h 458198"/>
                    <a:gd name="connsiteX0" fmla="*/ 9762 w 511905"/>
                    <a:gd name="connsiteY0" fmla="*/ 446681 h 458198"/>
                    <a:gd name="connsiteX1" fmla="*/ 6587 w 511905"/>
                    <a:gd name="connsiteY1" fmla="*/ 221256 h 458198"/>
                    <a:gd name="connsiteX2" fmla="*/ 76437 w 511905"/>
                    <a:gd name="connsiteY2" fmla="*/ 157756 h 458198"/>
                    <a:gd name="connsiteX3" fmla="*/ 200262 w 511905"/>
                    <a:gd name="connsiteY3" fmla="*/ 119656 h 458198"/>
                    <a:gd name="connsiteX4" fmla="*/ 206612 w 511905"/>
                    <a:gd name="connsiteY4" fmla="*/ 14881 h 458198"/>
                    <a:gd name="connsiteX5" fmla="*/ 301506 w 511905"/>
                    <a:gd name="connsiteY5" fmla="*/ 11706 h 458198"/>
                    <a:gd name="connsiteX6" fmla="*/ 311502 w 511905"/>
                    <a:gd name="connsiteY6" fmla="*/ 118302 h 458198"/>
                    <a:gd name="connsiteX7" fmla="*/ 442972 w 511905"/>
                    <a:gd name="connsiteY7" fmla="*/ 180912 h 458198"/>
                    <a:gd name="connsiteX8" fmla="*/ 498357 w 511905"/>
                    <a:gd name="connsiteY8" fmla="*/ 250762 h 458198"/>
                    <a:gd name="connsiteX9" fmla="*/ 511412 w 511905"/>
                    <a:gd name="connsiteY9" fmla="*/ 453031 h 458198"/>
                    <a:gd name="connsiteX10" fmla="*/ 9762 w 511905"/>
                    <a:gd name="connsiteY10" fmla="*/ 446681 h 458198"/>
                    <a:gd name="connsiteX0" fmla="*/ 9762 w 511905"/>
                    <a:gd name="connsiteY0" fmla="*/ 446681 h 458198"/>
                    <a:gd name="connsiteX1" fmla="*/ 6587 w 511905"/>
                    <a:gd name="connsiteY1" fmla="*/ 221256 h 458198"/>
                    <a:gd name="connsiteX2" fmla="*/ 76437 w 511905"/>
                    <a:gd name="connsiteY2" fmla="*/ 157756 h 458198"/>
                    <a:gd name="connsiteX3" fmla="*/ 200262 w 511905"/>
                    <a:gd name="connsiteY3" fmla="*/ 119656 h 458198"/>
                    <a:gd name="connsiteX4" fmla="*/ 206612 w 511905"/>
                    <a:gd name="connsiteY4" fmla="*/ 14881 h 458198"/>
                    <a:gd name="connsiteX5" fmla="*/ 301506 w 511905"/>
                    <a:gd name="connsiteY5" fmla="*/ 11706 h 458198"/>
                    <a:gd name="connsiteX6" fmla="*/ 311502 w 511905"/>
                    <a:gd name="connsiteY6" fmla="*/ 118302 h 458198"/>
                    <a:gd name="connsiteX7" fmla="*/ 437562 w 511905"/>
                    <a:gd name="connsiteY7" fmla="*/ 198396 h 458198"/>
                    <a:gd name="connsiteX8" fmla="*/ 498357 w 511905"/>
                    <a:gd name="connsiteY8" fmla="*/ 250762 h 458198"/>
                    <a:gd name="connsiteX9" fmla="*/ 511412 w 511905"/>
                    <a:gd name="connsiteY9" fmla="*/ 453031 h 458198"/>
                    <a:gd name="connsiteX10" fmla="*/ 9762 w 511905"/>
                    <a:gd name="connsiteY10" fmla="*/ 446681 h 458198"/>
                    <a:gd name="connsiteX0" fmla="*/ 9762 w 511905"/>
                    <a:gd name="connsiteY0" fmla="*/ 446681 h 458198"/>
                    <a:gd name="connsiteX1" fmla="*/ 6587 w 511905"/>
                    <a:gd name="connsiteY1" fmla="*/ 221256 h 458198"/>
                    <a:gd name="connsiteX2" fmla="*/ 76437 w 511905"/>
                    <a:gd name="connsiteY2" fmla="*/ 157756 h 458198"/>
                    <a:gd name="connsiteX3" fmla="*/ 200262 w 511905"/>
                    <a:gd name="connsiteY3" fmla="*/ 119656 h 458198"/>
                    <a:gd name="connsiteX4" fmla="*/ 206612 w 511905"/>
                    <a:gd name="connsiteY4" fmla="*/ 14881 h 458198"/>
                    <a:gd name="connsiteX5" fmla="*/ 301506 w 511905"/>
                    <a:gd name="connsiteY5" fmla="*/ 11706 h 458198"/>
                    <a:gd name="connsiteX6" fmla="*/ 311502 w 511905"/>
                    <a:gd name="connsiteY6" fmla="*/ 118302 h 458198"/>
                    <a:gd name="connsiteX7" fmla="*/ 451087 w 511905"/>
                    <a:gd name="connsiteY7" fmla="*/ 188406 h 458198"/>
                    <a:gd name="connsiteX8" fmla="*/ 498357 w 511905"/>
                    <a:gd name="connsiteY8" fmla="*/ 250762 h 458198"/>
                    <a:gd name="connsiteX9" fmla="*/ 511412 w 511905"/>
                    <a:gd name="connsiteY9" fmla="*/ 453031 h 458198"/>
                    <a:gd name="connsiteX10" fmla="*/ 9762 w 511905"/>
                    <a:gd name="connsiteY10" fmla="*/ 446681 h 458198"/>
                    <a:gd name="connsiteX0" fmla="*/ 9762 w 511905"/>
                    <a:gd name="connsiteY0" fmla="*/ 447695 h 459212"/>
                    <a:gd name="connsiteX1" fmla="*/ 6587 w 511905"/>
                    <a:gd name="connsiteY1" fmla="*/ 222270 h 459212"/>
                    <a:gd name="connsiteX2" fmla="*/ 76437 w 511905"/>
                    <a:gd name="connsiteY2" fmla="*/ 158770 h 459212"/>
                    <a:gd name="connsiteX3" fmla="*/ 200262 w 511905"/>
                    <a:gd name="connsiteY3" fmla="*/ 120670 h 459212"/>
                    <a:gd name="connsiteX4" fmla="*/ 206612 w 511905"/>
                    <a:gd name="connsiteY4" fmla="*/ 15895 h 459212"/>
                    <a:gd name="connsiteX5" fmla="*/ 301506 w 511905"/>
                    <a:gd name="connsiteY5" fmla="*/ 12720 h 459212"/>
                    <a:gd name="connsiteX6" fmla="*/ 311502 w 511905"/>
                    <a:gd name="connsiteY6" fmla="*/ 134302 h 459212"/>
                    <a:gd name="connsiteX7" fmla="*/ 451087 w 511905"/>
                    <a:gd name="connsiteY7" fmla="*/ 189420 h 459212"/>
                    <a:gd name="connsiteX8" fmla="*/ 498357 w 511905"/>
                    <a:gd name="connsiteY8" fmla="*/ 251776 h 459212"/>
                    <a:gd name="connsiteX9" fmla="*/ 511412 w 511905"/>
                    <a:gd name="connsiteY9" fmla="*/ 454045 h 459212"/>
                    <a:gd name="connsiteX10" fmla="*/ 9762 w 511905"/>
                    <a:gd name="connsiteY10" fmla="*/ 447695 h 459212"/>
                    <a:gd name="connsiteX0" fmla="*/ 4227 w 522600"/>
                    <a:gd name="connsiteY0" fmla="*/ 455188 h 463021"/>
                    <a:gd name="connsiteX1" fmla="*/ 17282 w 522600"/>
                    <a:gd name="connsiteY1" fmla="*/ 222270 h 463021"/>
                    <a:gd name="connsiteX2" fmla="*/ 87132 w 522600"/>
                    <a:gd name="connsiteY2" fmla="*/ 158770 h 463021"/>
                    <a:gd name="connsiteX3" fmla="*/ 210957 w 522600"/>
                    <a:gd name="connsiteY3" fmla="*/ 120670 h 463021"/>
                    <a:gd name="connsiteX4" fmla="*/ 217307 w 522600"/>
                    <a:gd name="connsiteY4" fmla="*/ 15895 h 463021"/>
                    <a:gd name="connsiteX5" fmla="*/ 312201 w 522600"/>
                    <a:gd name="connsiteY5" fmla="*/ 12720 h 463021"/>
                    <a:gd name="connsiteX6" fmla="*/ 322197 w 522600"/>
                    <a:gd name="connsiteY6" fmla="*/ 134302 h 463021"/>
                    <a:gd name="connsiteX7" fmla="*/ 461782 w 522600"/>
                    <a:gd name="connsiteY7" fmla="*/ 189420 h 463021"/>
                    <a:gd name="connsiteX8" fmla="*/ 509052 w 522600"/>
                    <a:gd name="connsiteY8" fmla="*/ 251776 h 463021"/>
                    <a:gd name="connsiteX9" fmla="*/ 522107 w 522600"/>
                    <a:gd name="connsiteY9" fmla="*/ 454045 h 463021"/>
                    <a:gd name="connsiteX10" fmla="*/ 4227 w 522600"/>
                    <a:gd name="connsiteY10" fmla="*/ 455188 h 463021"/>
                    <a:gd name="connsiteX0" fmla="*/ 4227 w 522600"/>
                    <a:gd name="connsiteY0" fmla="*/ 455188 h 457596"/>
                    <a:gd name="connsiteX1" fmla="*/ 17282 w 522600"/>
                    <a:gd name="connsiteY1" fmla="*/ 222270 h 457596"/>
                    <a:gd name="connsiteX2" fmla="*/ 87132 w 522600"/>
                    <a:gd name="connsiteY2" fmla="*/ 158770 h 457596"/>
                    <a:gd name="connsiteX3" fmla="*/ 210957 w 522600"/>
                    <a:gd name="connsiteY3" fmla="*/ 120670 h 457596"/>
                    <a:gd name="connsiteX4" fmla="*/ 217307 w 522600"/>
                    <a:gd name="connsiteY4" fmla="*/ 15895 h 457596"/>
                    <a:gd name="connsiteX5" fmla="*/ 312201 w 522600"/>
                    <a:gd name="connsiteY5" fmla="*/ 12720 h 457596"/>
                    <a:gd name="connsiteX6" fmla="*/ 322197 w 522600"/>
                    <a:gd name="connsiteY6" fmla="*/ 134302 h 457596"/>
                    <a:gd name="connsiteX7" fmla="*/ 461782 w 522600"/>
                    <a:gd name="connsiteY7" fmla="*/ 189420 h 457596"/>
                    <a:gd name="connsiteX8" fmla="*/ 509052 w 522600"/>
                    <a:gd name="connsiteY8" fmla="*/ 251776 h 457596"/>
                    <a:gd name="connsiteX9" fmla="*/ 522107 w 522600"/>
                    <a:gd name="connsiteY9" fmla="*/ 454045 h 457596"/>
                    <a:gd name="connsiteX10" fmla="*/ 4227 w 522600"/>
                    <a:gd name="connsiteY10" fmla="*/ 455188 h 457596"/>
                    <a:gd name="connsiteX0" fmla="*/ 12757 w 531130"/>
                    <a:gd name="connsiteY0" fmla="*/ 455188 h 457596"/>
                    <a:gd name="connsiteX1" fmla="*/ 6876 w 531130"/>
                    <a:gd name="connsiteY1" fmla="*/ 237256 h 457596"/>
                    <a:gd name="connsiteX2" fmla="*/ 95662 w 531130"/>
                    <a:gd name="connsiteY2" fmla="*/ 158770 h 457596"/>
                    <a:gd name="connsiteX3" fmla="*/ 219487 w 531130"/>
                    <a:gd name="connsiteY3" fmla="*/ 120670 h 457596"/>
                    <a:gd name="connsiteX4" fmla="*/ 225837 w 531130"/>
                    <a:gd name="connsiteY4" fmla="*/ 15895 h 457596"/>
                    <a:gd name="connsiteX5" fmla="*/ 320731 w 531130"/>
                    <a:gd name="connsiteY5" fmla="*/ 12720 h 457596"/>
                    <a:gd name="connsiteX6" fmla="*/ 330727 w 531130"/>
                    <a:gd name="connsiteY6" fmla="*/ 134302 h 457596"/>
                    <a:gd name="connsiteX7" fmla="*/ 470312 w 531130"/>
                    <a:gd name="connsiteY7" fmla="*/ 189420 h 457596"/>
                    <a:gd name="connsiteX8" fmla="*/ 517582 w 531130"/>
                    <a:gd name="connsiteY8" fmla="*/ 251776 h 457596"/>
                    <a:gd name="connsiteX9" fmla="*/ 530637 w 531130"/>
                    <a:gd name="connsiteY9" fmla="*/ 454045 h 457596"/>
                    <a:gd name="connsiteX10" fmla="*/ 12757 w 531130"/>
                    <a:gd name="connsiteY10" fmla="*/ 455188 h 457596"/>
                    <a:gd name="connsiteX0" fmla="*/ 7226 w 536419"/>
                    <a:gd name="connsiteY0" fmla="*/ 447695 h 456315"/>
                    <a:gd name="connsiteX1" fmla="*/ 12165 w 536419"/>
                    <a:gd name="connsiteY1" fmla="*/ 237256 h 456315"/>
                    <a:gd name="connsiteX2" fmla="*/ 100951 w 536419"/>
                    <a:gd name="connsiteY2" fmla="*/ 158770 h 456315"/>
                    <a:gd name="connsiteX3" fmla="*/ 224776 w 536419"/>
                    <a:gd name="connsiteY3" fmla="*/ 120670 h 456315"/>
                    <a:gd name="connsiteX4" fmla="*/ 231126 w 536419"/>
                    <a:gd name="connsiteY4" fmla="*/ 15895 h 456315"/>
                    <a:gd name="connsiteX5" fmla="*/ 326020 w 536419"/>
                    <a:gd name="connsiteY5" fmla="*/ 12720 h 456315"/>
                    <a:gd name="connsiteX6" fmla="*/ 336016 w 536419"/>
                    <a:gd name="connsiteY6" fmla="*/ 134302 h 456315"/>
                    <a:gd name="connsiteX7" fmla="*/ 475601 w 536419"/>
                    <a:gd name="connsiteY7" fmla="*/ 189420 h 456315"/>
                    <a:gd name="connsiteX8" fmla="*/ 522871 w 536419"/>
                    <a:gd name="connsiteY8" fmla="*/ 251776 h 456315"/>
                    <a:gd name="connsiteX9" fmla="*/ 535926 w 536419"/>
                    <a:gd name="connsiteY9" fmla="*/ 454045 h 456315"/>
                    <a:gd name="connsiteX10" fmla="*/ 7226 w 536419"/>
                    <a:gd name="connsiteY10" fmla="*/ 447695 h 456315"/>
                    <a:gd name="connsiteX0" fmla="*/ 7226 w 528834"/>
                    <a:gd name="connsiteY0" fmla="*/ 447695 h 456315"/>
                    <a:gd name="connsiteX1" fmla="*/ 12165 w 528834"/>
                    <a:gd name="connsiteY1" fmla="*/ 237256 h 456315"/>
                    <a:gd name="connsiteX2" fmla="*/ 100951 w 528834"/>
                    <a:gd name="connsiteY2" fmla="*/ 158770 h 456315"/>
                    <a:gd name="connsiteX3" fmla="*/ 224776 w 528834"/>
                    <a:gd name="connsiteY3" fmla="*/ 120670 h 456315"/>
                    <a:gd name="connsiteX4" fmla="*/ 231126 w 528834"/>
                    <a:gd name="connsiteY4" fmla="*/ 15895 h 456315"/>
                    <a:gd name="connsiteX5" fmla="*/ 326020 w 528834"/>
                    <a:gd name="connsiteY5" fmla="*/ 12720 h 456315"/>
                    <a:gd name="connsiteX6" fmla="*/ 336016 w 528834"/>
                    <a:gd name="connsiteY6" fmla="*/ 134302 h 456315"/>
                    <a:gd name="connsiteX7" fmla="*/ 475601 w 528834"/>
                    <a:gd name="connsiteY7" fmla="*/ 189420 h 456315"/>
                    <a:gd name="connsiteX8" fmla="*/ 522871 w 528834"/>
                    <a:gd name="connsiteY8" fmla="*/ 251776 h 456315"/>
                    <a:gd name="connsiteX9" fmla="*/ 527811 w 528834"/>
                    <a:gd name="connsiteY9" fmla="*/ 454045 h 456315"/>
                    <a:gd name="connsiteX10" fmla="*/ 7226 w 528834"/>
                    <a:gd name="connsiteY10" fmla="*/ 447695 h 456315"/>
                    <a:gd name="connsiteX0" fmla="*/ 7226 w 528834"/>
                    <a:gd name="connsiteY0" fmla="*/ 447695 h 456315"/>
                    <a:gd name="connsiteX1" fmla="*/ 12165 w 528834"/>
                    <a:gd name="connsiteY1" fmla="*/ 237256 h 456315"/>
                    <a:gd name="connsiteX2" fmla="*/ 100951 w 528834"/>
                    <a:gd name="connsiteY2" fmla="*/ 158770 h 456315"/>
                    <a:gd name="connsiteX3" fmla="*/ 224776 w 528834"/>
                    <a:gd name="connsiteY3" fmla="*/ 120670 h 456315"/>
                    <a:gd name="connsiteX4" fmla="*/ 231126 w 528834"/>
                    <a:gd name="connsiteY4" fmla="*/ 15895 h 456315"/>
                    <a:gd name="connsiteX5" fmla="*/ 326020 w 528834"/>
                    <a:gd name="connsiteY5" fmla="*/ 12720 h 456315"/>
                    <a:gd name="connsiteX6" fmla="*/ 336016 w 528834"/>
                    <a:gd name="connsiteY6" fmla="*/ 134302 h 456315"/>
                    <a:gd name="connsiteX7" fmla="*/ 462076 w 528834"/>
                    <a:gd name="connsiteY7" fmla="*/ 184425 h 456315"/>
                    <a:gd name="connsiteX8" fmla="*/ 522871 w 528834"/>
                    <a:gd name="connsiteY8" fmla="*/ 251776 h 456315"/>
                    <a:gd name="connsiteX9" fmla="*/ 527811 w 528834"/>
                    <a:gd name="connsiteY9" fmla="*/ 454045 h 456315"/>
                    <a:gd name="connsiteX10" fmla="*/ 7226 w 528834"/>
                    <a:gd name="connsiteY10" fmla="*/ 447695 h 456315"/>
                    <a:gd name="connsiteX0" fmla="*/ 8515 w 530123"/>
                    <a:gd name="connsiteY0" fmla="*/ 447695 h 456315"/>
                    <a:gd name="connsiteX1" fmla="*/ 10749 w 530123"/>
                    <a:gd name="connsiteY1" fmla="*/ 244749 h 456315"/>
                    <a:gd name="connsiteX2" fmla="*/ 102240 w 530123"/>
                    <a:gd name="connsiteY2" fmla="*/ 158770 h 456315"/>
                    <a:gd name="connsiteX3" fmla="*/ 226065 w 530123"/>
                    <a:gd name="connsiteY3" fmla="*/ 120670 h 456315"/>
                    <a:gd name="connsiteX4" fmla="*/ 232415 w 530123"/>
                    <a:gd name="connsiteY4" fmla="*/ 15895 h 456315"/>
                    <a:gd name="connsiteX5" fmla="*/ 327309 w 530123"/>
                    <a:gd name="connsiteY5" fmla="*/ 12720 h 456315"/>
                    <a:gd name="connsiteX6" fmla="*/ 337305 w 530123"/>
                    <a:gd name="connsiteY6" fmla="*/ 134302 h 456315"/>
                    <a:gd name="connsiteX7" fmla="*/ 463365 w 530123"/>
                    <a:gd name="connsiteY7" fmla="*/ 184425 h 456315"/>
                    <a:gd name="connsiteX8" fmla="*/ 524160 w 530123"/>
                    <a:gd name="connsiteY8" fmla="*/ 251776 h 456315"/>
                    <a:gd name="connsiteX9" fmla="*/ 529100 w 530123"/>
                    <a:gd name="connsiteY9" fmla="*/ 454045 h 456315"/>
                    <a:gd name="connsiteX10" fmla="*/ 8515 w 530123"/>
                    <a:gd name="connsiteY10" fmla="*/ 447695 h 456315"/>
                    <a:gd name="connsiteX0" fmla="*/ 7671 w 529279"/>
                    <a:gd name="connsiteY0" fmla="*/ 447695 h 456315"/>
                    <a:gd name="connsiteX1" fmla="*/ 9905 w 529279"/>
                    <a:gd name="connsiteY1" fmla="*/ 244749 h 456315"/>
                    <a:gd name="connsiteX2" fmla="*/ 87870 w 529279"/>
                    <a:gd name="connsiteY2" fmla="*/ 166263 h 456315"/>
                    <a:gd name="connsiteX3" fmla="*/ 225221 w 529279"/>
                    <a:gd name="connsiteY3" fmla="*/ 120670 h 456315"/>
                    <a:gd name="connsiteX4" fmla="*/ 231571 w 529279"/>
                    <a:gd name="connsiteY4" fmla="*/ 15895 h 456315"/>
                    <a:gd name="connsiteX5" fmla="*/ 326465 w 529279"/>
                    <a:gd name="connsiteY5" fmla="*/ 12720 h 456315"/>
                    <a:gd name="connsiteX6" fmla="*/ 336461 w 529279"/>
                    <a:gd name="connsiteY6" fmla="*/ 134302 h 456315"/>
                    <a:gd name="connsiteX7" fmla="*/ 462521 w 529279"/>
                    <a:gd name="connsiteY7" fmla="*/ 184425 h 456315"/>
                    <a:gd name="connsiteX8" fmla="*/ 523316 w 529279"/>
                    <a:gd name="connsiteY8" fmla="*/ 251776 h 456315"/>
                    <a:gd name="connsiteX9" fmla="*/ 528256 w 529279"/>
                    <a:gd name="connsiteY9" fmla="*/ 454045 h 456315"/>
                    <a:gd name="connsiteX10" fmla="*/ 7671 w 529279"/>
                    <a:gd name="connsiteY10" fmla="*/ 447695 h 456315"/>
                    <a:gd name="connsiteX0" fmla="*/ 7671 w 529279"/>
                    <a:gd name="connsiteY0" fmla="*/ 447558 h 456178"/>
                    <a:gd name="connsiteX1" fmla="*/ 9905 w 529279"/>
                    <a:gd name="connsiteY1" fmla="*/ 244612 h 456178"/>
                    <a:gd name="connsiteX2" fmla="*/ 87870 w 529279"/>
                    <a:gd name="connsiteY2" fmla="*/ 166126 h 456178"/>
                    <a:gd name="connsiteX3" fmla="*/ 206285 w 529279"/>
                    <a:gd name="connsiteY3" fmla="*/ 118035 h 456178"/>
                    <a:gd name="connsiteX4" fmla="*/ 231571 w 529279"/>
                    <a:gd name="connsiteY4" fmla="*/ 15758 h 456178"/>
                    <a:gd name="connsiteX5" fmla="*/ 326465 w 529279"/>
                    <a:gd name="connsiteY5" fmla="*/ 12583 h 456178"/>
                    <a:gd name="connsiteX6" fmla="*/ 336461 w 529279"/>
                    <a:gd name="connsiteY6" fmla="*/ 134165 h 456178"/>
                    <a:gd name="connsiteX7" fmla="*/ 462521 w 529279"/>
                    <a:gd name="connsiteY7" fmla="*/ 184288 h 456178"/>
                    <a:gd name="connsiteX8" fmla="*/ 523316 w 529279"/>
                    <a:gd name="connsiteY8" fmla="*/ 251639 h 456178"/>
                    <a:gd name="connsiteX9" fmla="*/ 528256 w 529279"/>
                    <a:gd name="connsiteY9" fmla="*/ 453908 h 456178"/>
                    <a:gd name="connsiteX10" fmla="*/ 7671 w 529279"/>
                    <a:gd name="connsiteY10" fmla="*/ 447558 h 456178"/>
                    <a:gd name="connsiteX0" fmla="*/ 14544 w 536152"/>
                    <a:gd name="connsiteY0" fmla="*/ 447558 h 456178"/>
                    <a:gd name="connsiteX1" fmla="*/ 5958 w 536152"/>
                    <a:gd name="connsiteY1" fmla="*/ 247109 h 456178"/>
                    <a:gd name="connsiteX2" fmla="*/ 94743 w 536152"/>
                    <a:gd name="connsiteY2" fmla="*/ 166126 h 456178"/>
                    <a:gd name="connsiteX3" fmla="*/ 213158 w 536152"/>
                    <a:gd name="connsiteY3" fmla="*/ 118035 h 456178"/>
                    <a:gd name="connsiteX4" fmla="*/ 238444 w 536152"/>
                    <a:gd name="connsiteY4" fmla="*/ 15758 h 456178"/>
                    <a:gd name="connsiteX5" fmla="*/ 333338 w 536152"/>
                    <a:gd name="connsiteY5" fmla="*/ 12583 h 456178"/>
                    <a:gd name="connsiteX6" fmla="*/ 343334 w 536152"/>
                    <a:gd name="connsiteY6" fmla="*/ 134165 h 456178"/>
                    <a:gd name="connsiteX7" fmla="*/ 469394 w 536152"/>
                    <a:gd name="connsiteY7" fmla="*/ 184288 h 456178"/>
                    <a:gd name="connsiteX8" fmla="*/ 530189 w 536152"/>
                    <a:gd name="connsiteY8" fmla="*/ 251639 h 456178"/>
                    <a:gd name="connsiteX9" fmla="*/ 535129 w 536152"/>
                    <a:gd name="connsiteY9" fmla="*/ 453908 h 456178"/>
                    <a:gd name="connsiteX10" fmla="*/ 14544 w 536152"/>
                    <a:gd name="connsiteY10" fmla="*/ 447558 h 456178"/>
                    <a:gd name="connsiteX0" fmla="*/ 7226 w 542359"/>
                    <a:gd name="connsiteY0" fmla="*/ 450055 h 456488"/>
                    <a:gd name="connsiteX1" fmla="*/ 12165 w 542359"/>
                    <a:gd name="connsiteY1" fmla="*/ 247109 h 456488"/>
                    <a:gd name="connsiteX2" fmla="*/ 100950 w 542359"/>
                    <a:gd name="connsiteY2" fmla="*/ 166126 h 456488"/>
                    <a:gd name="connsiteX3" fmla="*/ 219365 w 542359"/>
                    <a:gd name="connsiteY3" fmla="*/ 118035 h 456488"/>
                    <a:gd name="connsiteX4" fmla="*/ 244651 w 542359"/>
                    <a:gd name="connsiteY4" fmla="*/ 15758 h 456488"/>
                    <a:gd name="connsiteX5" fmla="*/ 339545 w 542359"/>
                    <a:gd name="connsiteY5" fmla="*/ 12583 h 456488"/>
                    <a:gd name="connsiteX6" fmla="*/ 349541 w 542359"/>
                    <a:gd name="connsiteY6" fmla="*/ 134165 h 456488"/>
                    <a:gd name="connsiteX7" fmla="*/ 475601 w 542359"/>
                    <a:gd name="connsiteY7" fmla="*/ 184288 h 456488"/>
                    <a:gd name="connsiteX8" fmla="*/ 536396 w 542359"/>
                    <a:gd name="connsiteY8" fmla="*/ 251639 h 456488"/>
                    <a:gd name="connsiteX9" fmla="*/ 541336 w 542359"/>
                    <a:gd name="connsiteY9" fmla="*/ 453908 h 456488"/>
                    <a:gd name="connsiteX10" fmla="*/ 7226 w 542359"/>
                    <a:gd name="connsiteY10" fmla="*/ 450055 h 456488"/>
                    <a:gd name="connsiteX0" fmla="*/ 7226 w 542359"/>
                    <a:gd name="connsiteY0" fmla="*/ 450055 h 456488"/>
                    <a:gd name="connsiteX1" fmla="*/ 12165 w 542359"/>
                    <a:gd name="connsiteY1" fmla="*/ 247109 h 456488"/>
                    <a:gd name="connsiteX2" fmla="*/ 100950 w 542359"/>
                    <a:gd name="connsiteY2" fmla="*/ 166126 h 456488"/>
                    <a:gd name="connsiteX3" fmla="*/ 219365 w 542359"/>
                    <a:gd name="connsiteY3" fmla="*/ 118035 h 456488"/>
                    <a:gd name="connsiteX4" fmla="*/ 244651 w 542359"/>
                    <a:gd name="connsiteY4" fmla="*/ 15758 h 456488"/>
                    <a:gd name="connsiteX5" fmla="*/ 331430 w 542359"/>
                    <a:gd name="connsiteY5" fmla="*/ 12583 h 456488"/>
                    <a:gd name="connsiteX6" fmla="*/ 349541 w 542359"/>
                    <a:gd name="connsiteY6" fmla="*/ 134165 h 456488"/>
                    <a:gd name="connsiteX7" fmla="*/ 475601 w 542359"/>
                    <a:gd name="connsiteY7" fmla="*/ 184288 h 456488"/>
                    <a:gd name="connsiteX8" fmla="*/ 536396 w 542359"/>
                    <a:gd name="connsiteY8" fmla="*/ 251639 h 456488"/>
                    <a:gd name="connsiteX9" fmla="*/ 541336 w 542359"/>
                    <a:gd name="connsiteY9" fmla="*/ 453908 h 456488"/>
                    <a:gd name="connsiteX10" fmla="*/ 7226 w 542359"/>
                    <a:gd name="connsiteY10" fmla="*/ 450055 h 456488"/>
                    <a:gd name="connsiteX0" fmla="*/ 7226 w 542359"/>
                    <a:gd name="connsiteY0" fmla="*/ 450055 h 456488"/>
                    <a:gd name="connsiteX1" fmla="*/ 12165 w 542359"/>
                    <a:gd name="connsiteY1" fmla="*/ 247109 h 456488"/>
                    <a:gd name="connsiteX2" fmla="*/ 100950 w 542359"/>
                    <a:gd name="connsiteY2" fmla="*/ 166126 h 456488"/>
                    <a:gd name="connsiteX3" fmla="*/ 219365 w 542359"/>
                    <a:gd name="connsiteY3" fmla="*/ 118035 h 456488"/>
                    <a:gd name="connsiteX4" fmla="*/ 244651 w 542359"/>
                    <a:gd name="connsiteY4" fmla="*/ 15758 h 456488"/>
                    <a:gd name="connsiteX5" fmla="*/ 331430 w 542359"/>
                    <a:gd name="connsiteY5" fmla="*/ 12583 h 456488"/>
                    <a:gd name="connsiteX6" fmla="*/ 349541 w 542359"/>
                    <a:gd name="connsiteY6" fmla="*/ 134165 h 456488"/>
                    <a:gd name="connsiteX7" fmla="*/ 483716 w 542359"/>
                    <a:gd name="connsiteY7" fmla="*/ 179293 h 456488"/>
                    <a:gd name="connsiteX8" fmla="*/ 536396 w 542359"/>
                    <a:gd name="connsiteY8" fmla="*/ 251639 h 456488"/>
                    <a:gd name="connsiteX9" fmla="*/ 541336 w 542359"/>
                    <a:gd name="connsiteY9" fmla="*/ 453908 h 456488"/>
                    <a:gd name="connsiteX10" fmla="*/ 7226 w 542359"/>
                    <a:gd name="connsiteY10" fmla="*/ 450055 h 456488"/>
                    <a:gd name="connsiteX0" fmla="*/ 6630 w 541763"/>
                    <a:gd name="connsiteY0" fmla="*/ 450055 h 456488"/>
                    <a:gd name="connsiteX1" fmla="*/ 11569 w 541763"/>
                    <a:gd name="connsiteY1" fmla="*/ 247109 h 456488"/>
                    <a:gd name="connsiteX2" fmla="*/ 89534 w 541763"/>
                    <a:gd name="connsiteY2" fmla="*/ 166126 h 456488"/>
                    <a:gd name="connsiteX3" fmla="*/ 218769 w 541763"/>
                    <a:gd name="connsiteY3" fmla="*/ 118035 h 456488"/>
                    <a:gd name="connsiteX4" fmla="*/ 244055 w 541763"/>
                    <a:gd name="connsiteY4" fmla="*/ 15758 h 456488"/>
                    <a:gd name="connsiteX5" fmla="*/ 330834 w 541763"/>
                    <a:gd name="connsiteY5" fmla="*/ 12583 h 456488"/>
                    <a:gd name="connsiteX6" fmla="*/ 348945 w 541763"/>
                    <a:gd name="connsiteY6" fmla="*/ 134165 h 456488"/>
                    <a:gd name="connsiteX7" fmla="*/ 483120 w 541763"/>
                    <a:gd name="connsiteY7" fmla="*/ 179293 h 456488"/>
                    <a:gd name="connsiteX8" fmla="*/ 535800 w 541763"/>
                    <a:gd name="connsiteY8" fmla="*/ 251639 h 456488"/>
                    <a:gd name="connsiteX9" fmla="*/ 540740 w 541763"/>
                    <a:gd name="connsiteY9" fmla="*/ 453908 h 456488"/>
                    <a:gd name="connsiteX10" fmla="*/ 6630 w 541763"/>
                    <a:gd name="connsiteY10" fmla="*/ 450055 h 456488"/>
                    <a:gd name="connsiteX0" fmla="*/ 4856 w 539989"/>
                    <a:gd name="connsiteY0" fmla="*/ 450055 h 456488"/>
                    <a:gd name="connsiteX1" fmla="*/ 15205 w 539989"/>
                    <a:gd name="connsiteY1" fmla="*/ 227128 h 456488"/>
                    <a:gd name="connsiteX2" fmla="*/ 87760 w 539989"/>
                    <a:gd name="connsiteY2" fmla="*/ 166126 h 456488"/>
                    <a:gd name="connsiteX3" fmla="*/ 216995 w 539989"/>
                    <a:gd name="connsiteY3" fmla="*/ 118035 h 456488"/>
                    <a:gd name="connsiteX4" fmla="*/ 242281 w 539989"/>
                    <a:gd name="connsiteY4" fmla="*/ 15758 h 456488"/>
                    <a:gd name="connsiteX5" fmla="*/ 329060 w 539989"/>
                    <a:gd name="connsiteY5" fmla="*/ 12583 h 456488"/>
                    <a:gd name="connsiteX6" fmla="*/ 347171 w 539989"/>
                    <a:gd name="connsiteY6" fmla="*/ 134165 h 456488"/>
                    <a:gd name="connsiteX7" fmla="*/ 481346 w 539989"/>
                    <a:gd name="connsiteY7" fmla="*/ 179293 h 456488"/>
                    <a:gd name="connsiteX8" fmla="*/ 534026 w 539989"/>
                    <a:gd name="connsiteY8" fmla="*/ 251639 h 456488"/>
                    <a:gd name="connsiteX9" fmla="*/ 538966 w 539989"/>
                    <a:gd name="connsiteY9" fmla="*/ 453908 h 456488"/>
                    <a:gd name="connsiteX10" fmla="*/ 4856 w 539989"/>
                    <a:gd name="connsiteY10" fmla="*/ 450055 h 4564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39989" h="456488">
                      <a:moveTo>
                        <a:pt x="4856" y="450055"/>
                      </a:moveTo>
                      <a:cubicBezTo>
                        <a:pt x="-5198" y="385497"/>
                        <a:pt x="1388" y="274449"/>
                        <a:pt x="15205" y="227128"/>
                      </a:cubicBezTo>
                      <a:cubicBezTo>
                        <a:pt x="29022" y="179807"/>
                        <a:pt x="54128" y="184308"/>
                        <a:pt x="87760" y="166126"/>
                      </a:cubicBezTo>
                      <a:cubicBezTo>
                        <a:pt x="121392" y="147944"/>
                        <a:pt x="191242" y="143096"/>
                        <a:pt x="216995" y="118035"/>
                      </a:cubicBezTo>
                      <a:cubicBezTo>
                        <a:pt x="242748" y="92974"/>
                        <a:pt x="223604" y="33333"/>
                        <a:pt x="242281" y="15758"/>
                      </a:cubicBezTo>
                      <a:cubicBezTo>
                        <a:pt x="260958" y="-1817"/>
                        <a:pt x="311578" y="-7151"/>
                        <a:pt x="329060" y="12583"/>
                      </a:cubicBezTo>
                      <a:cubicBezTo>
                        <a:pt x="346542" y="32317"/>
                        <a:pt x="321790" y="106380"/>
                        <a:pt x="347171" y="134165"/>
                      </a:cubicBezTo>
                      <a:cubicBezTo>
                        <a:pt x="372552" y="161950"/>
                        <a:pt x="450204" y="159714"/>
                        <a:pt x="481346" y="179293"/>
                      </a:cubicBezTo>
                      <a:cubicBezTo>
                        <a:pt x="512489" y="198872"/>
                        <a:pt x="523972" y="202956"/>
                        <a:pt x="534026" y="251639"/>
                      </a:cubicBezTo>
                      <a:cubicBezTo>
                        <a:pt x="537201" y="301381"/>
                        <a:pt x="542141" y="328496"/>
                        <a:pt x="538966" y="453908"/>
                      </a:cubicBezTo>
                      <a:cubicBezTo>
                        <a:pt x="307191" y="461845"/>
                        <a:pt x="250800" y="448827"/>
                        <a:pt x="4856" y="450055"/>
                      </a:cubicBezTo>
                      <a:close/>
                    </a:path>
                  </a:pathLst>
                </a:custGeom>
                <a:solidFill>
                  <a:schemeClr val="bg1"/>
                </a:solidFill>
                <a:ln w="57150">
                  <a:solidFill>
                    <a:schemeClr val="tx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226" name="Oval 225">
                  <a:extLst>
                    <a:ext uri="{FF2B5EF4-FFF2-40B4-BE49-F238E27FC236}">
                      <a16:creationId xmlns:a16="http://schemas.microsoft.com/office/drawing/2014/main" id="{94E41FBB-7A7B-4E44-BA8D-4303AE76E990}"/>
                    </a:ext>
                  </a:extLst>
                </p:cNvPr>
                <p:cNvSpPr/>
                <p:nvPr/>
              </p:nvSpPr>
              <p:spPr>
                <a:xfrm>
                  <a:off x="1964431" y="3500843"/>
                  <a:ext cx="259337" cy="299858"/>
                </a:xfrm>
                <a:prstGeom prst="ellipse">
                  <a:avLst/>
                </a:prstGeom>
                <a:solidFill>
                  <a:schemeClr val="bg1"/>
                </a:solidFill>
                <a:ln w="57150">
                  <a:solidFill>
                    <a:schemeClr val="tx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grpSp>
        </p:grpSp>
        <p:grpSp>
          <p:nvGrpSpPr>
            <p:cNvPr id="217" name="Group 216">
              <a:extLst>
                <a:ext uri="{FF2B5EF4-FFF2-40B4-BE49-F238E27FC236}">
                  <a16:creationId xmlns:a16="http://schemas.microsoft.com/office/drawing/2014/main" id="{9AA03F1A-AE9E-5149-B701-939FA4DFAA10}"/>
                </a:ext>
              </a:extLst>
            </p:cNvPr>
            <p:cNvGrpSpPr/>
            <p:nvPr/>
          </p:nvGrpSpPr>
          <p:grpSpPr>
            <a:xfrm>
              <a:off x="2495712" y="4589934"/>
              <a:ext cx="1256698" cy="510604"/>
              <a:chOff x="2495712" y="4589934"/>
              <a:chExt cx="1256698" cy="510604"/>
            </a:xfrm>
            <a:solidFill>
              <a:schemeClr val="tx1">
                <a:lumMod val="50000"/>
              </a:schemeClr>
            </a:solidFill>
          </p:grpSpPr>
          <p:sp>
            <p:nvSpPr>
              <p:cNvPr id="219" name="Rounded Rectangle 218">
                <a:extLst>
                  <a:ext uri="{FF2B5EF4-FFF2-40B4-BE49-F238E27FC236}">
                    <a16:creationId xmlns:a16="http://schemas.microsoft.com/office/drawing/2014/main" id="{106779F9-FE84-5A41-BD41-FCECC54A3076}"/>
                  </a:ext>
                </a:extLst>
              </p:cNvPr>
              <p:cNvSpPr/>
              <p:nvPr/>
            </p:nvSpPr>
            <p:spPr>
              <a:xfrm>
                <a:off x="2495712" y="4589934"/>
                <a:ext cx="1256697" cy="251941"/>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220" name="Rectangle 219">
                <a:extLst>
                  <a:ext uri="{FF2B5EF4-FFF2-40B4-BE49-F238E27FC236}">
                    <a16:creationId xmlns:a16="http://schemas.microsoft.com/office/drawing/2014/main" id="{CD2471E2-ABA0-114D-A198-AA59A5B6C0EC}"/>
                  </a:ext>
                </a:extLst>
              </p:cNvPr>
              <p:cNvSpPr/>
              <p:nvPr/>
            </p:nvSpPr>
            <p:spPr>
              <a:xfrm>
                <a:off x="2498725" y="4797790"/>
                <a:ext cx="1253685" cy="13315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221" name="Rectangle 220">
                <a:extLst>
                  <a:ext uri="{FF2B5EF4-FFF2-40B4-BE49-F238E27FC236}">
                    <a16:creationId xmlns:a16="http://schemas.microsoft.com/office/drawing/2014/main" id="{6995BE90-8BD1-4848-B69A-970B52E24F67}"/>
                  </a:ext>
                </a:extLst>
              </p:cNvPr>
              <p:cNvSpPr/>
              <p:nvPr/>
            </p:nvSpPr>
            <p:spPr>
              <a:xfrm>
                <a:off x="2546350" y="4923041"/>
                <a:ext cx="109152" cy="17749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222" name="Rectangle 221">
                <a:extLst>
                  <a:ext uri="{FF2B5EF4-FFF2-40B4-BE49-F238E27FC236}">
                    <a16:creationId xmlns:a16="http://schemas.microsoft.com/office/drawing/2014/main" id="{91748818-990B-9F4D-91CB-178CB0B89CA2}"/>
                  </a:ext>
                </a:extLst>
              </p:cNvPr>
              <p:cNvSpPr/>
              <p:nvPr/>
            </p:nvSpPr>
            <p:spPr>
              <a:xfrm>
                <a:off x="3610945" y="4923041"/>
                <a:ext cx="109152" cy="17749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grpSp>
        <p:sp>
          <p:nvSpPr>
            <p:cNvPr id="218" name="Trapezoid 217">
              <a:extLst>
                <a:ext uri="{FF2B5EF4-FFF2-40B4-BE49-F238E27FC236}">
                  <a16:creationId xmlns:a16="http://schemas.microsoft.com/office/drawing/2014/main" id="{62735D84-BC88-9948-9248-CEA283FC7561}"/>
                </a:ext>
              </a:extLst>
            </p:cNvPr>
            <p:cNvSpPr/>
            <p:nvPr/>
          </p:nvSpPr>
          <p:spPr>
            <a:xfrm>
              <a:off x="2655502" y="4181475"/>
              <a:ext cx="958850" cy="363303"/>
            </a:xfrm>
            <a:prstGeom prst="trapezoid">
              <a:avLst/>
            </a:prstGeom>
            <a:solidFill>
              <a:schemeClr val="tx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grpSp>
      <p:grpSp>
        <p:nvGrpSpPr>
          <p:cNvPr id="229" name="Group 228">
            <a:extLst>
              <a:ext uri="{FF2B5EF4-FFF2-40B4-BE49-F238E27FC236}">
                <a16:creationId xmlns:a16="http://schemas.microsoft.com/office/drawing/2014/main" id="{210AEB52-DCE0-6C49-BC44-9DE2F92EC601}"/>
              </a:ext>
            </a:extLst>
          </p:cNvPr>
          <p:cNvGrpSpPr/>
          <p:nvPr/>
        </p:nvGrpSpPr>
        <p:grpSpPr>
          <a:xfrm>
            <a:off x="10645747" y="5442820"/>
            <a:ext cx="1025213" cy="1261037"/>
            <a:chOff x="2441771" y="3385414"/>
            <a:chExt cx="1325481" cy="1781019"/>
          </a:xfrm>
        </p:grpSpPr>
        <p:pic>
          <p:nvPicPr>
            <p:cNvPr id="230" name="Picture 229">
              <a:extLst>
                <a:ext uri="{FF2B5EF4-FFF2-40B4-BE49-F238E27FC236}">
                  <a16:creationId xmlns:a16="http://schemas.microsoft.com/office/drawing/2014/main" id="{55DFB45F-B123-4B4A-A185-DFC76CDD6980}"/>
                </a:ext>
              </a:extLst>
            </p:cNvPr>
            <p:cNvPicPr>
              <a:picLocks noChangeAspect="1"/>
            </p:cNvPicPr>
            <p:nvPr/>
          </p:nvPicPr>
          <p:blipFill rotWithShape="1">
            <a:blip r:embed="rId2"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a:xfrm>
              <a:off x="2441771" y="3385414"/>
              <a:ext cx="1325481" cy="1781019"/>
            </a:xfrm>
            <a:prstGeom prst="rect">
              <a:avLst/>
            </a:prstGeom>
          </p:spPr>
        </p:pic>
        <p:sp>
          <p:nvSpPr>
            <p:cNvPr id="231" name="Rounded Rectangle 230">
              <a:extLst>
                <a:ext uri="{FF2B5EF4-FFF2-40B4-BE49-F238E27FC236}">
                  <a16:creationId xmlns:a16="http://schemas.microsoft.com/office/drawing/2014/main" id="{FBD117C0-6A10-7346-B019-3FF394F407C2}"/>
                </a:ext>
              </a:extLst>
            </p:cNvPr>
            <p:cNvSpPr/>
            <p:nvPr/>
          </p:nvSpPr>
          <p:spPr>
            <a:xfrm>
              <a:off x="2655502" y="3670300"/>
              <a:ext cx="958850" cy="436656"/>
            </a:xfrm>
            <a:prstGeom prst="roundRect">
              <a:avLst/>
            </a:prstGeom>
            <a:solidFill>
              <a:schemeClr val="tx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grpSp>
          <p:nvGrpSpPr>
            <p:cNvPr id="232" name="Group 231">
              <a:extLst>
                <a:ext uri="{FF2B5EF4-FFF2-40B4-BE49-F238E27FC236}">
                  <a16:creationId xmlns:a16="http://schemas.microsoft.com/office/drawing/2014/main" id="{6DB21FB1-E71A-2249-8EE9-918C9196AA09}"/>
                </a:ext>
              </a:extLst>
            </p:cNvPr>
            <p:cNvGrpSpPr/>
            <p:nvPr/>
          </p:nvGrpSpPr>
          <p:grpSpPr>
            <a:xfrm>
              <a:off x="2776471" y="3456093"/>
              <a:ext cx="748710" cy="1056883"/>
              <a:chOff x="1496718" y="3334932"/>
              <a:chExt cx="748710" cy="1056883"/>
            </a:xfrm>
          </p:grpSpPr>
          <p:grpSp>
            <p:nvGrpSpPr>
              <p:cNvPr id="239" name="Group 238">
                <a:extLst>
                  <a:ext uri="{FF2B5EF4-FFF2-40B4-BE49-F238E27FC236}">
                    <a16:creationId xmlns:a16="http://schemas.microsoft.com/office/drawing/2014/main" id="{ECE0050E-14D2-C640-916A-E91498ED0640}"/>
                  </a:ext>
                </a:extLst>
              </p:cNvPr>
              <p:cNvGrpSpPr/>
              <p:nvPr/>
            </p:nvGrpSpPr>
            <p:grpSpPr>
              <a:xfrm>
                <a:off x="1496718" y="3334932"/>
                <a:ext cx="748710" cy="1056883"/>
                <a:chOff x="1843570" y="3508300"/>
                <a:chExt cx="514980" cy="727982"/>
              </a:xfrm>
              <a:solidFill>
                <a:schemeClr val="bg1"/>
              </a:solidFill>
            </p:grpSpPr>
            <p:sp>
              <p:nvSpPr>
                <p:cNvPr id="243" name="Freeform 242">
                  <a:extLst>
                    <a:ext uri="{FF2B5EF4-FFF2-40B4-BE49-F238E27FC236}">
                      <a16:creationId xmlns:a16="http://schemas.microsoft.com/office/drawing/2014/main" id="{E2405583-FB89-CF4D-9CD9-B1B12643A480}"/>
                    </a:ext>
                  </a:extLst>
                </p:cNvPr>
                <p:cNvSpPr/>
                <p:nvPr/>
              </p:nvSpPr>
              <p:spPr>
                <a:xfrm>
                  <a:off x="1843570" y="3787509"/>
                  <a:ext cx="514980" cy="448773"/>
                </a:xfrm>
                <a:custGeom>
                  <a:avLst/>
                  <a:gdLst>
                    <a:gd name="connsiteX0" fmla="*/ 36807 w 576731"/>
                    <a:gd name="connsiteY0" fmla="*/ 449906 h 505924"/>
                    <a:gd name="connsiteX1" fmla="*/ 39982 w 576731"/>
                    <a:gd name="connsiteY1" fmla="*/ 214956 h 505924"/>
                    <a:gd name="connsiteX2" fmla="*/ 55857 w 576731"/>
                    <a:gd name="connsiteY2" fmla="*/ 176856 h 505924"/>
                    <a:gd name="connsiteX3" fmla="*/ 103482 w 576731"/>
                    <a:gd name="connsiteY3" fmla="*/ 160981 h 505924"/>
                    <a:gd name="connsiteX4" fmla="*/ 205082 w 576731"/>
                    <a:gd name="connsiteY4" fmla="*/ 154631 h 505924"/>
                    <a:gd name="connsiteX5" fmla="*/ 230482 w 576731"/>
                    <a:gd name="connsiteY5" fmla="*/ 151456 h 505924"/>
                    <a:gd name="connsiteX6" fmla="*/ 233657 w 576731"/>
                    <a:gd name="connsiteY6" fmla="*/ 18106 h 505924"/>
                    <a:gd name="connsiteX7" fmla="*/ 344782 w 576731"/>
                    <a:gd name="connsiteY7" fmla="*/ 14931 h 505924"/>
                    <a:gd name="connsiteX8" fmla="*/ 344782 w 576731"/>
                    <a:gd name="connsiteY8" fmla="*/ 145106 h 505924"/>
                    <a:gd name="connsiteX9" fmla="*/ 386057 w 576731"/>
                    <a:gd name="connsiteY9" fmla="*/ 151456 h 505924"/>
                    <a:gd name="connsiteX10" fmla="*/ 478132 w 576731"/>
                    <a:gd name="connsiteY10" fmla="*/ 164156 h 505924"/>
                    <a:gd name="connsiteX11" fmla="*/ 519407 w 576731"/>
                    <a:gd name="connsiteY11" fmla="*/ 189556 h 505924"/>
                    <a:gd name="connsiteX12" fmla="*/ 541632 w 576731"/>
                    <a:gd name="connsiteY12" fmla="*/ 234006 h 505924"/>
                    <a:gd name="connsiteX13" fmla="*/ 538457 w 576731"/>
                    <a:gd name="connsiteY13" fmla="*/ 488006 h 505924"/>
                    <a:gd name="connsiteX14" fmla="*/ 36807 w 576731"/>
                    <a:gd name="connsiteY14" fmla="*/ 449906 h 505924"/>
                    <a:gd name="connsiteX0" fmla="*/ 5769 w 545693"/>
                    <a:gd name="connsiteY0" fmla="*/ 449906 h 505924"/>
                    <a:gd name="connsiteX1" fmla="*/ 8944 w 545693"/>
                    <a:gd name="connsiteY1" fmla="*/ 214956 h 505924"/>
                    <a:gd name="connsiteX2" fmla="*/ 24819 w 545693"/>
                    <a:gd name="connsiteY2" fmla="*/ 176856 h 505924"/>
                    <a:gd name="connsiteX3" fmla="*/ 72444 w 545693"/>
                    <a:gd name="connsiteY3" fmla="*/ 160981 h 505924"/>
                    <a:gd name="connsiteX4" fmla="*/ 174044 w 545693"/>
                    <a:gd name="connsiteY4" fmla="*/ 154631 h 505924"/>
                    <a:gd name="connsiteX5" fmla="*/ 199444 w 545693"/>
                    <a:gd name="connsiteY5" fmla="*/ 151456 h 505924"/>
                    <a:gd name="connsiteX6" fmla="*/ 202619 w 545693"/>
                    <a:gd name="connsiteY6" fmla="*/ 18106 h 505924"/>
                    <a:gd name="connsiteX7" fmla="*/ 313744 w 545693"/>
                    <a:gd name="connsiteY7" fmla="*/ 14931 h 505924"/>
                    <a:gd name="connsiteX8" fmla="*/ 313744 w 545693"/>
                    <a:gd name="connsiteY8" fmla="*/ 145106 h 505924"/>
                    <a:gd name="connsiteX9" fmla="*/ 355019 w 545693"/>
                    <a:gd name="connsiteY9" fmla="*/ 151456 h 505924"/>
                    <a:gd name="connsiteX10" fmla="*/ 447094 w 545693"/>
                    <a:gd name="connsiteY10" fmla="*/ 164156 h 505924"/>
                    <a:gd name="connsiteX11" fmla="*/ 488369 w 545693"/>
                    <a:gd name="connsiteY11" fmla="*/ 189556 h 505924"/>
                    <a:gd name="connsiteX12" fmla="*/ 510594 w 545693"/>
                    <a:gd name="connsiteY12" fmla="*/ 234006 h 505924"/>
                    <a:gd name="connsiteX13" fmla="*/ 507419 w 545693"/>
                    <a:gd name="connsiteY13" fmla="*/ 488006 h 505924"/>
                    <a:gd name="connsiteX14" fmla="*/ 5769 w 545693"/>
                    <a:gd name="connsiteY14" fmla="*/ 449906 h 505924"/>
                    <a:gd name="connsiteX0" fmla="*/ 21286 w 561210"/>
                    <a:gd name="connsiteY0" fmla="*/ 449906 h 508025"/>
                    <a:gd name="connsiteX1" fmla="*/ 24461 w 561210"/>
                    <a:gd name="connsiteY1" fmla="*/ 214956 h 508025"/>
                    <a:gd name="connsiteX2" fmla="*/ 40336 w 561210"/>
                    <a:gd name="connsiteY2" fmla="*/ 176856 h 508025"/>
                    <a:gd name="connsiteX3" fmla="*/ 87961 w 561210"/>
                    <a:gd name="connsiteY3" fmla="*/ 160981 h 508025"/>
                    <a:gd name="connsiteX4" fmla="*/ 189561 w 561210"/>
                    <a:gd name="connsiteY4" fmla="*/ 154631 h 508025"/>
                    <a:gd name="connsiteX5" fmla="*/ 214961 w 561210"/>
                    <a:gd name="connsiteY5" fmla="*/ 151456 h 508025"/>
                    <a:gd name="connsiteX6" fmla="*/ 218136 w 561210"/>
                    <a:gd name="connsiteY6" fmla="*/ 18106 h 508025"/>
                    <a:gd name="connsiteX7" fmla="*/ 329261 w 561210"/>
                    <a:gd name="connsiteY7" fmla="*/ 14931 h 508025"/>
                    <a:gd name="connsiteX8" fmla="*/ 329261 w 561210"/>
                    <a:gd name="connsiteY8" fmla="*/ 145106 h 508025"/>
                    <a:gd name="connsiteX9" fmla="*/ 370536 w 561210"/>
                    <a:gd name="connsiteY9" fmla="*/ 151456 h 508025"/>
                    <a:gd name="connsiteX10" fmla="*/ 462611 w 561210"/>
                    <a:gd name="connsiteY10" fmla="*/ 164156 h 508025"/>
                    <a:gd name="connsiteX11" fmla="*/ 503886 w 561210"/>
                    <a:gd name="connsiteY11" fmla="*/ 189556 h 508025"/>
                    <a:gd name="connsiteX12" fmla="*/ 526111 w 561210"/>
                    <a:gd name="connsiteY12" fmla="*/ 234006 h 508025"/>
                    <a:gd name="connsiteX13" fmla="*/ 522936 w 561210"/>
                    <a:gd name="connsiteY13" fmla="*/ 488006 h 508025"/>
                    <a:gd name="connsiteX14" fmla="*/ 21286 w 561210"/>
                    <a:gd name="connsiteY14" fmla="*/ 449906 h 508025"/>
                    <a:gd name="connsiteX0" fmla="*/ 21286 w 561210"/>
                    <a:gd name="connsiteY0" fmla="*/ 449906 h 508025"/>
                    <a:gd name="connsiteX1" fmla="*/ 24461 w 561210"/>
                    <a:gd name="connsiteY1" fmla="*/ 214956 h 508025"/>
                    <a:gd name="connsiteX2" fmla="*/ 40336 w 561210"/>
                    <a:gd name="connsiteY2" fmla="*/ 176856 h 508025"/>
                    <a:gd name="connsiteX3" fmla="*/ 87961 w 561210"/>
                    <a:gd name="connsiteY3" fmla="*/ 160981 h 508025"/>
                    <a:gd name="connsiteX4" fmla="*/ 189561 w 561210"/>
                    <a:gd name="connsiteY4" fmla="*/ 154631 h 508025"/>
                    <a:gd name="connsiteX5" fmla="*/ 214961 w 561210"/>
                    <a:gd name="connsiteY5" fmla="*/ 151456 h 508025"/>
                    <a:gd name="connsiteX6" fmla="*/ 218136 w 561210"/>
                    <a:gd name="connsiteY6" fmla="*/ 18106 h 508025"/>
                    <a:gd name="connsiteX7" fmla="*/ 329261 w 561210"/>
                    <a:gd name="connsiteY7" fmla="*/ 14931 h 508025"/>
                    <a:gd name="connsiteX8" fmla="*/ 329261 w 561210"/>
                    <a:gd name="connsiteY8" fmla="*/ 145106 h 508025"/>
                    <a:gd name="connsiteX9" fmla="*/ 370536 w 561210"/>
                    <a:gd name="connsiteY9" fmla="*/ 151456 h 508025"/>
                    <a:gd name="connsiteX10" fmla="*/ 462611 w 561210"/>
                    <a:gd name="connsiteY10" fmla="*/ 164156 h 508025"/>
                    <a:gd name="connsiteX11" fmla="*/ 503886 w 561210"/>
                    <a:gd name="connsiteY11" fmla="*/ 189556 h 508025"/>
                    <a:gd name="connsiteX12" fmla="*/ 526111 w 561210"/>
                    <a:gd name="connsiteY12" fmla="*/ 234006 h 508025"/>
                    <a:gd name="connsiteX13" fmla="*/ 522936 w 561210"/>
                    <a:gd name="connsiteY13" fmla="*/ 488006 h 508025"/>
                    <a:gd name="connsiteX14" fmla="*/ 21286 w 561210"/>
                    <a:gd name="connsiteY14" fmla="*/ 449906 h 508025"/>
                    <a:gd name="connsiteX0" fmla="*/ 4360 w 544284"/>
                    <a:gd name="connsiteY0" fmla="*/ 449906 h 508025"/>
                    <a:gd name="connsiteX1" fmla="*/ 7535 w 544284"/>
                    <a:gd name="connsiteY1" fmla="*/ 214956 h 508025"/>
                    <a:gd name="connsiteX2" fmla="*/ 23410 w 544284"/>
                    <a:gd name="connsiteY2" fmla="*/ 176856 h 508025"/>
                    <a:gd name="connsiteX3" fmla="*/ 71035 w 544284"/>
                    <a:gd name="connsiteY3" fmla="*/ 160981 h 508025"/>
                    <a:gd name="connsiteX4" fmla="*/ 172635 w 544284"/>
                    <a:gd name="connsiteY4" fmla="*/ 154631 h 508025"/>
                    <a:gd name="connsiteX5" fmla="*/ 198035 w 544284"/>
                    <a:gd name="connsiteY5" fmla="*/ 151456 h 508025"/>
                    <a:gd name="connsiteX6" fmla="*/ 201210 w 544284"/>
                    <a:gd name="connsiteY6" fmla="*/ 18106 h 508025"/>
                    <a:gd name="connsiteX7" fmla="*/ 312335 w 544284"/>
                    <a:gd name="connsiteY7" fmla="*/ 14931 h 508025"/>
                    <a:gd name="connsiteX8" fmla="*/ 312335 w 544284"/>
                    <a:gd name="connsiteY8" fmla="*/ 145106 h 508025"/>
                    <a:gd name="connsiteX9" fmla="*/ 353610 w 544284"/>
                    <a:gd name="connsiteY9" fmla="*/ 151456 h 508025"/>
                    <a:gd name="connsiteX10" fmla="*/ 445685 w 544284"/>
                    <a:gd name="connsiteY10" fmla="*/ 164156 h 508025"/>
                    <a:gd name="connsiteX11" fmla="*/ 486960 w 544284"/>
                    <a:gd name="connsiteY11" fmla="*/ 189556 h 508025"/>
                    <a:gd name="connsiteX12" fmla="*/ 509185 w 544284"/>
                    <a:gd name="connsiteY12" fmla="*/ 234006 h 508025"/>
                    <a:gd name="connsiteX13" fmla="*/ 506010 w 544284"/>
                    <a:gd name="connsiteY13" fmla="*/ 488006 h 508025"/>
                    <a:gd name="connsiteX14" fmla="*/ 4360 w 544284"/>
                    <a:gd name="connsiteY14" fmla="*/ 449906 h 508025"/>
                    <a:gd name="connsiteX0" fmla="*/ 4360 w 544284"/>
                    <a:gd name="connsiteY0" fmla="*/ 449906 h 500804"/>
                    <a:gd name="connsiteX1" fmla="*/ 7535 w 544284"/>
                    <a:gd name="connsiteY1" fmla="*/ 214956 h 500804"/>
                    <a:gd name="connsiteX2" fmla="*/ 23410 w 544284"/>
                    <a:gd name="connsiteY2" fmla="*/ 176856 h 500804"/>
                    <a:gd name="connsiteX3" fmla="*/ 71035 w 544284"/>
                    <a:gd name="connsiteY3" fmla="*/ 160981 h 500804"/>
                    <a:gd name="connsiteX4" fmla="*/ 172635 w 544284"/>
                    <a:gd name="connsiteY4" fmla="*/ 154631 h 500804"/>
                    <a:gd name="connsiteX5" fmla="*/ 198035 w 544284"/>
                    <a:gd name="connsiteY5" fmla="*/ 151456 h 500804"/>
                    <a:gd name="connsiteX6" fmla="*/ 201210 w 544284"/>
                    <a:gd name="connsiteY6" fmla="*/ 18106 h 500804"/>
                    <a:gd name="connsiteX7" fmla="*/ 312335 w 544284"/>
                    <a:gd name="connsiteY7" fmla="*/ 14931 h 500804"/>
                    <a:gd name="connsiteX8" fmla="*/ 312335 w 544284"/>
                    <a:gd name="connsiteY8" fmla="*/ 145106 h 500804"/>
                    <a:gd name="connsiteX9" fmla="*/ 353610 w 544284"/>
                    <a:gd name="connsiteY9" fmla="*/ 151456 h 500804"/>
                    <a:gd name="connsiteX10" fmla="*/ 445685 w 544284"/>
                    <a:gd name="connsiteY10" fmla="*/ 164156 h 500804"/>
                    <a:gd name="connsiteX11" fmla="*/ 486960 w 544284"/>
                    <a:gd name="connsiteY11" fmla="*/ 189556 h 500804"/>
                    <a:gd name="connsiteX12" fmla="*/ 509185 w 544284"/>
                    <a:gd name="connsiteY12" fmla="*/ 234006 h 500804"/>
                    <a:gd name="connsiteX13" fmla="*/ 506010 w 544284"/>
                    <a:gd name="connsiteY13" fmla="*/ 488006 h 500804"/>
                    <a:gd name="connsiteX14" fmla="*/ 4360 w 544284"/>
                    <a:gd name="connsiteY14" fmla="*/ 449906 h 500804"/>
                    <a:gd name="connsiteX0" fmla="*/ 4360 w 544284"/>
                    <a:gd name="connsiteY0" fmla="*/ 449906 h 500804"/>
                    <a:gd name="connsiteX1" fmla="*/ 7535 w 544284"/>
                    <a:gd name="connsiteY1" fmla="*/ 214956 h 500804"/>
                    <a:gd name="connsiteX2" fmla="*/ 23410 w 544284"/>
                    <a:gd name="connsiteY2" fmla="*/ 176856 h 500804"/>
                    <a:gd name="connsiteX3" fmla="*/ 71035 w 544284"/>
                    <a:gd name="connsiteY3" fmla="*/ 160981 h 500804"/>
                    <a:gd name="connsiteX4" fmla="*/ 172635 w 544284"/>
                    <a:gd name="connsiteY4" fmla="*/ 154631 h 500804"/>
                    <a:gd name="connsiteX5" fmla="*/ 198035 w 544284"/>
                    <a:gd name="connsiteY5" fmla="*/ 151456 h 500804"/>
                    <a:gd name="connsiteX6" fmla="*/ 201210 w 544284"/>
                    <a:gd name="connsiteY6" fmla="*/ 18106 h 500804"/>
                    <a:gd name="connsiteX7" fmla="*/ 312335 w 544284"/>
                    <a:gd name="connsiteY7" fmla="*/ 14931 h 500804"/>
                    <a:gd name="connsiteX8" fmla="*/ 312335 w 544284"/>
                    <a:gd name="connsiteY8" fmla="*/ 145106 h 500804"/>
                    <a:gd name="connsiteX9" fmla="*/ 353610 w 544284"/>
                    <a:gd name="connsiteY9" fmla="*/ 151456 h 500804"/>
                    <a:gd name="connsiteX10" fmla="*/ 445685 w 544284"/>
                    <a:gd name="connsiteY10" fmla="*/ 164156 h 500804"/>
                    <a:gd name="connsiteX11" fmla="*/ 486960 w 544284"/>
                    <a:gd name="connsiteY11" fmla="*/ 189556 h 500804"/>
                    <a:gd name="connsiteX12" fmla="*/ 509185 w 544284"/>
                    <a:gd name="connsiteY12" fmla="*/ 234006 h 500804"/>
                    <a:gd name="connsiteX13" fmla="*/ 506010 w 544284"/>
                    <a:gd name="connsiteY13" fmla="*/ 488006 h 500804"/>
                    <a:gd name="connsiteX14" fmla="*/ 4360 w 544284"/>
                    <a:gd name="connsiteY14" fmla="*/ 449906 h 500804"/>
                    <a:gd name="connsiteX0" fmla="*/ 4360 w 519024"/>
                    <a:gd name="connsiteY0" fmla="*/ 449906 h 500804"/>
                    <a:gd name="connsiteX1" fmla="*/ 7535 w 519024"/>
                    <a:gd name="connsiteY1" fmla="*/ 214956 h 500804"/>
                    <a:gd name="connsiteX2" fmla="*/ 23410 w 519024"/>
                    <a:gd name="connsiteY2" fmla="*/ 176856 h 500804"/>
                    <a:gd name="connsiteX3" fmla="*/ 71035 w 519024"/>
                    <a:gd name="connsiteY3" fmla="*/ 160981 h 500804"/>
                    <a:gd name="connsiteX4" fmla="*/ 172635 w 519024"/>
                    <a:gd name="connsiteY4" fmla="*/ 154631 h 500804"/>
                    <a:gd name="connsiteX5" fmla="*/ 198035 w 519024"/>
                    <a:gd name="connsiteY5" fmla="*/ 151456 h 500804"/>
                    <a:gd name="connsiteX6" fmla="*/ 201210 w 519024"/>
                    <a:gd name="connsiteY6" fmla="*/ 18106 h 500804"/>
                    <a:gd name="connsiteX7" fmla="*/ 312335 w 519024"/>
                    <a:gd name="connsiteY7" fmla="*/ 14931 h 500804"/>
                    <a:gd name="connsiteX8" fmla="*/ 312335 w 519024"/>
                    <a:gd name="connsiteY8" fmla="*/ 145106 h 500804"/>
                    <a:gd name="connsiteX9" fmla="*/ 353610 w 519024"/>
                    <a:gd name="connsiteY9" fmla="*/ 151456 h 500804"/>
                    <a:gd name="connsiteX10" fmla="*/ 445685 w 519024"/>
                    <a:gd name="connsiteY10" fmla="*/ 164156 h 500804"/>
                    <a:gd name="connsiteX11" fmla="*/ 486960 w 519024"/>
                    <a:gd name="connsiteY11" fmla="*/ 189556 h 500804"/>
                    <a:gd name="connsiteX12" fmla="*/ 509185 w 519024"/>
                    <a:gd name="connsiteY12" fmla="*/ 234006 h 500804"/>
                    <a:gd name="connsiteX13" fmla="*/ 506010 w 519024"/>
                    <a:gd name="connsiteY13" fmla="*/ 488006 h 500804"/>
                    <a:gd name="connsiteX14" fmla="*/ 4360 w 519024"/>
                    <a:gd name="connsiteY14" fmla="*/ 449906 h 500804"/>
                    <a:gd name="connsiteX0" fmla="*/ 4360 w 519024"/>
                    <a:gd name="connsiteY0" fmla="*/ 449906 h 488006"/>
                    <a:gd name="connsiteX1" fmla="*/ 7535 w 519024"/>
                    <a:gd name="connsiteY1" fmla="*/ 214956 h 488006"/>
                    <a:gd name="connsiteX2" fmla="*/ 23410 w 519024"/>
                    <a:gd name="connsiteY2" fmla="*/ 176856 h 488006"/>
                    <a:gd name="connsiteX3" fmla="*/ 71035 w 519024"/>
                    <a:gd name="connsiteY3" fmla="*/ 160981 h 488006"/>
                    <a:gd name="connsiteX4" fmla="*/ 172635 w 519024"/>
                    <a:gd name="connsiteY4" fmla="*/ 154631 h 488006"/>
                    <a:gd name="connsiteX5" fmla="*/ 198035 w 519024"/>
                    <a:gd name="connsiteY5" fmla="*/ 151456 h 488006"/>
                    <a:gd name="connsiteX6" fmla="*/ 201210 w 519024"/>
                    <a:gd name="connsiteY6" fmla="*/ 18106 h 488006"/>
                    <a:gd name="connsiteX7" fmla="*/ 312335 w 519024"/>
                    <a:gd name="connsiteY7" fmla="*/ 14931 h 488006"/>
                    <a:gd name="connsiteX8" fmla="*/ 312335 w 519024"/>
                    <a:gd name="connsiteY8" fmla="*/ 145106 h 488006"/>
                    <a:gd name="connsiteX9" fmla="*/ 353610 w 519024"/>
                    <a:gd name="connsiteY9" fmla="*/ 151456 h 488006"/>
                    <a:gd name="connsiteX10" fmla="*/ 445685 w 519024"/>
                    <a:gd name="connsiteY10" fmla="*/ 164156 h 488006"/>
                    <a:gd name="connsiteX11" fmla="*/ 486960 w 519024"/>
                    <a:gd name="connsiteY11" fmla="*/ 189556 h 488006"/>
                    <a:gd name="connsiteX12" fmla="*/ 509185 w 519024"/>
                    <a:gd name="connsiteY12" fmla="*/ 234006 h 488006"/>
                    <a:gd name="connsiteX13" fmla="*/ 506010 w 519024"/>
                    <a:gd name="connsiteY13" fmla="*/ 488006 h 488006"/>
                    <a:gd name="connsiteX14" fmla="*/ 4360 w 519024"/>
                    <a:gd name="connsiteY14" fmla="*/ 449906 h 488006"/>
                    <a:gd name="connsiteX0" fmla="*/ 4360 w 523534"/>
                    <a:gd name="connsiteY0" fmla="*/ 449906 h 472131"/>
                    <a:gd name="connsiteX1" fmla="*/ 7535 w 523534"/>
                    <a:gd name="connsiteY1" fmla="*/ 214956 h 472131"/>
                    <a:gd name="connsiteX2" fmla="*/ 23410 w 523534"/>
                    <a:gd name="connsiteY2" fmla="*/ 176856 h 472131"/>
                    <a:gd name="connsiteX3" fmla="*/ 71035 w 523534"/>
                    <a:gd name="connsiteY3" fmla="*/ 160981 h 472131"/>
                    <a:gd name="connsiteX4" fmla="*/ 172635 w 523534"/>
                    <a:gd name="connsiteY4" fmla="*/ 154631 h 472131"/>
                    <a:gd name="connsiteX5" fmla="*/ 198035 w 523534"/>
                    <a:gd name="connsiteY5" fmla="*/ 151456 h 472131"/>
                    <a:gd name="connsiteX6" fmla="*/ 201210 w 523534"/>
                    <a:gd name="connsiteY6" fmla="*/ 18106 h 472131"/>
                    <a:gd name="connsiteX7" fmla="*/ 312335 w 523534"/>
                    <a:gd name="connsiteY7" fmla="*/ 14931 h 472131"/>
                    <a:gd name="connsiteX8" fmla="*/ 312335 w 523534"/>
                    <a:gd name="connsiteY8" fmla="*/ 145106 h 472131"/>
                    <a:gd name="connsiteX9" fmla="*/ 353610 w 523534"/>
                    <a:gd name="connsiteY9" fmla="*/ 151456 h 472131"/>
                    <a:gd name="connsiteX10" fmla="*/ 445685 w 523534"/>
                    <a:gd name="connsiteY10" fmla="*/ 164156 h 472131"/>
                    <a:gd name="connsiteX11" fmla="*/ 486960 w 523534"/>
                    <a:gd name="connsiteY11" fmla="*/ 189556 h 472131"/>
                    <a:gd name="connsiteX12" fmla="*/ 509185 w 523534"/>
                    <a:gd name="connsiteY12" fmla="*/ 234006 h 472131"/>
                    <a:gd name="connsiteX13" fmla="*/ 512360 w 523534"/>
                    <a:gd name="connsiteY13" fmla="*/ 472131 h 472131"/>
                    <a:gd name="connsiteX14" fmla="*/ 4360 w 523534"/>
                    <a:gd name="connsiteY14" fmla="*/ 449906 h 472131"/>
                    <a:gd name="connsiteX0" fmla="*/ 4360 w 513675"/>
                    <a:gd name="connsiteY0" fmla="*/ 449906 h 472131"/>
                    <a:gd name="connsiteX1" fmla="*/ 7535 w 513675"/>
                    <a:gd name="connsiteY1" fmla="*/ 214956 h 472131"/>
                    <a:gd name="connsiteX2" fmla="*/ 23410 w 513675"/>
                    <a:gd name="connsiteY2" fmla="*/ 176856 h 472131"/>
                    <a:gd name="connsiteX3" fmla="*/ 71035 w 513675"/>
                    <a:gd name="connsiteY3" fmla="*/ 160981 h 472131"/>
                    <a:gd name="connsiteX4" fmla="*/ 172635 w 513675"/>
                    <a:gd name="connsiteY4" fmla="*/ 154631 h 472131"/>
                    <a:gd name="connsiteX5" fmla="*/ 198035 w 513675"/>
                    <a:gd name="connsiteY5" fmla="*/ 151456 h 472131"/>
                    <a:gd name="connsiteX6" fmla="*/ 201210 w 513675"/>
                    <a:gd name="connsiteY6" fmla="*/ 18106 h 472131"/>
                    <a:gd name="connsiteX7" fmla="*/ 312335 w 513675"/>
                    <a:gd name="connsiteY7" fmla="*/ 14931 h 472131"/>
                    <a:gd name="connsiteX8" fmla="*/ 312335 w 513675"/>
                    <a:gd name="connsiteY8" fmla="*/ 145106 h 472131"/>
                    <a:gd name="connsiteX9" fmla="*/ 353610 w 513675"/>
                    <a:gd name="connsiteY9" fmla="*/ 151456 h 472131"/>
                    <a:gd name="connsiteX10" fmla="*/ 445685 w 513675"/>
                    <a:gd name="connsiteY10" fmla="*/ 164156 h 472131"/>
                    <a:gd name="connsiteX11" fmla="*/ 486960 w 513675"/>
                    <a:gd name="connsiteY11" fmla="*/ 189556 h 472131"/>
                    <a:gd name="connsiteX12" fmla="*/ 509185 w 513675"/>
                    <a:gd name="connsiteY12" fmla="*/ 234006 h 472131"/>
                    <a:gd name="connsiteX13" fmla="*/ 512360 w 513675"/>
                    <a:gd name="connsiteY13" fmla="*/ 472131 h 472131"/>
                    <a:gd name="connsiteX14" fmla="*/ 4360 w 513675"/>
                    <a:gd name="connsiteY14" fmla="*/ 449906 h 472131"/>
                    <a:gd name="connsiteX0" fmla="*/ 4360 w 513675"/>
                    <a:gd name="connsiteY0" fmla="*/ 446969 h 469194"/>
                    <a:gd name="connsiteX1" fmla="*/ 7535 w 513675"/>
                    <a:gd name="connsiteY1" fmla="*/ 212019 h 469194"/>
                    <a:gd name="connsiteX2" fmla="*/ 23410 w 513675"/>
                    <a:gd name="connsiteY2" fmla="*/ 173919 h 469194"/>
                    <a:gd name="connsiteX3" fmla="*/ 71035 w 513675"/>
                    <a:gd name="connsiteY3" fmla="*/ 158044 h 469194"/>
                    <a:gd name="connsiteX4" fmla="*/ 172635 w 513675"/>
                    <a:gd name="connsiteY4" fmla="*/ 151694 h 469194"/>
                    <a:gd name="connsiteX5" fmla="*/ 188510 w 513675"/>
                    <a:gd name="connsiteY5" fmla="*/ 94544 h 469194"/>
                    <a:gd name="connsiteX6" fmla="*/ 201210 w 513675"/>
                    <a:gd name="connsiteY6" fmla="*/ 15169 h 469194"/>
                    <a:gd name="connsiteX7" fmla="*/ 312335 w 513675"/>
                    <a:gd name="connsiteY7" fmla="*/ 11994 h 469194"/>
                    <a:gd name="connsiteX8" fmla="*/ 312335 w 513675"/>
                    <a:gd name="connsiteY8" fmla="*/ 142169 h 469194"/>
                    <a:gd name="connsiteX9" fmla="*/ 353610 w 513675"/>
                    <a:gd name="connsiteY9" fmla="*/ 148519 h 469194"/>
                    <a:gd name="connsiteX10" fmla="*/ 445685 w 513675"/>
                    <a:gd name="connsiteY10" fmla="*/ 161219 h 469194"/>
                    <a:gd name="connsiteX11" fmla="*/ 486960 w 513675"/>
                    <a:gd name="connsiteY11" fmla="*/ 186619 h 469194"/>
                    <a:gd name="connsiteX12" fmla="*/ 509185 w 513675"/>
                    <a:gd name="connsiteY12" fmla="*/ 231069 h 469194"/>
                    <a:gd name="connsiteX13" fmla="*/ 512360 w 513675"/>
                    <a:gd name="connsiteY13" fmla="*/ 469194 h 469194"/>
                    <a:gd name="connsiteX14" fmla="*/ 4360 w 513675"/>
                    <a:gd name="connsiteY14" fmla="*/ 446969 h 469194"/>
                    <a:gd name="connsiteX0" fmla="*/ 4360 w 513675"/>
                    <a:gd name="connsiteY0" fmla="*/ 443409 h 465634"/>
                    <a:gd name="connsiteX1" fmla="*/ 7535 w 513675"/>
                    <a:gd name="connsiteY1" fmla="*/ 208459 h 465634"/>
                    <a:gd name="connsiteX2" fmla="*/ 23410 w 513675"/>
                    <a:gd name="connsiteY2" fmla="*/ 170359 h 465634"/>
                    <a:gd name="connsiteX3" fmla="*/ 71035 w 513675"/>
                    <a:gd name="connsiteY3" fmla="*/ 154484 h 465634"/>
                    <a:gd name="connsiteX4" fmla="*/ 172635 w 513675"/>
                    <a:gd name="connsiteY4" fmla="*/ 148134 h 465634"/>
                    <a:gd name="connsiteX5" fmla="*/ 188510 w 513675"/>
                    <a:gd name="connsiteY5" fmla="*/ 90984 h 465634"/>
                    <a:gd name="connsiteX6" fmla="*/ 201210 w 513675"/>
                    <a:gd name="connsiteY6" fmla="*/ 11609 h 465634"/>
                    <a:gd name="connsiteX7" fmla="*/ 312335 w 513675"/>
                    <a:gd name="connsiteY7" fmla="*/ 8434 h 465634"/>
                    <a:gd name="connsiteX8" fmla="*/ 312335 w 513675"/>
                    <a:gd name="connsiteY8" fmla="*/ 87809 h 465634"/>
                    <a:gd name="connsiteX9" fmla="*/ 353610 w 513675"/>
                    <a:gd name="connsiteY9" fmla="*/ 144959 h 465634"/>
                    <a:gd name="connsiteX10" fmla="*/ 445685 w 513675"/>
                    <a:gd name="connsiteY10" fmla="*/ 157659 h 465634"/>
                    <a:gd name="connsiteX11" fmla="*/ 486960 w 513675"/>
                    <a:gd name="connsiteY11" fmla="*/ 183059 h 465634"/>
                    <a:gd name="connsiteX12" fmla="*/ 509185 w 513675"/>
                    <a:gd name="connsiteY12" fmla="*/ 227509 h 465634"/>
                    <a:gd name="connsiteX13" fmla="*/ 512360 w 513675"/>
                    <a:gd name="connsiteY13" fmla="*/ 465634 h 465634"/>
                    <a:gd name="connsiteX14" fmla="*/ 4360 w 513675"/>
                    <a:gd name="connsiteY14" fmla="*/ 443409 h 465634"/>
                    <a:gd name="connsiteX0" fmla="*/ 4360 w 513675"/>
                    <a:gd name="connsiteY0" fmla="*/ 443409 h 465634"/>
                    <a:gd name="connsiteX1" fmla="*/ 7535 w 513675"/>
                    <a:gd name="connsiteY1" fmla="*/ 208459 h 465634"/>
                    <a:gd name="connsiteX2" fmla="*/ 23410 w 513675"/>
                    <a:gd name="connsiteY2" fmla="*/ 170359 h 465634"/>
                    <a:gd name="connsiteX3" fmla="*/ 71035 w 513675"/>
                    <a:gd name="connsiteY3" fmla="*/ 154484 h 465634"/>
                    <a:gd name="connsiteX4" fmla="*/ 172635 w 513675"/>
                    <a:gd name="connsiteY4" fmla="*/ 148134 h 465634"/>
                    <a:gd name="connsiteX5" fmla="*/ 188510 w 513675"/>
                    <a:gd name="connsiteY5" fmla="*/ 90984 h 465634"/>
                    <a:gd name="connsiteX6" fmla="*/ 201210 w 513675"/>
                    <a:gd name="connsiteY6" fmla="*/ 11609 h 465634"/>
                    <a:gd name="connsiteX7" fmla="*/ 312335 w 513675"/>
                    <a:gd name="connsiteY7" fmla="*/ 8434 h 465634"/>
                    <a:gd name="connsiteX8" fmla="*/ 312335 w 513675"/>
                    <a:gd name="connsiteY8" fmla="*/ 87809 h 465634"/>
                    <a:gd name="connsiteX9" fmla="*/ 334560 w 513675"/>
                    <a:gd name="connsiteY9" fmla="*/ 135434 h 465634"/>
                    <a:gd name="connsiteX10" fmla="*/ 445685 w 513675"/>
                    <a:gd name="connsiteY10" fmla="*/ 157659 h 465634"/>
                    <a:gd name="connsiteX11" fmla="*/ 486960 w 513675"/>
                    <a:gd name="connsiteY11" fmla="*/ 183059 h 465634"/>
                    <a:gd name="connsiteX12" fmla="*/ 509185 w 513675"/>
                    <a:gd name="connsiteY12" fmla="*/ 227509 h 465634"/>
                    <a:gd name="connsiteX13" fmla="*/ 512360 w 513675"/>
                    <a:gd name="connsiteY13" fmla="*/ 465634 h 465634"/>
                    <a:gd name="connsiteX14" fmla="*/ 4360 w 513675"/>
                    <a:gd name="connsiteY14" fmla="*/ 443409 h 465634"/>
                    <a:gd name="connsiteX0" fmla="*/ 4360 w 510500"/>
                    <a:gd name="connsiteY0" fmla="*/ 443409 h 449759"/>
                    <a:gd name="connsiteX1" fmla="*/ 7535 w 510500"/>
                    <a:gd name="connsiteY1" fmla="*/ 208459 h 449759"/>
                    <a:gd name="connsiteX2" fmla="*/ 23410 w 510500"/>
                    <a:gd name="connsiteY2" fmla="*/ 170359 h 449759"/>
                    <a:gd name="connsiteX3" fmla="*/ 71035 w 510500"/>
                    <a:gd name="connsiteY3" fmla="*/ 154484 h 449759"/>
                    <a:gd name="connsiteX4" fmla="*/ 172635 w 510500"/>
                    <a:gd name="connsiteY4" fmla="*/ 148134 h 449759"/>
                    <a:gd name="connsiteX5" fmla="*/ 188510 w 510500"/>
                    <a:gd name="connsiteY5" fmla="*/ 90984 h 449759"/>
                    <a:gd name="connsiteX6" fmla="*/ 201210 w 510500"/>
                    <a:gd name="connsiteY6" fmla="*/ 11609 h 449759"/>
                    <a:gd name="connsiteX7" fmla="*/ 312335 w 510500"/>
                    <a:gd name="connsiteY7" fmla="*/ 8434 h 449759"/>
                    <a:gd name="connsiteX8" fmla="*/ 312335 w 510500"/>
                    <a:gd name="connsiteY8" fmla="*/ 87809 h 449759"/>
                    <a:gd name="connsiteX9" fmla="*/ 334560 w 510500"/>
                    <a:gd name="connsiteY9" fmla="*/ 135434 h 449759"/>
                    <a:gd name="connsiteX10" fmla="*/ 445685 w 510500"/>
                    <a:gd name="connsiteY10" fmla="*/ 157659 h 449759"/>
                    <a:gd name="connsiteX11" fmla="*/ 486960 w 510500"/>
                    <a:gd name="connsiteY11" fmla="*/ 183059 h 449759"/>
                    <a:gd name="connsiteX12" fmla="*/ 509185 w 510500"/>
                    <a:gd name="connsiteY12" fmla="*/ 227509 h 449759"/>
                    <a:gd name="connsiteX13" fmla="*/ 506010 w 510500"/>
                    <a:gd name="connsiteY13" fmla="*/ 449759 h 449759"/>
                    <a:gd name="connsiteX14" fmla="*/ 4360 w 510500"/>
                    <a:gd name="connsiteY14" fmla="*/ 443409 h 449759"/>
                    <a:gd name="connsiteX0" fmla="*/ 4360 w 510500"/>
                    <a:gd name="connsiteY0" fmla="*/ 443409 h 454926"/>
                    <a:gd name="connsiteX1" fmla="*/ 7535 w 510500"/>
                    <a:gd name="connsiteY1" fmla="*/ 208459 h 454926"/>
                    <a:gd name="connsiteX2" fmla="*/ 23410 w 510500"/>
                    <a:gd name="connsiteY2" fmla="*/ 170359 h 454926"/>
                    <a:gd name="connsiteX3" fmla="*/ 71035 w 510500"/>
                    <a:gd name="connsiteY3" fmla="*/ 154484 h 454926"/>
                    <a:gd name="connsiteX4" fmla="*/ 172635 w 510500"/>
                    <a:gd name="connsiteY4" fmla="*/ 148134 h 454926"/>
                    <a:gd name="connsiteX5" fmla="*/ 188510 w 510500"/>
                    <a:gd name="connsiteY5" fmla="*/ 90984 h 454926"/>
                    <a:gd name="connsiteX6" fmla="*/ 201210 w 510500"/>
                    <a:gd name="connsiteY6" fmla="*/ 11609 h 454926"/>
                    <a:gd name="connsiteX7" fmla="*/ 312335 w 510500"/>
                    <a:gd name="connsiteY7" fmla="*/ 8434 h 454926"/>
                    <a:gd name="connsiteX8" fmla="*/ 312335 w 510500"/>
                    <a:gd name="connsiteY8" fmla="*/ 87809 h 454926"/>
                    <a:gd name="connsiteX9" fmla="*/ 334560 w 510500"/>
                    <a:gd name="connsiteY9" fmla="*/ 135434 h 454926"/>
                    <a:gd name="connsiteX10" fmla="*/ 445685 w 510500"/>
                    <a:gd name="connsiteY10" fmla="*/ 157659 h 454926"/>
                    <a:gd name="connsiteX11" fmla="*/ 486960 w 510500"/>
                    <a:gd name="connsiteY11" fmla="*/ 183059 h 454926"/>
                    <a:gd name="connsiteX12" fmla="*/ 509185 w 510500"/>
                    <a:gd name="connsiteY12" fmla="*/ 227509 h 454926"/>
                    <a:gd name="connsiteX13" fmla="*/ 506010 w 510500"/>
                    <a:gd name="connsiteY13" fmla="*/ 449759 h 454926"/>
                    <a:gd name="connsiteX14" fmla="*/ 4360 w 510500"/>
                    <a:gd name="connsiteY14" fmla="*/ 443409 h 454926"/>
                    <a:gd name="connsiteX0" fmla="*/ 6473 w 512613"/>
                    <a:gd name="connsiteY0" fmla="*/ 443409 h 454926"/>
                    <a:gd name="connsiteX1" fmla="*/ 9648 w 512613"/>
                    <a:gd name="connsiteY1" fmla="*/ 208459 h 454926"/>
                    <a:gd name="connsiteX2" fmla="*/ 73148 w 512613"/>
                    <a:gd name="connsiteY2" fmla="*/ 154484 h 454926"/>
                    <a:gd name="connsiteX3" fmla="*/ 174748 w 512613"/>
                    <a:gd name="connsiteY3" fmla="*/ 148134 h 454926"/>
                    <a:gd name="connsiteX4" fmla="*/ 190623 w 512613"/>
                    <a:gd name="connsiteY4" fmla="*/ 90984 h 454926"/>
                    <a:gd name="connsiteX5" fmla="*/ 203323 w 512613"/>
                    <a:gd name="connsiteY5" fmla="*/ 11609 h 454926"/>
                    <a:gd name="connsiteX6" fmla="*/ 314448 w 512613"/>
                    <a:gd name="connsiteY6" fmla="*/ 8434 h 454926"/>
                    <a:gd name="connsiteX7" fmla="*/ 314448 w 512613"/>
                    <a:gd name="connsiteY7" fmla="*/ 87809 h 454926"/>
                    <a:gd name="connsiteX8" fmla="*/ 336673 w 512613"/>
                    <a:gd name="connsiteY8" fmla="*/ 135434 h 454926"/>
                    <a:gd name="connsiteX9" fmla="*/ 447798 w 512613"/>
                    <a:gd name="connsiteY9" fmla="*/ 157659 h 454926"/>
                    <a:gd name="connsiteX10" fmla="*/ 489073 w 512613"/>
                    <a:gd name="connsiteY10" fmla="*/ 183059 h 454926"/>
                    <a:gd name="connsiteX11" fmla="*/ 511298 w 512613"/>
                    <a:gd name="connsiteY11" fmla="*/ 227509 h 454926"/>
                    <a:gd name="connsiteX12" fmla="*/ 508123 w 512613"/>
                    <a:gd name="connsiteY12" fmla="*/ 449759 h 454926"/>
                    <a:gd name="connsiteX13" fmla="*/ 6473 w 512613"/>
                    <a:gd name="connsiteY13" fmla="*/ 443409 h 454926"/>
                    <a:gd name="connsiteX0" fmla="*/ 4049 w 510189"/>
                    <a:gd name="connsiteY0" fmla="*/ 443409 h 454926"/>
                    <a:gd name="connsiteX1" fmla="*/ 7224 w 510189"/>
                    <a:gd name="connsiteY1" fmla="*/ 208459 h 454926"/>
                    <a:gd name="connsiteX2" fmla="*/ 70724 w 510189"/>
                    <a:gd name="connsiteY2" fmla="*/ 154484 h 454926"/>
                    <a:gd name="connsiteX3" fmla="*/ 172324 w 510189"/>
                    <a:gd name="connsiteY3" fmla="*/ 148134 h 454926"/>
                    <a:gd name="connsiteX4" fmla="*/ 188199 w 510189"/>
                    <a:gd name="connsiteY4" fmla="*/ 90984 h 454926"/>
                    <a:gd name="connsiteX5" fmla="*/ 200899 w 510189"/>
                    <a:gd name="connsiteY5" fmla="*/ 11609 h 454926"/>
                    <a:gd name="connsiteX6" fmla="*/ 312024 w 510189"/>
                    <a:gd name="connsiteY6" fmla="*/ 8434 h 454926"/>
                    <a:gd name="connsiteX7" fmla="*/ 312024 w 510189"/>
                    <a:gd name="connsiteY7" fmla="*/ 87809 h 454926"/>
                    <a:gd name="connsiteX8" fmla="*/ 334249 w 510189"/>
                    <a:gd name="connsiteY8" fmla="*/ 135434 h 454926"/>
                    <a:gd name="connsiteX9" fmla="*/ 445374 w 510189"/>
                    <a:gd name="connsiteY9" fmla="*/ 157659 h 454926"/>
                    <a:gd name="connsiteX10" fmla="*/ 486649 w 510189"/>
                    <a:gd name="connsiteY10" fmla="*/ 183059 h 454926"/>
                    <a:gd name="connsiteX11" fmla="*/ 508874 w 510189"/>
                    <a:gd name="connsiteY11" fmla="*/ 227509 h 454926"/>
                    <a:gd name="connsiteX12" fmla="*/ 505699 w 510189"/>
                    <a:gd name="connsiteY12" fmla="*/ 449759 h 454926"/>
                    <a:gd name="connsiteX13" fmla="*/ 4049 w 510189"/>
                    <a:gd name="connsiteY13" fmla="*/ 443409 h 454926"/>
                    <a:gd name="connsiteX0" fmla="*/ 4049 w 510189"/>
                    <a:gd name="connsiteY0" fmla="*/ 443409 h 454926"/>
                    <a:gd name="connsiteX1" fmla="*/ 7224 w 510189"/>
                    <a:gd name="connsiteY1" fmla="*/ 208459 h 454926"/>
                    <a:gd name="connsiteX2" fmla="*/ 70724 w 510189"/>
                    <a:gd name="connsiteY2" fmla="*/ 154484 h 454926"/>
                    <a:gd name="connsiteX3" fmla="*/ 172324 w 510189"/>
                    <a:gd name="connsiteY3" fmla="*/ 148134 h 454926"/>
                    <a:gd name="connsiteX4" fmla="*/ 188199 w 510189"/>
                    <a:gd name="connsiteY4" fmla="*/ 90984 h 454926"/>
                    <a:gd name="connsiteX5" fmla="*/ 200899 w 510189"/>
                    <a:gd name="connsiteY5" fmla="*/ 11609 h 454926"/>
                    <a:gd name="connsiteX6" fmla="*/ 312024 w 510189"/>
                    <a:gd name="connsiteY6" fmla="*/ 8434 h 454926"/>
                    <a:gd name="connsiteX7" fmla="*/ 312024 w 510189"/>
                    <a:gd name="connsiteY7" fmla="*/ 87809 h 454926"/>
                    <a:gd name="connsiteX8" fmla="*/ 334249 w 510189"/>
                    <a:gd name="connsiteY8" fmla="*/ 135434 h 454926"/>
                    <a:gd name="connsiteX9" fmla="*/ 445374 w 510189"/>
                    <a:gd name="connsiteY9" fmla="*/ 157659 h 454926"/>
                    <a:gd name="connsiteX10" fmla="*/ 508874 w 510189"/>
                    <a:gd name="connsiteY10" fmla="*/ 227509 h 454926"/>
                    <a:gd name="connsiteX11" fmla="*/ 505699 w 510189"/>
                    <a:gd name="connsiteY11" fmla="*/ 449759 h 454926"/>
                    <a:gd name="connsiteX12" fmla="*/ 4049 w 510189"/>
                    <a:gd name="connsiteY12" fmla="*/ 443409 h 454926"/>
                    <a:gd name="connsiteX0" fmla="*/ 4049 w 510189"/>
                    <a:gd name="connsiteY0" fmla="*/ 443409 h 454926"/>
                    <a:gd name="connsiteX1" fmla="*/ 7224 w 510189"/>
                    <a:gd name="connsiteY1" fmla="*/ 208459 h 454926"/>
                    <a:gd name="connsiteX2" fmla="*/ 70724 w 510189"/>
                    <a:gd name="connsiteY2" fmla="*/ 154484 h 454926"/>
                    <a:gd name="connsiteX3" fmla="*/ 172324 w 510189"/>
                    <a:gd name="connsiteY3" fmla="*/ 148134 h 454926"/>
                    <a:gd name="connsiteX4" fmla="*/ 188199 w 510189"/>
                    <a:gd name="connsiteY4" fmla="*/ 90984 h 454926"/>
                    <a:gd name="connsiteX5" fmla="*/ 200899 w 510189"/>
                    <a:gd name="connsiteY5" fmla="*/ 11609 h 454926"/>
                    <a:gd name="connsiteX6" fmla="*/ 312024 w 510189"/>
                    <a:gd name="connsiteY6" fmla="*/ 8434 h 454926"/>
                    <a:gd name="connsiteX7" fmla="*/ 312024 w 510189"/>
                    <a:gd name="connsiteY7" fmla="*/ 87809 h 454926"/>
                    <a:gd name="connsiteX8" fmla="*/ 334249 w 510189"/>
                    <a:gd name="connsiteY8" fmla="*/ 135434 h 454926"/>
                    <a:gd name="connsiteX9" fmla="*/ 445374 w 510189"/>
                    <a:gd name="connsiteY9" fmla="*/ 157659 h 454926"/>
                    <a:gd name="connsiteX10" fmla="*/ 508874 w 510189"/>
                    <a:gd name="connsiteY10" fmla="*/ 227509 h 454926"/>
                    <a:gd name="connsiteX11" fmla="*/ 505699 w 510189"/>
                    <a:gd name="connsiteY11" fmla="*/ 449759 h 454926"/>
                    <a:gd name="connsiteX12" fmla="*/ 4049 w 510189"/>
                    <a:gd name="connsiteY12" fmla="*/ 443409 h 454926"/>
                    <a:gd name="connsiteX0" fmla="*/ 5987 w 512127"/>
                    <a:gd name="connsiteY0" fmla="*/ 443409 h 454926"/>
                    <a:gd name="connsiteX1" fmla="*/ 2812 w 512127"/>
                    <a:gd name="connsiteY1" fmla="*/ 217984 h 454926"/>
                    <a:gd name="connsiteX2" fmla="*/ 72662 w 512127"/>
                    <a:gd name="connsiteY2" fmla="*/ 154484 h 454926"/>
                    <a:gd name="connsiteX3" fmla="*/ 174262 w 512127"/>
                    <a:gd name="connsiteY3" fmla="*/ 148134 h 454926"/>
                    <a:gd name="connsiteX4" fmla="*/ 190137 w 512127"/>
                    <a:gd name="connsiteY4" fmla="*/ 90984 h 454926"/>
                    <a:gd name="connsiteX5" fmla="*/ 202837 w 512127"/>
                    <a:gd name="connsiteY5" fmla="*/ 11609 h 454926"/>
                    <a:gd name="connsiteX6" fmla="*/ 313962 w 512127"/>
                    <a:gd name="connsiteY6" fmla="*/ 8434 h 454926"/>
                    <a:gd name="connsiteX7" fmla="*/ 313962 w 512127"/>
                    <a:gd name="connsiteY7" fmla="*/ 87809 h 454926"/>
                    <a:gd name="connsiteX8" fmla="*/ 336187 w 512127"/>
                    <a:gd name="connsiteY8" fmla="*/ 135434 h 454926"/>
                    <a:gd name="connsiteX9" fmla="*/ 447312 w 512127"/>
                    <a:gd name="connsiteY9" fmla="*/ 157659 h 454926"/>
                    <a:gd name="connsiteX10" fmla="*/ 510812 w 512127"/>
                    <a:gd name="connsiteY10" fmla="*/ 227509 h 454926"/>
                    <a:gd name="connsiteX11" fmla="*/ 507637 w 512127"/>
                    <a:gd name="connsiteY11" fmla="*/ 449759 h 454926"/>
                    <a:gd name="connsiteX12" fmla="*/ 5987 w 512127"/>
                    <a:gd name="connsiteY12" fmla="*/ 443409 h 454926"/>
                    <a:gd name="connsiteX0" fmla="*/ 9762 w 515902"/>
                    <a:gd name="connsiteY0" fmla="*/ 443409 h 454926"/>
                    <a:gd name="connsiteX1" fmla="*/ 6587 w 515902"/>
                    <a:gd name="connsiteY1" fmla="*/ 217984 h 454926"/>
                    <a:gd name="connsiteX2" fmla="*/ 76437 w 515902"/>
                    <a:gd name="connsiteY2" fmla="*/ 154484 h 454926"/>
                    <a:gd name="connsiteX3" fmla="*/ 178037 w 515902"/>
                    <a:gd name="connsiteY3" fmla="*/ 148134 h 454926"/>
                    <a:gd name="connsiteX4" fmla="*/ 193912 w 515902"/>
                    <a:gd name="connsiteY4" fmla="*/ 90984 h 454926"/>
                    <a:gd name="connsiteX5" fmla="*/ 206612 w 515902"/>
                    <a:gd name="connsiteY5" fmla="*/ 11609 h 454926"/>
                    <a:gd name="connsiteX6" fmla="*/ 317737 w 515902"/>
                    <a:gd name="connsiteY6" fmla="*/ 8434 h 454926"/>
                    <a:gd name="connsiteX7" fmla="*/ 317737 w 515902"/>
                    <a:gd name="connsiteY7" fmla="*/ 87809 h 454926"/>
                    <a:gd name="connsiteX8" fmla="*/ 339962 w 515902"/>
                    <a:gd name="connsiteY8" fmla="*/ 135434 h 454926"/>
                    <a:gd name="connsiteX9" fmla="*/ 451087 w 515902"/>
                    <a:gd name="connsiteY9" fmla="*/ 157659 h 454926"/>
                    <a:gd name="connsiteX10" fmla="*/ 514587 w 515902"/>
                    <a:gd name="connsiteY10" fmla="*/ 227509 h 454926"/>
                    <a:gd name="connsiteX11" fmla="*/ 511412 w 515902"/>
                    <a:gd name="connsiteY11" fmla="*/ 449759 h 454926"/>
                    <a:gd name="connsiteX12" fmla="*/ 9762 w 515902"/>
                    <a:gd name="connsiteY12" fmla="*/ 443409 h 454926"/>
                    <a:gd name="connsiteX0" fmla="*/ 9762 w 515902"/>
                    <a:gd name="connsiteY0" fmla="*/ 443409 h 454926"/>
                    <a:gd name="connsiteX1" fmla="*/ 6587 w 515902"/>
                    <a:gd name="connsiteY1" fmla="*/ 217984 h 454926"/>
                    <a:gd name="connsiteX2" fmla="*/ 76437 w 515902"/>
                    <a:gd name="connsiteY2" fmla="*/ 154484 h 454926"/>
                    <a:gd name="connsiteX3" fmla="*/ 178037 w 515902"/>
                    <a:gd name="connsiteY3" fmla="*/ 148134 h 454926"/>
                    <a:gd name="connsiteX4" fmla="*/ 193912 w 515902"/>
                    <a:gd name="connsiteY4" fmla="*/ 90984 h 454926"/>
                    <a:gd name="connsiteX5" fmla="*/ 206612 w 515902"/>
                    <a:gd name="connsiteY5" fmla="*/ 11609 h 454926"/>
                    <a:gd name="connsiteX6" fmla="*/ 317737 w 515902"/>
                    <a:gd name="connsiteY6" fmla="*/ 8434 h 454926"/>
                    <a:gd name="connsiteX7" fmla="*/ 317737 w 515902"/>
                    <a:gd name="connsiteY7" fmla="*/ 87809 h 454926"/>
                    <a:gd name="connsiteX8" fmla="*/ 339962 w 515902"/>
                    <a:gd name="connsiteY8" fmla="*/ 135434 h 454926"/>
                    <a:gd name="connsiteX9" fmla="*/ 451087 w 515902"/>
                    <a:gd name="connsiteY9" fmla="*/ 157659 h 454926"/>
                    <a:gd name="connsiteX10" fmla="*/ 514587 w 515902"/>
                    <a:gd name="connsiteY10" fmla="*/ 227509 h 454926"/>
                    <a:gd name="connsiteX11" fmla="*/ 511412 w 515902"/>
                    <a:gd name="connsiteY11" fmla="*/ 449759 h 454926"/>
                    <a:gd name="connsiteX12" fmla="*/ 9762 w 515902"/>
                    <a:gd name="connsiteY12" fmla="*/ 443409 h 454926"/>
                    <a:gd name="connsiteX0" fmla="*/ 9762 w 515902"/>
                    <a:gd name="connsiteY0" fmla="*/ 443409 h 454926"/>
                    <a:gd name="connsiteX1" fmla="*/ 6587 w 515902"/>
                    <a:gd name="connsiteY1" fmla="*/ 217984 h 454926"/>
                    <a:gd name="connsiteX2" fmla="*/ 76437 w 515902"/>
                    <a:gd name="connsiteY2" fmla="*/ 154484 h 454926"/>
                    <a:gd name="connsiteX3" fmla="*/ 193912 w 515902"/>
                    <a:gd name="connsiteY3" fmla="*/ 90984 h 454926"/>
                    <a:gd name="connsiteX4" fmla="*/ 206612 w 515902"/>
                    <a:gd name="connsiteY4" fmla="*/ 11609 h 454926"/>
                    <a:gd name="connsiteX5" fmla="*/ 317737 w 515902"/>
                    <a:gd name="connsiteY5" fmla="*/ 8434 h 454926"/>
                    <a:gd name="connsiteX6" fmla="*/ 317737 w 515902"/>
                    <a:gd name="connsiteY6" fmla="*/ 87809 h 454926"/>
                    <a:gd name="connsiteX7" fmla="*/ 339962 w 515902"/>
                    <a:gd name="connsiteY7" fmla="*/ 135434 h 454926"/>
                    <a:gd name="connsiteX8" fmla="*/ 451087 w 515902"/>
                    <a:gd name="connsiteY8" fmla="*/ 157659 h 454926"/>
                    <a:gd name="connsiteX9" fmla="*/ 514587 w 515902"/>
                    <a:gd name="connsiteY9" fmla="*/ 227509 h 454926"/>
                    <a:gd name="connsiteX10" fmla="*/ 511412 w 515902"/>
                    <a:gd name="connsiteY10" fmla="*/ 449759 h 454926"/>
                    <a:gd name="connsiteX11" fmla="*/ 9762 w 515902"/>
                    <a:gd name="connsiteY11" fmla="*/ 443409 h 454926"/>
                    <a:gd name="connsiteX0" fmla="*/ 9762 w 515902"/>
                    <a:gd name="connsiteY0" fmla="*/ 446099 h 457616"/>
                    <a:gd name="connsiteX1" fmla="*/ 6587 w 515902"/>
                    <a:gd name="connsiteY1" fmla="*/ 220674 h 457616"/>
                    <a:gd name="connsiteX2" fmla="*/ 76437 w 515902"/>
                    <a:gd name="connsiteY2" fmla="*/ 157174 h 457616"/>
                    <a:gd name="connsiteX3" fmla="*/ 190737 w 515902"/>
                    <a:gd name="connsiteY3" fmla="*/ 138124 h 457616"/>
                    <a:gd name="connsiteX4" fmla="*/ 206612 w 515902"/>
                    <a:gd name="connsiteY4" fmla="*/ 14299 h 457616"/>
                    <a:gd name="connsiteX5" fmla="*/ 317737 w 515902"/>
                    <a:gd name="connsiteY5" fmla="*/ 11124 h 457616"/>
                    <a:gd name="connsiteX6" fmla="*/ 317737 w 515902"/>
                    <a:gd name="connsiteY6" fmla="*/ 90499 h 457616"/>
                    <a:gd name="connsiteX7" fmla="*/ 339962 w 515902"/>
                    <a:gd name="connsiteY7" fmla="*/ 138124 h 457616"/>
                    <a:gd name="connsiteX8" fmla="*/ 451087 w 515902"/>
                    <a:gd name="connsiteY8" fmla="*/ 160349 h 457616"/>
                    <a:gd name="connsiteX9" fmla="*/ 514587 w 515902"/>
                    <a:gd name="connsiteY9" fmla="*/ 230199 h 457616"/>
                    <a:gd name="connsiteX10" fmla="*/ 511412 w 515902"/>
                    <a:gd name="connsiteY10" fmla="*/ 452449 h 457616"/>
                    <a:gd name="connsiteX11" fmla="*/ 9762 w 515902"/>
                    <a:gd name="connsiteY11" fmla="*/ 446099 h 457616"/>
                    <a:gd name="connsiteX0" fmla="*/ 9762 w 515902"/>
                    <a:gd name="connsiteY0" fmla="*/ 446099 h 457616"/>
                    <a:gd name="connsiteX1" fmla="*/ 6587 w 515902"/>
                    <a:gd name="connsiteY1" fmla="*/ 220674 h 457616"/>
                    <a:gd name="connsiteX2" fmla="*/ 76437 w 515902"/>
                    <a:gd name="connsiteY2" fmla="*/ 157174 h 457616"/>
                    <a:gd name="connsiteX3" fmla="*/ 190737 w 515902"/>
                    <a:gd name="connsiteY3" fmla="*/ 138124 h 457616"/>
                    <a:gd name="connsiteX4" fmla="*/ 206612 w 515902"/>
                    <a:gd name="connsiteY4" fmla="*/ 14299 h 457616"/>
                    <a:gd name="connsiteX5" fmla="*/ 317737 w 515902"/>
                    <a:gd name="connsiteY5" fmla="*/ 11124 h 457616"/>
                    <a:gd name="connsiteX6" fmla="*/ 317737 w 515902"/>
                    <a:gd name="connsiteY6" fmla="*/ 90499 h 457616"/>
                    <a:gd name="connsiteX7" fmla="*/ 451087 w 515902"/>
                    <a:gd name="connsiteY7" fmla="*/ 160349 h 457616"/>
                    <a:gd name="connsiteX8" fmla="*/ 514587 w 515902"/>
                    <a:gd name="connsiteY8" fmla="*/ 230199 h 457616"/>
                    <a:gd name="connsiteX9" fmla="*/ 511412 w 515902"/>
                    <a:gd name="connsiteY9" fmla="*/ 452449 h 457616"/>
                    <a:gd name="connsiteX10" fmla="*/ 9762 w 515902"/>
                    <a:gd name="connsiteY10" fmla="*/ 446099 h 457616"/>
                    <a:gd name="connsiteX0" fmla="*/ 9762 w 515902"/>
                    <a:gd name="connsiteY0" fmla="*/ 447482 h 458999"/>
                    <a:gd name="connsiteX1" fmla="*/ 6587 w 515902"/>
                    <a:gd name="connsiteY1" fmla="*/ 222057 h 458999"/>
                    <a:gd name="connsiteX2" fmla="*/ 76437 w 515902"/>
                    <a:gd name="connsiteY2" fmla="*/ 158557 h 458999"/>
                    <a:gd name="connsiteX3" fmla="*/ 190737 w 515902"/>
                    <a:gd name="connsiteY3" fmla="*/ 139507 h 458999"/>
                    <a:gd name="connsiteX4" fmla="*/ 206612 w 515902"/>
                    <a:gd name="connsiteY4" fmla="*/ 15682 h 458999"/>
                    <a:gd name="connsiteX5" fmla="*/ 317737 w 515902"/>
                    <a:gd name="connsiteY5" fmla="*/ 12507 h 458999"/>
                    <a:gd name="connsiteX6" fmla="*/ 330437 w 515902"/>
                    <a:gd name="connsiteY6" fmla="*/ 114107 h 458999"/>
                    <a:gd name="connsiteX7" fmla="*/ 451087 w 515902"/>
                    <a:gd name="connsiteY7" fmla="*/ 161732 h 458999"/>
                    <a:gd name="connsiteX8" fmla="*/ 514587 w 515902"/>
                    <a:gd name="connsiteY8" fmla="*/ 231582 h 458999"/>
                    <a:gd name="connsiteX9" fmla="*/ 511412 w 515902"/>
                    <a:gd name="connsiteY9" fmla="*/ 453832 h 458999"/>
                    <a:gd name="connsiteX10" fmla="*/ 9762 w 515902"/>
                    <a:gd name="connsiteY10" fmla="*/ 447482 h 458999"/>
                    <a:gd name="connsiteX0" fmla="*/ 9762 w 515902"/>
                    <a:gd name="connsiteY0" fmla="*/ 446348 h 457865"/>
                    <a:gd name="connsiteX1" fmla="*/ 6587 w 515902"/>
                    <a:gd name="connsiteY1" fmla="*/ 220923 h 457865"/>
                    <a:gd name="connsiteX2" fmla="*/ 76437 w 515902"/>
                    <a:gd name="connsiteY2" fmla="*/ 157423 h 457865"/>
                    <a:gd name="connsiteX3" fmla="*/ 200262 w 515902"/>
                    <a:gd name="connsiteY3" fmla="*/ 119323 h 457865"/>
                    <a:gd name="connsiteX4" fmla="*/ 206612 w 515902"/>
                    <a:gd name="connsiteY4" fmla="*/ 14548 h 457865"/>
                    <a:gd name="connsiteX5" fmla="*/ 317737 w 515902"/>
                    <a:gd name="connsiteY5" fmla="*/ 11373 h 457865"/>
                    <a:gd name="connsiteX6" fmla="*/ 330437 w 515902"/>
                    <a:gd name="connsiteY6" fmla="*/ 112973 h 457865"/>
                    <a:gd name="connsiteX7" fmla="*/ 451087 w 515902"/>
                    <a:gd name="connsiteY7" fmla="*/ 160598 h 457865"/>
                    <a:gd name="connsiteX8" fmla="*/ 514587 w 515902"/>
                    <a:gd name="connsiteY8" fmla="*/ 230448 h 457865"/>
                    <a:gd name="connsiteX9" fmla="*/ 511412 w 515902"/>
                    <a:gd name="connsiteY9" fmla="*/ 452698 h 457865"/>
                    <a:gd name="connsiteX10" fmla="*/ 9762 w 515902"/>
                    <a:gd name="connsiteY10" fmla="*/ 446348 h 457865"/>
                    <a:gd name="connsiteX0" fmla="*/ 8840 w 514980"/>
                    <a:gd name="connsiteY0" fmla="*/ 446348 h 457865"/>
                    <a:gd name="connsiteX1" fmla="*/ 5665 w 514980"/>
                    <a:gd name="connsiteY1" fmla="*/ 220923 h 457865"/>
                    <a:gd name="connsiteX2" fmla="*/ 62412 w 514980"/>
                    <a:gd name="connsiteY2" fmla="*/ 133367 h 457865"/>
                    <a:gd name="connsiteX3" fmla="*/ 199340 w 514980"/>
                    <a:gd name="connsiteY3" fmla="*/ 119323 h 457865"/>
                    <a:gd name="connsiteX4" fmla="*/ 205690 w 514980"/>
                    <a:gd name="connsiteY4" fmla="*/ 14548 h 457865"/>
                    <a:gd name="connsiteX5" fmla="*/ 316815 w 514980"/>
                    <a:gd name="connsiteY5" fmla="*/ 11373 h 457865"/>
                    <a:gd name="connsiteX6" fmla="*/ 329515 w 514980"/>
                    <a:gd name="connsiteY6" fmla="*/ 112973 h 457865"/>
                    <a:gd name="connsiteX7" fmla="*/ 450165 w 514980"/>
                    <a:gd name="connsiteY7" fmla="*/ 160598 h 457865"/>
                    <a:gd name="connsiteX8" fmla="*/ 513665 w 514980"/>
                    <a:gd name="connsiteY8" fmla="*/ 230448 h 457865"/>
                    <a:gd name="connsiteX9" fmla="*/ 510490 w 514980"/>
                    <a:gd name="connsiteY9" fmla="*/ 452698 h 457865"/>
                    <a:gd name="connsiteX10" fmla="*/ 8840 w 514980"/>
                    <a:gd name="connsiteY10" fmla="*/ 446348 h 457865"/>
                    <a:gd name="connsiteX0" fmla="*/ 8840 w 514980"/>
                    <a:gd name="connsiteY0" fmla="*/ 445015 h 456532"/>
                    <a:gd name="connsiteX1" fmla="*/ 5665 w 514980"/>
                    <a:gd name="connsiteY1" fmla="*/ 219590 h 456532"/>
                    <a:gd name="connsiteX2" fmla="*/ 62412 w 514980"/>
                    <a:gd name="connsiteY2" fmla="*/ 132034 h 456532"/>
                    <a:gd name="connsiteX3" fmla="*/ 186237 w 514980"/>
                    <a:gd name="connsiteY3" fmla="*/ 93934 h 456532"/>
                    <a:gd name="connsiteX4" fmla="*/ 205690 w 514980"/>
                    <a:gd name="connsiteY4" fmla="*/ 13215 h 456532"/>
                    <a:gd name="connsiteX5" fmla="*/ 316815 w 514980"/>
                    <a:gd name="connsiteY5" fmla="*/ 10040 h 456532"/>
                    <a:gd name="connsiteX6" fmla="*/ 329515 w 514980"/>
                    <a:gd name="connsiteY6" fmla="*/ 111640 h 456532"/>
                    <a:gd name="connsiteX7" fmla="*/ 450165 w 514980"/>
                    <a:gd name="connsiteY7" fmla="*/ 159265 h 456532"/>
                    <a:gd name="connsiteX8" fmla="*/ 513665 w 514980"/>
                    <a:gd name="connsiteY8" fmla="*/ 229115 h 456532"/>
                    <a:gd name="connsiteX9" fmla="*/ 510490 w 514980"/>
                    <a:gd name="connsiteY9" fmla="*/ 451365 h 456532"/>
                    <a:gd name="connsiteX10" fmla="*/ 8840 w 514980"/>
                    <a:gd name="connsiteY10" fmla="*/ 445015 h 456532"/>
                    <a:gd name="connsiteX0" fmla="*/ 8840 w 514980"/>
                    <a:gd name="connsiteY0" fmla="*/ 445015 h 456532"/>
                    <a:gd name="connsiteX1" fmla="*/ 5665 w 514980"/>
                    <a:gd name="connsiteY1" fmla="*/ 219590 h 456532"/>
                    <a:gd name="connsiteX2" fmla="*/ 62412 w 514980"/>
                    <a:gd name="connsiteY2" fmla="*/ 132034 h 456532"/>
                    <a:gd name="connsiteX3" fmla="*/ 186237 w 514980"/>
                    <a:gd name="connsiteY3" fmla="*/ 93934 h 456532"/>
                    <a:gd name="connsiteX4" fmla="*/ 205690 w 514980"/>
                    <a:gd name="connsiteY4" fmla="*/ 13215 h 456532"/>
                    <a:gd name="connsiteX5" fmla="*/ 316815 w 514980"/>
                    <a:gd name="connsiteY5" fmla="*/ 10040 h 456532"/>
                    <a:gd name="connsiteX6" fmla="*/ 329515 w 514980"/>
                    <a:gd name="connsiteY6" fmla="*/ 111640 h 456532"/>
                    <a:gd name="connsiteX7" fmla="*/ 461084 w 514980"/>
                    <a:gd name="connsiteY7" fmla="*/ 146143 h 456532"/>
                    <a:gd name="connsiteX8" fmla="*/ 513665 w 514980"/>
                    <a:gd name="connsiteY8" fmla="*/ 229115 h 456532"/>
                    <a:gd name="connsiteX9" fmla="*/ 510490 w 514980"/>
                    <a:gd name="connsiteY9" fmla="*/ 451365 h 456532"/>
                    <a:gd name="connsiteX10" fmla="*/ 8840 w 514980"/>
                    <a:gd name="connsiteY10" fmla="*/ 445015 h 456532"/>
                    <a:gd name="connsiteX0" fmla="*/ 8840 w 514980"/>
                    <a:gd name="connsiteY0" fmla="*/ 444105 h 455622"/>
                    <a:gd name="connsiteX1" fmla="*/ 5665 w 514980"/>
                    <a:gd name="connsiteY1" fmla="*/ 218680 h 455622"/>
                    <a:gd name="connsiteX2" fmla="*/ 62412 w 514980"/>
                    <a:gd name="connsiteY2" fmla="*/ 131124 h 455622"/>
                    <a:gd name="connsiteX3" fmla="*/ 186237 w 514980"/>
                    <a:gd name="connsiteY3" fmla="*/ 93024 h 455622"/>
                    <a:gd name="connsiteX4" fmla="*/ 205690 w 514980"/>
                    <a:gd name="connsiteY4" fmla="*/ 12305 h 455622"/>
                    <a:gd name="connsiteX5" fmla="*/ 316815 w 514980"/>
                    <a:gd name="connsiteY5" fmla="*/ 9130 h 455622"/>
                    <a:gd name="connsiteX6" fmla="*/ 351353 w 514980"/>
                    <a:gd name="connsiteY6" fmla="*/ 97608 h 455622"/>
                    <a:gd name="connsiteX7" fmla="*/ 461084 w 514980"/>
                    <a:gd name="connsiteY7" fmla="*/ 145233 h 455622"/>
                    <a:gd name="connsiteX8" fmla="*/ 513665 w 514980"/>
                    <a:gd name="connsiteY8" fmla="*/ 228205 h 455622"/>
                    <a:gd name="connsiteX9" fmla="*/ 510490 w 514980"/>
                    <a:gd name="connsiteY9" fmla="*/ 450455 h 455622"/>
                    <a:gd name="connsiteX10" fmla="*/ 8840 w 514980"/>
                    <a:gd name="connsiteY10" fmla="*/ 444105 h 455622"/>
                    <a:gd name="connsiteX0" fmla="*/ 8840 w 514980"/>
                    <a:gd name="connsiteY0" fmla="*/ 442755 h 454272"/>
                    <a:gd name="connsiteX1" fmla="*/ 5665 w 514980"/>
                    <a:gd name="connsiteY1" fmla="*/ 217330 h 454272"/>
                    <a:gd name="connsiteX2" fmla="*/ 62412 w 514980"/>
                    <a:gd name="connsiteY2" fmla="*/ 129774 h 454272"/>
                    <a:gd name="connsiteX3" fmla="*/ 186237 w 514980"/>
                    <a:gd name="connsiteY3" fmla="*/ 91674 h 454272"/>
                    <a:gd name="connsiteX4" fmla="*/ 205690 w 514980"/>
                    <a:gd name="connsiteY4" fmla="*/ 10955 h 454272"/>
                    <a:gd name="connsiteX5" fmla="*/ 325550 w 514980"/>
                    <a:gd name="connsiteY5" fmla="*/ 9967 h 454272"/>
                    <a:gd name="connsiteX6" fmla="*/ 351353 w 514980"/>
                    <a:gd name="connsiteY6" fmla="*/ 96258 h 454272"/>
                    <a:gd name="connsiteX7" fmla="*/ 461084 w 514980"/>
                    <a:gd name="connsiteY7" fmla="*/ 143883 h 454272"/>
                    <a:gd name="connsiteX8" fmla="*/ 513665 w 514980"/>
                    <a:gd name="connsiteY8" fmla="*/ 226855 h 454272"/>
                    <a:gd name="connsiteX9" fmla="*/ 510490 w 514980"/>
                    <a:gd name="connsiteY9" fmla="*/ 449105 h 454272"/>
                    <a:gd name="connsiteX10" fmla="*/ 8840 w 514980"/>
                    <a:gd name="connsiteY10" fmla="*/ 442755 h 454272"/>
                    <a:gd name="connsiteX0" fmla="*/ 8840 w 514980"/>
                    <a:gd name="connsiteY0" fmla="*/ 442755 h 454272"/>
                    <a:gd name="connsiteX1" fmla="*/ 5665 w 514980"/>
                    <a:gd name="connsiteY1" fmla="*/ 217330 h 454272"/>
                    <a:gd name="connsiteX2" fmla="*/ 62412 w 514980"/>
                    <a:gd name="connsiteY2" fmla="*/ 129774 h 454272"/>
                    <a:gd name="connsiteX3" fmla="*/ 186237 w 514980"/>
                    <a:gd name="connsiteY3" fmla="*/ 91674 h 454272"/>
                    <a:gd name="connsiteX4" fmla="*/ 205690 w 514980"/>
                    <a:gd name="connsiteY4" fmla="*/ 10955 h 454272"/>
                    <a:gd name="connsiteX5" fmla="*/ 325550 w 514980"/>
                    <a:gd name="connsiteY5" fmla="*/ 9967 h 454272"/>
                    <a:gd name="connsiteX6" fmla="*/ 351353 w 514980"/>
                    <a:gd name="connsiteY6" fmla="*/ 96258 h 454272"/>
                    <a:gd name="connsiteX7" fmla="*/ 461084 w 514980"/>
                    <a:gd name="connsiteY7" fmla="*/ 143883 h 454272"/>
                    <a:gd name="connsiteX8" fmla="*/ 513665 w 514980"/>
                    <a:gd name="connsiteY8" fmla="*/ 226855 h 454272"/>
                    <a:gd name="connsiteX9" fmla="*/ 510490 w 514980"/>
                    <a:gd name="connsiteY9" fmla="*/ 449105 h 454272"/>
                    <a:gd name="connsiteX10" fmla="*/ 8840 w 514980"/>
                    <a:gd name="connsiteY10" fmla="*/ 442755 h 454272"/>
                    <a:gd name="connsiteX0" fmla="*/ 8840 w 514980"/>
                    <a:gd name="connsiteY0" fmla="*/ 442755 h 454272"/>
                    <a:gd name="connsiteX1" fmla="*/ 5665 w 514980"/>
                    <a:gd name="connsiteY1" fmla="*/ 217330 h 454272"/>
                    <a:gd name="connsiteX2" fmla="*/ 62412 w 514980"/>
                    <a:gd name="connsiteY2" fmla="*/ 129774 h 454272"/>
                    <a:gd name="connsiteX3" fmla="*/ 186237 w 514980"/>
                    <a:gd name="connsiteY3" fmla="*/ 91674 h 454272"/>
                    <a:gd name="connsiteX4" fmla="*/ 205690 w 514980"/>
                    <a:gd name="connsiteY4" fmla="*/ 10955 h 454272"/>
                    <a:gd name="connsiteX5" fmla="*/ 325550 w 514980"/>
                    <a:gd name="connsiteY5" fmla="*/ 9967 h 454272"/>
                    <a:gd name="connsiteX6" fmla="*/ 351353 w 514980"/>
                    <a:gd name="connsiteY6" fmla="*/ 96258 h 454272"/>
                    <a:gd name="connsiteX7" fmla="*/ 461084 w 514980"/>
                    <a:gd name="connsiteY7" fmla="*/ 143883 h 454272"/>
                    <a:gd name="connsiteX8" fmla="*/ 513665 w 514980"/>
                    <a:gd name="connsiteY8" fmla="*/ 226855 h 454272"/>
                    <a:gd name="connsiteX9" fmla="*/ 510490 w 514980"/>
                    <a:gd name="connsiteY9" fmla="*/ 449105 h 454272"/>
                    <a:gd name="connsiteX10" fmla="*/ 8840 w 514980"/>
                    <a:gd name="connsiteY10" fmla="*/ 442755 h 454272"/>
                    <a:gd name="connsiteX0" fmla="*/ 8840 w 514980"/>
                    <a:gd name="connsiteY0" fmla="*/ 442755 h 454272"/>
                    <a:gd name="connsiteX1" fmla="*/ 5665 w 514980"/>
                    <a:gd name="connsiteY1" fmla="*/ 217330 h 454272"/>
                    <a:gd name="connsiteX2" fmla="*/ 62412 w 514980"/>
                    <a:gd name="connsiteY2" fmla="*/ 129774 h 454272"/>
                    <a:gd name="connsiteX3" fmla="*/ 186237 w 514980"/>
                    <a:gd name="connsiteY3" fmla="*/ 91674 h 454272"/>
                    <a:gd name="connsiteX4" fmla="*/ 205690 w 514980"/>
                    <a:gd name="connsiteY4" fmla="*/ 10955 h 454272"/>
                    <a:gd name="connsiteX5" fmla="*/ 325550 w 514980"/>
                    <a:gd name="connsiteY5" fmla="*/ 9967 h 454272"/>
                    <a:gd name="connsiteX6" fmla="*/ 351353 w 514980"/>
                    <a:gd name="connsiteY6" fmla="*/ 96258 h 454272"/>
                    <a:gd name="connsiteX7" fmla="*/ 461084 w 514980"/>
                    <a:gd name="connsiteY7" fmla="*/ 143883 h 454272"/>
                    <a:gd name="connsiteX8" fmla="*/ 513665 w 514980"/>
                    <a:gd name="connsiteY8" fmla="*/ 226855 h 454272"/>
                    <a:gd name="connsiteX9" fmla="*/ 510490 w 514980"/>
                    <a:gd name="connsiteY9" fmla="*/ 449105 h 454272"/>
                    <a:gd name="connsiteX10" fmla="*/ 8840 w 514980"/>
                    <a:gd name="connsiteY10" fmla="*/ 442755 h 454272"/>
                    <a:gd name="connsiteX0" fmla="*/ 8840 w 514980"/>
                    <a:gd name="connsiteY0" fmla="*/ 436996 h 448513"/>
                    <a:gd name="connsiteX1" fmla="*/ 5665 w 514980"/>
                    <a:gd name="connsiteY1" fmla="*/ 211571 h 448513"/>
                    <a:gd name="connsiteX2" fmla="*/ 62412 w 514980"/>
                    <a:gd name="connsiteY2" fmla="*/ 124015 h 448513"/>
                    <a:gd name="connsiteX3" fmla="*/ 186237 w 514980"/>
                    <a:gd name="connsiteY3" fmla="*/ 85915 h 448513"/>
                    <a:gd name="connsiteX4" fmla="*/ 205690 w 514980"/>
                    <a:gd name="connsiteY4" fmla="*/ 5196 h 448513"/>
                    <a:gd name="connsiteX5" fmla="*/ 325550 w 514980"/>
                    <a:gd name="connsiteY5" fmla="*/ 4208 h 448513"/>
                    <a:gd name="connsiteX6" fmla="*/ 351353 w 514980"/>
                    <a:gd name="connsiteY6" fmla="*/ 90499 h 448513"/>
                    <a:gd name="connsiteX7" fmla="*/ 461084 w 514980"/>
                    <a:gd name="connsiteY7" fmla="*/ 138124 h 448513"/>
                    <a:gd name="connsiteX8" fmla="*/ 513665 w 514980"/>
                    <a:gd name="connsiteY8" fmla="*/ 221096 h 448513"/>
                    <a:gd name="connsiteX9" fmla="*/ 510490 w 514980"/>
                    <a:gd name="connsiteY9" fmla="*/ 443346 h 448513"/>
                    <a:gd name="connsiteX10" fmla="*/ 8840 w 514980"/>
                    <a:gd name="connsiteY10" fmla="*/ 436996 h 448513"/>
                    <a:gd name="connsiteX0" fmla="*/ 8840 w 514980"/>
                    <a:gd name="connsiteY0" fmla="*/ 436996 h 448513"/>
                    <a:gd name="connsiteX1" fmla="*/ 5665 w 514980"/>
                    <a:gd name="connsiteY1" fmla="*/ 211571 h 448513"/>
                    <a:gd name="connsiteX2" fmla="*/ 62412 w 514980"/>
                    <a:gd name="connsiteY2" fmla="*/ 124015 h 448513"/>
                    <a:gd name="connsiteX3" fmla="*/ 186237 w 514980"/>
                    <a:gd name="connsiteY3" fmla="*/ 85915 h 448513"/>
                    <a:gd name="connsiteX4" fmla="*/ 205690 w 514980"/>
                    <a:gd name="connsiteY4" fmla="*/ 5196 h 448513"/>
                    <a:gd name="connsiteX5" fmla="*/ 325550 w 514980"/>
                    <a:gd name="connsiteY5" fmla="*/ 4208 h 448513"/>
                    <a:gd name="connsiteX6" fmla="*/ 351353 w 514980"/>
                    <a:gd name="connsiteY6" fmla="*/ 90499 h 448513"/>
                    <a:gd name="connsiteX7" fmla="*/ 461084 w 514980"/>
                    <a:gd name="connsiteY7" fmla="*/ 138124 h 448513"/>
                    <a:gd name="connsiteX8" fmla="*/ 513665 w 514980"/>
                    <a:gd name="connsiteY8" fmla="*/ 221096 h 448513"/>
                    <a:gd name="connsiteX9" fmla="*/ 510490 w 514980"/>
                    <a:gd name="connsiteY9" fmla="*/ 443346 h 448513"/>
                    <a:gd name="connsiteX10" fmla="*/ 8840 w 514980"/>
                    <a:gd name="connsiteY10" fmla="*/ 436996 h 448513"/>
                    <a:gd name="connsiteX0" fmla="*/ 8840 w 514980"/>
                    <a:gd name="connsiteY0" fmla="*/ 436996 h 448513"/>
                    <a:gd name="connsiteX1" fmla="*/ 5665 w 514980"/>
                    <a:gd name="connsiteY1" fmla="*/ 211571 h 448513"/>
                    <a:gd name="connsiteX2" fmla="*/ 62412 w 514980"/>
                    <a:gd name="connsiteY2" fmla="*/ 124015 h 448513"/>
                    <a:gd name="connsiteX3" fmla="*/ 186237 w 514980"/>
                    <a:gd name="connsiteY3" fmla="*/ 85915 h 448513"/>
                    <a:gd name="connsiteX4" fmla="*/ 205690 w 514980"/>
                    <a:gd name="connsiteY4" fmla="*/ 5196 h 448513"/>
                    <a:gd name="connsiteX5" fmla="*/ 325550 w 514980"/>
                    <a:gd name="connsiteY5" fmla="*/ 4208 h 448513"/>
                    <a:gd name="connsiteX6" fmla="*/ 351353 w 514980"/>
                    <a:gd name="connsiteY6" fmla="*/ 90499 h 448513"/>
                    <a:gd name="connsiteX7" fmla="*/ 461084 w 514980"/>
                    <a:gd name="connsiteY7" fmla="*/ 138124 h 448513"/>
                    <a:gd name="connsiteX8" fmla="*/ 513665 w 514980"/>
                    <a:gd name="connsiteY8" fmla="*/ 221096 h 448513"/>
                    <a:gd name="connsiteX9" fmla="*/ 510490 w 514980"/>
                    <a:gd name="connsiteY9" fmla="*/ 443346 h 448513"/>
                    <a:gd name="connsiteX10" fmla="*/ 8840 w 514980"/>
                    <a:gd name="connsiteY10" fmla="*/ 436996 h 448513"/>
                    <a:gd name="connsiteX0" fmla="*/ 8840 w 514980"/>
                    <a:gd name="connsiteY0" fmla="*/ 436996 h 448513"/>
                    <a:gd name="connsiteX1" fmla="*/ 5665 w 514980"/>
                    <a:gd name="connsiteY1" fmla="*/ 211571 h 448513"/>
                    <a:gd name="connsiteX2" fmla="*/ 62412 w 514980"/>
                    <a:gd name="connsiteY2" fmla="*/ 124015 h 448513"/>
                    <a:gd name="connsiteX3" fmla="*/ 168766 w 514980"/>
                    <a:gd name="connsiteY3" fmla="*/ 88102 h 448513"/>
                    <a:gd name="connsiteX4" fmla="*/ 205690 w 514980"/>
                    <a:gd name="connsiteY4" fmla="*/ 5196 h 448513"/>
                    <a:gd name="connsiteX5" fmla="*/ 325550 w 514980"/>
                    <a:gd name="connsiteY5" fmla="*/ 4208 h 448513"/>
                    <a:gd name="connsiteX6" fmla="*/ 351353 w 514980"/>
                    <a:gd name="connsiteY6" fmla="*/ 90499 h 448513"/>
                    <a:gd name="connsiteX7" fmla="*/ 461084 w 514980"/>
                    <a:gd name="connsiteY7" fmla="*/ 138124 h 448513"/>
                    <a:gd name="connsiteX8" fmla="*/ 513665 w 514980"/>
                    <a:gd name="connsiteY8" fmla="*/ 221096 h 448513"/>
                    <a:gd name="connsiteX9" fmla="*/ 510490 w 514980"/>
                    <a:gd name="connsiteY9" fmla="*/ 443346 h 448513"/>
                    <a:gd name="connsiteX10" fmla="*/ 8840 w 514980"/>
                    <a:gd name="connsiteY10" fmla="*/ 436996 h 448513"/>
                    <a:gd name="connsiteX0" fmla="*/ 8840 w 514980"/>
                    <a:gd name="connsiteY0" fmla="*/ 440628 h 452145"/>
                    <a:gd name="connsiteX1" fmla="*/ 5665 w 514980"/>
                    <a:gd name="connsiteY1" fmla="*/ 215203 h 452145"/>
                    <a:gd name="connsiteX2" fmla="*/ 62412 w 514980"/>
                    <a:gd name="connsiteY2" fmla="*/ 127647 h 452145"/>
                    <a:gd name="connsiteX3" fmla="*/ 168766 w 514980"/>
                    <a:gd name="connsiteY3" fmla="*/ 91734 h 452145"/>
                    <a:gd name="connsiteX4" fmla="*/ 179484 w 514980"/>
                    <a:gd name="connsiteY4" fmla="*/ 4454 h 452145"/>
                    <a:gd name="connsiteX5" fmla="*/ 325550 w 514980"/>
                    <a:gd name="connsiteY5" fmla="*/ 7840 h 452145"/>
                    <a:gd name="connsiteX6" fmla="*/ 351353 w 514980"/>
                    <a:gd name="connsiteY6" fmla="*/ 94131 h 452145"/>
                    <a:gd name="connsiteX7" fmla="*/ 461084 w 514980"/>
                    <a:gd name="connsiteY7" fmla="*/ 141756 h 452145"/>
                    <a:gd name="connsiteX8" fmla="*/ 513665 w 514980"/>
                    <a:gd name="connsiteY8" fmla="*/ 224728 h 452145"/>
                    <a:gd name="connsiteX9" fmla="*/ 510490 w 514980"/>
                    <a:gd name="connsiteY9" fmla="*/ 446978 h 452145"/>
                    <a:gd name="connsiteX10" fmla="*/ 8840 w 514980"/>
                    <a:gd name="connsiteY10" fmla="*/ 440628 h 452145"/>
                    <a:gd name="connsiteX0" fmla="*/ 8840 w 514980"/>
                    <a:gd name="connsiteY0" fmla="*/ 442422 h 453939"/>
                    <a:gd name="connsiteX1" fmla="*/ 5665 w 514980"/>
                    <a:gd name="connsiteY1" fmla="*/ 216997 h 453939"/>
                    <a:gd name="connsiteX2" fmla="*/ 62412 w 514980"/>
                    <a:gd name="connsiteY2" fmla="*/ 129441 h 453939"/>
                    <a:gd name="connsiteX3" fmla="*/ 168766 w 514980"/>
                    <a:gd name="connsiteY3" fmla="*/ 93528 h 453939"/>
                    <a:gd name="connsiteX4" fmla="*/ 179484 w 514980"/>
                    <a:gd name="connsiteY4" fmla="*/ 6248 h 453939"/>
                    <a:gd name="connsiteX5" fmla="*/ 351756 w 514980"/>
                    <a:gd name="connsiteY5" fmla="*/ 886 h 453939"/>
                    <a:gd name="connsiteX6" fmla="*/ 351353 w 514980"/>
                    <a:gd name="connsiteY6" fmla="*/ 95925 h 453939"/>
                    <a:gd name="connsiteX7" fmla="*/ 461084 w 514980"/>
                    <a:gd name="connsiteY7" fmla="*/ 143550 h 453939"/>
                    <a:gd name="connsiteX8" fmla="*/ 513665 w 514980"/>
                    <a:gd name="connsiteY8" fmla="*/ 226522 h 453939"/>
                    <a:gd name="connsiteX9" fmla="*/ 510490 w 514980"/>
                    <a:gd name="connsiteY9" fmla="*/ 448772 h 453939"/>
                    <a:gd name="connsiteX10" fmla="*/ 8840 w 514980"/>
                    <a:gd name="connsiteY10" fmla="*/ 442422 h 453939"/>
                    <a:gd name="connsiteX0" fmla="*/ 8840 w 514980"/>
                    <a:gd name="connsiteY0" fmla="*/ 442422 h 453939"/>
                    <a:gd name="connsiteX1" fmla="*/ 5665 w 514980"/>
                    <a:gd name="connsiteY1" fmla="*/ 216997 h 453939"/>
                    <a:gd name="connsiteX2" fmla="*/ 62412 w 514980"/>
                    <a:gd name="connsiteY2" fmla="*/ 129441 h 453939"/>
                    <a:gd name="connsiteX3" fmla="*/ 168766 w 514980"/>
                    <a:gd name="connsiteY3" fmla="*/ 93528 h 453939"/>
                    <a:gd name="connsiteX4" fmla="*/ 179484 w 514980"/>
                    <a:gd name="connsiteY4" fmla="*/ 6248 h 453939"/>
                    <a:gd name="connsiteX5" fmla="*/ 351756 w 514980"/>
                    <a:gd name="connsiteY5" fmla="*/ 886 h 453939"/>
                    <a:gd name="connsiteX6" fmla="*/ 366640 w 514980"/>
                    <a:gd name="connsiteY6" fmla="*/ 100299 h 453939"/>
                    <a:gd name="connsiteX7" fmla="*/ 461084 w 514980"/>
                    <a:gd name="connsiteY7" fmla="*/ 143550 h 453939"/>
                    <a:gd name="connsiteX8" fmla="*/ 513665 w 514980"/>
                    <a:gd name="connsiteY8" fmla="*/ 226522 h 453939"/>
                    <a:gd name="connsiteX9" fmla="*/ 510490 w 514980"/>
                    <a:gd name="connsiteY9" fmla="*/ 448772 h 453939"/>
                    <a:gd name="connsiteX10" fmla="*/ 8840 w 514980"/>
                    <a:gd name="connsiteY10" fmla="*/ 442422 h 453939"/>
                    <a:gd name="connsiteX0" fmla="*/ 8840 w 514980"/>
                    <a:gd name="connsiteY0" fmla="*/ 442422 h 450476"/>
                    <a:gd name="connsiteX1" fmla="*/ 5665 w 514980"/>
                    <a:gd name="connsiteY1" fmla="*/ 216997 h 450476"/>
                    <a:gd name="connsiteX2" fmla="*/ 62412 w 514980"/>
                    <a:gd name="connsiteY2" fmla="*/ 129441 h 450476"/>
                    <a:gd name="connsiteX3" fmla="*/ 168766 w 514980"/>
                    <a:gd name="connsiteY3" fmla="*/ 93528 h 450476"/>
                    <a:gd name="connsiteX4" fmla="*/ 179484 w 514980"/>
                    <a:gd name="connsiteY4" fmla="*/ 6248 h 450476"/>
                    <a:gd name="connsiteX5" fmla="*/ 351756 w 514980"/>
                    <a:gd name="connsiteY5" fmla="*/ 886 h 450476"/>
                    <a:gd name="connsiteX6" fmla="*/ 366640 w 514980"/>
                    <a:gd name="connsiteY6" fmla="*/ 100299 h 450476"/>
                    <a:gd name="connsiteX7" fmla="*/ 461084 w 514980"/>
                    <a:gd name="connsiteY7" fmla="*/ 143550 h 450476"/>
                    <a:gd name="connsiteX8" fmla="*/ 513665 w 514980"/>
                    <a:gd name="connsiteY8" fmla="*/ 226522 h 450476"/>
                    <a:gd name="connsiteX9" fmla="*/ 510490 w 514980"/>
                    <a:gd name="connsiteY9" fmla="*/ 448772 h 450476"/>
                    <a:gd name="connsiteX10" fmla="*/ 8840 w 514980"/>
                    <a:gd name="connsiteY10" fmla="*/ 442422 h 450476"/>
                    <a:gd name="connsiteX0" fmla="*/ 8840 w 514980"/>
                    <a:gd name="connsiteY0" fmla="*/ 442422 h 448772"/>
                    <a:gd name="connsiteX1" fmla="*/ 5665 w 514980"/>
                    <a:gd name="connsiteY1" fmla="*/ 216997 h 448772"/>
                    <a:gd name="connsiteX2" fmla="*/ 62412 w 514980"/>
                    <a:gd name="connsiteY2" fmla="*/ 129441 h 448772"/>
                    <a:gd name="connsiteX3" fmla="*/ 168766 w 514980"/>
                    <a:gd name="connsiteY3" fmla="*/ 93528 h 448772"/>
                    <a:gd name="connsiteX4" fmla="*/ 179484 w 514980"/>
                    <a:gd name="connsiteY4" fmla="*/ 6248 h 448772"/>
                    <a:gd name="connsiteX5" fmla="*/ 351756 w 514980"/>
                    <a:gd name="connsiteY5" fmla="*/ 886 h 448772"/>
                    <a:gd name="connsiteX6" fmla="*/ 366640 w 514980"/>
                    <a:gd name="connsiteY6" fmla="*/ 100299 h 448772"/>
                    <a:gd name="connsiteX7" fmla="*/ 461084 w 514980"/>
                    <a:gd name="connsiteY7" fmla="*/ 143550 h 448772"/>
                    <a:gd name="connsiteX8" fmla="*/ 513665 w 514980"/>
                    <a:gd name="connsiteY8" fmla="*/ 226522 h 448772"/>
                    <a:gd name="connsiteX9" fmla="*/ 510490 w 514980"/>
                    <a:gd name="connsiteY9" fmla="*/ 448772 h 448772"/>
                    <a:gd name="connsiteX10" fmla="*/ 8840 w 514980"/>
                    <a:gd name="connsiteY10" fmla="*/ 442422 h 448772"/>
                    <a:gd name="connsiteX0" fmla="*/ 8840 w 514980"/>
                    <a:gd name="connsiteY0" fmla="*/ 442422 h 448772"/>
                    <a:gd name="connsiteX1" fmla="*/ 5665 w 514980"/>
                    <a:gd name="connsiteY1" fmla="*/ 216997 h 448772"/>
                    <a:gd name="connsiteX2" fmla="*/ 62412 w 514980"/>
                    <a:gd name="connsiteY2" fmla="*/ 129441 h 448772"/>
                    <a:gd name="connsiteX3" fmla="*/ 168766 w 514980"/>
                    <a:gd name="connsiteY3" fmla="*/ 93528 h 448772"/>
                    <a:gd name="connsiteX4" fmla="*/ 179484 w 514980"/>
                    <a:gd name="connsiteY4" fmla="*/ 6248 h 448772"/>
                    <a:gd name="connsiteX5" fmla="*/ 351756 w 514980"/>
                    <a:gd name="connsiteY5" fmla="*/ 886 h 448772"/>
                    <a:gd name="connsiteX6" fmla="*/ 357905 w 514980"/>
                    <a:gd name="connsiteY6" fmla="*/ 98112 h 448772"/>
                    <a:gd name="connsiteX7" fmla="*/ 461084 w 514980"/>
                    <a:gd name="connsiteY7" fmla="*/ 143550 h 448772"/>
                    <a:gd name="connsiteX8" fmla="*/ 513665 w 514980"/>
                    <a:gd name="connsiteY8" fmla="*/ 226522 h 448772"/>
                    <a:gd name="connsiteX9" fmla="*/ 510490 w 514980"/>
                    <a:gd name="connsiteY9" fmla="*/ 448772 h 448772"/>
                    <a:gd name="connsiteX10" fmla="*/ 8840 w 514980"/>
                    <a:gd name="connsiteY10" fmla="*/ 442422 h 448772"/>
                    <a:gd name="connsiteX0" fmla="*/ 8840 w 514980"/>
                    <a:gd name="connsiteY0" fmla="*/ 442422 h 448772"/>
                    <a:gd name="connsiteX1" fmla="*/ 5665 w 514980"/>
                    <a:gd name="connsiteY1" fmla="*/ 216997 h 448772"/>
                    <a:gd name="connsiteX2" fmla="*/ 62412 w 514980"/>
                    <a:gd name="connsiteY2" fmla="*/ 129441 h 448772"/>
                    <a:gd name="connsiteX3" fmla="*/ 168766 w 514980"/>
                    <a:gd name="connsiteY3" fmla="*/ 93528 h 448772"/>
                    <a:gd name="connsiteX4" fmla="*/ 179484 w 514980"/>
                    <a:gd name="connsiteY4" fmla="*/ 6248 h 448772"/>
                    <a:gd name="connsiteX5" fmla="*/ 351756 w 514980"/>
                    <a:gd name="connsiteY5" fmla="*/ 886 h 448772"/>
                    <a:gd name="connsiteX6" fmla="*/ 357905 w 514980"/>
                    <a:gd name="connsiteY6" fmla="*/ 98112 h 448772"/>
                    <a:gd name="connsiteX7" fmla="*/ 454533 w 514980"/>
                    <a:gd name="connsiteY7" fmla="*/ 136989 h 448772"/>
                    <a:gd name="connsiteX8" fmla="*/ 513665 w 514980"/>
                    <a:gd name="connsiteY8" fmla="*/ 226522 h 448772"/>
                    <a:gd name="connsiteX9" fmla="*/ 510490 w 514980"/>
                    <a:gd name="connsiteY9" fmla="*/ 448772 h 448772"/>
                    <a:gd name="connsiteX10" fmla="*/ 8840 w 514980"/>
                    <a:gd name="connsiteY10" fmla="*/ 442422 h 448772"/>
                    <a:gd name="connsiteX0" fmla="*/ 8840 w 514980"/>
                    <a:gd name="connsiteY0" fmla="*/ 442422 h 448772"/>
                    <a:gd name="connsiteX1" fmla="*/ 5665 w 514980"/>
                    <a:gd name="connsiteY1" fmla="*/ 216997 h 448772"/>
                    <a:gd name="connsiteX2" fmla="*/ 62412 w 514980"/>
                    <a:gd name="connsiteY2" fmla="*/ 129441 h 448772"/>
                    <a:gd name="connsiteX3" fmla="*/ 168766 w 514980"/>
                    <a:gd name="connsiteY3" fmla="*/ 93528 h 448772"/>
                    <a:gd name="connsiteX4" fmla="*/ 179484 w 514980"/>
                    <a:gd name="connsiteY4" fmla="*/ 6248 h 448772"/>
                    <a:gd name="connsiteX5" fmla="*/ 351756 w 514980"/>
                    <a:gd name="connsiteY5" fmla="*/ 886 h 448772"/>
                    <a:gd name="connsiteX6" fmla="*/ 357905 w 514980"/>
                    <a:gd name="connsiteY6" fmla="*/ 98112 h 448772"/>
                    <a:gd name="connsiteX7" fmla="*/ 454533 w 514980"/>
                    <a:gd name="connsiteY7" fmla="*/ 136989 h 448772"/>
                    <a:gd name="connsiteX8" fmla="*/ 513665 w 514980"/>
                    <a:gd name="connsiteY8" fmla="*/ 226522 h 448772"/>
                    <a:gd name="connsiteX9" fmla="*/ 510490 w 514980"/>
                    <a:gd name="connsiteY9" fmla="*/ 448772 h 448772"/>
                    <a:gd name="connsiteX10" fmla="*/ 8840 w 514980"/>
                    <a:gd name="connsiteY10" fmla="*/ 442422 h 448772"/>
                    <a:gd name="connsiteX0" fmla="*/ 8840 w 514980"/>
                    <a:gd name="connsiteY0" fmla="*/ 442422 h 448772"/>
                    <a:gd name="connsiteX1" fmla="*/ 5665 w 514980"/>
                    <a:gd name="connsiteY1" fmla="*/ 216997 h 448772"/>
                    <a:gd name="connsiteX2" fmla="*/ 62412 w 514980"/>
                    <a:gd name="connsiteY2" fmla="*/ 129441 h 448772"/>
                    <a:gd name="connsiteX3" fmla="*/ 168766 w 514980"/>
                    <a:gd name="connsiteY3" fmla="*/ 93528 h 448772"/>
                    <a:gd name="connsiteX4" fmla="*/ 179484 w 514980"/>
                    <a:gd name="connsiteY4" fmla="*/ 6248 h 448772"/>
                    <a:gd name="connsiteX5" fmla="*/ 351756 w 514980"/>
                    <a:gd name="connsiteY5" fmla="*/ 886 h 448772"/>
                    <a:gd name="connsiteX6" fmla="*/ 357905 w 514980"/>
                    <a:gd name="connsiteY6" fmla="*/ 98112 h 448772"/>
                    <a:gd name="connsiteX7" fmla="*/ 454533 w 514980"/>
                    <a:gd name="connsiteY7" fmla="*/ 136989 h 448772"/>
                    <a:gd name="connsiteX8" fmla="*/ 513665 w 514980"/>
                    <a:gd name="connsiteY8" fmla="*/ 226522 h 448772"/>
                    <a:gd name="connsiteX9" fmla="*/ 510490 w 514980"/>
                    <a:gd name="connsiteY9" fmla="*/ 448772 h 448772"/>
                    <a:gd name="connsiteX10" fmla="*/ 8840 w 514980"/>
                    <a:gd name="connsiteY10" fmla="*/ 442422 h 448772"/>
                    <a:gd name="connsiteX0" fmla="*/ 8840 w 514980"/>
                    <a:gd name="connsiteY0" fmla="*/ 442422 h 448772"/>
                    <a:gd name="connsiteX1" fmla="*/ 5665 w 514980"/>
                    <a:gd name="connsiteY1" fmla="*/ 216997 h 448772"/>
                    <a:gd name="connsiteX2" fmla="*/ 62412 w 514980"/>
                    <a:gd name="connsiteY2" fmla="*/ 129441 h 448772"/>
                    <a:gd name="connsiteX3" fmla="*/ 168766 w 514980"/>
                    <a:gd name="connsiteY3" fmla="*/ 93528 h 448772"/>
                    <a:gd name="connsiteX4" fmla="*/ 179484 w 514980"/>
                    <a:gd name="connsiteY4" fmla="*/ 6248 h 448772"/>
                    <a:gd name="connsiteX5" fmla="*/ 351756 w 514980"/>
                    <a:gd name="connsiteY5" fmla="*/ 886 h 448772"/>
                    <a:gd name="connsiteX6" fmla="*/ 353538 w 514980"/>
                    <a:gd name="connsiteY6" fmla="*/ 98112 h 448772"/>
                    <a:gd name="connsiteX7" fmla="*/ 454533 w 514980"/>
                    <a:gd name="connsiteY7" fmla="*/ 136989 h 448772"/>
                    <a:gd name="connsiteX8" fmla="*/ 513665 w 514980"/>
                    <a:gd name="connsiteY8" fmla="*/ 226522 h 448772"/>
                    <a:gd name="connsiteX9" fmla="*/ 510490 w 514980"/>
                    <a:gd name="connsiteY9" fmla="*/ 448772 h 448772"/>
                    <a:gd name="connsiteX10" fmla="*/ 8840 w 514980"/>
                    <a:gd name="connsiteY10" fmla="*/ 442422 h 448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14980" h="448772">
                      <a:moveTo>
                        <a:pt x="8840" y="442422"/>
                      </a:moveTo>
                      <a:cubicBezTo>
                        <a:pt x="-1214" y="377864"/>
                        <a:pt x="-3264" y="269160"/>
                        <a:pt x="5665" y="216997"/>
                      </a:cubicBezTo>
                      <a:cubicBezTo>
                        <a:pt x="14594" y="164834"/>
                        <a:pt x="35229" y="150019"/>
                        <a:pt x="62412" y="129441"/>
                      </a:cubicBezTo>
                      <a:cubicBezTo>
                        <a:pt x="89595" y="108863"/>
                        <a:pt x="149254" y="114060"/>
                        <a:pt x="168766" y="93528"/>
                      </a:cubicBezTo>
                      <a:cubicBezTo>
                        <a:pt x="188278" y="72996"/>
                        <a:pt x="189023" y="43922"/>
                        <a:pt x="179484" y="6248"/>
                      </a:cubicBezTo>
                      <a:cubicBezTo>
                        <a:pt x="202703" y="-7370"/>
                        <a:pt x="323111" y="6352"/>
                        <a:pt x="351756" y="886"/>
                      </a:cubicBezTo>
                      <a:cubicBezTo>
                        <a:pt x="354195" y="39159"/>
                        <a:pt x="342961" y="75428"/>
                        <a:pt x="353538" y="98112"/>
                      </a:cubicBezTo>
                      <a:cubicBezTo>
                        <a:pt x="364115" y="120796"/>
                        <a:pt x="427845" y="115587"/>
                        <a:pt x="454533" y="136989"/>
                      </a:cubicBezTo>
                      <a:cubicBezTo>
                        <a:pt x="481221" y="158391"/>
                        <a:pt x="503611" y="177839"/>
                        <a:pt x="513665" y="226522"/>
                      </a:cubicBezTo>
                      <a:cubicBezTo>
                        <a:pt x="516840" y="276264"/>
                        <a:pt x="513665" y="323360"/>
                        <a:pt x="510490" y="448772"/>
                      </a:cubicBezTo>
                      <a:lnTo>
                        <a:pt x="8840" y="442422"/>
                      </a:lnTo>
                      <a:close/>
                    </a:path>
                  </a:pathLst>
                </a:custGeom>
                <a:grpFill/>
                <a:ln w="571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244" name="Oval 243">
                  <a:extLst>
                    <a:ext uri="{FF2B5EF4-FFF2-40B4-BE49-F238E27FC236}">
                      <a16:creationId xmlns:a16="http://schemas.microsoft.com/office/drawing/2014/main" id="{4C871E8C-78D1-B04F-B76C-66DE27F1264A}"/>
                    </a:ext>
                  </a:extLst>
                </p:cNvPr>
                <p:cNvSpPr/>
                <p:nvPr/>
              </p:nvSpPr>
              <p:spPr>
                <a:xfrm>
                  <a:off x="1971467" y="3508300"/>
                  <a:ext cx="282088" cy="336550"/>
                </a:xfrm>
                <a:prstGeom prst="ellipse">
                  <a:avLst/>
                </a:prstGeom>
                <a:grpFill/>
                <a:ln w="571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grpSp>
          <p:grpSp>
            <p:nvGrpSpPr>
              <p:cNvPr id="240" name="Group 239">
                <a:extLst>
                  <a:ext uri="{FF2B5EF4-FFF2-40B4-BE49-F238E27FC236}">
                    <a16:creationId xmlns:a16="http://schemas.microsoft.com/office/drawing/2014/main" id="{7F2A1911-E31E-B546-9617-BB079E9AFB24}"/>
                  </a:ext>
                </a:extLst>
              </p:cNvPr>
              <p:cNvGrpSpPr/>
              <p:nvPr/>
            </p:nvGrpSpPr>
            <p:grpSpPr>
              <a:xfrm>
                <a:off x="1553120" y="3388644"/>
                <a:ext cx="633802" cy="938165"/>
                <a:chOff x="1806977" y="3500843"/>
                <a:chExt cx="539989" cy="738018"/>
              </a:xfrm>
            </p:grpSpPr>
            <p:sp>
              <p:nvSpPr>
                <p:cNvPr id="241" name="Freeform 240">
                  <a:extLst>
                    <a:ext uri="{FF2B5EF4-FFF2-40B4-BE49-F238E27FC236}">
                      <a16:creationId xmlns:a16="http://schemas.microsoft.com/office/drawing/2014/main" id="{5BFD326E-7BEF-2141-86F0-55E98399E651}"/>
                    </a:ext>
                  </a:extLst>
                </p:cNvPr>
                <p:cNvSpPr/>
                <p:nvPr/>
              </p:nvSpPr>
              <p:spPr>
                <a:xfrm>
                  <a:off x="1806977" y="3782373"/>
                  <a:ext cx="539989" cy="456488"/>
                </a:xfrm>
                <a:custGeom>
                  <a:avLst/>
                  <a:gdLst>
                    <a:gd name="connsiteX0" fmla="*/ 36807 w 576731"/>
                    <a:gd name="connsiteY0" fmla="*/ 449906 h 505924"/>
                    <a:gd name="connsiteX1" fmla="*/ 39982 w 576731"/>
                    <a:gd name="connsiteY1" fmla="*/ 214956 h 505924"/>
                    <a:gd name="connsiteX2" fmla="*/ 55857 w 576731"/>
                    <a:gd name="connsiteY2" fmla="*/ 176856 h 505924"/>
                    <a:gd name="connsiteX3" fmla="*/ 103482 w 576731"/>
                    <a:gd name="connsiteY3" fmla="*/ 160981 h 505924"/>
                    <a:gd name="connsiteX4" fmla="*/ 205082 w 576731"/>
                    <a:gd name="connsiteY4" fmla="*/ 154631 h 505924"/>
                    <a:gd name="connsiteX5" fmla="*/ 230482 w 576731"/>
                    <a:gd name="connsiteY5" fmla="*/ 151456 h 505924"/>
                    <a:gd name="connsiteX6" fmla="*/ 233657 w 576731"/>
                    <a:gd name="connsiteY6" fmla="*/ 18106 h 505924"/>
                    <a:gd name="connsiteX7" fmla="*/ 344782 w 576731"/>
                    <a:gd name="connsiteY7" fmla="*/ 14931 h 505924"/>
                    <a:gd name="connsiteX8" fmla="*/ 344782 w 576731"/>
                    <a:gd name="connsiteY8" fmla="*/ 145106 h 505924"/>
                    <a:gd name="connsiteX9" fmla="*/ 386057 w 576731"/>
                    <a:gd name="connsiteY9" fmla="*/ 151456 h 505924"/>
                    <a:gd name="connsiteX10" fmla="*/ 478132 w 576731"/>
                    <a:gd name="connsiteY10" fmla="*/ 164156 h 505924"/>
                    <a:gd name="connsiteX11" fmla="*/ 519407 w 576731"/>
                    <a:gd name="connsiteY11" fmla="*/ 189556 h 505924"/>
                    <a:gd name="connsiteX12" fmla="*/ 541632 w 576731"/>
                    <a:gd name="connsiteY12" fmla="*/ 234006 h 505924"/>
                    <a:gd name="connsiteX13" fmla="*/ 538457 w 576731"/>
                    <a:gd name="connsiteY13" fmla="*/ 488006 h 505924"/>
                    <a:gd name="connsiteX14" fmla="*/ 36807 w 576731"/>
                    <a:gd name="connsiteY14" fmla="*/ 449906 h 505924"/>
                    <a:gd name="connsiteX0" fmla="*/ 5769 w 545693"/>
                    <a:gd name="connsiteY0" fmla="*/ 449906 h 505924"/>
                    <a:gd name="connsiteX1" fmla="*/ 8944 w 545693"/>
                    <a:gd name="connsiteY1" fmla="*/ 214956 h 505924"/>
                    <a:gd name="connsiteX2" fmla="*/ 24819 w 545693"/>
                    <a:gd name="connsiteY2" fmla="*/ 176856 h 505924"/>
                    <a:gd name="connsiteX3" fmla="*/ 72444 w 545693"/>
                    <a:gd name="connsiteY3" fmla="*/ 160981 h 505924"/>
                    <a:gd name="connsiteX4" fmla="*/ 174044 w 545693"/>
                    <a:gd name="connsiteY4" fmla="*/ 154631 h 505924"/>
                    <a:gd name="connsiteX5" fmla="*/ 199444 w 545693"/>
                    <a:gd name="connsiteY5" fmla="*/ 151456 h 505924"/>
                    <a:gd name="connsiteX6" fmla="*/ 202619 w 545693"/>
                    <a:gd name="connsiteY6" fmla="*/ 18106 h 505924"/>
                    <a:gd name="connsiteX7" fmla="*/ 313744 w 545693"/>
                    <a:gd name="connsiteY7" fmla="*/ 14931 h 505924"/>
                    <a:gd name="connsiteX8" fmla="*/ 313744 w 545693"/>
                    <a:gd name="connsiteY8" fmla="*/ 145106 h 505924"/>
                    <a:gd name="connsiteX9" fmla="*/ 355019 w 545693"/>
                    <a:gd name="connsiteY9" fmla="*/ 151456 h 505924"/>
                    <a:gd name="connsiteX10" fmla="*/ 447094 w 545693"/>
                    <a:gd name="connsiteY10" fmla="*/ 164156 h 505924"/>
                    <a:gd name="connsiteX11" fmla="*/ 488369 w 545693"/>
                    <a:gd name="connsiteY11" fmla="*/ 189556 h 505924"/>
                    <a:gd name="connsiteX12" fmla="*/ 510594 w 545693"/>
                    <a:gd name="connsiteY12" fmla="*/ 234006 h 505924"/>
                    <a:gd name="connsiteX13" fmla="*/ 507419 w 545693"/>
                    <a:gd name="connsiteY13" fmla="*/ 488006 h 505924"/>
                    <a:gd name="connsiteX14" fmla="*/ 5769 w 545693"/>
                    <a:gd name="connsiteY14" fmla="*/ 449906 h 505924"/>
                    <a:gd name="connsiteX0" fmla="*/ 21286 w 561210"/>
                    <a:gd name="connsiteY0" fmla="*/ 449906 h 508025"/>
                    <a:gd name="connsiteX1" fmla="*/ 24461 w 561210"/>
                    <a:gd name="connsiteY1" fmla="*/ 214956 h 508025"/>
                    <a:gd name="connsiteX2" fmla="*/ 40336 w 561210"/>
                    <a:gd name="connsiteY2" fmla="*/ 176856 h 508025"/>
                    <a:gd name="connsiteX3" fmla="*/ 87961 w 561210"/>
                    <a:gd name="connsiteY3" fmla="*/ 160981 h 508025"/>
                    <a:gd name="connsiteX4" fmla="*/ 189561 w 561210"/>
                    <a:gd name="connsiteY4" fmla="*/ 154631 h 508025"/>
                    <a:gd name="connsiteX5" fmla="*/ 214961 w 561210"/>
                    <a:gd name="connsiteY5" fmla="*/ 151456 h 508025"/>
                    <a:gd name="connsiteX6" fmla="*/ 218136 w 561210"/>
                    <a:gd name="connsiteY6" fmla="*/ 18106 h 508025"/>
                    <a:gd name="connsiteX7" fmla="*/ 329261 w 561210"/>
                    <a:gd name="connsiteY7" fmla="*/ 14931 h 508025"/>
                    <a:gd name="connsiteX8" fmla="*/ 329261 w 561210"/>
                    <a:gd name="connsiteY8" fmla="*/ 145106 h 508025"/>
                    <a:gd name="connsiteX9" fmla="*/ 370536 w 561210"/>
                    <a:gd name="connsiteY9" fmla="*/ 151456 h 508025"/>
                    <a:gd name="connsiteX10" fmla="*/ 462611 w 561210"/>
                    <a:gd name="connsiteY10" fmla="*/ 164156 h 508025"/>
                    <a:gd name="connsiteX11" fmla="*/ 503886 w 561210"/>
                    <a:gd name="connsiteY11" fmla="*/ 189556 h 508025"/>
                    <a:gd name="connsiteX12" fmla="*/ 526111 w 561210"/>
                    <a:gd name="connsiteY12" fmla="*/ 234006 h 508025"/>
                    <a:gd name="connsiteX13" fmla="*/ 522936 w 561210"/>
                    <a:gd name="connsiteY13" fmla="*/ 488006 h 508025"/>
                    <a:gd name="connsiteX14" fmla="*/ 21286 w 561210"/>
                    <a:gd name="connsiteY14" fmla="*/ 449906 h 508025"/>
                    <a:gd name="connsiteX0" fmla="*/ 21286 w 561210"/>
                    <a:gd name="connsiteY0" fmla="*/ 449906 h 508025"/>
                    <a:gd name="connsiteX1" fmla="*/ 24461 w 561210"/>
                    <a:gd name="connsiteY1" fmla="*/ 214956 h 508025"/>
                    <a:gd name="connsiteX2" fmla="*/ 40336 w 561210"/>
                    <a:gd name="connsiteY2" fmla="*/ 176856 h 508025"/>
                    <a:gd name="connsiteX3" fmla="*/ 87961 w 561210"/>
                    <a:gd name="connsiteY3" fmla="*/ 160981 h 508025"/>
                    <a:gd name="connsiteX4" fmla="*/ 189561 w 561210"/>
                    <a:gd name="connsiteY4" fmla="*/ 154631 h 508025"/>
                    <a:gd name="connsiteX5" fmla="*/ 214961 w 561210"/>
                    <a:gd name="connsiteY5" fmla="*/ 151456 h 508025"/>
                    <a:gd name="connsiteX6" fmla="*/ 218136 w 561210"/>
                    <a:gd name="connsiteY6" fmla="*/ 18106 h 508025"/>
                    <a:gd name="connsiteX7" fmla="*/ 329261 w 561210"/>
                    <a:gd name="connsiteY7" fmla="*/ 14931 h 508025"/>
                    <a:gd name="connsiteX8" fmla="*/ 329261 w 561210"/>
                    <a:gd name="connsiteY8" fmla="*/ 145106 h 508025"/>
                    <a:gd name="connsiteX9" fmla="*/ 370536 w 561210"/>
                    <a:gd name="connsiteY9" fmla="*/ 151456 h 508025"/>
                    <a:gd name="connsiteX10" fmla="*/ 462611 w 561210"/>
                    <a:gd name="connsiteY10" fmla="*/ 164156 h 508025"/>
                    <a:gd name="connsiteX11" fmla="*/ 503886 w 561210"/>
                    <a:gd name="connsiteY11" fmla="*/ 189556 h 508025"/>
                    <a:gd name="connsiteX12" fmla="*/ 526111 w 561210"/>
                    <a:gd name="connsiteY12" fmla="*/ 234006 h 508025"/>
                    <a:gd name="connsiteX13" fmla="*/ 522936 w 561210"/>
                    <a:gd name="connsiteY13" fmla="*/ 488006 h 508025"/>
                    <a:gd name="connsiteX14" fmla="*/ 21286 w 561210"/>
                    <a:gd name="connsiteY14" fmla="*/ 449906 h 508025"/>
                    <a:gd name="connsiteX0" fmla="*/ 4360 w 544284"/>
                    <a:gd name="connsiteY0" fmla="*/ 449906 h 508025"/>
                    <a:gd name="connsiteX1" fmla="*/ 7535 w 544284"/>
                    <a:gd name="connsiteY1" fmla="*/ 214956 h 508025"/>
                    <a:gd name="connsiteX2" fmla="*/ 23410 w 544284"/>
                    <a:gd name="connsiteY2" fmla="*/ 176856 h 508025"/>
                    <a:gd name="connsiteX3" fmla="*/ 71035 w 544284"/>
                    <a:gd name="connsiteY3" fmla="*/ 160981 h 508025"/>
                    <a:gd name="connsiteX4" fmla="*/ 172635 w 544284"/>
                    <a:gd name="connsiteY4" fmla="*/ 154631 h 508025"/>
                    <a:gd name="connsiteX5" fmla="*/ 198035 w 544284"/>
                    <a:gd name="connsiteY5" fmla="*/ 151456 h 508025"/>
                    <a:gd name="connsiteX6" fmla="*/ 201210 w 544284"/>
                    <a:gd name="connsiteY6" fmla="*/ 18106 h 508025"/>
                    <a:gd name="connsiteX7" fmla="*/ 312335 w 544284"/>
                    <a:gd name="connsiteY7" fmla="*/ 14931 h 508025"/>
                    <a:gd name="connsiteX8" fmla="*/ 312335 w 544284"/>
                    <a:gd name="connsiteY8" fmla="*/ 145106 h 508025"/>
                    <a:gd name="connsiteX9" fmla="*/ 353610 w 544284"/>
                    <a:gd name="connsiteY9" fmla="*/ 151456 h 508025"/>
                    <a:gd name="connsiteX10" fmla="*/ 445685 w 544284"/>
                    <a:gd name="connsiteY10" fmla="*/ 164156 h 508025"/>
                    <a:gd name="connsiteX11" fmla="*/ 486960 w 544284"/>
                    <a:gd name="connsiteY11" fmla="*/ 189556 h 508025"/>
                    <a:gd name="connsiteX12" fmla="*/ 509185 w 544284"/>
                    <a:gd name="connsiteY12" fmla="*/ 234006 h 508025"/>
                    <a:gd name="connsiteX13" fmla="*/ 506010 w 544284"/>
                    <a:gd name="connsiteY13" fmla="*/ 488006 h 508025"/>
                    <a:gd name="connsiteX14" fmla="*/ 4360 w 544284"/>
                    <a:gd name="connsiteY14" fmla="*/ 449906 h 508025"/>
                    <a:gd name="connsiteX0" fmla="*/ 4360 w 544284"/>
                    <a:gd name="connsiteY0" fmla="*/ 449906 h 500804"/>
                    <a:gd name="connsiteX1" fmla="*/ 7535 w 544284"/>
                    <a:gd name="connsiteY1" fmla="*/ 214956 h 500804"/>
                    <a:gd name="connsiteX2" fmla="*/ 23410 w 544284"/>
                    <a:gd name="connsiteY2" fmla="*/ 176856 h 500804"/>
                    <a:gd name="connsiteX3" fmla="*/ 71035 w 544284"/>
                    <a:gd name="connsiteY3" fmla="*/ 160981 h 500804"/>
                    <a:gd name="connsiteX4" fmla="*/ 172635 w 544284"/>
                    <a:gd name="connsiteY4" fmla="*/ 154631 h 500804"/>
                    <a:gd name="connsiteX5" fmla="*/ 198035 w 544284"/>
                    <a:gd name="connsiteY5" fmla="*/ 151456 h 500804"/>
                    <a:gd name="connsiteX6" fmla="*/ 201210 w 544284"/>
                    <a:gd name="connsiteY6" fmla="*/ 18106 h 500804"/>
                    <a:gd name="connsiteX7" fmla="*/ 312335 w 544284"/>
                    <a:gd name="connsiteY7" fmla="*/ 14931 h 500804"/>
                    <a:gd name="connsiteX8" fmla="*/ 312335 w 544284"/>
                    <a:gd name="connsiteY8" fmla="*/ 145106 h 500804"/>
                    <a:gd name="connsiteX9" fmla="*/ 353610 w 544284"/>
                    <a:gd name="connsiteY9" fmla="*/ 151456 h 500804"/>
                    <a:gd name="connsiteX10" fmla="*/ 445685 w 544284"/>
                    <a:gd name="connsiteY10" fmla="*/ 164156 h 500804"/>
                    <a:gd name="connsiteX11" fmla="*/ 486960 w 544284"/>
                    <a:gd name="connsiteY11" fmla="*/ 189556 h 500804"/>
                    <a:gd name="connsiteX12" fmla="*/ 509185 w 544284"/>
                    <a:gd name="connsiteY12" fmla="*/ 234006 h 500804"/>
                    <a:gd name="connsiteX13" fmla="*/ 506010 w 544284"/>
                    <a:gd name="connsiteY13" fmla="*/ 488006 h 500804"/>
                    <a:gd name="connsiteX14" fmla="*/ 4360 w 544284"/>
                    <a:gd name="connsiteY14" fmla="*/ 449906 h 500804"/>
                    <a:gd name="connsiteX0" fmla="*/ 4360 w 544284"/>
                    <a:gd name="connsiteY0" fmla="*/ 449906 h 500804"/>
                    <a:gd name="connsiteX1" fmla="*/ 7535 w 544284"/>
                    <a:gd name="connsiteY1" fmla="*/ 214956 h 500804"/>
                    <a:gd name="connsiteX2" fmla="*/ 23410 w 544284"/>
                    <a:gd name="connsiteY2" fmla="*/ 176856 h 500804"/>
                    <a:gd name="connsiteX3" fmla="*/ 71035 w 544284"/>
                    <a:gd name="connsiteY3" fmla="*/ 160981 h 500804"/>
                    <a:gd name="connsiteX4" fmla="*/ 172635 w 544284"/>
                    <a:gd name="connsiteY4" fmla="*/ 154631 h 500804"/>
                    <a:gd name="connsiteX5" fmla="*/ 198035 w 544284"/>
                    <a:gd name="connsiteY5" fmla="*/ 151456 h 500804"/>
                    <a:gd name="connsiteX6" fmla="*/ 201210 w 544284"/>
                    <a:gd name="connsiteY6" fmla="*/ 18106 h 500804"/>
                    <a:gd name="connsiteX7" fmla="*/ 312335 w 544284"/>
                    <a:gd name="connsiteY7" fmla="*/ 14931 h 500804"/>
                    <a:gd name="connsiteX8" fmla="*/ 312335 w 544284"/>
                    <a:gd name="connsiteY8" fmla="*/ 145106 h 500804"/>
                    <a:gd name="connsiteX9" fmla="*/ 353610 w 544284"/>
                    <a:gd name="connsiteY9" fmla="*/ 151456 h 500804"/>
                    <a:gd name="connsiteX10" fmla="*/ 445685 w 544284"/>
                    <a:gd name="connsiteY10" fmla="*/ 164156 h 500804"/>
                    <a:gd name="connsiteX11" fmla="*/ 486960 w 544284"/>
                    <a:gd name="connsiteY11" fmla="*/ 189556 h 500804"/>
                    <a:gd name="connsiteX12" fmla="*/ 509185 w 544284"/>
                    <a:gd name="connsiteY12" fmla="*/ 234006 h 500804"/>
                    <a:gd name="connsiteX13" fmla="*/ 506010 w 544284"/>
                    <a:gd name="connsiteY13" fmla="*/ 488006 h 500804"/>
                    <a:gd name="connsiteX14" fmla="*/ 4360 w 544284"/>
                    <a:gd name="connsiteY14" fmla="*/ 449906 h 500804"/>
                    <a:gd name="connsiteX0" fmla="*/ 4360 w 519024"/>
                    <a:gd name="connsiteY0" fmla="*/ 449906 h 500804"/>
                    <a:gd name="connsiteX1" fmla="*/ 7535 w 519024"/>
                    <a:gd name="connsiteY1" fmla="*/ 214956 h 500804"/>
                    <a:gd name="connsiteX2" fmla="*/ 23410 w 519024"/>
                    <a:gd name="connsiteY2" fmla="*/ 176856 h 500804"/>
                    <a:gd name="connsiteX3" fmla="*/ 71035 w 519024"/>
                    <a:gd name="connsiteY3" fmla="*/ 160981 h 500804"/>
                    <a:gd name="connsiteX4" fmla="*/ 172635 w 519024"/>
                    <a:gd name="connsiteY4" fmla="*/ 154631 h 500804"/>
                    <a:gd name="connsiteX5" fmla="*/ 198035 w 519024"/>
                    <a:gd name="connsiteY5" fmla="*/ 151456 h 500804"/>
                    <a:gd name="connsiteX6" fmla="*/ 201210 w 519024"/>
                    <a:gd name="connsiteY6" fmla="*/ 18106 h 500804"/>
                    <a:gd name="connsiteX7" fmla="*/ 312335 w 519024"/>
                    <a:gd name="connsiteY7" fmla="*/ 14931 h 500804"/>
                    <a:gd name="connsiteX8" fmla="*/ 312335 w 519024"/>
                    <a:gd name="connsiteY8" fmla="*/ 145106 h 500804"/>
                    <a:gd name="connsiteX9" fmla="*/ 353610 w 519024"/>
                    <a:gd name="connsiteY9" fmla="*/ 151456 h 500804"/>
                    <a:gd name="connsiteX10" fmla="*/ 445685 w 519024"/>
                    <a:gd name="connsiteY10" fmla="*/ 164156 h 500804"/>
                    <a:gd name="connsiteX11" fmla="*/ 486960 w 519024"/>
                    <a:gd name="connsiteY11" fmla="*/ 189556 h 500804"/>
                    <a:gd name="connsiteX12" fmla="*/ 509185 w 519024"/>
                    <a:gd name="connsiteY12" fmla="*/ 234006 h 500804"/>
                    <a:gd name="connsiteX13" fmla="*/ 506010 w 519024"/>
                    <a:gd name="connsiteY13" fmla="*/ 488006 h 500804"/>
                    <a:gd name="connsiteX14" fmla="*/ 4360 w 519024"/>
                    <a:gd name="connsiteY14" fmla="*/ 449906 h 500804"/>
                    <a:gd name="connsiteX0" fmla="*/ 4360 w 519024"/>
                    <a:gd name="connsiteY0" fmla="*/ 449906 h 488006"/>
                    <a:gd name="connsiteX1" fmla="*/ 7535 w 519024"/>
                    <a:gd name="connsiteY1" fmla="*/ 214956 h 488006"/>
                    <a:gd name="connsiteX2" fmla="*/ 23410 w 519024"/>
                    <a:gd name="connsiteY2" fmla="*/ 176856 h 488006"/>
                    <a:gd name="connsiteX3" fmla="*/ 71035 w 519024"/>
                    <a:gd name="connsiteY3" fmla="*/ 160981 h 488006"/>
                    <a:gd name="connsiteX4" fmla="*/ 172635 w 519024"/>
                    <a:gd name="connsiteY4" fmla="*/ 154631 h 488006"/>
                    <a:gd name="connsiteX5" fmla="*/ 198035 w 519024"/>
                    <a:gd name="connsiteY5" fmla="*/ 151456 h 488006"/>
                    <a:gd name="connsiteX6" fmla="*/ 201210 w 519024"/>
                    <a:gd name="connsiteY6" fmla="*/ 18106 h 488006"/>
                    <a:gd name="connsiteX7" fmla="*/ 312335 w 519024"/>
                    <a:gd name="connsiteY7" fmla="*/ 14931 h 488006"/>
                    <a:gd name="connsiteX8" fmla="*/ 312335 w 519024"/>
                    <a:gd name="connsiteY8" fmla="*/ 145106 h 488006"/>
                    <a:gd name="connsiteX9" fmla="*/ 353610 w 519024"/>
                    <a:gd name="connsiteY9" fmla="*/ 151456 h 488006"/>
                    <a:gd name="connsiteX10" fmla="*/ 445685 w 519024"/>
                    <a:gd name="connsiteY10" fmla="*/ 164156 h 488006"/>
                    <a:gd name="connsiteX11" fmla="*/ 486960 w 519024"/>
                    <a:gd name="connsiteY11" fmla="*/ 189556 h 488006"/>
                    <a:gd name="connsiteX12" fmla="*/ 509185 w 519024"/>
                    <a:gd name="connsiteY12" fmla="*/ 234006 h 488006"/>
                    <a:gd name="connsiteX13" fmla="*/ 506010 w 519024"/>
                    <a:gd name="connsiteY13" fmla="*/ 488006 h 488006"/>
                    <a:gd name="connsiteX14" fmla="*/ 4360 w 519024"/>
                    <a:gd name="connsiteY14" fmla="*/ 449906 h 488006"/>
                    <a:gd name="connsiteX0" fmla="*/ 4360 w 523534"/>
                    <a:gd name="connsiteY0" fmla="*/ 449906 h 472131"/>
                    <a:gd name="connsiteX1" fmla="*/ 7535 w 523534"/>
                    <a:gd name="connsiteY1" fmla="*/ 214956 h 472131"/>
                    <a:gd name="connsiteX2" fmla="*/ 23410 w 523534"/>
                    <a:gd name="connsiteY2" fmla="*/ 176856 h 472131"/>
                    <a:gd name="connsiteX3" fmla="*/ 71035 w 523534"/>
                    <a:gd name="connsiteY3" fmla="*/ 160981 h 472131"/>
                    <a:gd name="connsiteX4" fmla="*/ 172635 w 523534"/>
                    <a:gd name="connsiteY4" fmla="*/ 154631 h 472131"/>
                    <a:gd name="connsiteX5" fmla="*/ 198035 w 523534"/>
                    <a:gd name="connsiteY5" fmla="*/ 151456 h 472131"/>
                    <a:gd name="connsiteX6" fmla="*/ 201210 w 523534"/>
                    <a:gd name="connsiteY6" fmla="*/ 18106 h 472131"/>
                    <a:gd name="connsiteX7" fmla="*/ 312335 w 523534"/>
                    <a:gd name="connsiteY7" fmla="*/ 14931 h 472131"/>
                    <a:gd name="connsiteX8" fmla="*/ 312335 w 523534"/>
                    <a:gd name="connsiteY8" fmla="*/ 145106 h 472131"/>
                    <a:gd name="connsiteX9" fmla="*/ 353610 w 523534"/>
                    <a:gd name="connsiteY9" fmla="*/ 151456 h 472131"/>
                    <a:gd name="connsiteX10" fmla="*/ 445685 w 523534"/>
                    <a:gd name="connsiteY10" fmla="*/ 164156 h 472131"/>
                    <a:gd name="connsiteX11" fmla="*/ 486960 w 523534"/>
                    <a:gd name="connsiteY11" fmla="*/ 189556 h 472131"/>
                    <a:gd name="connsiteX12" fmla="*/ 509185 w 523534"/>
                    <a:gd name="connsiteY12" fmla="*/ 234006 h 472131"/>
                    <a:gd name="connsiteX13" fmla="*/ 512360 w 523534"/>
                    <a:gd name="connsiteY13" fmla="*/ 472131 h 472131"/>
                    <a:gd name="connsiteX14" fmla="*/ 4360 w 523534"/>
                    <a:gd name="connsiteY14" fmla="*/ 449906 h 472131"/>
                    <a:gd name="connsiteX0" fmla="*/ 4360 w 513675"/>
                    <a:gd name="connsiteY0" fmla="*/ 449906 h 472131"/>
                    <a:gd name="connsiteX1" fmla="*/ 7535 w 513675"/>
                    <a:gd name="connsiteY1" fmla="*/ 214956 h 472131"/>
                    <a:gd name="connsiteX2" fmla="*/ 23410 w 513675"/>
                    <a:gd name="connsiteY2" fmla="*/ 176856 h 472131"/>
                    <a:gd name="connsiteX3" fmla="*/ 71035 w 513675"/>
                    <a:gd name="connsiteY3" fmla="*/ 160981 h 472131"/>
                    <a:gd name="connsiteX4" fmla="*/ 172635 w 513675"/>
                    <a:gd name="connsiteY4" fmla="*/ 154631 h 472131"/>
                    <a:gd name="connsiteX5" fmla="*/ 198035 w 513675"/>
                    <a:gd name="connsiteY5" fmla="*/ 151456 h 472131"/>
                    <a:gd name="connsiteX6" fmla="*/ 201210 w 513675"/>
                    <a:gd name="connsiteY6" fmla="*/ 18106 h 472131"/>
                    <a:gd name="connsiteX7" fmla="*/ 312335 w 513675"/>
                    <a:gd name="connsiteY7" fmla="*/ 14931 h 472131"/>
                    <a:gd name="connsiteX8" fmla="*/ 312335 w 513675"/>
                    <a:gd name="connsiteY8" fmla="*/ 145106 h 472131"/>
                    <a:gd name="connsiteX9" fmla="*/ 353610 w 513675"/>
                    <a:gd name="connsiteY9" fmla="*/ 151456 h 472131"/>
                    <a:gd name="connsiteX10" fmla="*/ 445685 w 513675"/>
                    <a:gd name="connsiteY10" fmla="*/ 164156 h 472131"/>
                    <a:gd name="connsiteX11" fmla="*/ 486960 w 513675"/>
                    <a:gd name="connsiteY11" fmla="*/ 189556 h 472131"/>
                    <a:gd name="connsiteX12" fmla="*/ 509185 w 513675"/>
                    <a:gd name="connsiteY12" fmla="*/ 234006 h 472131"/>
                    <a:gd name="connsiteX13" fmla="*/ 512360 w 513675"/>
                    <a:gd name="connsiteY13" fmla="*/ 472131 h 472131"/>
                    <a:gd name="connsiteX14" fmla="*/ 4360 w 513675"/>
                    <a:gd name="connsiteY14" fmla="*/ 449906 h 472131"/>
                    <a:gd name="connsiteX0" fmla="*/ 4360 w 513675"/>
                    <a:gd name="connsiteY0" fmla="*/ 446969 h 469194"/>
                    <a:gd name="connsiteX1" fmla="*/ 7535 w 513675"/>
                    <a:gd name="connsiteY1" fmla="*/ 212019 h 469194"/>
                    <a:gd name="connsiteX2" fmla="*/ 23410 w 513675"/>
                    <a:gd name="connsiteY2" fmla="*/ 173919 h 469194"/>
                    <a:gd name="connsiteX3" fmla="*/ 71035 w 513675"/>
                    <a:gd name="connsiteY3" fmla="*/ 158044 h 469194"/>
                    <a:gd name="connsiteX4" fmla="*/ 172635 w 513675"/>
                    <a:gd name="connsiteY4" fmla="*/ 151694 h 469194"/>
                    <a:gd name="connsiteX5" fmla="*/ 188510 w 513675"/>
                    <a:gd name="connsiteY5" fmla="*/ 94544 h 469194"/>
                    <a:gd name="connsiteX6" fmla="*/ 201210 w 513675"/>
                    <a:gd name="connsiteY6" fmla="*/ 15169 h 469194"/>
                    <a:gd name="connsiteX7" fmla="*/ 312335 w 513675"/>
                    <a:gd name="connsiteY7" fmla="*/ 11994 h 469194"/>
                    <a:gd name="connsiteX8" fmla="*/ 312335 w 513675"/>
                    <a:gd name="connsiteY8" fmla="*/ 142169 h 469194"/>
                    <a:gd name="connsiteX9" fmla="*/ 353610 w 513675"/>
                    <a:gd name="connsiteY9" fmla="*/ 148519 h 469194"/>
                    <a:gd name="connsiteX10" fmla="*/ 445685 w 513675"/>
                    <a:gd name="connsiteY10" fmla="*/ 161219 h 469194"/>
                    <a:gd name="connsiteX11" fmla="*/ 486960 w 513675"/>
                    <a:gd name="connsiteY11" fmla="*/ 186619 h 469194"/>
                    <a:gd name="connsiteX12" fmla="*/ 509185 w 513675"/>
                    <a:gd name="connsiteY12" fmla="*/ 231069 h 469194"/>
                    <a:gd name="connsiteX13" fmla="*/ 512360 w 513675"/>
                    <a:gd name="connsiteY13" fmla="*/ 469194 h 469194"/>
                    <a:gd name="connsiteX14" fmla="*/ 4360 w 513675"/>
                    <a:gd name="connsiteY14" fmla="*/ 446969 h 469194"/>
                    <a:gd name="connsiteX0" fmla="*/ 4360 w 513675"/>
                    <a:gd name="connsiteY0" fmla="*/ 443409 h 465634"/>
                    <a:gd name="connsiteX1" fmla="*/ 7535 w 513675"/>
                    <a:gd name="connsiteY1" fmla="*/ 208459 h 465634"/>
                    <a:gd name="connsiteX2" fmla="*/ 23410 w 513675"/>
                    <a:gd name="connsiteY2" fmla="*/ 170359 h 465634"/>
                    <a:gd name="connsiteX3" fmla="*/ 71035 w 513675"/>
                    <a:gd name="connsiteY3" fmla="*/ 154484 h 465634"/>
                    <a:gd name="connsiteX4" fmla="*/ 172635 w 513675"/>
                    <a:gd name="connsiteY4" fmla="*/ 148134 h 465634"/>
                    <a:gd name="connsiteX5" fmla="*/ 188510 w 513675"/>
                    <a:gd name="connsiteY5" fmla="*/ 90984 h 465634"/>
                    <a:gd name="connsiteX6" fmla="*/ 201210 w 513675"/>
                    <a:gd name="connsiteY6" fmla="*/ 11609 h 465634"/>
                    <a:gd name="connsiteX7" fmla="*/ 312335 w 513675"/>
                    <a:gd name="connsiteY7" fmla="*/ 8434 h 465634"/>
                    <a:gd name="connsiteX8" fmla="*/ 312335 w 513675"/>
                    <a:gd name="connsiteY8" fmla="*/ 87809 h 465634"/>
                    <a:gd name="connsiteX9" fmla="*/ 353610 w 513675"/>
                    <a:gd name="connsiteY9" fmla="*/ 144959 h 465634"/>
                    <a:gd name="connsiteX10" fmla="*/ 445685 w 513675"/>
                    <a:gd name="connsiteY10" fmla="*/ 157659 h 465634"/>
                    <a:gd name="connsiteX11" fmla="*/ 486960 w 513675"/>
                    <a:gd name="connsiteY11" fmla="*/ 183059 h 465634"/>
                    <a:gd name="connsiteX12" fmla="*/ 509185 w 513675"/>
                    <a:gd name="connsiteY12" fmla="*/ 227509 h 465634"/>
                    <a:gd name="connsiteX13" fmla="*/ 512360 w 513675"/>
                    <a:gd name="connsiteY13" fmla="*/ 465634 h 465634"/>
                    <a:gd name="connsiteX14" fmla="*/ 4360 w 513675"/>
                    <a:gd name="connsiteY14" fmla="*/ 443409 h 465634"/>
                    <a:gd name="connsiteX0" fmla="*/ 4360 w 513675"/>
                    <a:gd name="connsiteY0" fmla="*/ 443409 h 465634"/>
                    <a:gd name="connsiteX1" fmla="*/ 7535 w 513675"/>
                    <a:gd name="connsiteY1" fmla="*/ 208459 h 465634"/>
                    <a:gd name="connsiteX2" fmla="*/ 23410 w 513675"/>
                    <a:gd name="connsiteY2" fmla="*/ 170359 h 465634"/>
                    <a:gd name="connsiteX3" fmla="*/ 71035 w 513675"/>
                    <a:gd name="connsiteY3" fmla="*/ 154484 h 465634"/>
                    <a:gd name="connsiteX4" fmla="*/ 172635 w 513675"/>
                    <a:gd name="connsiteY4" fmla="*/ 148134 h 465634"/>
                    <a:gd name="connsiteX5" fmla="*/ 188510 w 513675"/>
                    <a:gd name="connsiteY5" fmla="*/ 90984 h 465634"/>
                    <a:gd name="connsiteX6" fmla="*/ 201210 w 513675"/>
                    <a:gd name="connsiteY6" fmla="*/ 11609 h 465634"/>
                    <a:gd name="connsiteX7" fmla="*/ 312335 w 513675"/>
                    <a:gd name="connsiteY7" fmla="*/ 8434 h 465634"/>
                    <a:gd name="connsiteX8" fmla="*/ 312335 w 513675"/>
                    <a:gd name="connsiteY8" fmla="*/ 87809 h 465634"/>
                    <a:gd name="connsiteX9" fmla="*/ 334560 w 513675"/>
                    <a:gd name="connsiteY9" fmla="*/ 135434 h 465634"/>
                    <a:gd name="connsiteX10" fmla="*/ 445685 w 513675"/>
                    <a:gd name="connsiteY10" fmla="*/ 157659 h 465634"/>
                    <a:gd name="connsiteX11" fmla="*/ 486960 w 513675"/>
                    <a:gd name="connsiteY11" fmla="*/ 183059 h 465634"/>
                    <a:gd name="connsiteX12" fmla="*/ 509185 w 513675"/>
                    <a:gd name="connsiteY12" fmla="*/ 227509 h 465634"/>
                    <a:gd name="connsiteX13" fmla="*/ 512360 w 513675"/>
                    <a:gd name="connsiteY13" fmla="*/ 465634 h 465634"/>
                    <a:gd name="connsiteX14" fmla="*/ 4360 w 513675"/>
                    <a:gd name="connsiteY14" fmla="*/ 443409 h 465634"/>
                    <a:gd name="connsiteX0" fmla="*/ 4360 w 510500"/>
                    <a:gd name="connsiteY0" fmla="*/ 443409 h 449759"/>
                    <a:gd name="connsiteX1" fmla="*/ 7535 w 510500"/>
                    <a:gd name="connsiteY1" fmla="*/ 208459 h 449759"/>
                    <a:gd name="connsiteX2" fmla="*/ 23410 w 510500"/>
                    <a:gd name="connsiteY2" fmla="*/ 170359 h 449759"/>
                    <a:gd name="connsiteX3" fmla="*/ 71035 w 510500"/>
                    <a:gd name="connsiteY3" fmla="*/ 154484 h 449759"/>
                    <a:gd name="connsiteX4" fmla="*/ 172635 w 510500"/>
                    <a:gd name="connsiteY4" fmla="*/ 148134 h 449759"/>
                    <a:gd name="connsiteX5" fmla="*/ 188510 w 510500"/>
                    <a:gd name="connsiteY5" fmla="*/ 90984 h 449759"/>
                    <a:gd name="connsiteX6" fmla="*/ 201210 w 510500"/>
                    <a:gd name="connsiteY6" fmla="*/ 11609 h 449759"/>
                    <a:gd name="connsiteX7" fmla="*/ 312335 w 510500"/>
                    <a:gd name="connsiteY7" fmla="*/ 8434 h 449759"/>
                    <a:gd name="connsiteX8" fmla="*/ 312335 w 510500"/>
                    <a:gd name="connsiteY8" fmla="*/ 87809 h 449759"/>
                    <a:gd name="connsiteX9" fmla="*/ 334560 w 510500"/>
                    <a:gd name="connsiteY9" fmla="*/ 135434 h 449759"/>
                    <a:gd name="connsiteX10" fmla="*/ 445685 w 510500"/>
                    <a:gd name="connsiteY10" fmla="*/ 157659 h 449759"/>
                    <a:gd name="connsiteX11" fmla="*/ 486960 w 510500"/>
                    <a:gd name="connsiteY11" fmla="*/ 183059 h 449759"/>
                    <a:gd name="connsiteX12" fmla="*/ 509185 w 510500"/>
                    <a:gd name="connsiteY12" fmla="*/ 227509 h 449759"/>
                    <a:gd name="connsiteX13" fmla="*/ 506010 w 510500"/>
                    <a:gd name="connsiteY13" fmla="*/ 449759 h 449759"/>
                    <a:gd name="connsiteX14" fmla="*/ 4360 w 510500"/>
                    <a:gd name="connsiteY14" fmla="*/ 443409 h 449759"/>
                    <a:gd name="connsiteX0" fmla="*/ 4360 w 510500"/>
                    <a:gd name="connsiteY0" fmla="*/ 443409 h 454926"/>
                    <a:gd name="connsiteX1" fmla="*/ 7535 w 510500"/>
                    <a:gd name="connsiteY1" fmla="*/ 208459 h 454926"/>
                    <a:gd name="connsiteX2" fmla="*/ 23410 w 510500"/>
                    <a:gd name="connsiteY2" fmla="*/ 170359 h 454926"/>
                    <a:gd name="connsiteX3" fmla="*/ 71035 w 510500"/>
                    <a:gd name="connsiteY3" fmla="*/ 154484 h 454926"/>
                    <a:gd name="connsiteX4" fmla="*/ 172635 w 510500"/>
                    <a:gd name="connsiteY4" fmla="*/ 148134 h 454926"/>
                    <a:gd name="connsiteX5" fmla="*/ 188510 w 510500"/>
                    <a:gd name="connsiteY5" fmla="*/ 90984 h 454926"/>
                    <a:gd name="connsiteX6" fmla="*/ 201210 w 510500"/>
                    <a:gd name="connsiteY6" fmla="*/ 11609 h 454926"/>
                    <a:gd name="connsiteX7" fmla="*/ 312335 w 510500"/>
                    <a:gd name="connsiteY7" fmla="*/ 8434 h 454926"/>
                    <a:gd name="connsiteX8" fmla="*/ 312335 w 510500"/>
                    <a:gd name="connsiteY8" fmla="*/ 87809 h 454926"/>
                    <a:gd name="connsiteX9" fmla="*/ 334560 w 510500"/>
                    <a:gd name="connsiteY9" fmla="*/ 135434 h 454926"/>
                    <a:gd name="connsiteX10" fmla="*/ 445685 w 510500"/>
                    <a:gd name="connsiteY10" fmla="*/ 157659 h 454926"/>
                    <a:gd name="connsiteX11" fmla="*/ 486960 w 510500"/>
                    <a:gd name="connsiteY11" fmla="*/ 183059 h 454926"/>
                    <a:gd name="connsiteX12" fmla="*/ 509185 w 510500"/>
                    <a:gd name="connsiteY12" fmla="*/ 227509 h 454926"/>
                    <a:gd name="connsiteX13" fmla="*/ 506010 w 510500"/>
                    <a:gd name="connsiteY13" fmla="*/ 449759 h 454926"/>
                    <a:gd name="connsiteX14" fmla="*/ 4360 w 510500"/>
                    <a:gd name="connsiteY14" fmla="*/ 443409 h 454926"/>
                    <a:gd name="connsiteX0" fmla="*/ 6473 w 512613"/>
                    <a:gd name="connsiteY0" fmla="*/ 443409 h 454926"/>
                    <a:gd name="connsiteX1" fmla="*/ 9648 w 512613"/>
                    <a:gd name="connsiteY1" fmla="*/ 208459 h 454926"/>
                    <a:gd name="connsiteX2" fmla="*/ 73148 w 512613"/>
                    <a:gd name="connsiteY2" fmla="*/ 154484 h 454926"/>
                    <a:gd name="connsiteX3" fmla="*/ 174748 w 512613"/>
                    <a:gd name="connsiteY3" fmla="*/ 148134 h 454926"/>
                    <a:gd name="connsiteX4" fmla="*/ 190623 w 512613"/>
                    <a:gd name="connsiteY4" fmla="*/ 90984 h 454926"/>
                    <a:gd name="connsiteX5" fmla="*/ 203323 w 512613"/>
                    <a:gd name="connsiteY5" fmla="*/ 11609 h 454926"/>
                    <a:gd name="connsiteX6" fmla="*/ 314448 w 512613"/>
                    <a:gd name="connsiteY6" fmla="*/ 8434 h 454926"/>
                    <a:gd name="connsiteX7" fmla="*/ 314448 w 512613"/>
                    <a:gd name="connsiteY7" fmla="*/ 87809 h 454926"/>
                    <a:gd name="connsiteX8" fmla="*/ 336673 w 512613"/>
                    <a:gd name="connsiteY8" fmla="*/ 135434 h 454926"/>
                    <a:gd name="connsiteX9" fmla="*/ 447798 w 512613"/>
                    <a:gd name="connsiteY9" fmla="*/ 157659 h 454926"/>
                    <a:gd name="connsiteX10" fmla="*/ 489073 w 512613"/>
                    <a:gd name="connsiteY10" fmla="*/ 183059 h 454926"/>
                    <a:gd name="connsiteX11" fmla="*/ 511298 w 512613"/>
                    <a:gd name="connsiteY11" fmla="*/ 227509 h 454926"/>
                    <a:gd name="connsiteX12" fmla="*/ 508123 w 512613"/>
                    <a:gd name="connsiteY12" fmla="*/ 449759 h 454926"/>
                    <a:gd name="connsiteX13" fmla="*/ 6473 w 512613"/>
                    <a:gd name="connsiteY13" fmla="*/ 443409 h 454926"/>
                    <a:gd name="connsiteX0" fmla="*/ 4049 w 510189"/>
                    <a:gd name="connsiteY0" fmla="*/ 443409 h 454926"/>
                    <a:gd name="connsiteX1" fmla="*/ 7224 w 510189"/>
                    <a:gd name="connsiteY1" fmla="*/ 208459 h 454926"/>
                    <a:gd name="connsiteX2" fmla="*/ 70724 w 510189"/>
                    <a:gd name="connsiteY2" fmla="*/ 154484 h 454926"/>
                    <a:gd name="connsiteX3" fmla="*/ 172324 w 510189"/>
                    <a:gd name="connsiteY3" fmla="*/ 148134 h 454926"/>
                    <a:gd name="connsiteX4" fmla="*/ 188199 w 510189"/>
                    <a:gd name="connsiteY4" fmla="*/ 90984 h 454926"/>
                    <a:gd name="connsiteX5" fmla="*/ 200899 w 510189"/>
                    <a:gd name="connsiteY5" fmla="*/ 11609 h 454926"/>
                    <a:gd name="connsiteX6" fmla="*/ 312024 w 510189"/>
                    <a:gd name="connsiteY6" fmla="*/ 8434 h 454926"/>
                    <a:gd name="connsiteX7" fmla="*/ 312024 w 510189"/>
                    <a:gd name="connsiteY7" fmla="*/ 87809 h 454926"/>
                    <a:gd name="connsiteX8" fmla="*/ 334249 w 510189"/>
                    <a:gd name="connsiteY8" fmla="*/ 135434 h 454926"/>
                    <a:gd name="connsiteX9" fmla="*/ 445374 w 510189"/>
                    <a:gd name="connsiteY9" fmla="*/ 157659 h 454926"/>
                    <a:gd name="connsiteX10" fmla="*/ 486649 w 510189"/>
                    <a:gd name="connsiteY10" fmla="*/ 183059 h 454926"/>
                    <a:gd name="connsiteX11" fmla="*/ 508874 w 510189"/>
                    <a:gd name="connsiteY11" fmla="*/ 227509 h 454926"/>
                    <a:gd name="connsiteX12" fmla="*/ 505699 w 510189"/>
                    <a:gd name="connsiteY12" fmla="*/ 449759 h 454926"/>
                    <a:gd name="connsiteX13" fmla="*/ 4049 w 510189"/>
                    <a:gd name="connsiteY13" fmla="*/ 443409 h 454926"/>
                    <a:gd name="connsiteX0" fmla="*/ 4049 w 510189"/>
                    <a:gd name="connsiteY0" fmla="*/ 443409 h 454926"/>
                    <a:gd name="connsiteX1" fmla="*/ 7224 w 510189"/>
                    <a:gd name="connsiteY1" fmla="*/ 208459 h 454926"/>
                    <a:gd name="connsiteX2" fmla="*/ 70724 w 510189"/>
                    <a:gd name="connsiteY2" fmla="*/ 154484 h 454926"/>
                    <a:gd name="connsiteX3" fmla="*/ 172324 w 510189"/>
                    <a:gd name="connsiteY3" fmla="*/ 148134 h 454926"/>
                    <a:gd name="connsiteX4" fmla="*/ 188199 w 510189"/>
                    <a:gd name="connsiteY4" fmla="*/ 90984 h 454926"/>
                    <a:gd name="connsiteX5" fmla="*/ 200899 w 510189"/>
                    <a:gd name="connsiteY5" fmla="*/ 11609 h 454926"/>
                    <a:gd name="connsiteX6" fmla="*/ 312024 w 510189"/>
                    <a:gd name="connsiteY6" fmla="*/ 8434 h 454926"/>
                    <a:gd name="connsiteX7" fmla="*/ 312024 w 510189"/>
                    <a:gd name="connsiteY7" fmla="*/ 87809 h 454926"/>
                    <a:gd name="connsiteX8" fmla="*/ 334249 w 510189"/>
                    <a:gd name="connsiteY8" fmla="*/ 135434 h 454926"/>
                    <a:gd name="connsiteX9" fmla="*/ 445374 w 510189"/>
                    <a:gd name="connsiteY9" fmla="*/ 157659 h 454926"/>
                    <a:gd name="connsiteX10" fmla="*/ 508874 w 510189"/>
                    <a:gd name="connsiteY10" fmla="*/ 227509 h 454926"/>
                    <a:gd name="connsiteX11" fmla="*/ 505699 w 510189"/>
                    <a:gd name="connsiteY11" fmla="*/ 449759 h 454926"/>
                    <a:gd name="connsiteX12" fmla="*/ 4049 w 510189"/>
                    <a:gd name="connsiteY12" fmla="*/ 443409 h 454926"/>
                    <a:gd name="connsiteX0" fmla="*/ 4049 w 510189"/>
                    <a:gd name="connsiteY0" fmla="*/ 443409 h 454926"/>
                    <a:gd name="connsiteX1" fmla="*/ 7224 w 510189"/>
                    <a:gd name="connsiteY1" fmla="*/ 208459 h 454926"/>
                    <a:gd name="connsiteX2" fmla="*/ 70724 w 510189"/>
                    <a:gd name="connsiteY2" fmla="*/ 154484 h 454926"/>
                    <a:gd name="connsiteX3" fmla="*/ 172324 w 510189"/>
                    <a:gd name="connsiteY3" fmla="*/ 148134 h 454926"/>
                    <a:gd name="connsiteX4" fmla="*/ 188199 w 510189"/>
                    <a:gd name="connsiteY4" fmla="*/ 90984 h 454926"/>
                    <a:gd name="connsiteX5" fmla="*/ 200899 w 510189"/>
                    <a:gd name="connsiteY5" fmla="*/ 11609 h 454926"/>
                    <a:gd name="connsiteX6" fmla="*/ 312024 w 510189"/>
                    <a:gd name="connsiteY6" fmla="*/ 8434 h 454926"/>
                    <a:gd name="connsiteX7" fmla="*/ 312024 w 510189"/>
                    <a:gd name="connsiteY7" fmla="*/ 87809 h 454926"/>
                    <a:gd name="connsiteX8" fmla="*/ 334249 w 510189"/>
                    <a:gd name="connsiteY8" fmla="*/ 135434 h 454926"/>
                    <a:gd name="connsiteX9" fmla="*/ 445374 w 510189"/>
                    <a:gd name="connsiteY9" fmla="*/ 157659 h 454926"/>
                    <a:gd name="connsiteX10" fmla="*/ 508874 w 510189"/>
                    <a:gd name="connsiteY10" fmla="*/ 227509 h 454926"/>
                    <a:gd name="connsiteX11" fmla="*/ 505699 w 510189"/>
                    <a:gd name="connsiteY11" fmla="*/ 449759 h 454926"/>
                    <a:gd name="connsiteX12" fmla="*/ 4049 w 510189"/>
                    <a:gd name="connsiteY12" fmla="*/ 443409 h 454926"/>
                    <a:gd name="connsiteX0" fmla="*/ 5987 w 512127"/>
                    <a:gd name="connsiteY0" fmla="*/ 443409 h 454926"/>
                    <a:gd name="connsiteX1" fmla="*/ 2812 w 512127"/>
                    <a:gd name="connsiteY1" fmla="*/ 217984 h 454926"/>
                    <a:gd name="connsiteX2" fmla="*/ 72662 w 512127"/>
                    <a:gd name="connsiteY2" fmla="*/ 154484 h 454926"/>
                    <a:gd name="connsiteX3" fmla="*/ 174262 w 512127"/>
                    <a:gd name="connsiteY3" fmla="*/ 148134 h 454926"/>
                    <a:gd name="connsiteX4" fmla="*/ 190137 w 512127"/>
                    <a:gd name="connsiteY4" fmla="*/ 90984 h 454926"/>
                    <a:gd name="connsiteX5" fmla="*/ 202837 w 512127"/>
                    <a:gd name="connsiteY5" fmla="*/ 11609 h 454926"/>
                    <a:gd name="connsiteX6" fmla="*/ 313962 w 512127"/>
                    <a:gd name="connsiteY6" fmla="*/ 8434 h 454926"/>
                    <a:gd name="connsiteX7" fmla="*/ 313962 w 512127"/>
                    <a:gd name="connsiteY7" fmla="*/ 87809 h 454926"/>
                    <a:gd name="connsiteX8" fmla="*/ 336187 w 512127"/>
                    <a:gd name="connsiteY8" fmla="*/ 135434 h 454926"/>
                    <a:gd name="connsiteX9" fmla="*/ 447312 w 512127"/>
                    <a:gd name="connsiteY9" fmla="*/ 157659 h 454926"/>
                    <a:gd name="connsiteX10" fmla="*/ 510812 w 512127"/>
                    <a:gd name="connsiteY10" fmla="*/ 227509 h 454926"/>
                    <a:gd name="connsiteX11" fmla="*/ 507637 w 512127"/>
                    <a:gd name="connsiteY11" fmla="*/ 449759 h 454926"/>
                    <a:gd name="connsiteX12" fmla="*/ 5987 w 512127"/>
                    <a:gd name="connsiteY12" fmla="*/ 443409 h 454926"/>
                    <a:gd name="connsiteX0" fmla="*/ 9762 w 515902"/>
                    <a:gd name="connsiteY0" fmla="*/ 443409 h 454926"/>
                    <a:gd name="connsiteX1" fmla="*/ 6587 w 515902"/>
                    <a:gd name="connsiteY1" fmla="*/ 217984 h 454926"/>
                    <a:gd name="connsiteX2" fmla="*/ 76437 w 515902"/>
                    <a:gd name="connsiteY2" fmla="*/ 154484 h 454926"/>
                    <a:gd name="connsiteX3" fmla="*/ 178037 w 515902"/>
                    <a:gd name="connsiteY3" fmla="*/ 148134 h 454926"/>
                    <a:gd name="connsiteX4" fmla="*/ 193912 w 515902"/>
                    <a:gd name="connsiteY4" fmla="*/ 90984 h 454926"/>
                    <a:gd name="connsiteX5" fmla="*/ 206612 w 515902"/>
                    <a:gd name="connsiteY5" fmla="*/ 11609 h 454926"/>
                    <a:gd name="connsiteX6" fmla="*/ 317737 w 515902"/>
                    <a:gd name="connsiteY6" fmla="*/ 8434 h 454926"/>
                    <a:gd name="connsiteX7" fmla="*/ 317737 w 515902"/>
                    <a:gd name="connsiteY7" fmla="*/ 87809 h 454926"/>
                    <a:gd name="connsiteX8" fmla="*/ 339962 w 515902"/>
                    <a:gd name="connsiteY8" fmla="*/ 135434 h 454926"/>
                    <a:gd name="connsiteX9" fmla="*/ 451087 w 515902"/>
                    <a:gd name="connsiteY9" fmla="*/ 157659 h 454926"/>
                    <a:gd name="connsiteX10" fmla="*/ 514587 w 515902"/>
                    <a:gd name="connsiteY10" fmla="*/ 227509 h 454926"/>
                    <a:gd name="connsiteX11" fmla="*/ 511412 w 515902"/>
                    <a:gd name="connsiteY11" fmla="*/ 449759 h 454926"/>
                    <a:gd name="connsiteX12" fmla="*/ 9762 w 515902"/>
                    <a:gd name="connsiteY12" fmla="*/ 443409 h 454926"/>
                    <a:gd name="connsiteX0" fmla="*/ 9762 w 515902"/>
                    <a:gd name="connsiteY0" fmla="*/ 443409 h 454926"/>
                    <a:gd name="connsiteX1" fmla="*/ 6587 w 515902"/>
                    <a:gd name="connsiteY1" fmla="*/ 217984 h 454926"/>
                    <a:gd name="connsiteX2" fmla="*/ 76437 w 515902"/>
                    <a:gd name="connsiteY2" fmla="*/ 154484 h 454926"/>
                    <a:gd name="connsiteX3" fmla="*/ 178037 w 515902"/>
                    <a:gd name="connsiteY3" fmla="*/ 148134 h 454926"/>
                    <a:gd name="connsiteX4" fmla="*/ 193912 w 515902"/>
                    <a:gd name="connsiteY4" fmla="*/ 90984 h 454926"/>
                    <a:gd name="connsiteX5" fmla="*/ 206612 w 515902"/>
                    <a:gd name="connsiteY5" fmla="*/ 11609 h 454926"/>
                    <a:gd name="connsiteX6" fmla="*/ 317737 w 515902"/>
                    <a:gd name="connsiteY6" fmla="*/ 8434 h 454926"/>
                    <a:gd name="connsiteX7" fmla="*/ 317737 w 515902"/>
                    <a:gd name="connsiteY7" fmla="*/ 87809 h 454926"/>
                    <a:gd name="connsiteX8" fmla="*/ 339962 w 515902"/>
                    <a:gd name="connsiteY8" fmla="*/ 135434 h 454926"/>
                    <a:gd name="connsiteX9" fmla="*/ 451087 w 515902"/>
                    <a:gd name="connsiteY9" fmla="*/ 157659 h 454926"/>
                    <a:gd name="connsiteX10" fmla="*/ 514587 w 515902"/>
                    <a:gd name="connsiteY10" fmla="*/ 227509 h 454926"/>
                    <a:gd name="connsiteX11" fmla="*/ 511412 w 515902"/>
                    <a:gd name="connsiteY11" fmla="*/ 449759 h 454926"/>
                    <a:gd name="connsiteX12" fmla="*/ 9762 w 515902"/>
                    <a:gd name="connsiteY12" fmla="*/ 443409 h 454926"/>
                    <a:gd name="connsiteX0" fmla="*/ 9762 w 515902"/>
                    <a:gd name="connsiteY0" fmla="*/ 443409 h 454926"/>
                    <a:gd name="connsiteX1" fmla="*/ 6587 w 515902"/>
                    <a:gd name="connsiteY1" fmla="*/ 217984 h 454926"/>
                    <a:gd name="connsiteX2" fmla="*/ 76437 w 515902"/>
                    <a:gd name="connsiteY2" fmla="*/ 154484 h 454926"/>
                    <a:gd name="connsiteX3" fmla="*/ 193912 w 515902"/>
                    <a:gd name="connsiteY3" fmla="*/ 90984 h 454926"/>
                    <a:gd name="connsiteX4" fmla="*/ 206612 w 515902"/>
                    <a:gd name="connsiteY4" fmla="*/ 11609 h 454926"/>
                    <a:gd name="connsiteX5" fmla="*/ 317737 w 515902"/>
                    <a:gd name="connsiteY5" fmla="*/ 8434 h 454926"/>
                    <a:gd name="connsiteX6" fmla="*/ 317737 w 515902"/>
                    <a:gd name="connsiteY6" fmla="*/ 87809 h 454926"/>
                    <a:gd name="connsiteX7" fmla="*/ 339962 w 515902"/>
                    <a:gd name="connsiteY7" fmla="*/ 135434 h 454926"/>
                    <a:gd name="connsiteX8" fmla="*/ 451087 w 515902"/>
                    <a:gd name="connsiteY8" fmla="*/ 157659 h 454926"/>
                    <a:gd name="connsiteX9" fmla="*/ 514587 w 515902"/>
                    <a:gd name="connsiteY9" fmla="*/ 227509 h 454926"/>
                    <a:gd name="connsiteX10" fmla="*/ 511412 w 515902"/>
                    <a:gd name="connsiteY10" fmla="*/ 449759 h 454926"/>
                    <a:gd name="connsiteX11" fmla="*/ 9762 w 515902"/>
                    <a:gd name="connsiteY11" fmla="*/ 443409 h 454926"/>
                    <a:gd name="connsiteX0" fmla="*/ 9762 w 515902"/>
                    <a:gd name="connsiteY0" fmla="*/ 446099 h 457616"/>
                    <a:gd name="connsiteX1" fmla="*/ 6587 w 515902"/>
                    <a:gd name="connsiteY1" fmla="*/ 220674 h 457616"/>
                    <a:gd name="connsiteX2" fmla="*/ 76437 w 515902"/>
                    <a:gd name="connsiteY2" fmla="*/ 157174 h 457616"/>
                    <a:gd name="connsiteX3" fmla="*/ 190737 w 515902"/>
                    <a:gd name="connsiteY3" fmla="*/ 138124 h 457616"/>
                    <a:gd name="connsiteX4" fmla="*/ 206612 w 515902"/>
                    <a:gd name="connsiteY4" fmla="*/ 14299 h 457616"/>
                    <a:gd name="connsiteX5" fmla="*/ 317737 w 515902"/>
                    <a:gd name="connsiteY5" fmla="*/ 11124 h 457616"/>
                    <a:gd name="connsiteX6" fmla="*/ 317737 w 515902"/>
                    <a:gd name="connsiteY6" fmla="*/ 90499 h 457616"/>
                    <a:gd name="connsiteX7" fmla="*/ 339962 w 515902"/>
                    <a:gd name="connsiteY7" fmla="*/ 138124 h 457616"/>
                    <a:gd name="connsiteX8" fmla="*/ 451087 w 515902"/>
                    <a:gd name="connsiteY8" fmla="*/ 160349 h 457616"/>
                    <a:gd name="connsiteX9" fmla="*/ 514587 w 515902"/>
                    <a:gd name="connsiteY9" fmla="*/ 230199 h 457616"/>
                    <a:gd name="connsiteX10" fmla="*/ 511412 w 515902"/>
                    <a:gd name="connsiteY10" fmla="*/ 452449 h 457616"/>
                    <a:gd name="connsiteX11" fmla="*/ 9762 w 515902"/>
                    <a:gd name="connsiteY11" fmla="*/ 446099 h 457616"/>
                    <a:gd name="connsiteX0" fmla="*/ 9762 w 515902"/>
                    <a:gd name="connsiteY0" fmla="*/ 446099 h 457616"/>
                    <a:gd name="connsiteX1" fmla="*/ 6587 w 515902"/>
                    <a:gd name="connsiteY1" fmla="*/ 220674 h 457616"/>
                    <a:gd name="connsiteX2" fmla="*/ 76437 w 515902"/>
                    <a:gd name="connsiteY2" fmla="*/ 157174 h 457616"/>
                    <a:gd name="connsiteX3" fmla="*/ 190737 w 515902"/>
                    <a:gd name="connsiteY3" fmla="*/ 138124 h 457616"/>
                    <a:gd name="connsiteX4" fmla="*/ 206612 w 515902"/>
                    <a:gd name="connsiteY4" fmla="*/ 14299 h 457616"/>
                    <a:gd name="connsiteX5" fmla="*/ 317737 w 515902"/>
                    <a:gd name="connsiteY5" fmla="*/ 11124 h 457616"/>
                    <a:gd name="connsiteX6" fmla="*/ 317737 w 515902"/>
                    <a:gd name="connsiteY6" fmla="*/ 90499 h 457616"/>
                    <a:gd name="connsiteX7" fmla="*/ 451087 w 515902"/>
                    <a:gd name="connsiteY7" fmla="*/ 160349 h 457616"/>
                    <a:gd name="connsiteX8" fmla="*/ 514587 w 515902"/>
                    <a:gd name="connsiteY8" fmla="*/ 230199 h 457616"/>
                    <a:gd name="connsiteX9" fmla="*/ 511412 w 515902"/>
                    <a:gd name="connsiteY9" fmla="*/ 452449 h 457616"/>
                    <a:gd name="connsiteX10" fmla="*/ 9762 w 515902"/>
                    <a:gd name="connsiteY10" fmla="*/ 446099 h 457616"/>
                    <a:gd name="connsiteX0" fmla="*/ 9762 w 515902"/>
                    <a:gd name="connsiteY0" fmla="*/ 447482 h 458999"/>
                    <a:gd name="connsiteX1" fmla="*/ 6587 w 515902"/>
                    <a:gd name="connsiteY1" fmla="*/ 222057 h 458999"/>
                    <a:gd name="connsiteX2" fmla="*/ 76437 w 515902"/>
                    <a:gd name="connsiteY2" fmla="*/ 158557 h 458999"/>
                    <a:gd name="connsiteX3" fmla="*/ 190737 w 515902"/>
                    <a:gd name="connsiteY3" fmla="*/ 139507 h 458999"/>
                    <a:gd name="connsiteX4" fmla="*/ 206612 w 515902"/>
                    <a:gd name="connsiteY4" fmla="*/ 15682 h 458999"/>
                    <a:gd name="connsiteX5" fmla="*/ 317737 w 515902"/>
                    <a:gd name="connsiteY5" fmla="*/ 12507 h 458999"/>
                    <a:gd name="connsiteX6" fmla="*/ 330437 w 515902"/>
                    <a:gd name="connsiteY6" fmla="*/ 114107 h 458999"/>
                    <a:gd name="connsiteX7" fmla="*/ 451087 w 515902"/>
                    <a:gd name="connsiteY7" fmla="*/ 161732 h 458999"/>
                    <a:gd name="connsiteX8" fmla="*/ 514587 w 515902"/>
                    <a:gd name="connsiteY8" fmla="*/ 231582 h 458999"/>
                    <a:gd name="connsiteX9" fmla="*/ 511412 w 515902"/>
                    <a:gd name="connsiteY9" fmla="*/ 453832 h 458999"/>
                    <a:gd name="connsiteX10" fmla="*/ 9762 w 515902"/>
                    <a:gd name="connsiteY10" fmla="*/ 447482 h 458999"/>
                    <a:gd name="connsiteX0" fmla="*/ 9762 w 515902"/>
                    <a:gd name="connsiteY0" fmla="*/ 446348 h 457865"/>
                    <a:gd name="connsiteX1" fmla="*/ 6587 w 515902"/>
                    <a:gd name="connsiteY1" fmla="*/ 220923 h 457865"/>
                    <a:gd name="connsiteX2" fmla="*/ 76437 w 515902"/>
                    <a:gd name="connsiteY2" fmla="*/ 157423 h 457865"/>
                    <a:gd name="connsiteX3" fmla="*/ 200262 w 515902"/>
                    <a:gd name="connsiteY3" fmla="*/ 119323 h 457865"/>
                    <a:gd name="connsiteX4" fmla="*/ 206612 w 515902"/>
                    <a:gd name="connsiteY4" fmla="*/ 14548 h 457865"/>
                    <a:gd name="connsiteX5" fmla="*/ 317737 w 515902"/>
                    <a:gd name="connsiteY5" fmla="*/ 11373 h 457865"/>
                    <a:gd name="connsiteX6" fmla="*/ 330437 w 515902"/>
                    <a:gd name="connsiteY6" fmla="*/ 112973 h 457865"/>
                    <a:gd name="connsiteX7" fmla="*/ 451087 w 515902"/>
                    <a:gd name="connsiteY7" fmla="*/ 160598 h 457865"/>
                    <a:gd name="connsiteX8" fmla="*/ 514587 w 515902"/>
                    <a:gd name="connsiteY8" fmla="*/ 230448 h 457865"/>
                    <a:gd name="connsiteX9" fmla="*/ 511412 w 515902"/>
                    <a:gd name="connsiteY9" fmla="*/ 452698 h 457865"/>
                    <a:gd name="connsiteX10" fmla="*/ 9762 w 515902"/>
                    <a:gd name="connsiteY10" fmla="*/ 446348 h 457865"/>
                    <a:gd name="connsiteX0" fmla="*/ 9762 w 515902"/>
                    <a:gd name="connsiteY0" fmla="*/ 446681 h 458198"/>
                    <a:gd name="connsiteX1" fmla="*/ 6587 w 515902"/>
                    <a:gd name="connsiteY1" fmla="*/ 221256 h 458198"/>
                    <a:gd name="connsiteX2" fmla="*/ 76437 w 515902"/>
                    <a:gd name="connsiteY2" fmla="*/ 157756 h 458198"/>
                    <a:gd name="connsiteX3" fmla="*/ 200262 w 515902"/>
                    <a:gd name="connsiteY3" fmla="*/ 119656 h 458198"/>
                    <a:gd name="connsiteX4" fmla="*/ 206612 w 515902"/>
                    <a:gd name="connsiteY4" fmla="*/ 14881 h 458198"/>
                    <a:gd name="connsiteX5" fmla="*/ 317737 w 515902"/>
                    <a:gd name="connsiteY5" fmla="*/ 11706 h 458198"/>
                    <a:gd name="connsiteX6" fmla="*/ 311502 w 515902"/>
                    <a:gd name="connsiteY6" fmla="*/ 118302 h 458198"/>
                    <a:gd name="connsiteX7" fmla="*/ 451087 w 515902"/>
                    <a:gd name="connsiteY7" fmla="*/ 160931 h 458198"/>
                    <a:gd name="connsiteX8" fmla="*/ 514587 w 515902"/>
                    <a:gd name="connsiteY8" fmla="*/ 230781 h 458198"/>
                    <a:gd name="connsiteX9" fmla="*/ 511412 w 515902"/>
                    <a:gd name="connsiteY9" fmla="*/ 453031 h 458198"/>
                    <a:gd name="connsiteX10" fmla="*/ 9762 w 515902"/>
                    <a:gd name="connsiteY10" fmla="*/ 446681 h 458198"/>
                    <a:gd name="connsiteX0" fmla="*/ 9762 w 515902"/>
                    <a:gd name="connsiteY0" fmla="*/ 446681 h 458198"/>
                    <a:gd name="connsiteX1" fmla="*/ 6587 w 515902"/>
                    <a:gd name="connsiteY1" fmla="*/ 221256 h 458198"/>
                    <a:gd name="connsiteX2" fmla="*/ 76437 w 515902"/>
                    <a:gd name="connsiteY2" fmla="*/ 157756 h 458198"/>
                    <a:gd name="connsiteX3" fmla="*/ 200262 w 515902"/>
                    <a:gd name="connsiteY3" fmla="*/ 119656 h 458198"/>
                    <a:gd name="connsiteX4" fmla="*/ 206612 w 515902"/>
                    <a:gd name="connsiteY4" fmla="*/ 14881 h 458198"/>
                    <a:gd name="connsiteX5" fmla="*/ 301506 w 515902"/>
                    <a:gd name="connsiteY5" fmla="*/ 11706 h 458198"/>
                    <a:gd name="connsiteX6" fmla="*/ 311502 w 515902"/>
                    <a:gd name="connsiteY6" fmla="*/ 118302 h 458198"/>
                    <a:gd name="connsiteX7" fmla="*/ 451087 w 515902"/>
                    <a:gd name="connsiteY7" fmla="*/ 160931 h 458198"/>
                    <a:gd name="connsiteX8" fmla="*/ 514587 w 515902"/>
                    <a:gd name="connsiteY8" fmla="*/ 230781 h 458198"/>
                    <a:gd name="connsiteX9" fmla="*/ 511412 w 515902"/>
                    <a:gd name="connsiteY9" fmla="*/ 453031 h 458198"/>
                    <a:gd name="connsiteX10" fmla="*/ 9762 w 515902"/>
                    <a:gd name="connsiteY10" fmla="*/ 446681 h 458198"/>
                    <a:gd name="connsiteX0" fmla="*/ 9762 w 515902"/>
                    <a:gd name="connsiteY0" fmla="*/ 446681 h 458198"/>
                    <a:gd name="connsiteX1" fmla="*/ 6587 w 515902"/>
                    <a:gd name="connsiteY1" fmla="*/ 221256 h 458198"/>
                    <a:gd name="connsiteX2" fmla="*/ 76437 w 515902"/>
                    <a:gd name="connsiteY2" fmla="*/ 157756 h 458198"/>
                    <a:gd name="connsiteX3" fmla="*/ 200262 w 515902"/>
                    <a:gd name="connsiteY3" fmla="*/ 119656 h 458198"/>
                    <a:gd name="connsiteX4" fmla="*/ 206612 w 515902"/>
                    <a:gd name="connsiteY4" fmla="*/ 14881 h 458198"/>
                    <a:gd name="connsiteX5" fmla="*/ 301506 w 515902"/>
                    <a:gd name="connsiteY5" fmla="*/ 11706 h 458198"/>
                    <a:gd name="connsiteX6" fmla="*/ 311502 w 515902"/>
                    <a:gd name="connsiteY6" fmla="*/ 118302 h 458198"/>
                    <a:gd name="connsiteX7" fmla="*/ 442972 w 515902"/>
                    <a:gd name="connsiteY7" fmla="*/ 180912 h 458198"/>
                    <a:gd name="connsiteX8" fmla="*/ 514587 w 515902"/>
                    <a:gd name="connsiteY8" fmla="*/ 230781 h 458198"/>
                    <a:gd name="connsiteX9" fmla="*/ 511412 w 515902"/>
                    <a:gd name="connsiteY9" fmla="*/ 453031 h 458198"/>
                    <a:gd name="connsiteX10" fmla="*/ 9762 w 515902"/>
                    <a:gd name="connsiteY10" fmla="*/ 446681 h 458198"/>
                    <a:gd name="connsiteX0" fmla="*/ 9762 w 511905"/>
                    <a:gd name="connsiteY0" fmla="*/ 446681 h 458198"/>
                    <a:gd name="connsiteX1" fmla="*/ 6587 w 511905"/>
                    <a:gd name="connsiteY1" fmla="*/ 221256 h 458198"/>
                    <a:gd name="connsiteX2" fmla="*/ 76437 w 511905"/>
                    <a:gd name="connsiteY2" fmla="*/ 157756 h 458198"/>
                    <a:gd name="connsiteX3" fmla="*/ 200262 w 511905"/>
                    <a:gd name="connsiteY3" fmla="*/ 119656 h 458198"/>
                    <a:gd name="connsiteX4" fmla="*/ 206612 w 511905"/>
                    <a:gd name="connsiteY4" fmla="*/ 14881 h 458198"/>
                    <a:gd name="connsiteX5" fmla="*/ 301506 w 511905"/>
                    <a:gd name="connsiteY5" fmla="*/ 11706 h 458198"/>
                    <a:gd name="connsiteX6" fmla="*/ 311502 w 511905"/>
                    <a:gd name="connsiteY6" fmla="*/ 118302 h 458198"/>
                    <a:gd name="connsiteX7" fmla="*/ 442972 w 511905"/>
                    <a:gd name="connsiteY7" fmla="*/ 180912 h 458198"/>
                    <a:gd name="connsiteX8" fmla="*/ 498357 w 511905"/>
                    <a:gd name="connsiteY8" fmla="*/ 250762 h 458198"/>
                    <a:gd name="connsiteX9" fmla="*/ 511412 w 511905"/>
                    <a:gd name="connsiteY9" fmla="*/ 453031 h 458198"/>
                    <a:gd name="connsiteX10" fmla="*/ 9762 w 511905"/>
                    <a:gd name="connsiteY10" fmla="*/ 446681 h 458198"/>
                    <a:gd name="connsiteX0" fmla="*/ 9762 w 511905"/>
                    <a:gd name="connsiteY0" fmla="*/ 446681 h 458198"/>
                    <a:gd name="connsiteX1" fmla="*/ 6587 w 511905"/>
                    <a:gd name="connsiteY1" fmla="*/ 221256 h 458198"/>
                    <a:gd name="connsiteX2" fmla="*/ 76437 w 511905"/>
                    <a:gd name="connsiteY2" fmla="*/ 157756 h 458198"/>
                    <a:gd name="connsiteX3" fmla="*/ 200262 w 511905"/>
                    <a:gd name="connsiteY3" fmla="*/ 119656 h 458198"/>
                    <a:gd name="connsiteX4" fmla="*/ 206612 w 511905"/>
                    <a:gd name="connsiteY4" fmla="*/ 14881 h 458198"/>
                    <a:gd name="connsiteX5" fmla="*/ 301506 w 511905"/>
                    <a:gd name="connsiteY5" fmla="*/ 11706 h 458198"/>
                    <a:gd name="connsiteX6" fmla="*/ 311502 w 511905"/>
                    <a:gd name="connsiteY6" fmla="*/ 118302 h 458198"/>
                    <a:gd name="connsiteX7" fmla="*/ 437562 w 511905"/>
                    <a:gd name="connsiteY7" fmla="*/ 198396 h 458198"/>
                    <a:gd name="connsiteX8" fmla="*/ 498357 w 511905"/>
                    <a:gd name="connsiteY8" fmla="*/ 250762 h 458198"/>
                    <a:gd name="connsiteX9" fmla="*/ 511412 w 511905"/>
                    <a:gd name="connsiteY9" fmla="*/ 453031 h 458198"/>
                    <a:gd name="connsiteX10" fmla="*/ 9762 w 511905"/>
                    <a:gd name="connsiteY10" fmla="*/ 446681 h 458198"/>
                    <a:gd name="connsiteX0" fmla="*/ 9762 w 511905"/>
                    <a:gd name="connsiteY0" fmla="*/ 446681 h 458198"/>
                    <a:gd name="connsiteX1" fmla="*/ 6587 w 511905"/>
                    <a:gd name="connsiteY1" fmla="*/ 221256 h 458198"/>
                    <a:gd name="connsiteX2" fmla="*/ 76437 w 511905"/>
                    <a:gd name="connsiteY2" fmla="*/ 157756 h 458198"/>
                    <a:gd name="connsiteX3" fmla="*/ 200262 w 511905"/>
                    <a:gd name="connsiteY3" fmla="*/ 119656 h 458198"/>
                    <a:gd name="connsiteX4" fmla="*/ 206612 w 511905"/>
                    <a:gd name="connsiteY4" fmla="*/ 14881 h 458198"/>
                    <a:gd name="connsiteX5" fmla="*/ 301506 w 511905"/>
                    <a:gd name="connsiteY5" fmla="*/ 11706 h 458198"/>
                    <a:gd name="connsiteX6" fmla="*/ 311502 w 511905"/>
                    <a:gd name="connsiteY6" fmla="*/ 118302 h 458198"/>
                    <a:gd name="connsiteX7" fmla="*/ 451087 w 511905"/>
                    <a:gd name="connsiteY7" fmla="*/ 188406 h 458198"/>
                    <a:gd name="connsiteX8" fmla="*/ 498357 w 511905"/>
                    <a:gd name="connsiteY8" fmla="*/ 250762 h 458198"/>
                    <a:gd name="connsiteX9" fmla="*/ 511412 w 511905"/>
                    <a:gd name="connsiteY9" fmla="*/ 453031 h 458198"/>
                    <a:gd name="connsiteX10" fmla="*/ 9762 w 511905"/>
                    <a:gd name="connsiteY10" fmla="*/ 446681 h 458198"/>
                    <a:gd name="connsiteX0" fmla="*/ 9762 w 511905"/>
                    <a:gd name="connsiteY0" fmla="*/ 447695 h 459212"/>
                    <a:gd name="connsiteX1" fmla="*/ 6587 w 511905"/>
                    <a:gd name="connsiteY1" fmla="*/ 222270 h 459212"/>
                    <a:gd name="connsiteX2" fmla="*/ 76437 w 511905"/>
                    <a:gd name="connsiteY2" fmla="*/ 158770 h 459212"/>
                    <a:gd name="connsiteX3" fmla="*/ 200262 w 511905"/>
                    <a:gd name="connsiteY3" fmla="*/ 120670 h 459212"/>
                    <a:gd name="connsiteX4" fmla="*/ 206612 w 511905"/>
                    <a:gd name="connsiteY4" fmla="*/ 15895 h 459212"/>
                    <a:gd name="connsiteX5" fmla="*/ 301506 w 511905"/>
                    <a:gd name="connsiteY5" fmla="*/ 12720 h 459212"/>
                    <a:gd name="connsiteX6" fmla="*/ 311502 w 511905"/>
                    <a:gd name="connsiteY6" fmla="*/ 134302 h 459212"/>
                    <a:gd name="connsiteX7" fmla="*/ 451087 w 511905"/>
                    <a:gd name="connsiteY7" fmla="*/ 189420 h 459212"/>
                    <a:gd name="connsiteX8" fmla="*/ 498357 w 511905"/>
                    <a:gd name="connsiteY8" fmla="*/ 251776 h 459212"/>
                    <a:gd name="connsiteX9" fmla="*/ 511412 w 511905"/>
                    <a:gd name="connsiteY9" fmla="*/ 454045 h 459212"/>
                    <a:gd name="connsiteX10" fmla="*/ 9762 w 511905"/>
                    <a:gd name="connsiteY10" fmla="*/ 447695 h 459212"/>
                    <a:gd name="connsiteX0" fmla="*/ 4227 w 522600"/>
                    <a:gd name="connsiteY0" fmla="*/ 455188 h 463021"/>
                    <a:gd name="connsiteX1" fmla="*/ 17282 w 522600"/>
                    <a:gd name="connsiteY1" fmla="*/ 222270 h 463021"/>
                    <a:gd name="connsiteX2" fmla="*/ 87132 w 522600"/>
                    <a:gd name="connsiteY2" fmla="*/ 158770 h 463021"/>
                    <a:gd name="connsiteX3" fmla="*/ 210957 w 522600"/>
                    <a:gd name="connsiteY3" fmla="*/ 120670 h 463021"/>
                    <a:gd name="connsiteX4" fmla="*/ 217307 w 522600"/>
                    <a:gd name="connsiteY4" fmla="*/ 15895 h 463021"/>
                    <a:gd name="connsiteX5" fmla="*/ 312201 w 522600"/>
                    <a:gd name="connsiteY5" fmla="*/ 12720 h 463021"/>
                    <a:gd name="connsiteX6" fmla="*/ 322197 w 522600"/>
                    <a:gd name="connsiteY6" fmla="*/ 134302 h 463021"/>
                    <a:gd name="connsiteX7" fmla="*/ 461782 w 522600"/>
                    <a:gd name="connsiteY7" fmla="*/ 189420 h 463021"/>
                    <a:gd name="connsiteX8" fmla="*/ 509052 w 522600"/>
                    <a:gd name="connsiteY8" fmla="*/ 251776 h 463021"/>
                    <a:gd name="connsiteX9" fmla="*/ 522107 w 522600"/>
                    <a:gd name="connsiteY9" fmla="*/ 454045 h 463021"/>
                    <a:gd name="connsiteX10" fmla="*/ 4227 w 522600"/>
                    <a:gd name="connsiteY10" fmla="*/ 455188 h 463021"/>
                    <a:gd name="connsiteX0" fmla="*/ 4227 w 522600"/>
                    <a:gd name="connsiteY0" fmla="*/ 455188 h 457596"/>
                    <a:gd name="connsiteX1" fmla="*/ 17282 w 522600"/>
                    <a:gd name="connsiteY1" fmla="*/ 222270 h 457596"/>
                    <a:gd name="connsiteX2" fmla="*/ 87132 w 522600"/>
                    <a:gd name="connsiteY2" fmla="*/ 158770 h 457596"/>
                    <a:gd name="connsiteX3" fmla="*/ 210957 w 522600"/>
                    <a:gd name="connsiteY3" fmla="*/ 120670 h 457596"/>
                    <a:gd name="connsiteX4" fmla="*/ 217307 w 522600"/>
                    <a:gd name="connsiteY4" fmla="*/ 15895 h 457596"/>
                    <a:gd name="connsiteX5" fmla="*/ 312201 w 522600"/>
                    <a:gd name="connsiteY5" fmla="*/ 12720 h 457596"/>
                    <a:gd name="connsiteX6" fmla="*/ 322197 w 522600"/>
                    <a:gd name="connsiteY6" fmla="*/ 134302 h 457596"/>
                    <a:gd name="connsiteX7" fmla="*/ 461782 w 522600"/>
                    <a:gd name="connsiteY7" fmla="*/ 189420 h 457596"/>
                    <a:gd name="connsiteX8" fmla="*/ 509052 w 522600"/>
                    <a:gd name="connsiteY8" fmla="*/ 251776 h 457596"/>
                    <a:gd name="connsiteX9" fmla="*/ 522107 w 522600"/>
                    <a:gd name="connsiteY9" fmla="*/ 454045 h 457596"/>
                    <a:gd name="connsiteX10" fmla="*/ 4227 w 522600"/>
                    <a:gd name="connsiteY10" fmla="*/ 455188 h 457596"/>
                    <a:gd name="connsiteX0" fmla="*/ 12757 w 531130"/>
                    <a:gd name="connsiteY0" fmla="*/ 455188 h 457596"/>
                    <a:gd name="connsiteX1" fmla="*/ 6876 w 531130"/>
                    <a:gd name="connsiteY1" fmla="*/ 237256 h 457596"/>
                    <a:gd name="connsiteX2" fmla="*/ 95662 w 531130"/>
                    <a:gd name="connsiteY2" fmla="*/ 158770 h 457596"/>
                    <a:gd name="connsiteX3" fmla="*/ 219487 w 531130"/>
                    <a:gd name="connsiteY3" fmla="*/ 120670 h 457596"/>
                    <a:gd name="connsiteX4" fmla="*/ 225837 w 531130"/>
                    <a:gd name="connsiteY4" fmla="*/ 15895 h 457596"/>
                    <a:gd name="connsiteX5" fmla="*/ 320731 w 531130"/>
                    <a:gd name="connsiteY5" fmla="*/ 12720 h 457596"/>
                    <a:gd name="connsiteX6" fmla="*/ 330727 w 531130"/>
                    <a:gd name="connsiteY6" fmla="*/ 134302 h 457596"/>
                    <a:gd name="connsiteX7" fmla="*/ 470312 w 531130"/>
                    <a:gd name="connsiteY7" fmla="*/ 189420 h 457596"/>
                    <a:gd name="connsiteX8" fmla="*/ 517582 w 531130"/>
                    <a:gd name="connsiteY8" fmla="*/ 251776 h 457596"/>
                    <a:gd name="connsiteX9" fmla="*/ 530637 w 531130"/>
                    <a:gd name="connsiteY9" fmla="*/ 454045 h 457596"/>
                    <a:gd name="connsiteX10" fmla="*/ 12757 w 531130"/>
                    <a:gd name="connsiteY10" fmla="*/ 455188 h 457596"/>
                    <a:gd name="connsiteX0" fmla="*/ 7226 w 536419"/>
                    <a:gd name="connsiteY0" fmla="*/ 447695 h 456315"/>
                    <a:gd name="connsiteX1" fmla="*/ 12165 w 536419"/>
                    <a:gd name="connsiteY1" fmla="*/ 237256 h 456315"/>
                    <a:gd name="connsiteX2" fmla="*/ 100951 w 536419"/>
                    <a:gd name="connsiteY2" fmla="*/ 158770 h 456315"/>
                    <a:gd name="connsiteX3" fmla="*/ 224776 w 536419"/>
                    <a:gd name="connsiteY3" fmla="*/ 120670 h 456315"/>
                    <a:gd name="connsiteX4" fmla="*/ 231126 w 536419"/>
                    <a:gd name="connsiteY4" fmla="*/ 15895 h 456315"/>
                    <a:gd name="connsiteX5" fmla="*/ 326020 w 536419"/>
                    <a:gd name="connsiteY5" fmla="*/ 12720 h 456315"/>
                    <a:gd name="connsiteX6" fmla="*/ 336016 w 536419"/>
                    <a:gd name="connsiteY6" fmla="*/ 134302 h 456315"/>
                    <a:gd name="connsiteX7" fmla="*/ 475601 w 536419"/>
                    <a:gd name="connsiteY7" fmla="*/ 189420 h 456315"/>
                    <a:gd name="connsiteX8" fmla="*/ 522871 w 536419"/>
                    <a:gd name="connsiteY8" fmla="*/ 251776 h 456315"/>
                    <a:gd name="connsiteX9" fmla="*/ 535926 w 536419"/>
                    <a:gd name="connsiteY9" fmla="*/ 454045 h 456315"/>
                    <a:gd name="connsiteX10" fmla="*/ 7226 w 536419"/>
                    <a:gd name="connsiteY10" fmla="*/ 447695 h 456315"/>
                    <a:gd name="connsiteX0" fmla="*/ 7226 w 528834"/>
                    <a:gd name="connsiteY0" fmla="*/ 447695 h 456315"/>
                    <a:gd name="connsiteX1" fmla="*/ 12165 w 528834"/>
                    <a:gd name="connsiteY1" fmla="*/ 237256 h 456315"/>
                    <a:gd name="connsiteX2" fmla="*/ 100951 w 528834"/>
                    <a:gd name="connsiteY2" fmla="*/ 158770 h 456315"/>
                    <a:gd name="connsiteX3" fmla="*/ 224776 w 528834"/>
                    <a:gd name="connsiteY3" fmla="*/ 120670 h 456315"/>
                    <a:gd name="connsiteX4" fmla="*/ 231126 w 528834"/>
                    <a:gd name="connsiteY4" fmla="*/ 15895 h 456315"/>
                    <a:gd name="connsiteX5" fmla="*/ 326020 w 528834"/>
                    <a:gd name="connsiteY5" fmla="*/ 12720 h 456315"/>
                    <a:gd name="connsiteX6" fmla="*/ 336016 w 528834"/>
                    <a:gd name="connsiteY6" fmla="*/ 134302 h 456315"/>
                    <a:gd name="connsiteX7" fmla="*/ 475601 w 528834"/>
                    <a:gd name="connsiteY7" fmla="*/ 189420 h 456315"/>
                    <a:gd name="connsiteX8" fmla="*/ 522871 w 528834"/>
                    <a:gd name="connsiteY8" fmla="*/ 251776 h 456315"/>
                    <a:gd name="connsiteX9" fmla="*/ 527811 w 528834"/>
                    <a:gd name="connsiteY9" fmla="*/ 454045 h 456315"/>
                    <a:gd name="connsiteX10" fmla="*/ 7226 w 528834"/>
                    <a:gd name="connsiteY10" fmla="*/ 447695 h 456315"/>
                    <a:gd name="connsiteX0" fmla="*/ 7226 w 528834"/>
                    <a:gd name="connsiteY0" fmla="*/ 447695 h 456315"/>
                    <a:gd name="connsiteX1" fmla="*/ 12165 w 528834"/>
                    <a:gd name="connsiteY1" fmla="*/ 237256 h 456315"/>
                    <a:gd name="connsiteX2" fmla="*/ 100951 w 528834"/>
                    <a:gd name="connsiteY2" fmla="*/ 158770 h 456315"/>
                    <a:gd name="connsiteX3" fmla="*/ 224776 w 528834"/>
                    <a:gd name="connsiteY3" fmla="*/ 120670 h 456315"/>
                    <a:gd name="connsiteX4" fmla="*/ 231126 w 528834"/>
                    <a:gd name="connsiteY4" fmla="*/ 15895 h 456315"/>
                    <a:gd name="connsiteX5" fmla="*/ 326020 w 528834"/>
                    <a:gd name="connsiteY5" fmla="*/ 12720 h 456315"/>
                    <a:gd name="connsiteX6" fmla="*/ 336016 w 528834"/>
                    <a:gd name="connsiteY6" fmla="*/ 134302 h 456315"/>
                    <a:gd name="connsiteX7" fmla="*/ 462076 w 528834"/>
                    <a:gd name="connsiteY7" fmla="*/ 184425 h 456315"/>
                    <a:gd name="connsiteX8" fmla="*/ 522871 w 528834"/>
                    <a:gd name="connsiteY8" fmla="*/ 251776 h 456315"/>
                    <a:gd name="connsiteX9" fmla="*/ 527811 w 528834"/>
                    <a:gd name="connsiteY9" fmla="*/ 454045 h 456315"/>
                    <a:gd name="connsiteX10" fmla="*/ 7226 w 528834"/>
                    <a:gd name="connsiteY10" fmla="*/ 447695 h 456315"/>
                    <a:gd name="connsiteX0" fmla="*/ 8515 w 530123"/>
                    <a:gd name="connsiteY0" fmla="*/ 447695 h 456315"/>
                    <a:gd name="connsiteX1" fmla="*/ 10749 w 530123"/>
                    <a:gd name="connsiteY1" fmla="*/ 244749 h 456315"/>
                    <a:gd name="connsiteX2" fmla="*/ 102240 w 530123"/>
                    <a:gd name="connsiteY2" fmla="*/ 158770 h 456315"/>
                    <a:gd name="connsiteX3" fmla="*/ 226065 w 530123"/>
                    <a:gd name="connsiteY3" fmla="*/ 120670 h 456315"/>
                    <a:gd name="connsiteX4" fmla="*/ 232415 w 530123"/>
                    <a:gd name="connsiteY4" fmla="*/ 15895 h 456315"/>
                    <a:gd name="connsiteX5" fmla="*/ 327309 w 530123"/>
                    <a:gd name="connsiteY5" fmla="*/ 12720 h 456315"/>
                    <a:gd name="connsiteX6" fmla="*/ 337305 w 530123"/>
                    <a:gd name="connsiteY6" fmla="*/ 134302 h 456315"/>
                    <a:gd name="connsiteX7" fmla="*/ 463365 w 530123"/>
                    <a:gd name="connsiteY7" fmla="*/ 184425 h 456315"/>
                    <a:gd name="connsiteX8" fmla="*/ 524160 w 530123"/>
                    <a:gd name="connsiteY8" fmla="*/ 251776 h 456315"/>
                    <a:gd name="connsiteX9" fmla="*/ 529100 w 530123"/>
                    <a:gd name="connsiteY9" fmla="*/ 454045 h 456315"/>
                    <a:gd name="connsiteX10" fmla="*/ 8515 w 530123"/>
                    <a:gd name="connsiteY10" fmla="*/ 447695 h 456315"/>
                    <a:gd name="connsiteX0" fmla="*/ 7671 w 529279"/>
                    <a:gd name="connsiteY0" fmla="*/ 447695 h 456315"/>
                    <a:gd name="connsiteX1" fmla="*/ 9905 w 529279"/>
                    <a:gd name="connsiteY1" fmla="*/ 244749 h 456315"/>
                    <a:gd name="connsiteX2" fmla="*/ 87870 w 529279"/>
                    <a:gd name="connsiteY2" fmla="*/ 166263 h 456315"/>
                    <a:gd name="connsiteX3" fmla="*/ 225221 w 529279"/>
                    <a:gd name="connsiteY3" fmla="*/ 120670 h 456315"/>
                    <a:gd name="connsiteX4" fmla="*/ 231571 w 529279"/>
                    <a:gd name="connsiteY4" fmla="*/ 15895 h 456315"/>
                    <a:gd name="connsiteX5" fmla="*/ 326465 w 529279"/>
                    <a:gd name="connsiteY5" fmla="*/ 12720 h 456315"/>
                    <a:gd name="connsiteX6" fmla="*/ 336461 w 529279"/>
                    <a:gd name="connsiteY6" fmla="*/ 134302 h 456315"/>
                    <a:gd name="connsiteX7" fmla="*/ 462521 w 529279"/>
                    <a:gd name="connsiteY7" fmla="*/ 184425 h 456315"/>
                    <a:gd name="connsiteX8" fmla="*/ 523316 w 529279"/>
                    <a:gd name="connsiteY8" fmla="*/ 251776 h 456315"/>
                    <a:gd name="connsiteX9" fmla="*/ 528256 w 529279"/>
                    <a:gd name="connsiteY9" fmla="*/ 454045 h 456315"/>
                    <a:gd name="connsiteX10" fmla="*/ 7671 w 529279"/>
                    <a:gd name="connsiteY10" fmla="*/ 447695 h 456315"/>
                    <a:gd name="connsiteX0" fmla="*/ 7671 w 529279"/>
                    <a:gd name="connsiteY0" fmla="*/ 447558 h 456178"/>
                    <a:gd name="connsiteX1" fmla="*/ 9905 w 529279"/>
                    <a:gd name="connsiteY1" fmla="*/ 244612 h 456178"/>
                    <a:gd name="connsiteX2" fmla="*/ 87870 w 529279"/>
                    <a:gd name="connsiteY2" fmla="*/ 166126 h 456178"/>
                    <a:gd name="connsiteX3" fmla="*/ 206285 w 529279"/>
                    <a:gd name="connsiteY3" fmla="*/ 118035 h 456178"/>
                    <a:gd name="connsiteX4" fmla="*/ 231571 w 529279"/>
                    <a:gd name="connsiteY4" fmla="*/ 15758 h 456178"/>
                    <a:gd name="connsiteX5" fmla="*/ 326465 w 529279"/>
                    <a:gd name="connsiteY5" fmla="*/ 12583 h 456178"/>
                    <a:gd name="connsiteX6" fmla="*/ 336461 w 529279"/>
                    <a:gd name="connsiteY6" fmla="*/ 134165 h 456178"/>
                    <a:gd name="connsiteX7" fmla="*/ 462521 w 529279"/>
                    <a:gd name="connsiteY7" fmla="*/ 184288 h 456178"/>
                    <a:gd name="connsiteX8" fmla="*/ 523316 w 529279"/>
                    <a:gd name="connsiteY8" fmla="*/ 251639 h 456178"/>
                    <a:gd name="connsiteX9" fmla="*/ 528256 w 529279"/>
                    <a:gd name="connsiteY9" fmla="*/ 453908 h 456178"/>
                    <a:gd name="connsiteX10" fmla="*/ 7671 w 529279"/>
                    <a:gd name="connsiteY10" fmla="*/ 447558 h 456178"/>
                    <a:gd name="connsiteX0" fmla="*/ 14544 w 536152"/>
                    <a:gd name="connsiteY0" fmla="*/ 447558 h 456178"/>
                    <a:gd name="connsiteX1" fmla="*/ 5958 w 536152"/>
                    <a:gd name="connsiteY1" fmla="*/ 247109 h 456178"/>
                    <a:gd name="connsiteX2" fmla="*/ 94743 w 536152"/>
                    <a:gd name="connsiteY2" fmla="*/ 166126 h 456178"/>
                    <a:gd name="connsiteX3" fmla="*/ 213158 w 536152"/>
                    <a:gd name="connsiteY3" fmla="*/ 118035 h 456178"/>
                    <a:gd name="connsiteX4" fmla="*/ 238444 w 536152"/>
                    <a:gd name="connsiteY4" fmla="*/ 15758 h 456178"/>
                    <a:gd name="connsiteX5" fmla="*/ 333338 w 536152"/>
                    <a:gd name="connsiteY5" fmla="*/ 12583 h 456178"/>
                    <a:gd name="connsiteX6" fmla="*/ 343334 w 536152"/>
                    <a:gd name="connsiteY6" fmla="*/ 134165 h 456178"/>
                    <a:gd name="connsiteX7" fmla="*/ 469394 w 536152"/>
                    <a:gd name="connsiteY7" fmla="*/ 184288 h 456178"/>
                    <a:gd name="connsiteX8" fmla="*/ 530189 w 536152"/>
                    <a:gd name="connsiteY8" fmla="*/ 251639 h 456178"/>
                    <a:gd name="connsiteX9" fmla="*/ 535129 w 536152"/>
                    <a:gd name="connsiteY9" fmla="*/ 453908 h 456178"/>
                    <a:gd name="connsiteX10" fmla="*/ 14544 w 536152"/>
                    <a:gd name="connsiteY10" fmla="*/ 447558 h 456178"/>
                    <a:gd name="connsiteX0" fmla="*/ 7226 w 542359"/>
                    <a:gd name="connsiteY0" fmla="*/ 450055 h 456488"/>
                    <a:gd name="connsiteX1" fmla="*/ 12165 w 542359"/>
                    <a:gd name="connsiteY1" fmla="*/ 247109 h 456488"/>
                    <a:gd name="connsiteX2" fmla="*/ 100950 w 542359"/>
                    <a:gd name="connsiteY2" fmla="*/ 166126 h 456488"/>
                    <a:gd name="connsiteX3" fmla="*/ 219365 w 542359"/>
                    <a:gd name="connsiteY3" fmla="*/ 118035 h 456488"/>
                    <a:gd name="connsiteX4" fmla="*/ 244651 w 542359"/>
                    <a:gd name="connsiteY4" fmla="*/ 15758 h 456488"/>
                    <a:gd name="connsiteX5" fmla="*/ 339545 w 542359"/>
                    <a:gd name="connsiteY5" fmla="*/ 12583 h 456488"/>
                    <a:gd name="connsiteX6" fmla="*/ 349541 w 542359"/>
                    <a:gd name="connsiteY6" fmla="*/ 134165 h 456488"/>
                    <a:gd name="connsiteX7" fmla="*/ 475601 w 542359"/>
                    <a:gd name="connsiteY7" fmla="*/ 184288 h 456488"/>
                    <a:gd name="connsiteX8" fmla="*/ 536396 w 542359"/>
                    <a:gd name="connsiteY8" fmla="*/ 251639 h 456488"/>
                    <a:gd name="connsiteX9" fmla="*/ 541336 w 542359"/>
                    <a:gd name="connsiteY9" fmla="*/ 453908 h 456488"/>
                    <a:gd name="connsiteX10" fmla="*/ 7226 w 542359"/>
                    <a:gd name="connsiteY10" fmla="*/ 450055 h 456488"/>
                    <a:gd name="connsiteX0" fmla="*/ 7226 w 542359"/>
                    <a:gd name="connsiteY0" fmla="*/ 450055 h 456488"/>
                    <a:gd name="connsiteX1" fmla="*/ 12165 w 542359"/>
                    <a:gd name="connsiteY1" fmla="*/ 247109 h 456488"/>
                    <a:gd name="connsiteX2" fmla="*/ 100950 w 542359"/>
                    <a:gd name="connsiteY2" fmla="*/ 166126 h 456488"/>
                    <a:gd name="connsiteX3" fmla="*/ 219365 w 542359"/>
                    <a:gd name="connsiteY3" fmla="*/ 118035 h 456488"/>
                    <a:gd name="connsiteX4" fmla="*/ 244651 w 542359"/>
                    <a:gd name="connsiteY4" fmla="*/ 15758 h 456488"/>
                    <a:gd name="connsiteX5" fmla="*/ 331430 w 542359"/>
                    <a:gd name="connsiteY5" fmla="*/ 12583 h 456488"/>
                    <a:gd name="connsiteX6" fmla="*/ 349541 w 542359"/>
                    <a:gd name="connsiteY6" fmla="*/ 134165 h 456488"/>
                    <a:gd name="connsiteX7" fmla="*/ 475601 w 542359"/>
                    <a:gd name="connsiteY7" fmla="*/ 184288 h 456488"/>
                    <a:gd name="connsiteX8" fmla="*/ 536396 w 542359"/>
                    <a:gd name="connsiteY8" fmla="*/ 251639 h 456488"/>
                    <a:gd name="connsiteX9" fmla="*/ 541336 w 542359"/>
                    <a:gd name="connsiteY9" fmla="*/ 453908 h 456488"/>
                    <a:gd name="connsiteX10" fmla="*/ 7226 w 542359"/>
                    <a:gd name="connsiteY10" fmla="*/ 450055 h 456488"/>
                    <a:gd name="connsiteX0" fmla="*/ 7226 w 542359"/>
                    <a:gd name="connsiteY0" fmla="*/ 450055 h 456488"/>
                    <a:gd name="connsiteX1" fmla="*/ 12165 w 542359"/>
                    <a:gd name="connsiteY1" fmla="*/ 247109 h 456488"/>
                    <a:gd name="connsiteX2" fmla="*/ 100950 w 542359"/>
                    <a:gd name="connsiteY2" fmla="*/ 166126 h 456488"/>
                    <a:gd name="connsiteX3" fmla="*/ 219365 w 542359"/>
                    <a:gd name="connsiteY3" fmla="*/ 118035 h 456488"/>
                    <a:gd name="connsiteX4" fmla="*/ 244651 w 542359"/>
                    <a:gd name="connsiteY4" fmla="*/ 15758 h 456488"/>
                    <a:gd name="connsiteX5" fmla="*/ 331430 w 542359"/>
                    <a:gd name="connsiteY5" fmla="*/ 12583 h 456488"/>
                    <a:gd name="connsiteX6" fmla="*/ 349541 w 542359"/>
                    <a:gd name="connsiteY6" fmla="*/ 134165 h 456488"/>
                    <a:gd name="connsiteX7" fmla="*/ 483716 w 542359"/>
                    <a:gd name="connsiteY7" fmla="*/ 179293 h 456488"/>
                    <a:gd name="connsiteX8" fmla="*/ 536396 w 542359"/>
                    <a:gd name="connsiteY8" fmla="*/ 251639 h 456488"/>
                    <a:gd name="connsiteX9" fmla="*/ 541336 w 542359"/>
                    <a:gd name="connsiteY9" fmla="*/ 453908 h 456488"/>
                    <a:gd name="connsiteX10" fmla="*/ 7226 w 542359"/>
                    <a:gd name="connsiteY10" fmla="*/ 450055 h 456488"/>
                    <a:gd name="connsiteX0" fmla="*/ 6630 w 541763"/>
                    <a:gd name="connsiteY0" fmla="*/ 450055 h 456488"/>
                    <a:gd name="connsiteX1" fmla="*/ 11569 w 541763"/>
                    <a:gd name="connsiteY1" fmla="*/ 247109 h 456488"/>
                    <a:gd name="connsiteX2" fmla="*/ 89534 w 541763"/>
                    <a:gd name="connsiteY2" fmla="*/ 166126 h 456488"/>
                    <a:gd name="connsiteX3" fmla="*/ 218769 w 541763"/>
                    <a:gd name="connsiteY3" fmla="*/ 118035 h 456488"/>
                    <a:gd name="connsiteX4" fmla="*/ 244055 w 541763"/>
                    <a:gd name="connsiteY4" fmla="*/ 15758 h 456488"/>
                    <a:gd name="connsiteX5" fmla="*/ 330834 w 541763"/>
                    <a:gd name="connsiteY5" fmla="*/ 12583 h 456488"/>
                    <a:gd name="connsiteX6" fmla="*/ 348945 w 541763"/>
                    <a:gd name="connsiteY6" fmla="*/ 134165 h 456488"/>
                    <a:gd name="connsiteX7" fmla="*/ 483120 w 541763"/>
                    <a:gd name="connsiteY7" fmla="*/ 179293 h 456488"/>
                    <a:gd name="connsiteX8" fmla="*/ 535800 w 541763"/>
                    <a:gd name="connsiteY8" fmla="*/ 251639 h 456488"/>
                    <a:gd name="connsiteX9" fmla="*/ 540740 w 541763"/>
                    <a:gd name="connsiteY9" fmla="*/ 453908 h 456488"/>
                    <a:gd name="connsiteX10" fmla="*/ 6630 w 541763"/>
                    <a:gd name="connsiteY10" fmla="*/ 450055 h 456488"/>
                    <a:gd name="connsiteX0" fmla="*/ 4856 w 539989"/>
                    <a:gd name="connsiteY0" fmla="*/ 450055 h 456488"/>
                    <a:gd name="connsiteX1" fmla="*/ 15205 w 539989"/>
                    <a:gd name="connsiteY1" fmla="*/ 227128 h 456488"/>
                    <a:gd name="connsiteX2" fmla="*/ 87760 w 539989"/>
                    <a:gd name="connsiteY2" fmla="*/ 166126 h 456488"/>
                    <a:gd name="connsiteX3" fmla="*/ 216995 w 539989"/>
                    <a:gd name="connsiteY3" fmla="*/ 118035 h 456488"/>
                    <a:gd name="connsiteX4" fmla="*/ 242281 w 539989"/>
                    <a:gd name="connsiteY4" fmla="*/ 15758 h 456488"/>
                    <a:gd name="connsiteX5" fmla="*/ 329060 w 539989"/>
                    <a:gd name="connsiteY5" fmla="*/ 12583 h 456488"/>
                    <a:gd name="connsiteX6" fmla="*/ 347171 w 539989"/>
                    <a:gd name="connsiteY6" fmla="*/ 134165 h 456488"/>
                    <a:gd name="connsiteX7" fmla="*/ 481346 w 539989"/>
                    <a:gd name="connsiteY7" fmla="*/ 179293 h 456488"/>
                    <a:gd name="connsiteX8" fmla="*/ 534026 w 539989"/>
                    <a:gd name="connsiteY8" fmla="*/ 251639 h 456488"/>
                    <a:gd name="connsiteX9" fmla="*/ 538966 w 539989"/>
                    <a:gd name="connsiteY9" fmla="*/ 453908 h 456488"/>
                    <a:gd name="connsiteX10" fmla="*/ 4856 w 539989"/>
                    <a:gd name="connsiteY10" fmla="*/ 450055 h 4564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39989" h="456488">
                      <a:moveTo>
                        <a:pt x="4856" y="450055"/>
                      </a:moveTo>
                      <a:cubicBezTo>
                        <a:pt x="-5198" y="385497"/>
                        <a:pt x="1388" y="274449"/>
                        <a:pt x="15205" y="227128"/>
                      </a:cubicBezTo>
                      <a:cubicBezTo>
                        <a:pt x="29022" y="179807"/>
                        <a:pt x="54128" y="184308"/>
                        <a:pt x="87760" y="166126"/>
                      </a:cubicBezTo>
                      <a:cubicBezTo>
                        <a:pt x="121392" y="147944"/>
                        <a:pt x="191242" y="143096"/>
                        <a:pt x="216995" y="118035"/>
                      </a:cubicBezTo>
                      <a:cubicBezTo>
                        <a:pt x="242748" y="92974"/>
                        <a:pt x="223604" y="33333"/>
                        <a:pt x="242281" y="15758"/>
                      </a:cubicBezTo>
                      <a:cubicBezTo>
                        <a:pt x="260958" y="-1817"/>
                        <a:pt x="311578" y="-7151"/>
                        <a:pt x="329060" y="12583"/>
                      </a:cubicBezTo>
                      <a:cubicBezTo>
                        <a:pt x="346542" y="32317"/>
                        <a:pt x="321790" y="106380"/>
                        <a:pt x="347171" y="134165"/>
                      </a:cubicBezTo>
                      <a:cubicBezTo>
                        <a:pt x="372552" y="161950"/>
                        <a:pt x="450204" y="159714"/>
                        <a:pt x="481346" y="179293"/>
                      </a:cubicBezTo>
                      <a:cubicBezTo>
                        <a:pt x="512489" y="198872"/>
                        <a:pt x="523972" y="202956"/>
                        <a:pt x="534026" y="251639"/>
                      </a:cubicBezTo>
                      <a:cubicBezTo>
                        <a:pt x="537201" y="301381"/>
                        <a:pt x="542141" y="328496"/>
                        <a:pt x="538966" y="453908"/>
                      </a:cubicBezTo>
                      <a:cubicBezTo>
                        <a:pt x="307191" y="461845"/>
                        <a:pt x="250800" y="448827"/>
                        <a:pt x="4856" y="450055"/>
                      </a:cubicBezTo>
                      <a:close/>
                    </a:path>
                  </a:pathLst>
                </a:custGeom>
                <a:solidFill>
                  <a:schemeClr val="bg1"/>
                </a:solidFill>
                <a:ln w="57150">
                  <a:solidFill>
                    <a:schemeClr val="tx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242" name="Oval 241">
                  <a:extLst>
                    <a:ext uri="{FF2B5EF4-FFF2-40B4-BE49-F238E27FC236}">
                      <a16:creationId xmlns:a16="http://schemas.microsoft.com/office/drawing/2014/main" id="{2BEF79E5-7E0F-2B47-8030-6DE079B35FEA}"/>
                    </a:ext>
                  </a:extLst>
                </p:cNvPr>
                <p:cNvSpPr/>
                <p:nvPr/>
              </p:nvSpPr>
              <p:spPr>
                <a:xfrm>
                  <a:off x="1964431" y="3500843"/>
                  <a:ext cx="259337" cy="299858"/>
                </a:xfrm>
                <a:prstGeom prst="ellipse">
                  <a:avLst/>
                </a:prstGeom>
                <a:solidFill>
                  <a:schemeClr val="bg1"/>
                </a:solidFill>
                <a:ln w="57150">
                  <a:solidFill>
                    <a:schemeClr val="tx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grpSp>
        </p:grpSp>
        <p:grpSp>
          <p:nvGrpSpPr>
            <p:cNvPr id="233" name="Group 232">
              <a:extLst>
                <a:ext uri="{FF2B5EF4-FFF2-40B4-BE49-F238E27FC236}">
                  <a16:creationId xmlns:a16="http://schemas.microsoft.com/office/drawing/2014/main" id="{2802D8D8-6808-6742-96D4-88DC7377C200}"/>
                </a:ext>
              </a:extLst>
            </p:cNvPr>
            <p:cNvGrpSpPr/>
            <p:nvPr/>
          </p:nvGrpSpPr>
          <p:grpSpPr>
            <a:xfrm>
              <a:off x="2495712" y="4589934"/>
              <a:ext cx="1256698" cy="510604"/>
              <a:chOff x="2495712" y="4589934"/>
              <a:chExt cx="1256698" cy="510604"/>
            </a:xfrm>
            <a:solidFill>
              <a:schemeClr val="tx1">
                <a:lumMod val="50000"/>
              </a:schemeClr>
            </a:solidFill>
          </p:grpSpPr>
          <p:sp>
            <p:nvSpPr>
              <p:cNvPr id="235" name="Rounded Rectangle 234">
                <a:extLst>
                  <a:ext uri="{FF2B5EF4-FFF2-40B4-BE49-F238E27FC236}">
                    <a16:creationId xmlns:a16="http://schemas.microsoft.com/office/drawing/2014/main" id="{46D2686B-A29A-3C4D-9DA8-B9DE050BC41B}"/>
                  </a:ext>
                </a:extLst>
              </p:cNvPr>
              <p:cNvSpPr/>
              <p:nvPr/>
            </p:nvSpPr>
            <p:spPr>
              <a:xfrm>
                <a:off x="2495712" y="4589934"/>
                <a:ext cx="1256697" cy="251941"/>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236" name="Rectangle 235">
                <a:extLst>
                  <a:ext uri="{FF2B5EF4-FFF2-40B4-BE49-F238E27FC236}">
                    <a16:creationId xmlns:a16="http://schemas.microsoft.com/office/drawing/2014/main" id="{B940E8E4-10A0-834C-ABD8-D462A61DE87A}"/>
                  </a:ext>
                </a:extLst>
              </p:cNvPr>
              <p:cNvSpPr/>
              <p:nvPr/>
            </p:nvSpPr>
            <p:spPr>
              <a:xfrm>
                <a:off x="2498725" y="4797790"/>
                <a:ext cx="1253685" cy="13315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237" name="Rectangle 236">
                <a:extLst>
                  <a:ext uri="{FF2B5EF4-FFF2-40B4-BE49-F238E27FC236}">
                    <a16:creationId xmlns:a16="http://schemas.microsoft.com/office/drawing/2014/main" id="{23EAB1FA-2D6A-3141-B958-2986C9B7FCB5}"/>
                  </a:ext>
                </a:extLst>
              </p:cNvPr>
              <p:cNvSpPr/>
              <p:nvPr/>
            </p:nvSpPr>
            <p:spPr>
              <a:xfrm>
                <a:off x="2546350" y="4923041"/>
                <a:ext cx="109152" cy="17749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238" name="Rectangle 237">
                <a:extLst>
                  <a:ext uri="{FF2B5EF4-FFF2-40B4-BE49-F238E27FC236}">
                    <a16:creationId xmlns:a16="http://schemas.microsoft.com/office/drawing/2014/main" id="{4C7A90F0-C4DD-D549-9B09-37074629D6EA}"/>
                  </a:ext>
                </a:extLst>
              </p:cNvPr>
              <p:cNvSpPr/>
              <p:nvPr/>
            </p:nvSpPr>
            <p:spPr>
              <a:xfrm>
                <a:off x="3610945" y="4923041"/>
                <a:ext cx="109152" cy="17749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grpSp>
        <p:sp>
          <p:nvSpPr>
            <p:cNvPr id="234" name="Trapezoid 233">
              <a:extLst>
                <a:ext uri="{FF2B5EF4-FFF2-40B4-BE49-F238E27FC236}">
                  <a16:creationId xmlns:a16="http://schemas.microsoft.com/office/drawing/2014/main" id="{EA7DD848-0ADC-7E4F-AAA7-564056329E37}"/>
                </a:ext>
              </a:extLst>
            </p:cNvPr>
            <p:cNvSpPr/>
            <p:nvPr/>
          </p:nvSpPr>
          <p:spPr>
            <a:xfrm>
              <a:off x="2655502" y="4181475"/>
              <a:ext cx="958850" cy="363303"/>
            </a:xfrm>
            <a:prstGeom prst="trapezoid">
              <a:avLst/>
            </a:prstGeom>
            <a:solidFill>
              <a:schemeClr val="tx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grpSp>
      <p:grpSp>
        <p:nvGrpSpPr>
          <p:cNvPr id="245" name="Group 244">
            <a:extLst>
              <a:ext uri="{FF2B5EF4-FFF2-40B4-BE49-F238E27FC236}">
                <a16:creationId xmlns:a16="http://schemas.microsoft.com/office/drawing/2014/main" id="{7A2BD41E-C02B-4940-8066-26DDBE82A208}"/>
              </a:ext>
            </a:extLst>
          </p:cNvPr>
          <p:cNvGrpSpPr/>
          <p:nvPr/>
        </p:nvGrpSpPr>
        <p:grpSpPr>
          <a:xfrm>
            <a:off x="11742494" y="5383062"/>
            <a:ext cx="1025213" cy="1261037"/>
            <a:chOff x="2441771" y="3385414"/>
            <a:chExt cx="1325481" cy="1781019"/>
          </a:xfrm>
        </p:grpSpPr>
        <p:pic>
          <p:nvPicPr>
            <p:cNvPr id="246" name="Picture 245">
              <a:extLst>
                <a:ext uri="{FF2B5EF4-FFF2-40B4-BE49-F238E27FC236}">
                  <a16:creationId xmlns:a16="http://schemas.microsoft.com/office/drawing/2014/main" id="{1781BE06-33B8-C546-BA6E-63A5A3A22692}"/>
                </a:ext>
              </a:extLst>
            </p:cNvPr>
            <p:cNvPicPr>
              <a:picLocks noChangeAspect="1"/>
            </p:cNvPicPr>
            <p:nvPr/>
          </p:nvPicPr>
          <p:blipFill rotWithShape="1">
            <a:blip r:embed="rId2"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a:xfrm>
              <a:off x="2441771" y="3385414"/>
              <a:ext cx="1325481" cy="1781019"/>
            </a:xfrm>
            <a:prstGeom prst="rect">
              <a:avLst/>
            </a:prstGeom>
          </p:spPr>
        </p:pic>
        <p:sp>
          <p:nvSpPr>
            <p:cNvPr id="247" name="Rounded Rectangle 246">
              <a:extLst>
                <a:ext uri="{FF2B5EF4-FFF2-40B4-BE49-F238E27FC236}">
                  <a16:creationId xmlns:a16="http://schemas.microsoft.com/office/drawing/2014/main" id="{1F168FAB-6BE0-FD41-9F57-3F8D65324E8A}"/>
                </a:ext>
              </a:extLst>
            </p:cNvPr>
            <p:cNvSpPr/>
            <p:nvPr/>
          </p:nvSpPr>
          <p:spPr>
            <a:xfrm>
              <a:off x="2655502" y="3670300"/>
              <a:ext cx="958850" cy="436656"/>
            </a:xfrm>
            <a:prstGeom prst="roundRect">
              <a:avLst/>
            </a:prstGeom>
            <a:solidFill>
              <a:schemeClr val="tx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grpSp>
          <p:nvGrpSpPr>
            <p:cNvPr id="248" name="Group 247">
              <a:extLst>
                <a:ext uri="{FF2B5EF4-FFF2-40B4-BE49-F238E27FC236}">
                  <a16:creationId xmlns:a16="http://schemas.microsoft.com/office/drawing/2014/main" id="{B092C2A1-7B89-9B4E-840F-7A2402B28CEC}"/>
                </a:ext>
              </a:extLst>
            </p:cNvPr>
            <p:cNvGrpSpPr/>
            <p:nvPr/>
          </p:nvGrpSpPr>
          <p:grpSpPr>
            <a:xfrm>
              <a:off x="2776471" y="3456093"/>
              <a:ext cx="748710" cy="1056883"/>
              <a:chOff x="1496718" y="3334932"/>
              <a:chExt cx="748710" cy="1056883"/>
            </a:xfrm>
          </p:grpSpPr>
          <p:grpSp>
            <p:nvGrpSpPr>
              <p:cNvPr id="255" name="Group 254">
                <a:extLst>
                  <a:ext uri="{FF2B5EF4-FFF2-40B4-BE49-F238E27FC236}">
                    <a16:creationId xmlns:a16="http://schemas.microsoft.com/office/drawing/2014/main" id="{C31BF44D-3BFD-BB44-A0EC-1BEFC3B5B570}"/>
                  </a:ext>
                </a:extLst>
              </p:cNvPr>
              <p:cNvGrpSpPr/>
              <p:nvPr/>
            </p:nvGrpSpPr>
            <p:grpSpPr>
              <a:xfrm>
                <a:off x="1496718" y="3334932"/>
                <a:ext cx="748710" cy="1056883"/>
                <a:chOff x="1843570" y="3508300"/>
                <a:chExt cx="514980" cy="727982"/>
              </a:xfrm>
              <a:solidFill>
                <a:schemeClr val="bg1"/>
              </a:solidFill>
            </p:grpSpPr>
            <p:sp>
              <p:nvSpPr>
                <p:cNvPr id="259" name="Freeform 258">
                  <a:extLst>
                    <a:ext uri="{FF2B5EF4-FFF2-40B4-BE49-F238E27FC236}">
                      <a16:creationId xmlns:a16="http://schemas.microsoft.com/office/drawing/2014/main" id="{1071253A-E275-984B-AC9A-DCDC4B6BA731}"/>
                    </a:ext>
                  </a:extLst>
                </p:cNvPr>
                <p:cNvSpPr/>
                <p:nvPr/>
              </p:nvSpPr>
              <p:spPr>
                <a:xfrm>
                  <a:off x="1843570" y="3787509"/>
                  <a:ext cx="514980" cy="448773"/>
                </a:xfrm>
                <a:custGeom>
                  <a:avLst/>
                  <a:gdLst>
                    <a:gd name="connsiteX0" fmla="*/ 36807 w 576731"/>
                    <a:gd name="connsiteY0" fmla="*/ 449906 h 505924"/>
                    <a:gd name="connsiteX1" fmla="*/ 39982 w 576731"/>
                    <a:gd name="connsiteY1" fmla="*/ 214956 h 505924"/>
                    <a:gd name="connsiteX2" fmla="*/ 55857 w 576731"/>
                    <a:gd name="connsiteY2" fmla="*/ 176856 h 505924"/>
                    <a:gd name="connsiteX3" fmla="*/ 103482 w 576731"/>
                    <a:gd name="connsiteY3" fmla="*/ 160981 h 505924"/>
                    <a:gd name="connsiteX4" fmla="*/ 205082 w 576731"/>
                    <a:gd name="connsiteY4" fmla="*/ 154631 h 505924"/>
                    <a:gd name="connsiteX5" fmla="*/ 230482 w 576731"/>
                    <a:gd name="connsiteY5" fmla="*/ 151456 h 505924"/>
                    <a:gd name="connsiteX6" fmla="*/ 233657 w 576731"/>
                    <a:gd name="connsiteY6" fmla="*/ 18106 h 505924"/>
                    <a:gd name="connsiteX7" fmla="*/ 344782 w 576731"/>
                    <a:gd name="connsiteY7" fmla="*/ 14931 h 505924"/>
                    <a:gd name="connsiteX8" fmla="*/ 344782 w 576731"/>
                    <a:gd name="connsiteY8" fmla="*/ 145106 h 505924"/>
                    <a:gd name="connsiteX9" fmla="*/ 386057 w 576731"/>
                    <a:gd name="connsiteY9" fmla="*/ 151456 h 505924"/>
                    <a:gd name="connsiteX10" fmla="*/ 478132 w 576731"/>
                    <a:gd name="connsiteY10" fmla="*/ 164156 h 505924"/>
                    <a:gd name="connsiteX11" fmla="*/ 519407 w 576731"/>
                    <a:gd name="connsiteY11" fmla="*/ 189556 h 505924"/>
                    <a:gd name="connsiteX12" fmla="*/ 541632 w 576731"/>
                    <a:gd name="connsiteY12" fmla="*/ 234006 h 505924"/>
                    <a:gd name="connsiteX13" fmla="*/ 538457 w 576731"/>
                    <a:gd name="connsiteY13" fmla="*/ 488006 h 505924"/>
                    <a:gd name="connsiteX14" fmla="*/ 36807 w 576731"/>
                    <a:gd name="connsiteY14" fmla="*/ 449906 h 505924"/>
                    <a:gd name="connsiteX0" fmla="*/ 5769 w 545693"/>
                    <a:gd name="connsiteY0" fmla="*/ 449906 h 505924"/>
                    <a:gd name="connsiteX1" fmla="*/ 8944 w 545693"/>
                    <a:gd name="connsiteY1" fmla="*/ 214956 h 505924"/>
                    <a:gd name="connsiteX2" fmla="*/ 24819 w 545693"/>
                    <a:gd name="connsiteY2" fmla="*/ 176856 h 505924"/>
                    <a:gd name="connsiteX3" fmla="*/ 72444 w 545693"/>
                    <a:gd name="connsiteY3" fmla="*/ 160981 h 505924"/>
                    <a:gd name="connsiteX4" fmla="*/ 174044 w 545693"/>
                    <a:gd name="connsiteY4" fmla="*/ 154631 h 505924"/>
                    <a:gd name="connsiteX5" fmla="*/ 199444 w 545693"/>
                    <a:gd name="connsiteY5" fmla="*/ 151456 h 505924"/>
                    <a:gd name="connsiteX6" fmla="*/ 202619 w 545693"/>
                    <a:gd name="connsiteY6" fmla="*/ 18106 h 505924"/>
                    <a:gd name="connsiteX7" fmla="*/ 313744 w 545693"/>
                    <a:gd name="connsiteY7" fmla="*/ 14931 h 505924"/>
                    <a:gd name="connsiteX8" fmla="*/ 313744 w 545693"/>
                    <a:gd name="connsiteY8" fmla="*/ 145106 h 505924"/>
                    <a:gd name="connsiteX9" fmla="*/ 355019 w 545693"/>
                    <a:gd name="connsiteY9" fmla="*/ 151456 h 505924"/>
                    <a:gd name="connsiteX10" fmla="*/ 447094 w 545693"/>
                    <a:gd name="connsiteY10" fmla="*/ 164156 h 505924"/>
                    <a:gd name="connsiteX11" fmla="*/ 488369 w 545693"/>
                    <a:gd name="connsiteY11" fmla="*/ 189556 h 505924"/>
                    <a:gd name="connsiteX12" fmla="*/ 510594 w 545693"/>
                    <a:gd name="connsiteY12" fmla="*/ 234006 h 505924"/>
                    <a:gd name="connsiteX13" fmla="*/ 507419 w 545693"/>
                    <a:gd name="connsiteY13" fmla="*/ 488006 h 505924"/>
                    <a:gd name="connsiteX14" fmla="*/ 5769 w 545693"/>
                    <a:gd name="connsiteY14" fmla="*/ 449906 h 505924"/>
                    <a:gd name="connsiteX0" fmla="*/ 21286 w 561210"/>
                    <a:gd name="connsiteY0" fmla="*/ 449906 h 508025"/>
                    <a:gd name="connsiteX1" fmla="*/ 24461 w 561210"/>
                    <a:gd name="connsiteY1" fmla="*/ 214956 h 508025"/>
                    <a:gd name="connsiteX2" fmla="*/ 40336 w 561210"/>
                    <a:gd name="connsiteY2" fmla="*/ 176856 h 508025"/>
                    <a:gd name="connsiteX3" fmla="*/ 87961 w 561210"/>
                    <a:gd name="connsiteY3" fmla="*/ 160981 h 508025"/>
                    <a:gd name="connsiteX4" fmla="*/ 189561 w 561210"/>
                    <a:gd name="connsiteY4" fmla="*/ 154631 h 508025"/>
                    <a:gd name="connsiteX5" fmla="*/ 214961 w 561210"/>
                    <a:gd name="connsiteY5" fmla="*/ 151456 h 508025"/>
                    <a:gd name="connsiteX6" fmla="*/ 218136 w 561210"/>
                    <a:gd name="connsiteY6" fmla="*/ 18106 h 508025"/>
                    <a:gd name="connsiteX7" fmla="*/ 329261 w 561210"/>
                    <a:gd name="connsiteY7" fmla="*/ 14931 h 508025"/>
                    <a:gd name="connsiteX8" fmla="*/ 329261 w 561210"/>
                    <a:gd name="connsiteY8" fmla="*/ 145106 h 508025"/>
                    <a:gd name="connsiteX9" fmla="*/ 370536 w 561210"/>
                    <a:gd name="connsiteY9" fmla="*/ 151456 h 508025"/>
                    <a:gd name="connsiteX10" fmla="*/ 462611 w 561210"/>
                    <a:gd name="connsiteY10" fmla="*/ 164156 h 508025"/>
                    <a:gd name="connsiteX11" fmla="*/ 503886 w 561210"/>
                    <a:gd name="connsiteY11" fmla="*/ 189556 h 508025"/>
                    <a:gd name="connsiteX12" fmla="*/ 526111 w 561210"/>
                    <a:gd name="connsiteY12" fmla="*/ 234006 h 508025"/>
                    <a:gd name="connsiteX13" fmla="*/ 522936 w 561210"/>
                    <a:gd name="connsiteY13" fmla="*/ 488006 h 508025"/>
                    <a:gd name="connsiteX14" fmla="*/ 21286 w 561210"/>
                    <a:gd name="connsiteY14" fmla="*/ 449906 h 508025"/>
                    <a:gd name="connsiteX0" fmla="*/ 21286 w 561210"/>
                    <a:gd name="connsiteY0" fmla="*/ 449906 h 508025"/>
                    <a:gd name="connsiteX1" fmla="*/ 24461 w 561210"/>
                    <a:gd name="connsiteY1" fmla="*/ 214956 h 508025"/>
                    <a:gd name="connsiteX2" fmla="*/ 40336 w 561210"/>
                    <a:gd name="connsiteY2" fmla="*/ 176856 h 508025"/>
                    <a:gd name="connsiteX3" fmla="*/ 87961 w 561210"/>
                    <a:gd name="connsiteY3" fmla="*/ 160981 h 508025"/>
                    <a:gd name="connsiteX4" fmla="*/ 189561 w 561210"/>
                    <a:gd name="connsiteY4" fmla="*/ 154631 h 508025"/>
                    <a:gd name="connsiteX5" fmla="*/ 214961 w 561210"/>
                    <a:gd name="connsiteY5" fmla="*/ 151456 h 508025"/>
                    <a:gd name="connsiteX6" fmla="*/ 218136 w 561210"/>
                    <a:gd name="connsiteY6" fmla="*/ 18106 h 508025"/>
                    <a:gd name="connsiteX7" fmla="*/ 329261 w 561210"/>
                    <a:gd name="connsiteY7" fmla="*/ 14931 h 508025"/>
                    <a:gd name="connsiteX8" fmla="*/ 329261 w 561210"/>
                    <a:gd name="connsiteY8" fmla="*/ 145106 h 508025"/>
                    <a:gd name="connsiteX9" fmla="*/ 370536 w 561210"/>
                    <a:gd name="connsiteY9" fmla="*/ 151456 h 508025"/>
                    <a:gd name="connsiteX10" fmla="*/ 462611 w 561210"/>
                    <a:gd name="connsiteY10" fmla="*/ 164156 h 508025"/>
                    <a:gd name="connsiteX11" fmla="*/ 503886 w 561210"/>
                    <a:gd name="connsiteY11" fmla="*/ 189556 h 508025"/>
                    <a:gd name="connsiteX12" fmla="*/ 526111 w 561210"/>
                    <a:gd name="connsiteY12" fmla="*/ 234006 h 508025"/>
                    <a:gd name="connsiteX13" fmla="*/ 522936 w 561210"/>
                    <a:gd name="connsiteY13" fmla="*/ 488006 h 508025"/>
                    <a:gd name="connsiteX14" fmla="*/ 21286 w 561210"/>
                    <a:gd name="connsiteY14" fmla="*/ 449906 h 508025"/>
                    <a:gd name="connsiteX0" fmla="*/ 4360 w 544284"/>
                    <a:gd name="connsiteY0" fmla="*/ 449906 h 508025"/>
                    <a:gd name="connsiteX1" fmla="*/ 7535 w 544284"/>
                    <a:gd name="connsiteY1" fmla="*/ 214956 h 508025"/>
                    <a:gd name="connsiteX2" fmla="*/ 23410 w 544284"/>
                    <a:gd name="connsiteY2" fmla="*/ 176856 h 508025"/>
                    <a:gd name="connsiteX3" fmla="*/ 71035 w 544284"/>
                    <a:gd name="connsiteY3" fmla="*/ 160981 h 508025"/>
                    <a:gd name="connsiteX4" fmla="*/ 172635 w 544284"/>
                    <a:gd name="connsiteY4" fmla="*/ 154631 h 508025"/>
                    <a:gd name="connsiteX5" fmla="*/ 198035 w 544284"/>
                    <a:gd name="connsiteY5" fmla="*/ 151456 h 508025"/>
                    <a:gd name="connsiteX6" fmla="*/ 201210 w 544284"/>
                    <a:gd name="connsiteY6" fmla="*/ 18106 h 508025"/>
                    <a:gd name="connsiteX7" fmla="*/ 312335 w 544284"/>
                    <a:gd name="connsiteY7" fmla="*/ 14931 h 508025"/>
                    <a:gd name="connsiteX8" fmla="*/ 312335 w 544284"/>
                    <a:gd name="connsiteY8" fmla="*/ 145106 h 508025"/>
                    <a:gd name="connsiteX9" fmla="*/ 353610 w 544284"/>
                    <a:gd name="connsiteY9" fmla="*/ 151456 h 508025"/>
                    <a:gd name="connsiteX10" fmla="*/ 445685 w 544284"/>
                    <a:gd name="connsiteY10" fmla="*/ 164156 h 508025"/>
                    <a:gd name="connsiteX11" fmla="*/ 486960 w 544284"/>
                    <a:gd name="connsiteY11" fmla="*/ 189556 h 508025"/>
                    <a:gd name="connsiteX12" fmla="*/ 509185 w 544284"/>
                    <a:gd name="connsiteY12" fmla="*/ 234006 h 508025"/>
                    <a:gd name="connsiteX13" fmla="*/ 506010 w 544284"/>
                    <a:gd name="connsiteY13" fmla="*/ 488006 h 508025"/>
                    <a:gd name="connsiteX14" fmla="*/ 4360 w 544284"/>
                    <a:gd name="connsiteY14" fmla="*/ 449906 h 508025"/>
                    <a:gd name="connsiteX0" fmla="*/ 4360 w 544284"/>
                    <a:gd name="connsiteY0" fmla="*/ 449906 h 500804"/>
                    <a:gd name="connsiteX1" fmla="*/ 7535 w 544284"/>
                    <a:gd name="connsiteY1" fmla="*/ 214956 h 500804"/>
                    <a:gd name="connsiteX2" fmla="*/ 23410 w 544284"/>
                    <a:gd name="connsiteY2" fmla="*/ 176856 h 500804"/>
                    <a:gd name="connsiteX3" fmla="*/ 71035 w 544284"/>
                    <a:gd name="connsiteY3" fmla="*/ 160981 h 500804"/>
                    <a:gd name="connsiteX4" fmla="*/ 172635 w 544284"/>
                    <a:gd name="connsiteY4" fmla="*/ 154631 h 500804"/>
                    <a:gd name="connsiteX5" fmla="*/ 198035 w 544284"/>
                    <a:gd name="connsiteY5" fmla="*/ 151456 h 500804"/>
                    <a:gd name="connsiteX6" fmla="*/ 201210 w 544284"/>
                    <a:gd name="connsiteY6" fmla="*/ 18106 h 500804"/>
                    <a:gd name="connsiteX7" fmla="*/ 312335 w 544284"/>
                    <a:gd name="connsiteY7" fmla="*/ 14931 h 500804"/>
                    <a:gd name="connsiteX8" fmla="*/ 312335 w 544284"/>
                    <a:gd name="connsiteY8" fmla="*/ 145106 h 500804"/>
                    <a:gd name="connsiteX9" fmla="*/ 353610 w 544284"/>
                    <a:gd name="connsiteY9" fmla="*/ 151456 h 500804"/>
                    <a:gd name="connsiteX10" fmla="*/ 445685 w 544284"/>
                    <a:gd name="connsiteY10" fmla="*/ 164156 h 500804"/>
                    <a:gd name="connsiteX11" fmla="*/ 486960 w 544284"/>
                    <a:gd name="connsiteY11" fmla="*/ 189556 h 500804"/>
                    <a:gd name="connsiteX12" fmla="*/ 509185 w 544284"/>
                    <a:gd name="connsiteY12" fmla="*/ 234006 h 500804"/>
                    <a:gd name="connsiteX13" fmla="*/ 506010 w 544284"/>
                    <a:gd name="connsiteY13" fmla="*/ 488006 h 500804"/>
                    <a:gd name="connsiteX14" fmla="*/ 4360 w 544284"/>
                    <a:gd name="connsiteY14" fmla="*/ 449906 h 500804"/>
                    <a:gd name="connsiteX0" fmla="*/ 4360 w 544284"/>
                    <a:gd name="connsiteY0" fmla="*/ 449906 h 500804"/>
                    <a:gd name="connsiteX1" fmla="*/ 7535 w 544284"/>
                    <a:gd name="connsiteY1" fmla="*/ 214956 h 500804"/>
                    <a:gd name="connsiteX2" fmla="*/ 23410 w 544284"/>
                    <a:gd name="connsiteY2" fmla="*/ 176856 h 500804"/>
                    <a:gd name="connsiteX3" fmla="*/ 71035 w 544284"/>
                    <a:gd name="connsiteY3" fmla="*/ 160981 h 500804"/>
                    <a:gd name="connsiteX4" fmla="*/ 172635 w 544284"/>
                    <a:gd name="connsiteY4" fmla="*/ 154631 h 500804"/>
                    <a:gd name="connsiteX5" fmla="*/ 198035 w 544284"/>
                    <a:gd name="connsiteY5" fmla="*/ 151456 h 500804"/>
                    <a:gd name="connsiteX6" fmla="*/ 201210 w 544284"/>
                    <a:gd name="connsiteY6" fmla="*/ 18106 h 500804"/>
                    <a:gd name="connsiteX7" fmla="*/ 312335 w 544284"/>
                    <a:gd name="connsiteY7" fmla="*/ 14931 h 500804"/>
                    <a:gd name="connsiteX8" fmla="*/ 312335 w 544284"/>
                    <a:gd name="connsiteY8" fmla="*/ 145106 h 500804"/>
                    <a:gd name="connsiteX9" fmla="*/ 353610 w 544284"/>
                    <a:gd name="connsiteY9" fmla="*/ 151456 h 500804"/>
                    <a:gd name="connsiteX10" fmla="*/ 445685 w 544284"/>
                    <a:gd name="connsiteY10" fmla="*/ 164156 h 500804"/>
                    <a:gd name="connsiteX11" fmla="*/ 486960 w 544284"/>
                    <a:gd name="connsiteY11" fmla="*/ 189556 h 500804"/>
                    <a:gd name="connsiteX12" fmla="*/ 509185 w 544284"/>
                    <a:gd name="connsiteY12" fmla="*/ 234006 h 500804"/>
                    <a:gd name="connsiteX13" fmla="*/ 506010 w 544284"/>
                    <a:gd name="connsiteY13" fmla="*/ 488006 h 500804"/>
                    <a:gd name="connsiteX14" fmla="*/ 4360 w 544284"/>
                    <a:gd name="connsiteY14" fmla="*/ 449906 h 500804"/>
                    <a:gd name="connsiteX0" fmla="*/ 4360 w 519024"/>
                    <a:gd name="connsiteY0" fmla="*/ 449906 h 500804"/>
                    <a:gd name="connsiteX1" fmla="*/ 7535 w 519024"/>
                    <a:gd name="connsiteY1" fmla="*/ 214956 h 500804"/>
                    <a:gd name="connsiteX2" fmla="*/ 23410 w 519024"/>
                    <a:gd name="connsiteY2" fmla="*/ 176856 h 500804"/>
                    <a:gd name="connsiteX3" fmla="*/ 71035 w 519024"/>
                    <a:gd name="connsiteY3" fmla="*/ 160981 h 500804"/>
                    <a:gd name="connsiteX4" fmla="*/ 172635 w 519024"/>
                    <a:gd name="connsiteY4" fmla="*/ 154631 h 500804"/>
                    <a:gd name="connsiteX5" fmla="*/ 198035 w 519024"/>
                    <a:gd name="connsiteY5" fmla="*/ 151456 h 500804"/>
                    <a:gd name="connsiteX6" fmla="*/ 201210 w 519024"/>
                    <a:gd name="connsiteY6" fmla="*/ 18106 h 500804"/>
                    <a:gd name="connsiteX7" fmla="*/ 312335 w 519024"/>
                    <a:gd name="connsiteY7" fmla="*/ 14931 h 500804"/>
                    <a:gd name="connsiteX8" fmla="*/ 312335 w 519024"/>
                    <a:gd name="connsiteY8" fmla="*/ 145106 h 500804"/>
                    <a:gd name="connsiteX9" fmla="*/ 353610 w 519024"/>
                    <a:gd name="connsiteY9" fmla="*/ 151456 h 500804"/>
                    <a:gd name="connsiteX10" fmla="*/ 445685 w 519024"/>
                    <a:gd name="connsiteY10" fmla="*/ 164156 h 500804"/>
                    <a:gd name="connsiteX11" fmla="*/ 486960 w 519024"/>
                    <a:gd name="connsiteY11" fmla="*/ 189556 h 500804"/>
                    <a:gd name="connsiteX12" fmla="*/ 509185 w 519024"/>
                    <a:gd name="connsiteY12" fmla="*/ 234006 h 500804"/>
                    <a:gd name="connsiteX13" fmla="*/ 506010 w 519024"/>
                    <a:gd name="connsiteY13" fmla="*/ 488006 h 500804"/>
                    <a:gd name="connsiteX14" fmla="*/ 4360 w 519024"/>
                    <a:gd name="connsiteY14" fmla="*/ 449906 h 500804"/>
                    <a:gd name="connsiteX0" fmla="*/ 4360 w 519024"/>
                    <a:gd name="connsiteY0" fmla="*/ 449906 h 488006"/>
                    <a:gd name="connsiteX1" fmla="*/ 7535 w 519024"/>
                    <a:gd name="connsiteY1" fmla="*/ 214956 h 488006"/>
                    <a:gd name="connsiteX2" fmla="*/ 23410 w 519024"/>
                    <a:gd name="connsiteY2" fmla="*/ 176856 h 488006"/>
                    <a:gd name="connsiteX3" fmla="*/ 71035 w 519024"/>
                    <a:gd name="connsiteY3" fmla="*/ 160981 h 488006"/>
                    <a:gd name="connsiteX4" fmla="*/ 172635 w 519024"/>
                    <a:gd name="connsiteY4" fmla="*/ 154631 h 488006"/>
                    <a:gd name="connsiteX5" fmla="*/ 198035 w 519024"/>
                    <a:gd name="connsiteY5" fmla="*/ 151456 h 488006"/>
                    <a:gd name="connsiteX6" fmla="*/ 201210 w 519024"/>
                    <a:gd name="connsiteY6" fmla="*/ 18106 h 488006"/>
                    <a:gd name="connsiteX7" fmla="*/ 312335 w 519024"/>
                    <a:gd name="connsiteY7" fmla="*/ 14931 h 488006"/>
                    <a:gd name="connsiteX8" fmla="*/ 312335 w 519024"/>
                    <a:gd name="connsiteY8" fmla="*/ 145106 h 488006"/>
                    <a:gd name="connsiteX9" fmla="*/ 353610 w 519024"/>
                    <a:gd name="connsiteY9" fmla="*/ 151456 h 488006"/>
                    <a:gd name="connsiteX10" fmla="*/ 445685 w 519024"/>
                    <a:gd name="connsiteY10" fmla="*/ 164156 h 488006"/>
                    <a:gd name="connsiteX11" fmla="*/ 486960 w 519024"/>
                    <a:gd name="connsiteY11" fmla="*/ 189556 h 488006"/>
                    <a:gd name="connsiteX12" fmla="*/ 509185 w 519024"/>
                    <a:gd name="connsiteY12" fmla="*/ 234006 h 488006"/>
                    <a:gd name="connsiteX13" fmla="*/ 506010 w 519024"/>
                    <a:gd name="connsiteY13" fmla="*/ 488006 h 488006"/>
                    <a:gd name="connsiteX14" fmla="*/ 4360 w 519024"/>
                    <a:gd name="connsiteY14" fmla="*/ 449906 h 488006"/>
                    <a:gd name="connsiteX0" fmla="*/ 4360 w 523534"/>
                    <a:gd name="connsiteY0" fmla="*/ 449906 h 472131"/>
                    <a:gd name="connsiteX1" fmla="*/ 7535 w 523534"/>
                    <a:gd name="connsiteY1" fmla="*/ 214956 h 472131"/>
                    <a:gd name="connsiteX2" fmla="*/ 23410 w 523534"/>
                    <a:gd name="connsiteY2" fmla="*/ 176856 h 472131"/>
                    <a:gd name="connsiteX3" fmla="*/ 71035 w 523534"/>
                    <a:gd name="connsiteY3" fmla="*/ 160981 h 472131"/>
                    <a:gd name="connsiteX4" fmla="*/ 172635 w 523534"/>
                    <a:gd name="connsiteY4" fmla="*/ 154631 h 472131"/>
                    <a:gd name="connsiteX5" fmla="*/ 198035 w 523534"/>
                    <a:gd name="connsiteY5" fmla="*/ 151456 h 472131"/>
                    <a:gd name="connsiteX6" fmla="*/ 201210 w 523534"/>
                    <a:gd name="connsiteY6" fmla="*/ 18106 h 472131"/>
                    <a:gd name="connsiteX7" fmla="*/ 312335 w 523534"/>
                    <a:gd name="connsiteY7" fmla="*/ 14931 h 472131"/>
                    <a:gd name="connsiteX8" fmla="*/ 312335 w 523534"/>
                    <a:gd name="connsiteY8" fmla="*/ 145106 h 472131"/>
                    <a:gd name="connsiteX9" fmla="*/ 353610 w 523534"/>
                    <a:gd name="connsiteY9" fmla="*/ 151456 h 472131"/>
                    <a:gd name="connsiteX10" fmla="*/ 445685 w 523534"/>
                    <a:gd name="connsiteY10" fmla="*/ 164156 h 472131"/>
                    <a:gd name="connsiteX11" fmla="*/ 486960 w 523534"/>
                    <a:gd name="connsiteY11" fmla="*/ 189556 h 472131"/>
                    <a:gd name="connsiteX12" fmla="*/ 509185 w 523534"/>
                    <a:gd name="connsiteY12" fmla="*/ 234006 h 472131"/>
                    <a:gd name="connsiteX13" fmla="*/ 512360 w 523534"/>
                    <a:gd name="connsiteY13" fmla="*/ 472131 h 472131"/>
                    <a:gd name="connsiteX14" fmla="*/ 4360 w 523534"/>
                    <a:gd name="connsiteY14" fmla="*/ 449906 h 472131"/>
                    <a:gd name="connsiteX0" fmla="*/ 4360 w 513675"/>
                    <a:gd name="connsiteY0" fmla="*/ 449906 h 472131"/>
                    <a:gd name="connsiteX1" fmla="*/ 7535 w 513675"/>
                    <a:gd name="connsiteY1" fmla="*/ 214956 h 472131"/>
                    <a:gd name="connsiteX2" fmla="*/ 23410 w 513675"/>
                    <a:gd name="connsiteY2" fmla="*/ 176856 h 472131"/>
                    <a:gd name="connsiteX3" fmla="*/ 71035 w 513675"/>
                    <a:gd name="connsiteY3" fmla="*/ 160981 h 472131"/>
                    <a:gd name="connsiteX4" fmla="*/ 172635 w 513675"/>
                    <a:gd name="connsiteY4" fmla="*/ 154631 h 472131"/>
                    <a:gd name="connsiteX5" fmla="*/ 198035 w 513675"/>
                    <a:gd name="connsiteY5" fmla="*/ 151456 h 472131"/>
                    <a:gd name="connsiteX6" fmla="*/ 201210 w 513675"/>
                    <a:gd name="connsiteY6" fmla="*/ 18106 h 472131"/>
                    <a:gd name="connsiteX7" fmla="*/ 312335 w 513675"/>
                    <a:gd name="connsiteY7" fmla="*/ 14931 h 472131"/>
                    <a:gd name="connsiteX8" fmla="*/ 312335 w 513675"/>
                    <a:gd name="connsiteY8" fmla="*/ 145106 h 472131"/>
                    <a:gd name="connsiteX9" fmla="*/ 353610 w 513675"/>
                    <a:gd name="connsiteY9" fmla="*/ 151456 h 472131"/>
                    <a:gd name="connsiteX10" fmla="*/ 445685 w 513675"/>
                    <a:gd name="connsiteY10" fmla="*/ 164156 h 472131"/>
                    <a:gd name="connsiteX11" fmla="*/ 486960 w 513675"/>
                    <a:gd name="connsiteY11" fmla="*/ 189556 h 472131"/>
                    <a:gd name="connsiteX12" fmla="*/ 509185 w 513675"/>
                    <a:gd name="connsiteY12" fmla="*/ 234006 h 472131"/>
                    <a:gd name="connsiteX13" fmla="*/ 512360 w 513675"/>
                    <a:gd name="connsiteY13" fmla="*/ 472131 h 472131"/>
                    <a:gd name="connsiteX14" fmla="*/ 4360 w 513675"/>
                    <a:gd name="connsiteY14" fmla="*/ 449906 h 472131"/>
                    <a:gd name="connsiteX0" fmla="*/ 4360 w 513675"/>
                    <a:gd name="connsiteY0" fmla="*/ 446969 h 469194"/>
                    <a:gd name="connsiteX1" fmla="*/ 7535 w 513675"/>
                    <a:gd name="connsiteY1" fmla="*/ 212019 h 469194"/>
                    <a:gd name="connsiteX2" fmla="*/ 23410 w 513675"/>
                    <a:gd name="connsiteY2" fmla="*/ 173919 h 469194"/>
                    <a:gd name="connsiteX3" fmla="*/ 71035 w 513675"/>
                    <a:gd name="connsiteY3" fmla="*/ 158044 h 469194"/>
                    <a:gd name="connsiteX4" fmla="*/ 172635 w 513675"/>
                    <a:gd name="connsiteY4" fmla="*/ 151694 h 469194"/>
                    <a:gd name="connsiteX5" fmla="*/ 188510 w 513675"/>
                    <a:gd name="connsiteY5" fmla="*/ 94544 h 469194"/>
                    <a:gd name="connsiteX6" fmla="*/ 201210 w 513675"/>
                    <a:gd name="connsiteY6" fmla="*/ 15169 h 469194"/>
                    <a:gd name="connsiteX7" fmla="*/ 312335 w 513675"/>
                    <a:gd name="connsiteY7" fmla="*/ 11994 h 469194"/>
                    <a:gd name="connsiteX8" fmla="*/ 312335 w 513675"/>
                    <a:gd name="connsiteY8" fmla="*/ 142169 h 469194"/>
                    <a:gd name="connsiteX9" fmla="*/ 353610 w 513675"/>
                    <a:gd name="connsiteY9" fmla="*/ 148519 h 469194"/>
                    <a:gd name="connsiteX10" fmla="*/ 445685 w 513675"/>
                    <a:gd name="connsiteY10" fmla="*/ 161219 h 469194"/>
                    <a:gd name="connsiteX11" fmla="*/ 486960 w 513675"/>
                    <a:gd name="connsiteY11" fmla="*/ 186619 h 469194"/>
                    <a:gd name="connsiteX12" fmla="*/ 509185 w 513675"/>
                    <a:gd name="connsiteY12" fmla="*/ 231069 h 469194"/>
                    <a:gd name="connsiteX13" fmla="*/ 512360 w 513675"/>
                    <a:gd name="connsiteY13" fmla="*/ 469194 h 469194"/>
                    <a:gd name="connsiteX14" fmla="*/ 4360 w 513675"/>
                    <a:gd name="connsiteY14" fmla="*/ 446969 h 469194"/>
                    <a:gd name="connsiteX0" fmla="*/ 4360 w 513675"/>
                    <a:gd name="connsiteY0" fmla="*/ 443409 h 465634"/>
                    <a:gd name="connsiteX1" fmla="*/ 7535 w 513675"/>
                    <a:gd name="connsiteY1" fmla="*/ 208459 h 465634"/>
                    <a:gd name="connsiteX2" fmla="*/ 23410 w 513675"/>
                    <a:gd name="connsiteY2" fmla="*/ 170359 h 465634"/>
                    <a:gd name="connsiteX3" fmla="*/ 71035 w 513675"/>
                    <a:gd name="connsiteY3" fmla="*/ 154484 h 465634"/>
                    <a:gd name="connsiteX4" fmla="*/ 172635 w 513675"/>
                    <a:gd name="connsiteY4" fmla="*/ 148134 h 465634"/>
                    <a:gd name="connsiteX5" fmla="*/ 188510 w 513675"/>
                    <a:gd name="connsiteY5" fmla="*/ 90984 h 465634"/>
                    <a:gd name="connsiteX6" fmla="*/ 201210 w 513675"/>
                    <a:gd name="connsiteY6" fmla="*/ 11609 h 465634"/>
                    <a:gd name="connsiteX7" fmla="*/ 312335 w 513675"/>
                    <a:gd name="connsiteY7" fmla="*/ 8434 h 465634"/>
                    <a:gd name="connsiteX8" fmla="*/ 312335 w 513675"/>
                    <a:gd name="connsiteY8" fmla="*/ 87809 h 465634"/>
                    <a:gd name="connsiteX9" fmla="*/ 353610 w 513675"/>
                    <a:gd name="connsiteY9" fmla="*/ 144959 h 465634"/>
                    <a:gd name="connsiteX10" fmla="*/ 445685 w 513675"/>
                    <a:gd name="connsiteY10" fmla="*/ 157659 h 465634"/>
                    <a:gd name="connsiteX11" fmla="*/ 486960 w 513675"/>
                    <a:gd name="connsiteY11" fmla="*/ 183059 h 465634"/>
                    <a:gd name="connsiteX12" fmla="*/ 509185 w 513675"/>
                    <a:gd name="connsiteY12" fmla="*/ 227509 h 465634"/>
                    <a:gd name="connsiteX13" fmla="*/ 512360 w 513675"/>
                    <a:gd name="connsiteY13" fmla="*/ 465634 h 465634"/>
                    <a:gd name="connsiteX14" fmla="*/ 4360 w 513675"/>
                    <a:gd name="connsiteY14" fmla="*/ 443409 h 465634"/>
                    <a:gd name="connsiteX0" fmla="*/ 4360 w 513675"/>
                    <a:gd name="connsiteY0" fmla="*/ 443409 h 465634"/>
                    <a:gd name="connsiteX1" fmla="*/ 7535 w 513675"/>
                    <a:gd name="connsiteY1" fmla="*/ 208459 h 465634"/>
                    <a:gd name="connsiteX2" fmla="*/ 23410 w 513675"/>
                    <a:gd name="connsiteY2" fmla="*/ 170359 h 465634"/>
                    <a:gd name="connsiteX3" fmla="*/ 71035 w 513675"/>
                    <a:gd name="connsiteY3" fmla="*/ 154484 h 465634"/>
                    <a:gd name="connsiteX4" fmla="*/ 172635 w 513675"/>
                    <a:gd name="connsiteY4" fmla="*/ 148134 h 465634"/>
                    <a:gd name="connsiteX5" fmla="*/ 188510 w 513675"/>
                    <a:gd name="connsiteY5" fmla="*/ 90984 h 465634"/>
                    <a:gd name="connsiteX6" fmla="*/ 201210 w 513675"/>
                    <a:gd name="connsiteY6" fmla="*/ 11609 h 465634"/>
                    <a:gd name="connsiteX7" fmla="*/ 312335 w 513675"/>
                    <a:gd name="connsiteY7" fmla="*/ 8434 h 465634"/>
                    <a:gd name="connsiteX8" fmla="*/ 312335 w 513675"/>
                    <a:gd name="connsiteY8" fmla="*/ 87809 h 465634"/>
                    <a:gd name="connsiteX9" fmla="*/ 334560 w 513675"/>
                    <a:gd name="connsiteY9" fmla="*/ 135434 h 465634"/>
                    <a:gd name="connsiteX10" fmla="*/ 445685 w 513675"/>
                    <a:gd name="connsiteY10" fmla="*/ 157659 h 465634"/>
                    <a:gd name="connsiteX11" fmla="*/ 486960 w 513675"/>
                    <a:gd name="connsiteY11" fmla="*/ 183059 h 465634"/>
                    <a:gd name="connsiteX12" fmla="*/ 509185 w 513675"/>
                    <a:gd name="connsiteY12" fmla="*/ 227509 h 465634"/>
                    <a:gd name="connsiteX13" fmla="*/ 512360 w 513675"/>
                    <a:gd name="connsiteY13" fmla="*/ 465634 h 465634"/>
                    <a:gd name="connsiteX14" fmla="*/ 4360 w 513675"/>
                    <a:gd name="connsiteY14" fmla="*/ 443409 h 465634"/>
                    <a:gd name="connsiteX0" fmla="*/ 4360 w 510500"/>
                    <a:gd name="connsiteY0" fmla="*/ 443409 h 449759"/>
                    <a:gd name="connsiteX1" fmla="*/ 7535 w 510500"/>
                    <a:gd name="connsiteY1" fmla="*/ 208459 h 449759"/>
                    <a:gd name="connsiteX2" fmla="*/ 23410 w 510500"/>
                    <a:gd name="connsiteY2" fmla="*/ 170359 h 449759"/>
                    <a:gd name="connsiteX3" fmla="*/ 71035 w 510500"/>
                    <a:gd name="connsiteY3" fmla="*/ 154484 h 449759"/>
                    <a:gd name="connsiteX4" fmla="*/ 172635 w 510500"/>
                    <a:gd name="connsiteY4" fmla="*/ 148134 h 449759"/>
                    <a:gd name="connsiteX5" fmla="*/ 188510 w 510500"/>
                    <a:gd name="connsiteY5" fmla="*/ 90984 h 449759"/>
                    <a:gd name="connsiteX6" fmla="*/ 201210 w 510500"/>
                    <a:gd name="connsiteY6" fmla="*/ 11609 h 449759"/>
                    <a:gd name="connsiteX7" fmla="*/ 312335 w 510500"/>
                    <a:gd name="connsiteY7" fmla="*/ 8434 h 449759"/>
                    <a:gd name="connsiteX8" fmla="*/ 312335 w 510500"/>
                    <a:gd name="connsiteY8" fmla="*/ 87809 h 449759"/>
                    <a:gd name="connsiteX9" fmla="*/ 334560 w 510500"/>
                    <a:gd name="connsiteY9" fmla="*/ 135434 h 449759"/>
                    <a:gd name="connsiteX10" fmla="*/ 445685 w 510500"/>
                    <a:gd name="connsiteY10" fmla="*/ 157659 h 449759"/>
                    <a:gd name="connsiteX11" fmla="*/ 486960 w 510500"/>
                    <a:gd name="connsiteY11" fmla="*/ 183059 h 449759"/>
                    <a:gd name="connsiteX12" fmla="*/ 509185 w 510500"/>
                    <a:gd name="connsiteY12" fmla="*/ 227509 h 449759"/>
                    <a:gd name="connsiteX13" fmla="*/ 506010 w 510500"/>
                    <a:gd name="connsiteY13" fmla="*/ 449759 h 449759"/>
                    <a:gd name="connsiteX14" fmla="*/ 4360 w 510500"/>
                    <a:gd name="connsiteY14" fmla="*/ 443409 h 449759"/>
                    <a:gd name="connsiteX0" fmla="*/ 4360 w 510500"/>
                    <a:gd name="connsiteY0" fmla="*/ 443409 h 454926"/>
                    <a:gd name="connsiteX1" fmla="*/ 7535 w 510500"/>
                    <a:gd name="connsiteY1" fmla="*/ 208459 h 454926"/>
                    <a:gd name="connsiteX2" fmla="*/ 23410 w 510500"/>
                    <a:gd name="connsiteY2" fmla="*/ 170359 h 454926"/>
                    <a:gd name="connsiteX3" fmla="*/ 71035 w 510500"/>
                    <a:gd name="connsiteY3" fmla="*/ 154484 h 454926"/>
                    <a:gd name="connsiteX4" fmla="*/ 172635 w 510500"/>
                    <a:gd name="connsiteY4" fmla="*/ 148134 h 454926"/>
                    <a:gd name="connsiteX5" fmla="*/ 188510 w 510500"/>
                    <a:gd name="connsiteY5" fmla="*/ 90984 h 454926"/>
                    <a:gd name="connsiteX6" fmla="*/ 201210 w 510500"/>
                    <a:gd name="connsiteY6" fmla="*/ 11609 h 454926"/>
                    <a:gd name="connsiteX7" fmla="*/ 312335 w 510500"/>
                    <a:gd name="connsiteY7" fmla="*/ 8434 h 454926"/>
                    <a:gd name="connsiteX8" fmla="*/ 312335 w 510500"/>
                    <a:gd name="connsiteY8" fmla="*/ 87809 h 454926"/>
                    <a:gd name="connsiteX9" fmla="*/ 334560 w 510500"/>
                    <a:gd name="connsiteY9" fmla="*/ 135434 h 454926"/>
                    <a:gd name="connsiteX10" fmla="*/ 445685 w 510500"/>
                    <a:gd name="connsiteY10" fmla="*/ 157659 h 454926"/>
                    <a:gd name="connsiteX11" fmla="*/ 486960 w 510500"/>
                    <a:gd name="connsiteY11" fmla="*/ 183059 h 454926"/>
                    <a:gd name="connsiteX12" fmla="*/ 509185 w 510500"/>
                    <a:gd name="connsiteY12" fmla="*/ 227509 h 454926"/>
                    <a:gd name="connsiteX13" fmla="*/ 506010 w 510500"/>
                    <a:gd name="connsiteY13" fmla="*/ 449759 h 454926"/>
                    <a:gd name="connsiteX14" fmla="*/ 4360 w 510500"/>
                    <a:gd name="connsiteY14" fmla="*/ 443409 h 454926"/>
                    <a:gd name="connsiteX0" fmla="*/ 6473 w 512613"/>
                    <a:gd name="connsiteY0" fmla="*/ 443409 h 454926"/>
                    <a:gd name="connsiteX1" fmla="*/ 9648 w 512613"/>
                    <a:gd name="connsiteY1" fmla="*/ 208459 h 454926"/>
                    <a:gd name="connsiteX2" fmla="*/ 73148 w 512613"/>
                    <a:gd name="connsiteY2" fmla="*/ 154484 h 454926"/>
                    <a:gd name="connsiteX3" fmla="*/ 174748 w 512613"/>
                    <a:gd name="connsiteY3" fmla="*/ 148134 h 454926"/>
                    <a:gd name="connsiteX4" fmla="*/ 190623 w 512613"/>
                    <a:gd name="connsiteY4" fmla="*/ 90984 h 454926"/>
                    <a:gd name="connsiteX5" fmla="*/ 203323 w 512613"/>
                    <a:gd name="connsiteY5" fmla="*/ 11609 h 454926"/>
                    <a:gd name="connsiteX6" fmla="*/ 314448 w 512613"/>
                    <a:gd name="connsiteY6" fmla="*/ 8434 h 454926"/>
                    <a:gd name="connsiteX7" fmla="*/ 314448 w 512613"/>
                    <a:gd name="connsiteY7" fmla="*/ 87809 h 454926"/>
                    <a:gd name="connsiteX8" fmla="*/ 336673 w 512613"/>
                    <a:gd name="connsiteY8" fmla="*/ 135434 h 454926"/>
                    <a:gd name="connsiteX9" fmla="*/ 447798 w 512613"/>
                    <a:gd name="connsiteY9" fmla="*/ 157659 h 454926"/>
                    <a:gd name="connsiteX10" fmla="*/ 489073 w 512613"/>
                    <a:gd name="connsiteY10" fmla="*/ 183059 h 454926"/>
                    <a:gd name="connsiteX11" fmla="*/ 511298 w 512613"/>
                    <a:gd name="connsiteY11" fmla="*/ 227509 h 454926"/>
                    <a:gd name="connsiteX12" fmla="*/ 508123 w 512613"/>
                    <a:gd name="connsiteY12" fmla="*/ 449759 h 454926"/>
                    <a:gd name="connsiteX13" fmla="*/ 6473 w 512613"/>
                    <a:gd name="connsiteY13" fmla="*/ 443409 h 454926"/>
                    <a:gd name="connsiteX0" fmla="*/ 4049 w 510189"/>
                    <a:gd name="connsiteY0" fmla="*/ 443409 h 454926"/>
                    <a:gd name="connsiteX1" fmla="*/ 7224 w 510189"/>
                    <a:gd name="connsiteY1" fmla="*/ 208459 h 454926"/>
                    <a:gd name="connsiteX2" fmla="*/ 70724 w 510189"/>
                    <a:gd name="connsiteY2" fmla="*/ 154484 h 454926"/>
                    <a:gd name="connsiteX3" fmla="*/ 172324 w 510189"/>
                    <a:gd name="connsiteY3" fmla="*/ 148134 h 454926"/>
                    <a:gd name="connsiteX4" fmla="*/ 188199 w 510189"/>
                    <a:gd name="connsiteY4" fmla="*/ 90984 h 454926"/>
                    <a:gd name="connsiteX5" fmla="*/ 200899 w 510189"/>
                    <a:gd name="connsiteY5" fmla="*/ 11609 h 454926"/>
                    <a:gd name="connsiteX6" fmla="*/ 312024 w 510189"/>
                    <a:gd name="connsiteY6" fmla="*/ 8434 h 454926"/>
                    <a:gd name="connsiteX7" fmla="*/ 312024 w 510189"/>
                    <a:gd name="connsiteY7" fmla="*/ 87809 h 454926"/>
                    <a:gd name="connsiteX8" fmla="*/ 334249 w 510189"/>
                    <a:gd name="connsiteY8" fmla="*/ 135434 h 454926"/>
                    <a:gd name="connsiteX9" fmla="*/ 445374 w 510189"/>
                    <a:gd name="connsiteY9" fmla="*/ 157659 h 454926"/>
                    <a:gd name="connsiteX10" fmla="*/ 486649 w 510189"/>
                    <a:gd name="connsiteY10" fmla="*/ 183059 h 454926"/>
                    <a:gd name="connsiteX11" fmla="*/ 508874 w 510189"/>
                    <a:gd name="connsiteY11" fmla="*/ 227509 h 454926"/>
                    <a:gd name="connsiteX12" fmla="*/ 505699 w 510189"/>
                    <a:gd name="connsiteY12" fmla="*/ 449759 h 454926"/>
                    <a:gd name="connsiteX13" fmla="*/ 4049 w 510189"/>
                    <a:gd name="connsiteY13" fmla="*/ 443409 h 454926"/>
                    <a:gd name="connsiteX0" fmla="*/ 4049 w 510189"/>
                    <a:gd name="connsiteY0" fmla="*/ 443409 h 454926"/>
                    <a:gd name="connsiteX1" fmla="*/ 7224 w 510189"/>
                    <a:gd name="connsiteY1" fmla="*/ 208459 h 454926"/>
                    <a:gd name="connsiteX2" fmla="*/ 70724 w 510189"/>
                    <a:gd name="connsiteY2" fmla="*/ 154484 h 454926"/>
                    <a:gd name="connsiteX3" fmla="*/ 172324 w 510189"/>
                    <a:gd name="connsiteY3" fmla="*/ 148134 h 454926"/>
                    <a:gd name="connsiteX4" fmla="*/ 188199 w 510189"/>
                    <a:gd name="connsiteY4" fmla="*/ 90984 h 454926"/>
                    <a:gd name="connsiteX5" fmla="*/ 200899 w 510189"/>
                    <a:gd name="connsiteY5" fmla="*/ 11609 h 454926"/>
                    <a:gd name="connsiteX6" fmla="*/ 312024 w 510189"/>
                    <a:gd name="connsiteY6" fmla="*/ 8434 h 454926"/>
                    <a:gd name="connsiteX7" fmla="*/ 312024 w 510189"/>
                    <a:gd name="connsiteY7" fmla="*/ 87809 h 454926"/>
                    <a:gd name="connsiteX8" fmla="*/ 334249 w 510189"/>
                    <a:gd name="connsiteY8" fmla="*/ 135434 h 454926"/>
                    <a:gd name="connsiteX9" fmla="*/ 445374 w 510189"/>
                    <a:gd name="connsiteY9" fmla="*/ 157659 h 454926"/>
                    <a:gd name="connsiteX10" fmla="*/ 508874 w 510189"/>
                    <a:gd name="connsiteY10" fmla="*/ 227509 h 454926"/>
                    <a:gd name="connsiteX11" fmla="*/ 505699 w 510189"/>
                    <a:gd name="connsiteY11" fmla="*/ 449759 h 454926"/>
                    <a:gd name="connsiteX12" fmla="*/ 4049 w 510189"/>
                    <a:gd name="connsiteY12" fmla="*/ 443409 h 454926"/>
                    <a:gd name="connsiteX0" fmla="*/ 4049 w 510189"/>
                    <a:gd name="connsiteY0" fmla="*/ 443409 h 454926"/>
                    <a:gd name="connsiteX1" fmla="*/ 7224 w 510189"/>
                    <a:gd name="connsiteY1" fmla="*/ 208459 h 454926"/>
                    <a:gd name="connsiteX2" fmla="*/ 70724 w 510189"/>
                    <a:gd name="connsiteY2" fmla="*/ 154484 h 454926"/>
                    <a:gd name="connsiteX3" fmla="*/ 172324 w 510189"/>
                    <a:gd name="connsiteY3" fmla="*/ 148134 h 454926"/>
                    <a:gd name="connsiteX4" fmla="*/ 188199 w 510189"/>
                    <a:gd name="connsiteY4" fmla="*/ 90984 h 454926"/>
                    <a:gd name="connsiteX5" fmla="*/ 200899 w 510189"/>
                    <a:gd name="connsiteY5" fmla="*/ 11609 h 454926"/>
                    <a:gd name="connsiteX6" fmla="*/ 312024 w 510189"/>
                    <a:gd name="connsiteY6" fmla="*/ 8434 h 454926"/>
                    <a:gd name="connsiteX7" fmla="*/ 312024 w 510189"/>
                    <a:gd name="connsiteY7" fmla="*/ 87809 h 454926"/>
                    <a:gd name="connsiteX8" fmla="*/ 334249 w 510189"/>
                    <a:gd name="connsiteY8" fmla="*/ 135434 h 454926"/>
                    <a:gd name="connsiteX9" fmla="*/ 445374 w 510189"/>
                    <a:gd name="connsiteY9" fmla="*/ 157659 h 454926"/>
                    <a:gd name="connsiteX10" fmla="*/ 508874 w 510189"/>
                    <a:gd name="connsiteY10" fmla="*/ 227509 h 454926"/>
                    <a:gd name="connsiteX11" fmla="*/ 505699 w 510189"/>
                    <a:gd name="connsiteY11" fmla="*/ 449759 h 454926"/>
                    <a:gd name="connsiteX12" fmla="*/ 4049 w 510189"/>
                    <a:gd name="connsiteY12" fmla="*/ 443409 h 454926"/>
                    <a:gd name="connsiteX0" fmla="*/ 5987 w 512127"/>
                    <a:gd name="connsiteY0" fmla="*/ 443409 h 454926"/>
                    <a:gd name="connsiteX1" fmla="*/ 2812 w 512127"/>
                    <a:gd name="connsiteY1" fmla="*/ 217984 h 454926"/>
                    <a:gd name="connsiteX2" fmla="*/ 72662 w 512127"/>
                    <a:gd name="connsiteY2" fmla="*/ 154484 h 454926"/>
                    <a:gd name="connsiteX3" fmla="*/ 174262 w 512127"/>
                    <a:gd name="connsiteY3" fmla="*/ 148134 h 454926"/>
                    <a:gd name="connsiteX4" fmla="*/ 190137 w 512127"/>
                    <a:gd name="connsiteY4" fmla="*/ 90984 h 454926"/>
                    <a:gd name="connsiteX5" fmla="*/ 202837 w 512127"/>
                    <a:gd name="connsiteY5" fmla="*/ 11609 h 454926"/>
                    <a:gd name="connsiteX6" fmla="*/ 313962 w 512127"/>
                    <a:gd name="connsiteY6" fmla="*/ 8434 h 454926"/>
                    <a:gd name="connsiteX7" fmla="*/ 313962 w 512127"/>
                    <a:gd name="connsiteY7" fmla="*/ 87809 h 454926"/>
                    <a:gd name="connsiteX8" fmla="*/ 336187 w 512127"/>
                    <a:gd name="connsiteY8" fmla="*/ 135434 h 454926"/>
                    <a:gd name="connsiteX9" fmla="*/ 447312 w 512127"/>
                    <a:gd name="connsiteY9" fmla="*/ 157659 h 454926"/>
                    <a:gd name="connsiteX10" fmla="*/ 510812 w 512127"/>
                    <a:gd name="connsiteY10" fmla="*/ 227509 h 454926"/>
                    <a:gd name="connsiteX11" fmla="*/ 507637 w 512127"/>
                    <a:gd name="connsiteY11" fmla="*/ 449759 h 454926"/>
                    <a:gd name="connsiteX12" fmla="*/ 5987 w 512127"/>
                    <a:gd name="connsiteY12" fmla="*/ 443409 h 454926"/>
                    <a:gd name="connsiteX0" fmla="*/ 9762 w 515902"/>
                    <a:gd name="connsiteY0" fmla="*/ 443409 h 454926"/>
                    <a:gd name="connsiteX1" fmla="*/ 6587 w 515902"/>
                    <a:gd name="connsiteY1" fmla="*/ 217984 h 454926"/>
                    <a:gd name="connsiteX2" fmla="*/ 76437 w 515902"/>
                    <a:gd name="connsiteY2" fmla="*/ 154484 h 454926"/>
                    <a:gd name="connsiteX3" fmla="*/ 178037 w 515902"/>
                    <a:gd name="connsiteY3" fmla="*/ 148134 h 454926"/>
                    <a:gd name="connsiteX4" fmla="*/ 193912 w 515902"/>
                    <a:gd name="connsiteY4" fmla="*/ 90984 h 454926"/>
                    <a:gd name="connsiteX5" fmla="*/ 206612 w 515902"/>
                    <a:gd name="connsiteY5" fmla="*/ 11609 h 454926"/>
                    <a:gd name="connsiteX6" fmla="*/ 317737 w 515902"/>
                    <a:gd name="connsiteY6" fmla="*/ 8434 h 454926"/>
                    <a:gd name="connsiteX7" fmla="*/ 317737 w 515902"/>
                    <a:gd name="connsiteY7" fmla="*/ 87809 h 454926"/>
                    <a:gd name="connsiteX8" fmla="*/ 339962 w 515902"/>
                    <a:gd name="connsiteY8" fmla="*/ 135434 h 454926"/>
                    <a:gd name="connsiteX9" fmla="*/ 451087 w 515902"/>
                    <a:gd name="connsiteY9" fmla="*/ 157659 h 454926"/>
                    <a:gd name="connsiteX10" fmla="*/ 514587 w 515902"/>
                    <a:gd name="connsiteY10" fmla="*/ 227509 h 454926"/>
                    <a:gd name="connsiteX11" fmla="*/ 511412 w 515902"/>
                    <a:gd name="connsiteY11" fmla="*/ 449759 h 454926"/>
                    <a:gd name="connsiteX12" fmla="*/ 9762 w 515902"/>
                    <a:gd name="connsiteY12" fmla="*/ 443409 h 454926"/>
                    <a:gd name="connsiteX0" fmla="*/ 9762 w 515902"/>
                    <a:gd name="connsiteY0" fmla="*/ 443409 h 454926"/>
                    <a:gd name="connsiteX1" fmla="*/ 6587 w 515902"/>
                    <a:gd name="connsiteY1" fmla="*/ 217984 h 454926"/>
                    <a:gd name="connsiteX2" fmla="*/ 76437 w 515902"/>
                    <a:gd name="connsiteY2" fmla="*/ 154484 h 454926"/>
                    <a:gd name="connsiteX3" fmla="*/ 178037 w 515902"/>
                    <a:gd name="connsiteY3" fmla="*/ 148134 h 454926"/>
                    <a:gd name="connsiteX4" fmla="*/ 193912 w 515902"/>
                    <a:gd name="connsiteY4" fmla="*/ 90984 h 454926"/>
                    <a:gd name="connsiteX5" fmla="*/ 206612 w 515902"/>
                    <a:gd name="connsiteY5" fmla="*/ 11609 h 454926"/>
                    <a:gd name="connsiteX6" fmla="*/ 317737 w 515902"/>
                    <a:gd name="connsiteY6" fmla="*/ 8434 h 454926"/>
                    <a:gd name="connsiteX7" fmla="*/ 317737 w 515902"/>
                    <a:gd name="connsiteY7" fmla="*/ 87809 h 454926"/>
                    <a:gd name="connsiteX8" fmla="*/ 339962 w 515902"/>
                    <a:gd name="connsiteY8" fmla="*/ 135434 h 454926"/>
                    <a:gd name="connsiteX9" fmla="*/ 451087 w 515902"/>
                    <a:gd name="connsiteY9" fmla="*/ 157659 h 454926"/>
                    <a:gd name="connsiteX10" fmla="*/ 514587 w 515902"/>
                    <a:gd name="connsiteY10" fmla="*/ 227509 h 454926"/>
                    <a:gd name="connsiteX11" fmla="*/ 511412 w 515902"/>
                    <a:gd name="connsiteY11" fmla="*/ 449759 h 454926"/>
                    <a:gd name="connsiteX12" fmla="*/ 9762 w 515902"/>
                    <a:gd name="connsiteY12" fmla="*/ 443409 h 454926"/>
                    <a:gd name="connsiteX0" fmla="*/ 9762 w 515902"/>
                    <a:gd name="connsiteY0" fmla="*/ 443409 h 454926"/>
                    <a:gd name="connsiteX1" fmla="*/ 6587 w 515902"/>
                    <a:gd name="connsiteY1" fmla="*/ 217984 h 454926"/>
                    <a:gd name="connsiteX2" fmla="*/ 76437 w 515902"/>
                    <a:gd name="connsiteY2" fmla="*/ 154484 h 454926"/>
                    <a:gd name="connsiteX3" fmla="*/ 193912 w 515902"/>
                    <a:gd name="connsiteY3" fmla="*/ 90984 h 454926"/>
                    <a:gd name="connsiteX4" fmla="*/ 206612 w 515902"/>
                    <a:gd name="connsiteY4" fmla="*/ 11609 h 454926"/>
                    <a:gd name="connsiteX5" fmla="*/ 317737 w 515902"/>
                    <a:gd name="connsiteY5" fmla="*/ 8434 h 454926"/>
                    <a:gd name="connsiteX6" fmla="*/ 317737 w 515902"/>
                    <a:gd name="connsiteY6" fmla="*/ 87809 h 454926"/>
                    <a:gd name="connsiteX7" fmla="*/ 339962 w 515902"/>
                    <a:gd name="connsiteY7" fmla="*/ 135434 h 454926"/>
                    <a:gd name="connsiteX8" fmla="*/ 451087 w 515902"/>
                    <a:gd name="connsiteY8" fmla="*/ 157659 h 454926"/>
                    <a:gd name="connsiteX9" fmla="*/ 514587 w 515902"/>
                    <a:gd name="connsiteY9" fmla="*/ 227509 h 454926"/>
                    <a:gd name="connsiteX10" fmla="*/ 511412 w 515902"/>
                    <a:gd name="connsiteY10" fmla="*/ 449759 h 454926"/>
                    <a:gd name="connsiteX11" fmla="*/ 9762 w 515902"/>
                    <a:gd name="connsiteY11" fmla="*/ 443409 h 454926"/>
                    <a:gd name="connsiteX0" fmla="*/ 9762 w 515902"/>
                    <a:gd name="connsiteY0" fmla="*/ 446099 h 457616"/>
                    <a:gd name="connsiteX1" fmla="*/ 6587 w 515902"/>
                    <a:gd name="connsiteY1" fmla="*/ 220674 h 457616"/>
                    <a:gd name="connsiteX2" fmla="*/ 76437 w 515902"/>
                    <a:gd name="connsiteY2" fmla="*/ 157174 h 457616"/>
                    <a:gd name="connsiteX3" fmla="*/ 190737 w 515902"/>
                    <a:gd name="connsiteY3" fmla="*/ 138124 h 457616"/>
                    <a:gd name="connsiteX4" fmla="*/ 206612 w 515902"/>
                    <a:gd name="connsiteY4" fmla="*/ 14299 h 457616"/>
                    <a:gd name="connsiteX5" fmla="*/ 317737 w 515902"/>
                    <a:gd name="connsiteY5" fmla="*/ 11124 h 457616"/>
                    <a:gd name="connsiteX6" fmla="*/ 317737 w 515902"/>
                    <a:gd name="connsiteY6" fmla="*/ 90499 h 457616"/>
                    <a:gd name="connsiteX7" fmla="*/ 339962 w 515902"/>
                    <a:gd name="connsiteY7" fmla="*/ 138124 h 457616"/>
                    <a:gd name="connsiteX8" fmla="*/ 451087 w 515902"/>
                    <a:gd name="connsiteY8" fmla="*/ 160349 h 457616"/>
                    <a:gd name="connsiteX9" fmla="*/ 514587 w 515902"/>
                    <a:gd name="connsiteY9" fmla="*/ 230199 h 457616"/>
                    <a:gd name="connsiteX10" fmla="*/ 511412 w 515902"/>
                    <a:gd name="connsiteY10" fmla="*/ 452449 h 457616"/>
                    <a:gd name="connsiteX11" fmla="*/ 9762 w 515902"/>
                    <a:gd name="connsiteY11" fmla="*/ 446099 h 457616"/>
                    <a:gd name="connsiteX0" fmla="*/ 9762 w 515902"/>
                    <a:gd name="connsiteY0" fmla="*/ 446099 h 457616"/>
                    <a:gd name="connsiteX1" fmla="*/ 6587 w 515902"/>
                    <a:gd name="connsiteY1" fmla="*/ 220674 h 457616"/>
                    <a:gd name="connsiteX2" fmla="*/ 76437 w 515902"/>
                    <a:gd name="connsiteY2" fmla="*/ 157174 h 457616"/>
                    <a:gd name="connsiteX3" fmla="*/ 190737 w 515902"/>
                    <a:gd name="connsiteY3" fmla="*/ 138124 h 457616"/>
                    <a:gd name="connsiteX4" fmla="*/ 206612 w 515902"/>
                    <a:gd name="connsiteY4" fmla="*/ 14299 h 457616"/>
                    <a:gd name="connsiteX5" fmla="*/ 317737 w 515902"/>
                    <a:gd name="connsiteY5" fmla="*/ 11124 h 457616"/>
                    <a:gd name="connsiteX6" fmla="*/ 317737 w 515902"/>
                    <a:gd name="connsiteY6" fmla="*/ 90499 h 457616"/>
                    <a:gd name="connsiteX7" fmla="*/ 451087 w 515902"/>
                    <a:gd name="connsiteY7" fmla="*/ 160349 h 457616"/>
                    <a:gd name="connsiteX8" fmla="*/ 514587 w 515902"/>
                    <a:gd name="connsiteY8" fmla="*/ 230199 h 457616"/>
                    <a:gd name="connsiteX9" fmla="*/ 511412 w 515902"/>
                    <a:gd name="connsiteY9" fmla="*/ 452449 h 457616"/>
                    <a:gd name="connsiteX10" fmla="*/ 9762 w 515902"/>
                    <a:gd name="connsiteY10" fmla="*/ 446099 h 457616"/>
                    <a:gd name="connsiteX0" fmla="*/ 9762 w 515902"/>
                    <a:gd name="connsiteY0" fmla="*/ 447482 h 458999"/>
                    <a:gd name="connsiteX1" fmla="*/ 6587 w 515902"/>
                    <a:gd name="connsiteY1" fmla="*/ 222057 h 458999"/>
                    <a:gd name="connsiteX2" fmla="*/ 76437 w 515902"/>
                    <a:gd name="connsiteY2" fmla="*/ 158557 h 458999"/>
                    <a:gd name="connsiteX3" fmla="*/ 190737 w 515902"/>
                    <a:gd name="connsiteY3" fmla="*/ 139507 h 458999"/>
                    <a:gd name="connsiteX4" fmla="*/ 206612 w 515902"/>
                    <a:gd name="connsiteY4" fmla="*/ 15682 h 458999"/>
                    <a:gd name="connsiteX5" fmla="*/ 317737 w 515902"/>
                    <a:gd name="connsiteY5" fmla="*/ 12507 h 458999"/>
                    <a:gd name="connsiteX6" fmla="*/ 330437 w 515902"/>
                    <a:gd name="connsiteY6" fmla="*/ 114107 h 458999"/>
                    <a:gd name="connsiteX7" fmla="*/ 451087 w 515902"/>
                    <a:gd name="connsiteY7" fmla="*/ 161732 h 458999"/>
                    <a:gd name="connsiteX8" fmla="*/ 514587 w 515902"/>
                    <a:gd name="connsiteY8" fmla="*/ 231582 h 458999"/>
                    <a:gd name="connsiteX9" fmla="*/ 511412 w 515902"/>
                    <a:gd name="connsiteY9" fmla="*/ 453832 h 458999"/>
                    <a:gd name="connsiteX10" fmla="*/ 9762 w 515902"/>
                    <a:gd name="connsiteY10" fmla="*/ 447482 h 458999"/>
                    <a:gd name="connsiteX0" fmla="*/ 9762 w 515902"/>
                    <a:gd name="connsiteY0" fmla="*/ 446348 h 457865"/>
                    <a:gd name="connsiteX1" fmla="*/ 6587 w 515902"/>
                    <a:gd name="connsiteY1" fmla="*/ 220923 h 457865"/>
                    <a:gd name="connsiteX2" fmla="*/ 76437 w 515902"/>
                    <a:gd name="connsiteY2" fmla="*/ 157423 h 457865"/>
                    <a:gd name="connsiteX3" fmla="*/ 200262 w 515902"/>
                    <a:gd name="connsiteY3" fmla="*/ 119323 h 457865"/>
                    <a:gd name="connsiteX4" fmla="*/ 206612 w 515902"/>
                    <a:gd name="connsiteY4" fmla="*/ 14548 h 457865"/>
                    <a:gd name="connsiteX5" fmla="*/ 317737 w 515902"/>
                    <a:gd name="connsiteY5" fmla="*/ 11373 h 457865"/>
                    <a:gd name="connsiteX6" fmla="*/ 330437 w 515902"/>
                    <a:gd name="connsiteY6" fmla="*/ 112973 h 457865"/>
                    <a:gd name="connsiteX7" fmla="*/ 451087 w 515902"/>
                    <a:gd name="connsiteY7" fmla="*/ 160598 h 457865"/>
                    <a:gd name="connsiteX8" fmla="*/ 514587 w 515902"/>
                    <a:gd name="connsiteY8" fmla="*/ 230448 h 457865"/>
                    <a:gd name="connsiteX9" fmla="*/ 511412 w 515902"/>
                    <a:gd name="connsiteY9" fmla="*/ 452698 h 457865"/>
                    <a:gd name="connsiteX10" fmla="*/ 9762 w 515902"/>
                    <a:gd name="connsiteY10" fmla="*/ 446348 h 457865"/>
                    <a:gd name="connsiteX0" fmla="*/ 8840 w 514980"/>
                    <a:gd name="connsiteY0" fmla="*/ 446348 h 457865"/>
                    <a:gd name="connsiteX1" fmla="*/ 5665 w 514980"/>
                    <a:gd name="connsiteY1" fmla="*/ 220923 h 457865"/>
                    <a:gd name="connsiteX2" fmla="*/ 62412 w 514980"/>
                    <a:gd name="connsiteY2" fmla="*/ 133367 h 457865"/>
                    <a:gd name="connsiteX3" fmla="*/ 199340 w 514980"/>
                    <a:gd name="connsiteY3" fmla="*/ 119323 h 457865"/>
                    <a:gd name="connsiteX4" fmla="*/ 205690 w 514980"/>
                    <a:gd name="connsiteY4" fmla="*/ 14548 h 457865"/>
                    <a:gd name="connsiteX5" fmla="*/ 316815 w 514980"/>
                    <a:gd name="connsiteY5" fmla="*/ 11373 h 457865"/>
                    <a:gd name="connsiteX6" fmla="*/ 329515 w 514980"/>
                    <a:gd name="connsiteY6" fmla="*/ 112973 h 457865"/>
                    <a:gd name="connsiteX7" fmla="*/ 450165 w 514980"/>
                    <a:gd name="connsiteY7" fmla="*/ 160598 h 457865"/>
                    <a:gd name="connsiteX8" fmla="*/ 513665 w 514980"/>
                    <a:gd name="connsiteY8" fmla="*/ 230448 h 457865"/>
                    <a:gd name="connsiteX9" fmla="*/ 510490 w 514980"/>
                    <a:gd name="connsiteY9" fmla="*/ 452698 h 457865"/>
                    <a:gd name="connsiteX10" fmla="*/ 8840 w 514980"/>
                    <a:gd name="connsiteY10" fmla="*/ 446348 h 457865"/>
                    <a:gd name="connsiteX0" fmla="*/ 8840 w 514980"/>
                    <a:gd name="connsiteY0" fmla="*/ 445015 h 456532"/>
                    <a:gd name="connsiteX1" fmla="*/ 5665 w 514980"/>
                    <a:gd name="connsiteY1" fmla="*/ 219590 h 456532"/>
                    <a:gd name="connsiteX2" fmla="*/ 62412 w 514980"/>
                    <a:gd name="connsiteY2" fmla="*/ 132034 h 456532"/>
                    <a:gd name="connsiteX3" fmla="*/ 186237 w 514980"/>
                    <a:gd name="connsiteY3" fmla="*/ 93934 h 456532"/>
                    <a:gd name="connsiteX4" fmla="*/ 205690 w 514980"/>
                    <a:gd name="connsiteY4" fmla="*/ 13215 h 456532"/>
                    <a:gd name="connsiteX5" fmla="*/ 316815 w 514980"/>
                    <a:gd name="connsiteY5" fmla="*/ 10040 h 456532"/>
                    <a:gd name="connsiteX6" fmla="*/ 329515 w 514980"/>
                    <a:gd name="connsiteY6" fmla="*/ 111640 h 456532"/>
                    <a:gd name="connsiteX7" fmla="*/ 450165 w 514980"/>
                    <a:gd name="connsiteY7" fmla="*/ 159265 h 456532"/>
                    <a:gd name="connsiteX8" fmla="*/ 513665 w 514980"/>
                    <a:gd name="connsiteY8" fmla="*/ 229115 h 456532"/>
                    <a:gd name="connsiteX9" fmla="*/ 510490 w 514980"/>
                    <a:gd name="connsiteY9" fmla="*/ 451365 h 456532"/>
                    <a:gd name="connsiteX10" fmla="*/ 8840 w 514980"/>
                    <a:gd name="connsiteY10" fmla="*/ 445015 h 456532"/>
                    <a:gd name="connsiteX0" fmla="*/ 8840 w 514980"/>
                    <a:gd name="connsiteY0" fmla="*/ 445015 h 456532"/>
                    <a:gd name="connsiteX1" fmla="*/ 5665 w 514980"/>
                    <a:gd name="connsiteY1" fmla="*/ 219590 h 456532"/>
                    <a:gd name="connsiteX2" fmla="*/ 62412 w 514980"/>
                    <a:gd name="connsiteY2" fmla="*/ 132034 h 456532"/>
                    <a:gd name="connsiteX3" fmla="*/ 186237 w 514980"/>
                    <a:gd name="connsiteY3" fmla="*/ 93934 h 456532"/>
                    <a:gd name="connsiteX4" fmla="*/ 205690 w 514980"/>
                    <a:gd name="connsiteY4" fmla="*/ 13215 h 456532"/>
                    <a:gd name="connsiteX5" fmla="*/ 316815 w 514980"/>
                    <a:gd name="connsiteY5" fmla="*/ 10040 h 456532"/>
                    <a:gd name="connsiteX6" fmla="*/ 329515 w 514980"/>
                    <a:gd name="connsiteY6" fmla="*/ 111640 h 456532"/>
                    <a:gd name="connsiteX7" fmla="*/ 461084 w 514980"/>
                    <a:gd name="connsiteY7" fmla="*/ 146143 h 456532"/>
                    <a:gd name="connsiteX8" fmla="*/ 513665 w 514980"/>
                    <a:gd name="connsiteY8" fmla="*/ 229115 h 456532"/>
                    <a:gd name="connsiteX9" fmla="*/ 510490 w 514980"/>
                    <a:gd name="connsiteY9" fmla="*/ 451365 h 456532"/>
                    <a:gd name="connsiteX10" fmla="*/ 8840 w 514980"/>
                    <a:gd name="connsiteY10" fmla="*/ 445015 h 456532"/>
                    <a:gd name="connsiteX0" fmla="*/ 8840 w 514980"/>
                    <a:gd name="connsiteY0" fmla="*/ 444105 h 455622"/>
                    <a:gd name="connsiteX1" fmla="*/ 5665 w 514980"/>
                    <a:gd name="connsiteY1" fmla="*/ 218680 h 455622"/>
                    <a:gd name="connsiteX2" fmla="*/ 62412 w 514980"/>
                    <a:gd name="connsiteY2" fmla="*/ 131124 h 455622"/>
                    <a:gd name="connsiteX3" fmla="*/ 186237 w 514980"/>
                    <a:gd name="connsiteY3" fmla="*/ 93024 h 455622"/>
                    <a:gd name="connsiteX4" fmla="*/ 205690 w 514980"/>
                    <a:gd name="connsiteY4" fmla="*/ 12305 h 455622"/>
                    <a:gd name="connsiteX5" fmla="*/ 316815 w 514980"/>
                    <a:gd name="connsiteY5" fmla="*/ 9130 h 455622"/>
                    <a:gd name="connsiteX6" fmla="*/ 351353 w 514980"/>
                    <a:gd name="connsiteY6" fmla="*/ 97608 h 455622"/>
                    <a:gd name="connsiteX7" fmla="*/ 461084 w 514980"/>
                    <a:gd name="connsiteY7" fmla="*/ 145233 h 455622"/>
                    <a:gd name="connsiteX8" fmla="*/ 513665 w 514980"/>
                    <a:gd name="connsiteY8" fmla="*/ 228205 h 455622"/>
                    <a:gd name="connsiteX9" fmla="*/ 510490 w 514980"/>
                    <a:gd name="connsiteY9" fmla="*/ 450455 h 455622"/>
                    <a:gd name="connsiteX10" fmla="*/ 8840 w 514980"/>
                    <a:gd name="connsiteY10" fmla="*/ 444105 h 455622"/>
                    <a:gd name="connsiteX0" fmla="*/ 8840 w 514980"/>
                    <a:gd name="connsiteY0" fmla="*/ 442755 h 454272"/>
                    <a:gd name="connsiteX1" fmla="*/ 5665 w 514980"/>
                    <a:gd name="connsiteY1" fmla="*/ 217330 h 454272"/>
                    <a:gd name="connsiteX2" fmla="*/ 62412 w 514980"/>
                    <a:gd name="connsiteY2" fmla="*/ 129774 h 454272"/>
                    <a:gd name="connsiteX3" fmla="*/ 186237 w 514980"/>
                    <a:gd name="connsiteY3" fmla="*/ 91674 h 454272"/>
                    <a:gd name="connsiteX4" fmla="*/ 205690 w 514980"/>
                    <a:gd name="connsiteY4" fmla="*/ 10955 h 454272"/>
                    <a:gd name="connsiteX5" fmla="*/ 325550 w 514980"/>
                    <a:gd name="connsiteY5" fmla="*/ 9967 h 454272"/>
                    <a:gd name="connsiteX6" fmla="*/ 351353 w 514980"/>
                    <a:gd name="connsiteY6" fmla="*/ 96258 h 454272"/>
                    <a:gd name="connsiteX7" fmla="*/ 461084 w 514980"/>
                    <a:gd name="connsiteY7" fmla="*/ 143883 h 454272"/>
                    <a:gd name="connsiteX8" fmla="*/ 513665 w 514980"/>
                    <a:gd name="connsiteY8" fmla="*/ 226855 h 454272"/>
                    <a:gd name="connsiteX9" fmla="*/ 510490 w 514980"/>
                    <a:gd name="connsiteY9" fmla="*/ 449105 h 454272"/>
                    <a:gd name="connsiteX10" fmla="*/ 8840 w 514980"/>
                    <a:gd name="connsiteY10" fmla="*/ 442755 h 454272"/>
                    <a:gd name="connsiteX0" fmla="*/ 8840 w 514980"/>
                    <a:gd name="connsiteY0" fmla="*/ 442755 h 454272"/>
                    <a:gd name="connsiteX1" fmla="*/ 5665 w 514980"/>
                    <a:gd name="connsiteY1" fmla="*/ 217330 h 454272"/>
                    <a:gd name="connsiteX2" fmla="*/ 62412 w 514980"/>
                    <a:gd name="connsiteY2" fmla="*/ 129774 h 454272"/>
                    <a:gd name="connsiteX3" fmla="*/ 186237 w 514980"/>
                    <a:gd name="connsiteY3" fmla="*/ 91674 h 454272"/>
                    <a:gd name="connsiteX4" fmla="*/ 205690 w 514980"/>
                    <a:gd name="connsiteY4" fmla="*/ 10955 h 454272"/>
                    <a:gd name="connsiteX5" fmla="*/ 325550 w 514980"/>
                    <a:gd name="connsiteY5" fmla="*/ 9967 h 454272"/>
                    <a:gd name="connsiteX6" fmla="*/ 351353 w 514980"/>
                    <a:gd name="connsiteY6" fmla="*/ 96258 h 454272"/>
                    <a:gd name="connsiteX7" fmla="*/ 461084 w 514980"/>
                    <a:gd name="connsiteY7" fmla="*/ 143883 h 454272"/>
                    <a:gd name="connsiteX8" fmla="*/ 513665 w 514980"/>
                    <a:gd name="connsiteY8" fmla="*/ 226855 h 454272"/>
                    <a:gd name="connsiteX9" fmla="*/ 510490 w 514980"/>
                    <a:gd name="connsiteY9" fmla="*/ 449105 h 454272"/>
                    <a:gd name="connsiteX10" fmla="*/ 8840 w 514980"/>
                    <a:gd name="connsiteY10" fmla="*/ 442755 h 454272"/>
                    <a:gd name="connsiteX0" fmla="*/ 8840 w 514980"/>
                    <a:gd name="connsiteY0" fmla="*/ 442755 h 454272"/>
                    <a:gd name="connsiteX1" fmla="*/ 5665 w 514980"/>
                    <a:gd name="connsiteY1" fmla="*/ 217330 h 454272"/>
                    <a:gd name="connsiteX2" fmla="*/ 62412 w 514980"/>
                    <a:gd name="connsiteY2" fmla="*/ 129774 h 454272"/>
                    <a:gd name="connsiteX3" fmla="*/ 186237 w 514980"/>
                    <a:gd name="connsiteY3" fmla="*/ 91674 h 454272"/>
                    <a:gd name="connsiteX4" fmla="*/ 205690 w 514980"/>
                    <a:gd name="connsiteY4" fmla="*/ 10955 h 454272"/>
                    <a:gd name="connsiteX5" fmla="*/ 325550 w 514980"/>
                    <a:gd name="connsiteY5" fmla="*/ 9967 h 454272"/>
                    <a:gd name="connsiteX6" fmla="*/ 351353 w 514980"/>
                    <a:gd name="connsiteY6" fmla="*/ 96258 h 454272"/>
                    <a:gd name="connsiteX7" fmla="*/ 461084 w 514980"/>
                    <a:gd name="connsiteY7" fmla="*/ 143883 h 454272"/>
                    <a:gd name="connsiteX8" fmla="*/ 513665 w 514980"/>
                    <a:gd name="connsiteY8" fmla="*/ 226855 h 454272"/>
                    <a:gd name="connsiteX9" fmla="*/ 510490 w 514980"/>
                    <a:gd name="connsiteY9" fmla="*/ 449105 h 454272"/>
                    <a:gd name="connsiteX10" fmla="*/ 8840 w 514980"/>
                    <a:gd name="connsiteY10" fmla="*/ 442755 h 454272"/>
                    <a:gd name="connsiteX0" fmla="*/ 8840 w 514980"/>
                    <a:gd name="connsiteY0" fmla="*/ 442755 h 454272"/>
                    <a:gd name="connsiteX1" fmla="*/ 5665 w 514980"/>
                    <a:gd name="connsiteY1" fmla="*/ 217330 h 454272"/>
                    <a:gd name="connsiteX2" fmla="*/ 62412 w 514980"/>
                    <a:gd name="connsiteY2" fmla="*/ 129774 h 454272"/>
                    <a:gd name="connsiteX3" fmla="*/ 186237 w 514980"/>
                    <a:gd name="connsiteY3" fmla="*/ 91674 h 454272"/>
                    <a:gd name="connsiteX4" fmla="*/ 205690 w 514980"/>
                    <a:gd name="connsiteY4" fmla="*/ 10955 h 454272"/>
                    <a:gd name="connsiteX5" fmla="*/ 325550 w 514980"/>
                    <a:gd name="connsiteY5" fmla="*/ 9967 h 454272"/>
                    <a:gd name="connsiteX6" fmla="*/ 351353 w 514980"/>
                    <a:gd name="connsiteY6" fmla="*/ 96258 h 454272"/>
                    <a:gd name="connsiteX7" fmla="*/ 461084 w 514980"/>
                    <a:gd name="connsiteY7" fmla="*/ 143883 h 454272"/>
                    <a:gd name="connsiteX8" fmla="*/ 513665 w 514980"/>
                    <a:gd name="connsiteY8" fmla="*/ 226855 h 454272"/>
                    <a:gd name="connsiteX9" fmla="*/ 510490 w 514980"/>
                    <a:gd name="connsiteY9" fmla="*/ 449105 h 454272"/>
                    <a:gd name="connsiteX10" fmla="*/ 8840 w 514980"/>
                    <a:gd name="connsiteY10" fmla="*/ 442755 h 454272"/>
                    <a:gd name="connsiteX0" fmla="*/ 8840 w 514980"/>
                    <a:gd name="connsiteY0" fmla="*/ 436996 h 448513"/>
                    <a:gd name="connsiteX1" fmla="*/ 5665 w 514980"/>
                    <a:gd name="connsiteY1" fmla="*/ 211571 h 448513"/>
                    <a:gd name="connsiteX2" fmla="*/ 62412 w 514980"/>
                    <a:gd name="connsiteY2" fmla="*/ 124015 h 448513"/>
                    <a:gd name="connsiteX3" fmla="*/ 186237 w 514980"/>
                    <a:gd name="connsiteY3" fmla="*/ 85915 h 448513"/>
                    <a:gd name="connsiteX4" fmla="*/ 205690 w 514980"/>
                    <a:gd name="connsiteY4" fmla="*/ 5196 h 448513"/>
                    <a:gd name="connsiteX5" fmla="*/ 325550 w 514980"/>
                    <a:gd name="connsiteY5" fmla="*/ 4208 h 448513"/>
                    <a:gd name="connsiteX6" fmla="*/ 351353 w 514980"/>
                    <a:gd name="connsiteY6" fmla="*/ 90499 h 448513"/>
                    <a:gd name="connsiteX7" fmla="*/ 461084 w 514980"/>
                    <a:gd name="connsiteY7" fmla="*/ 138124 h 448513"/>
                    <a:gd name="connsiteX8" fmla="*/ 513665 w 514980"/>
                    <a:gd name="connsiteY8" fmla="*/ 221096 h 448513"/>
                    <a:gd name="connsiteX9" fmla="*/ 510490 w 514980"/>
                    <a:gd name="connsiteY9" fmla="*/ 443346 h 448513"/>
                    <a:gd name="connsiteX10" fmla="*/ 8840 w 514980"/>
                    <a:gd name="connsiteY10" fmla="*/ 436996 h 448513"/>
                    <a:gd name="connsiteX0" fmla="*/ 8840 w 514980"/>
                    <a:gd name="connsiteY0" fmla="*/ 436996 h 448513"/>
                    <a:gd name="connsiteX1" fmla="*/ 5665 w 514980"/>
                    <a:gd name="connsiteY1" fmla="*/ 211571 h 448513"/>
                    <a:gd name="connsiteX2" fmla="*/ 62412 w 514980"/>
                    <a:gd name="connsiteY2" fmla="*/ 124015 h 448513"/>
                    <a:gd name="connsiteX3" fmla="*/ 186237 w 514980"/>
                    <a:gd name="connsiteY3" fmla="*/ 85915 h 448513"/>
                    <a:gd name="connsiteX4" fmla="*/ 205690 w 514980"/>
                    <a:gd name="connsiteY4" fmla="*/ 5196 h 448513"/>
                    <a:gd name="connsiteX5" fmla="*/ 325550 w 514980"/>
                    <a:gd name="connsiteY5" fmla="*/ 4208 h 448513"/>
                    <a:gd name="connsiteX6" fmla="*/ 351353 w 514980"/>
                    <a:gd name="connsiteY6" fmla="*/ 90499 h 448513"/>
                    <a:gd name="connsiteX7" fmla="*/ 461084 w 514980"/>
                    <a:gd name="connsiteY7" fmla="*/ 138124 h 448513"/>
                    <a:gd name="connsiteX8" fmla="*/ 513665 w 514980"/>
                    <a:gd name="connsiteY8" fmla="*/ 221096 h 448513"/>
                    <a:gd name="connsiteX9" fmla="*/ 510490 w 514980"/>
                    <a:gd name="connsiteY9" fmla="*/ 443346 h 448513"/>
                    <a:gd name="connsiteX10" fmla="*/ 8840 w 514980"/>
                    <a:gd name="connsiteY10" fmla="*/ 436996 h 448513"/>
                    <a:gd name="connsiteX0" fmla="*/ 8840 w 514980"/>
                    <a:gd name="connsiteY0" fmla="*/ 436996 h 448513"/>
                    <a:gd name="connsiteX1" fmla="*/ 5665 w 514980"/>
                    <a:gd name="connsiteY1" fmla="*/ 211571 h 448513"/>
                    <a:gd name="connsiteX2" fmla="*/ 62412 w 514980"/>
                    <a:gd name="connsiteY2" fmla="*/ 124015 h 448513"/>
                    <a:gd name="connsiteX3" fmla="*/ 186237 w 514980"/>
                    <a:gd name="connsiteY3" fmla="*/ 85915 h 448513"/>
                    <a:gd name="connsiteX4" fmla="*/ 205690 w 514980"/>
                    <a:gd name="connsiteY4" fmla="*/ 5196 h 448513"/>
                    <a:gd name="connsiteX5" fmla="*/ 325550 w 514980"/>
                    <a:gd name="connsiteY5" fmla="*/ 4208 h 448513"/>
                    <a:gd name="connsiteX6" fmla="*/ 351353 w 514980"/>
                    <a:gd name="connsiteY6" fmla="*/ 90499 h 448513"/>
                    <a:gd name="connsiteX7" fmla="*/ 461084 w 514980"/>
                    <a:gd name="connsiteY7" fmla="*/ 138124 h 448513"/>
                    <a:gd name="connsiteX8" fmla="*/ 513665 w 514980"/>
                    <a:gd name="connsiteY8" fmla="*/ 221096 h 448513"/>
                    <a:gd name="connsiteX9" fmla="*/ 510490 w 514980"/>
                    <a:gd name="connsiteY9" fmla="*/ 443346 h 448513"/>
                    <a:gd name="connsiteX10" fmla="*/ 8840 w 514980"/>
                    <a:gd name="connsiteY10" fmla="*/ 436996 h 448513"/>
                    <a:gd name="connsiteX0" fmla="*/ 8840 w 514980"/>
                    <a:gd name="connsiteY0" fmla="*/ 436996 h 448513"/>
                    <a:gd name="connsiteX1" fmla="*/ 5665 w 514980"/>
                    <a:gd name="connsiteY1" fmla="*/ 211571 h 448513"/>
                    <a:gd name="connsiteX2" fmla="*/ 62412 w 514980"/>
                    <a:gd name="connsiteY2" fmla="*/ 124015 h 448513"/>
                    <a:gd name="connsiteX3" fmla="*/ 168766 w 514980"/>
                    <a:gd name="connsiteY3" fmla="*/ 88102 h 448513"/>
                    <a:gd name="connsiteX4" fmla="*/ 205690 w 514980"/>
                    <a:gd name="connsiteY4" fmla="*/ 5196 h 448513"/>
                    <a:gd name="connsiteX5" fmla="*/ 325550 w 514980"/>
                    <a:gd name="connsiteY5" fmla="*/ 4208 h 448513"/>
                    <a:gd name="connsiteX6" fmla="*/ 351353 w 514980"/>
                    <a:gd name="connsiteY6" fmla="*/ 90499 h 448513"/>
                    <a:gd name="connsiteX7" fmla="*/ 461084 w 514980"/>
                    <a:gd name="connsiteY7" fmla="*/ 138124 h 448513"/>
                    <a:gd name="connsiteX8" fmla="*/ 513665 w 514980"/>
                    <a:gd name="connsiteY8" fmla="*/ 221096 h 448513"/>
                    <a:gd name="connsiteX9" fmla="*/ 510490 w 514980"/>
                    <a:gd name="connsiteY9" fmla="*/ 443346 h 448513"/>
                    <a:gd name="connsiteX10" fmla="*/ 8840 w 514980"/>
                    <a:gd name="connsiteY10" fmla="*/ 436996 h 448513"/>
                    <a:gd name="connsiteX0" fmla="*/ 8840 w 514980"/>
                    <a:gd name="connsiteY0" fmla="*/ 440628 h 452145"/>
                    <a:gd name="connsiteX1" fmla="*/ 5665 w 514980"/>
                    <a:gd name="connsiteY1" fmla="*/ 215203 h 452145"/>
                    <a:gd name="connsiteX2" fmla="*/ 62412 w 514980"/>
                    <a:gd name="connsiteY2" fmla="*/ 127647 h 452145"/>
                    <a:gd name="connsiteX3" fmla="*/ 168766 w 514980"/>
                    <a:gd name="connsiteY3" fmla="*/ 91734 h 452145"/>
                    <a:gd name="connsiteX4" fmla="*/ 179484 w 514980"/>
                    <a:gd name="connsiteY4" fmla="*/ 4454 h 452145"/>
                    <a:gd name="connsiteX5" fmla="*/ 325550 w 514980"/>
                    <a:gd name="connsiteY5" fmla="*/ 7840 h 452145"/>
                    <a:gd name="connsiteX6" fmla="*/ 351353 w 514980"/>
                    <a:gd name="connsiteY6" fmla="*/ 94131 h 452145"/>
                    <a:gd name="connsiteX7" fmla="*/ 461084 w 514980"/>
                    <a:gd name="connsiteY7" fmla="*/ 141756 h 452145"/>
                    <a:gd name="connsiteX8" fmla="*/ 513665 w 514980"/>
                    <a:gd name="connsiteY8" fmla="*/ 224728 h 452145"/>
                    <a:gd name="connsiteX9" fmla="*/ 510490 w 514980"/>
                    <a:gd name="connsiteY9" fmla="*/ 446978 h 452145"/>
                    <a:gd name="connsiteX10" fmla="*/ 8840 w 514980"/>
                    <a:gd name="connsiteY10" fmla="*/ 440628 h 452145"/>
                    <a:gd name="connsiteX0" fmla="*/ 8840 w 514980"/>
                    <a:gd name="connsiteY0" fmla="*/ 442422 h 453939"/>
                    <a:gd name="connsiteX1" fmla="*/ 5665 w 514980"/>
                    <a:gd name="connsiteY1" fmla="*/ 216997 h 453939"/>
                    <a:gd name="connsiteX2" fmla="*/ 62412 w 514980"/>
                    <a:gd name="connsiteY2" fmla="*/ 129441 h 453939"/>
                    <a:gd name="connsiteX3" fmla="*/ 168766 w 514980"/>
                    <a:gd name="connsiteY3" fmla="*/ 93528 h 453939"/>
                    <a:gd name="connsiteX4" fmla="*/ 179484 w 514980"/>
                    <a:gd name="connsiteY4" fmla="*/ 6248 h 453939"/>
                    <a:gd name="connsiteX5" fmla="*/ 351756 w 514980"/>
                    <a:gd name="connsiteY5" fmla="*/ 886 h 453939"/>
                    <a:gd name="connsiteX6" fmla="*/ 351353 w 514980"/>
                    <a:gd name="connsiteY6" fmla="*/ 95925 h 453939"/>
                    <a:gd name="connsiteX7" fmla="*/ 461084 w 514980"/>
                    <a:gd name="connsiteY7" fmla="*/ 143550 h 453939"/>
                    <a:gd name="connsiteX8" fmla="*/ 513665 w 514980"/>
                    <a:gd name="connsiteY8" fmla="*/ 226522 h 453939"/>
                    <a:gd name="connsiteX9" fmla="*/ 510490 w 514980"/>
                    <a:gd name="connsiteY9" fmla="*/ 448772 h 453939"/>
                    <a:gd name="connsiteX10" fmla="*/ 8840 w 514980"/>
                    <a:gd name="connsiteY10" fmla="*/ 442422 h 453939"/>
                    <a:gd name="connsiteX0" fmla="*/ 8840 w 514980"/>
                    <a:gd name="connsiteY0" fmla="*/ 442422 h 453939"/>
                    <a:gd name="connsiteX1" fmla="*/ 5665 w 514980"/>
                    <a:gd name="connsiteY1" fmla="*/ 216997 h 453939"/>
                    <a:gd name="connsiteX2" fmla="*/ 62412 w 514980"/>
                    <a:gd name="connsiteY2" fmla="*/ 129441 h 453939"/>
                    <a:gd name="connsiteX3" fmla="*/ 168766 w 514980"/>
                    <a:gd name="connsiteY3" fmla="*/ 93528 h 453939"/>
                    <a:gd name="connsiteX4" fmla="*/ 179484 w 514980"/>
                    <a:gd name="connsiteY4" fmla="*/ 6248 h 453939"/>
                    <a:gd name="connsiteX5" fmla="*/ 351756 w 514980"/>
                    <a:gd name="connsiteY5" fmla="*/ 886 h 453939"/>
                    <a:gd name="connsiteX6" fmla="*/ 366640 w 514980"/>
                    <a:gd name="connsiteY6" fmla="*/ 100299 h 453939"/>
                    <a:gd name="connsiteX7" fmla="*/ 461084 w 514980"/>
                    <a:gd name="connsiteY7" fmla="*/ 143550 h 453939"/>
                    <a:gd name="connsiteX8" fmla="*/ 513665 w 514980"/>
                    <a:gd name="connsiteY8" fmla="*/ 226522 h 453939"/>
                    <a:gd name="connsiteX9" fmla="*/ 510490 w 514980"/>
                    <a:gd name="connsiteY9" fmla="*/ 448772 h 453939"/>
                    <a:gd name="connsiteX10" fmla="*/ 8840 w 514980"/>
                    <a:gd name="connsiteY10" fmla="*/ 442422 h 453939"/>
                    <a:gd name="connsiteX0" fmla="*/ 8840 w 514980"/>
                    <a:gd name="connsiteY0" fmla="*/ 442422 h 450476"/>
                    <a:gd name="connsiteX1" fmla="*/ 5665 w 514980"/>
                    <a:gd name="connsiteY1" fmla="*/ 216997 h 450476"/>
                    <a:gd name="connsiteX2" fmla="*/ 62412 w 514980"/>
                    <a:gd name="connsiteY2" fmla="*/ 129441 h 450476"/>
                    <a:gd name="connsiteX3" fmla="*/ 168766 w 514980"/>
                    <a:gd name="connsiteY3" fmla="*/ 93528 h 450476"/>
                    <a:gd name="connsiteX4" fmla="*/ 179484 w 514980"/>
                    <a:gd name="connsiteY4" fmla="*/ 6248 h 450476"/>
                    <a:gd name="connsiteX5" fmla="*/ 351756 w 514980"/>
                    <a:gd name="connsiteY5" fmla="*/ 886 h 450476"/>
                    <a:gd name="connsiteX6" fmla="*/ 366640 w 514980"/>
                    <a:gd name="connsiteY6" fmla="*/ 100299 h 450476"/>
                    <a:gd name="connsiteX7" fmla="*/ 461084 w 514980"/>
                    <a:gd name="connsiteY7" fmla="*/ 143550 h 450476"/>
                    <a:gd name="connsiteX8" fmla="*/ 513665 w 514980"/>
                    <a:gd name="connsiteY8" fmla="*/ 226522 h 450476"/>
                    <a:gd name="connsiteX9" fmla="*/ 510490 w 514980"/>
                    <a:gd name="connsiteY9" fmla="*/ 448772 h 450476"/>
                    <a:gd name="connsiteX10" fmla="*/ 8840 w 514980"/>
                    <a:gd name="connsiteY10" fmla="*/ 442422 h 450476"/>
                    <a:gd name="connsiteX0" fmla="*/ 8840 w 514980"/>
                    <a:gd name="connsiteY0" fmla="*/ 442422 h 448772"/>
                    <a:gd name="connsiteX1" fmla="*/ 5665 w 514980"/>
                    <a:gd name="connsiteY1" fmla="*/ 216997 h 448772"/>
                    <a:gd name="connsiteX2" fmla="*/ 62412 w 514980"/>
                    <a:gd name="connsiteY2" fmla="*/ 129441 h 448772"/>
                    <a:gd name="connsiteX3" fmla="*/ 168766 w 514980"/>
                    <a:gd name="connsiteY3" fmla="*/ 93528 h 448772"/>
                    <a:gd name="connsiteX4" fmla="*/ 179484 w 514980"/>
                    <a:gd name="connsiteY4" fmla="*/ 6248 h 448772"/>
                    <a:gd name="connsiteX5" fmla="*/ 351756 w 514980"/>
                    <a:gd name="connsiteY5" fmla="*/ 886 h 448772"/>
                    <a:gd name="connsiteX6" fmla="*/ 366640 w 514980"/>
                    <a:gd name="connsiteY6" fmla="*/ 100299 h 448772"/>
                    <a:gd name="connsiteX7" fmla="*/ 461084 w 514980"/>
                    <a:gd name="connsiteY7" fmla="*/ 143550 h 448772"/>
                    <a:gd name="connsiteX8" fmla="*/ 513665 w 514980"/>
                    <a:gd name="connsiteY8" fmla="*/ 226522 h 448772"/>
                    <a:gd name="connsiteX9" fmla="*/ 510490 w 514980"/>
                    <a:gd name="connsiteY9" fmla="*/ 448772 h 448772"/>
                    <a:gd name="connsiteX10" fmla="*/ 8840 w 514980"/>
                    <a:gd name="connsiteY10" fmla="*/ 442422 h 448772"/>
                    <a:gd name="connsiteX0" fmla="*/ 8840 w 514980"/>
                    <a:gd name="connsiteY0" fmla="*/ 442422 h 448772"/>
                    <a:gd name="connsiteX1" fmla="*/ 5665 w 514980"/>
                    <a:gd name="connsiteY1" fmla="*/ 216997 h 448772"/>
                    <a:gd name="connsiteX2" fmla="*/ 62412 w 514980"/>
                    <a:gd name="connsiteY2" fmla="*/ 129441 h 448772"/>
                    <a:gd name="connsiteX3" fmla="*/ 168766 w 514980"/>
                    <a:gd name="connsiteY3" fmla="*/ 93528 h 448772"/>
                    <a:gd name="connsiteX4" fmla="*/ 179484 w 514980"/>
                    <a:gd name="connsiteY4" fmla="*/ 6248 h 448772"/>
                    <a:gd name="connsiteX5" fmla="*/ 351756 w 514980"/>
                    <a:gd name="connsiteY5" fmla="*/ 886 h 448772"/>
                    <a:gd name="connsiteX6" fmla="*/ 357905 w 514980"/>
                    <a:gd name="connsiteY6" fmla="*/ 98112 h 448772"/>
                    <a:gd name="connsiteX7" fmla="*/ 461084 w 514980"/>
                    <a:gd name="connsiteY7" fmla="*/ 143550 h 448772"/>
                    <a:gd name="connsiteX8" fmla="*/ 513665 w 514980"/>
                    <a:gd name="connsiteY8" fmla="*/ 226522 h 448772"/>
                    <a:gd name="connsiteX9" fmla="*/ 510490 w 514980"/>
                    <a:gd name="connsiteY9" fmla="*/ 448772 h 448772"/>
                    <a:gd name="connsiteX10" fmla="*/ 8840 w 514980"/>
                    <a:gd name="connsiteY10" fmla="*/ 442422 h 448772"/>
                    <a:gd name="connsiteX0" fmla="*/ 8840 w 514980"/>
                    <a:gd name="connsiteY0" fmla="*/ 442422 h 448772"/>
                    <a:gd name="connsiteX1" fmla="*/ 5665 w 514980"/>
                    <a:gd name="connsiteY1" fmla="*/ 216997 h 448772"/>
                    <a:gd name="connsiteX2" fmla="*/ 62412 w 514980"/>
                    <a:gd name="connsiteY2" fmla="*/ 129441 h 448772"/>
                    <a:gd name="connsiteX3" fmla="*/ 168766 w 514980"/>
                    <a:gd name="connsiteY3" fmla="*/ 93528 h 448772"/>
                    <a:gd name="connsiteX4" fmla="*/ 179484 w 514980"/>
                    <a:gd name="connsiteY4" fmla="*/ 6248 h 448772"/>
                    <a:gd name="connsiteX5" fmla="*/ 351756 w 514980"/>
                    <a:gd name="connsiteY5" fmla="*/ 886 h 448772"/>
                    <a:gd name="connsiteX6" fmla="*/ 357905 w 514980"/>
                    <a:gd name="connsiteY6" fmla="*/ 98112 h 448772"/>
                    <a:gd name="connsiteX7" fmla="*/ 454533 w 514980"/>
                    <a:gd name="connsiteY7" fmla="*/ 136989 h 448772"/>
                    <a:gd name="connsiteX8" fmla="*/ 513665 w 514980"/>
                    <a:gd name="connsiteY8" fmla="*/ 226522 h 448772"/>
                    <a:gd name="connsiteX9" fmla="*/ 510490 w 514980"/>
                    <a:gd name="connsiteY9" fmla="*/ 448772 h 448772"/>
                    <a:gd name="connsiteX10" fmla="*/ 8840 w 514980"/>
                    <a:gd name="connsiteY10" fmla="*/ 442422 h 448772"/>
                    <a:gd name="connsiteX0" fmla="*/ 8840 w 514980"/>
                    <a:gd name="connsiteY0" fmla="*/ 442422 h 448772"/>
                    <a:gd name="connsiteX1" fmla="*/ 5665 w 514980"/>
                    <a:gd name="connsiteY1" fmla="*/ 216997 h 448772"/>
                    <a:gd name="connsiteX2" fmla="*/ 62412 w 514980"/>
                    <a:gd name="connsiteY2" fmla="*/ 129441 h 448772"/>
                    <a:gd name="connsiteX3" fmla="*/ 168766 w 514980"/>
                    <a:gd name="connsiteY3" fmla="*/ 93528 h 448772"/>
                    <a:gd name="connsiteX4" fmla="*/ 179484 w 514980"/>
                    <a:gd name="connsiteY4" fmla="*/ 6248 h 448772"/>
                    <a:gd name="connsiteX5" fmla="*/ 351756 w 514980"/>
                    <a:gd name="connsiteY5" fmla="*/ 886 h 448772"/>
                    <a:gd name="connsiteX6" fmla="*/ 357905 w 514980"/>
                    <a:gd name="connsiteY6" fmla="*/ 98112 h 448772"/>
                    <a:gd name="connsiteX7" fmla="*/ 454533 w 514980"/>
                    <a:gd name="connsiteY7" fmla="*/ 136989 h 448772"/>
                    <a:gd name="connsiteX8" fmla="*/ 513665 w 514980"/>
                    <a:gd name="connsiteY8" fmla="*/ 226522 h 448772"/>
                    <a:gd name="connsiteX9" fmla="*/ 510490 w 514980"/>
                    <a:gd name="connsiteY9" fmla="*/ 448772 h 448772"/>
                    <a:gd name="connsiteX10" fmla="*/ 8840 w 514980"/>
                    <a:gd name="connsiteY10" fmla="*/ 442422 h 448772"/>
                    <a:gd name="connsiteX0" fmla="*/ 8840 w 514980"/>
                    <a:gd name="connsiteY0" fmla="*/ 442422 h 448772"/>
                    <a:gd name="connsiteX1" fmla="*/ 5665 w 514980"/>
                    <a:gd name="connsiteY1" fmla="*/ 216997 h 448772"/>
                    <a:gd name="connsiteX2" fmla="*/ 62412 w 514980"/>
                    <a:gd name="connsiteY2" fmla="*/ 129441 h 448772"/>
                    <a:gd name="connsiteX3" fmla="*/ 168766 w 514980"/>
                    <a:gd name="connsiteY3" fmla="*/ 93528 h 448772"/>
                    <a:gd name="connsiteX4" fmla="*/ 179484 w 514980"/>
                    <a:gd name="connsiteY4" fmla="*/ 6248 h 448772"/>
                    <a:gd name="connsiteX5" fmla="*/ 351756 w 514980"/>
                    <a:gd name="connsiteY5" fmla="*/ 886 h 448772"/>
                    <a:gd name="connsiteX6" fmla="*/ 357905 w 514980"/>
                    <a:gd name="connsiteY6" fmla="*/ 98112 h 448772"/>
                    <a:gd name="connsiteX7" fmla="*/ 454533 w 514980"/>
                    <a:gd name="connsiteY7" fmla="*/ 136989 h 448772"/>
                    <a:gd name="connsiteX8" fmla="*/ 513665 w 514980"/>
                    <a:gd name="connsiteY8" fmla="*/ 226522 h 448772"/>
                    <a:gd name="connsiteX9" fmla="*/ 510490 w 514980"/>
                    <a:gd name="connsiteY9" fmla="*/ 448772 h 448772"/>
                    <a:gd name="connsiteX10" fmla="*/ 8840 w 514980"/>
                    <a:gd name="connsiteY10" fmla="*/ 442422 h 448772"/>
                    <a:gd name="connsiteX0" fmla="*/ 8840 w 514980"/>
                    <a:gd name="connsiteY0" fmla="*/ 442422 h 448772"/>
                    <a:gd name="connsiteX1" fmla="*/ 5665 w 514980"/>
                    <a:gd name="connsiteY1" fmla="*/ 216997 h 448772"/>
                    <a:gd name="connsiteX2" fmla="*/ 62412 w 514980"/>
                    <a:gd name="connsiteY2" fmla="*/ 129441 h 448772"/>
                    <a:gd name="connsiteX3" fmla="*/ 168766 w 514980"/>
                    <a:gd name="connsiteY3" fmla="*/ 93528 h 448772"/>
                    <a:gd name="connsiteX4" fmla="*/ 179484 w 514980"/>
                    <a:gd name="connsiteY4" fmla="*/ 6248 h 448772"/>
                    <a:gd name="connsiteX5" fmla="*/ 351756 w 514980"/>
                    <a:gd name="connsiteY5" fmla="*/ 886 h 448772"/>
                    <a:gd name="connsiteX6" fmla="*/ 353538 w 514980"/>
                    <a:gd name="connsiteY6" fmla="*/ 98112 h 448772"/>
                    <a:gd name="connsiteX7" fmla="*/ 454533 w 514980"/>
                    <a:gd name="connsiteY7" fmla="*/ 136989 h 448772"/>
                    <a:gd name="connsiteX8" fmla="*/ 513665 w 514980"/>
                    <a:gd name="connsiteY8" fmla="*/ 226522 h 448772"/>
                    <a:gd name="connsiteX9" fmla="*/ 510490 w 514980"/>
                    <a:gd name="connsiteY9" fmla="*/ 448772 h 448772"/>
                    <a:gd name="connsiteX10" fmla="*/ 8840 w 514980"/>
                    <a:gd name="connsiteY10" fmla="*/ 442422 h 448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14980" h="448772">
                      <a:moveTo>
                        <a:pt x="8840" y="442422"/>
                      </a:moveTo>
                      <a:cubicBezTo>
                        <a:pt x="-1214" y="377864"/>
                        <a:pt x="-3264" y="269160"/>
                        <a:pt x="5665" y="216997"/>
                      </a:cubicBezTo>
                      <a:cubicBezTo>
                        <a:pt x="14594" y="164834"/>
                        <a:pt x="35229" y="150019"/>
                        <a:pt x="62412" y="129441"/>
                      </a:cubicBezTo>
                      <a:cubicBezTo>
                        <a:pt x="89595" y="108863"/>
                        <a:pt x="149254" y="114060"/>
                        <a:pt x="168766" y="93528"/>
                      </a:cubicBezTo>
                      <a:cubicBezTo>
                        <a:pt x="188278" y="72996"/>
                        <a:pt x="189023" y="43922"/>
                        <a:pt x="179484" y="6248"/>
                      </a:cubicBezTo>
                      <a:cubicBezTo>
                        <a:pt x="202703" y="-7370"/>
                        <a:pt x="323111" y="6352"/>
                        <a:pt x="351756" y="886"/>
                      </a:cubicBezTo>
                      <a:cubicBezTo>
                        <a:pt x="354195" y="39159"/>
                        <a:pt x="342961" y="75428"/>
                        <a:pt x="353538" y="98112"/>
                      </a:cubicBezTo>
                      <a:cubicBezTo>
                        <a:pt x="364115" y="120796"/>
                        <a:pt x="427845" y="115587"/>
                        <a:pt x="454533" y="136989"/>
                      </a:cubicBezTo>
                      <a:cubicBezTo>
                        <a:pt x="481221" y="158391"/>
                        <a:pt x="503611" y="177839"/>
                        <a:pt x="513665" y="226522"/>
                      </a:cubicBezTo>
                      <a:cubicBezTo>
                        <a:pt x="516840" y="276264"/>
                        <a:pt x="513665" y="323360"/>
                        <a:pt x="510490" y="448772"/>
                      </a:cubicBezTo>
                      <a:lnTo>
                        <a:pt x="8840" y="442422"/>
                      </a:lnTo>
                      <a:close/>
                    </a:path>
                  </a:pathLst>
                </a:custGeom>
                <a:grpFill/>
                <a:ln w="571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260" name="Oval 259">
                  <a:extLst>
                    <a:ext uri="{FF2B5EF4-FFF2-40B4-BE49-F238E27FC236}">
                      <a16:creationId xmlns:a16="http://schemas.microsoft.com/office/drawing/2014/main" id="{C8593B0C-5330-D443-A37B-085262805F25}"/>
                    </a:ext>
                  </a:extLst>
                </p:cNvPr>
                <p:cNvSpPr/>
                <p:nvPr/>
              </p:nvSpPr>
              <p:spPr>
                <a:xfrm>
                  <a:off x="1971467" y="3508300"/>
                  <a:ext cx="282088" cy="336550"/>
                </a:xfrm>
                <a:prstGeom prst="ellipse">
                  <a:avLst/>
                </a:prstGeom>
                <a:grpFill/>
                <a:ln w="571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grpSp>
          <p:grpSp>
            <p:nvGrpSpPr>
              <p:cNvPr id="256" name="Group 255">
                <a:extLst>
                  <a:ext uri="{FF2B5EF4-FFF2-40B4-BE49-F238E27FC236}">
                    <a16:creationId xmlns:a16="http://schemas.microsoft.com/office/drawing/2014/main" id="{6A3CD39F-A7C2-4C48-8679-1EED32D8E728}"/>
                  </a:ext>
                </a:extLst>
              </p:cNvPr>
              <p:cNvGrpSpPr/>
              <p:nvPr/>
            </p:nvGrpSpPr>
            <p:grpSpPr>
              <a:xfrm>
                <a:off x="1553120" y="3388644"/>
                <a:ext cx="633802" cy="938165"/>
                <a:chOff x="1806977" y="3500843"/>
                <a:chExt cx="539989" cy="738018"/>
              </a:xfrm>
            </p:grpSpPr>
            <p:sp>
              <p:nvSpPr>
                <p:cNvPr id="257" name="Freeform 256">
                  <a:extLst>
                    <a:ext uri="{FF2B5EF4-FFF2-40B4-BE49-F238E27FC236}">
                      <a16:creationId xmlns:a16="http://schemas.microsoft.com/office/drawing/2014/main" id="{771C38C5-5BD3-A14E-ACF2-EA4ECEDCF4A4}"/>
                    </a:ext>
                  </a:extLst>
                </p:cNvPr>
                <p:cNvSpPr/>
                <p:nvPr/>
              </p:nvSpPr>
              <p:spPr>
                <a:xfrm>
                  <a:off x="1806977" y="3782373"/>
                  <a:ext cx="539989" cy="456488"/>
                </a:xfrm>
                <a:custGeom>
                  <a:avLst/>
                  <a:gdLst>
                    <a:gd name="connsiteX0" fmla="*/ 36807 w 576731"/>
                    <a:gd name="connsiteY0" fmla="*/ 449906 h 505924"/>
                    <a:gd name="connsiteX1" fmla="*/ 39982 w 576731"/>
                    <a:gd name="connsiteY1" fmla="*/ 214956 h 505924"/>
                    <a:gd name="connsiteX2" fmla="*/ 55857 w 576731"/>
                    <a:gd name="connsiteY2" fmla="*/ 176856 h 505924"/>
                    <a:gd name="connsiteX3" fmla="*/ 103482 w 576731"/>
                    <a:gd name="connsiteY3" fmla="*/ 160981 h 505924"/>
                    <a:gd name="connsiteX4" fmla="*/ 205082 w 576731"/>
                    <a:gd name="connsiteY4" fmla="*/ 154631 h 505924"/>
                    <a:gd name="connsiteX5" fmla="*/ 230482 w 576731"/>
                    <a:gd name="connsiteY5" fmla="*/ 151456 h 505924"/>
                    <a:gd name="connsiteX6" fmla="*/ 233657 w 576731"/>
                    <a:gd name="connsiteY6" fmla="*/ 18106 h 505924"/>
                    <a:gd name="connsiteX7" fmla="*/ 344782 w 576731"/>
                    <a:gd name="connsiteY7" fmla="*/ 14931 h 505924"/>
                    <a:gd name="connsiteX8" fmla="*/ 344782 w 576731"/>
                    <a:gd name="connsiteY8" fmla="*/ 145106 h 505924"/>
                    <a:gd name="connsiteX9" fmla="*/ 386057 w 576731"/>
                    <a:gd name="connsiteY9" fmla="*/ 151456 h 505924"/>
                    <a:gd name="connsiteX10" fmla="*/ 478132 w 576731"/>
                    <a:gd name="connsiteY10" fmla="*/ 164156 h 505924"/>
                    <a:gd name="connsiteX11" fmla="*/ 519407 w 576731"/>
                    <a:gd name="connsiteY11" fmla="*/ 189556 h 505924"/>
                    <a:gd name="connsiteX12" fmla="*/ 541632 w 576731"/>
                    <a:gd name="connsiteY12" fmla="*/ 234006 h 505924"/>
                    <a:gd name="connsiteX13" fmla="*/ 538457 w 576731"/>
                    <a:gd name="connsiteY13" fmla="*/ 488006 h 505924"/>
                    <a:gd name="connsiteX14" fmla="*/ 36807 w 576731"/>
                    <a:gd name="connsiteY14" fmla="*/ 449906 h 505924"/>
                    <a:gd name="connsiteX0" fmla="*/ 5769 w 545693"/>
                    <a:gd name="connsiteY0" fmla="*/ 449906 h 505924"/>
                    <a:gd name="connsiteX1" fmla="*/ 8944 w 545693"/>
                    <a:gd name="connsiteY1" fmla="*/ 214956 h 505924"/>
                    <a:gd name="connsiteX2" fmla="*/ 24819 w 545693"/>
                    <a:gd name="connsiteY2" fmla="*/ 176856 h 505924"/>
                    <a:gd name="connsiteX3" fmla="*/ 72444 w 545693"/>
                    <a:gd name="connsiteY3" fmla="*/ 160981 h 505924"/>
                    <a:gd name="connsiteX4" fmla="*/ 174044 w 545693"/>
                    <a:gd name="connsiteY4" fmla="*/ 154631 h 505924"/>
                    <a:gd name="connsiteX5" fmla="*/ 199444 w 545693"/>
                    <a:gd name="connsiteY5" fmla="*/ 151456 h 505924"/>
                    <a:gd name="connsiteX6" fmla="*/ 202619 w 545693"/>
                    <a:gd name="connsiteY6" fmla="*/ 18106 h 505924"/>
                    <a:gd name="connsiteX7" fmla="*/ 313744 w 545693"/>
                    <a:gd name="connsiteY7" fmla="*/ 14931 h 505924"/>
                    <a:gd name="connsiteX8" fmla="*/ 313744 w 545693"/>
                    <a:gd name="connsiteY8" fmla="*/ 145106 h 505924"/>
                    <a:gd name="connsiteX9" fmla="*/ 355019 w 545693"/>
                    <a:gd name="connsiteY9" fmla="*/ 151456 h 505924"/>
                    <a:gd name="connsiteX10" fmla="*/ 447094 w 545693"/>
                    <a:gd name="connsiteY10" fmla="*/ 164156 h 505924"/>
                    <a:gd name="connsiteX11" fmla="*/ 488369 w 545693"/>
                    <a:gd name="connsiteY11" fmla="*/ 189556 h 505924"/>
                    <a:gd name="connsiteX12" fmla="*/ 510594 w 545693"/>
                    <a:gd name="connsiteY12" fmla="*/ 234006 h 505924"/>
                    <a:gd name="connsiteX13" fmla="*/ 507419 w 545693"/>
                    <a:gd name="connsiteY13" fmla="*/ 488006 h 505924"/>
                    <a:gd name="connsiteX14" fmla="*/ 5769 w 545693"/>
                    <a:gd name="connsiteY14" fmla="*/ 449906 h 505924"/>
                    <a:gd name="connsiteX0" fmla="*/ 21286 w 561210"/>
                    <a:gd name="connsiteY0" fmla="*/ 449906 h 508025"/>
                    <a:gd name="connsiteX1" fmla="*/ 24461 w 561210"/>
                    <a:gd name="connsiteY1" fmla="*/ 214956 h 508025"/>
                    <a:gd name="connsiteX2" fmla="*/ 40336 w 561210"/>
                    <a:gd name="connsiteY2" fmla="*/ 176856 h 508025"/>
                    <a:gd name="connsiteX3" fmla="*/ 87961 w 561210"/>
                    <a:gd name="connsiteY3" fmla="*/ 160981 h 508025"/>
                    <a:gd name="connsiteX4" fmla="*/ 189561 w 561210"/>
                    <a:gd name="connsiteY4" fmla="*/ 154631 h 508025"/>
                    <a:gd name="connsiteX5" fmla="*/ 214961 w 561210"/>
                    <a:gd name="connsiteY5" fmla="*/ 151456 h 508025"/>
                    <a:gd name="connsiteX6" fmla="*/ 218136 w 561210"/>
                    <a:gd name="connsiteY6" fmla="*/ 18106 h 508025"/>
                    <a:gd name="connsiteX7" fmla="*/ 329261 w 561210"/>
                    <a:gd name="connsiteY7" fmla="*/ 14931 h 508025"/>
                    <a:gd name="connsiteX8" fmla="*/ 329261 w 561210"/>
                    <a:gd name="connsiteY8" fmla="*/ 145106 h 508025"/>
                    <a:gd name="connsiteX9" fmla="*/ 370536 w 561210"/>
                    <a:gd name="connsiteY9" fmla="*/ 151456 h 508025"/>
                    <a:gd name="connsiteX10" fmla="*/ 462611 w 561210"/>
                    <a:gd name="connsiteY10" fmla="*/ 164156 h 508025"/>
                    <a:gd name="connsiteX11" fmla="*/ 503886 w 561210"/>
                    <a:gd name="connsiteY11" fmla="*/ 189556 h 508025"/>
                    <a:gd name="connsiteX12" fmla="*/ 526111 w 561210"/>
                    <a:gd name="connsiteY12" fmla="*/ 234006 h 508025"/>
                    <a:gd name="connsiteX13" fmla="*/ 522936 w 561210"/>
                    <a:gd name="connsiteY13" fmla="*/ 488006 h 508025"/>
                    <a:gd name="connsiteX14" fmla="*/ 21286 w 561210"/>
                    <a:gd name="connsiteY14" fmla="*/ 449906 h 508025"/>
                    <a:gd name="connsiteX0" fmla="*/ 21286 w 561210"/>
                    <a:gd name="connsiteY0" fmla="*/ 449906 h 508025"/>
                    <a:gd name="connsiteX1" fmla="*/ 24461 w 561210"/>
                    <a:gd name="connsiteY1" fmla="*/ 214956 h 508025"/>
                    <a:gd name="connsiteX2" fmla="*/ 40336 w 561210"/>
                    <a:gd name="connsiteY2" fmla="*/ 176856 h 508025"/>
                    <a:gd name="connsiteX3" fmla="*/ 87961 w 561210"/>
                    <a:gd name="connsiteY3" fmla="*/ 160981 h 508025"/>
                    <a:gd name="connsiteX4" fmla="*/ 189561 w 561210"/>
                    <a:gd name="connsiteY4" fmla="*/ 154631 h 508025"/>
                    <a:gd name="connsiteX5" fmla="*/ 214961 w 561210"/>
                    <a:gd name="connsiteY5" fmla="*/ 151456 h 508025"/>
                    <a:gd name="connsiteX6" fmla="*/ 218136 w 561210"/>
                    <a:gd name="connsiteY6" fmla="*/ 18106 h 508025"/>
                    <a:gd name="connsiteX7" fmla="*/ 329261 w 561210"/>
                    <a:gd name="connsiteY7" fmla="*/ 14931 h 508025"/>
                    <a:gd name="connsiteX8" fmla="*/ 329261 w 561210"/>
                    <a:gd name="connsiteY8" fmla="*/ 145106 h 508025"/>
                    <a:gd name="connsiteX9" fmla="*/ 370536 w 561210"/>
                    <a:gd name="connsiteY9" fmla="*/ 151456 h 508025"/>
                    <a:gd name="connsiteX10" fmla="*/ 462611 w 561210"/>
                    <a:gd name="connsiteY10" fmla="*/ 164156 h 508025"/>
                    <a:gd name="connsiteX11" fmla="*/ 503886 w 561210"/>
                    <a:gd name="connsiteY11" fmla="*/ 189556 h 508025"/>
                    <a:gd name="connsiteX12" fmla="*/ 526111 w 561210"/>
                    <a:gd name="connsiteY12" fmla="*/ 234006 h 508025"/>
                    <a:gd name="connsiteX13" fmla="*/ 522936 w 561210"/>
                    <a:gd name="connsiteY13" fmla="*/ 488006 h 508025"/>
                    <a:gd name="connsiteX14" fmla="*/ 21286 w 561210"/>
                    <a:gd name="connsiteY14" fmla="*/ 449906 h 508025"/>
                    <a:gd name="connsiteX0" fmla="*/ 4360 w 544284"/>
                    <a:gd name="connsiteY0" fmla="*/ 449906 h 508025"/>
                    <a:gd name="connsiteX1" fmla="*/ 7535 w 544284"/>
                    <a:gd name="connsiteY1" fmla="*/ 214956 h 508025"/>
                    <a:gd name="connsiteX2" fmla="*/ 23410 w 544284"/>
                    <a:gd name="connsiteY2" fmla="*/ 176856 h 508025"/>
                    <a:gd name="connsiteX3" fmla="*/ 71035 w 544284"/>
                    <a:gd name="connsiteY3" fmla="*/ 160981 h 508025"/>
                    <a:gd name="connsiteX4" fmla="*/ 172635 w 544284"/>
                    <a:gd name="connsiteY4" fmla="*/ 154631 h 508025"/>
                    <a:gd name="connsiteX5" fmla="*/ 198035 w 544284"/>
                    <a:gd name="connsiteY5" fmla="*/ 151456 h 508025"/>
                    <a:gd name="connsiteX6" fmla="*/ 201210 w 544284"/>
                    <a:gd name="connsiteY6" fmla="*/ 18106 h 508025"/>
                    <a:gd name="connsiteX7" fmla="*/ 312335 w 544284"/>
                    <a:gd name="connsiteY7" fmla="*/ 14931 h 508025"/>
                    <a:gd name="connsiteX8" fmla="*/ 312335 w 544284"/>
                    <a:gd name="connsiteY8" fmla="*/ 145106 h 508025"/>
                    <a:gd name="connsiteX9" fmla="*/ 353610 w 544284"/>
                    <a:gd name="connsiteY9" fmla="*/ 151456 h 508025"/>
                    <a:gd name="connsiteX10" fmla="*/ 445685 w 544284"/>
                    <a:gd name="connsiteY10" fmla="*/ 164156 h 508025"/>
                    <a:gd name="connsiteX11" fmla="*/ 486960 w 544284"/>
                    <a:gd name="connsiteY11" fmla="*/ 189556 h 508025"/>
                    <a:gd name="connsiteX12" fmla="*/ 509185 w 544284"/>
                    <a:gd name="connsiteY12" fmla="*/ 234006 h 508025"/>
                    <a:gd name="connsiteX13" fmla="*/ 506010 w 544284"/>
                    <a:gd name="connsiteY13" fmla="*/ 488006 h 508025"/>
                    <a:gd name="connsiteX14" fmla="*/ 4360 w 544284"/>
                    <a:gd name="connsiteY14" fmla="*/ 449906 h 508025"/>
                    <a:gd name="connsiteX0" fmla="*/ 4360 w 544284"/>
                    <a:gd name="connsiteY0" fmla="*/ 449906 h 500804"/>
                    <a:gd name="connsiteX1" fmla="*/ 7535 w 544284"/>
                    <a:gd name="connsiteY1" fmla="*/ 214956 h 500804"/>
                    <a:gd name="connsiteX2" fmla="*/ 23410 w 544284"/>
                    <a:gd name="connsiteY2" fmla="*/ 176856 h 500804"/>
                    <a:gd name="connsiteX3" fmla="*/ 71035 w 544284"/>
                    <a:gd name="connsiteY3" fmla="*/ 160981 h 500804"/>
                    <a:gd name="connsiteX4" fmla="*/ 172635 w 544284"/>
                    <a:gd name="connsiteY4" fmla="*/ 154631 h 500804"/>
                    <a:gd name="connsiteX5" fmla="*/ 198035 w 544284"/>
                    <a:gd name="connsiteY5" fmla="*/ 151456 h 500804"/>
                    <a:gd name="connsiteX6" fmla="*/ 201210 w 544284"/>
                    <a:gd name="connsiteY6" fmla="*/ 18106 h 500804"/>
                    <a:gd name="connsiteX7" fmla="*/ 312335 w 544284"/>
                    <a:gd name="connsiteY7" fmla="*/ 14931 h 500804"/>
                    <a:gd name="connsiteX8" fmla="*/ 312335 w 544284"/>
                    <a:gd name="connsiteY8" fmla="*/ 145106 h 500804"/>
                    <a:gd name="connsiteX9" fmla="*/ 353610 w 544284"/>
                    <a:gd name="connsiteY9" fmla="*/ 151456 h 500804"/>
                    <a:gd name="connsiteX10" fmla="*/ 445685 w 544284"/>
                    <a:gd name="connsiteY10" fmla="*/ 164156 h 500804"/>
                    <a:gd name="connsiteX11" fmla="*/ 486960 w 544284"/>
                    <a:gd name="connsiteY11" fmla="*/ 189556 h 500804"/>
                    <a:gd name="connsiteX12" fmla="*/ 509185 w 544284"/>
                    <a:gd name="connsiteY12" fmla="*/ 234006 h 500804"/>
                    <a:gd name="connsiteX13" fmla="*/ 506010 w 544284"/>
                    <a:gd name="connsiteY13" fmla="*/ 488006 h 500804"/>
                    <a:gd name="connsiteX14" fmla="*/ 4360 w 544284"/>
                    <a:gd name="connsiteY14" fmla="*/ 449906 h 500804"/>
                    <a:gd name="connsiteX0" fmla="*/ 4360 w 544284"/>
                    <a:gd name="connsiteY0" fmla="*/ 449906 h 500804"/>
                    <a:gd name="connsiteX1" fmla="*/ 7535 w 544284"/>
                    <a:gd name="connsiteY1" fmla="*/ 214956 h 500804"/>
                    <a:gd name="connsiteX2" fmla="*/ 23410 w 544284"/>
                    <a:gd name="connsiteY2" fmla="*/ 176856 h 500804"/>
                    <a:gd name="connsiteX3" fmla="*/ 71035 w 544284"/>
                    <a:gd name="connsiteY3" fmla="*/ 160981 h 500804"/>
                    <a:gd name="connsiteX4" fmla="*/ 172635 w 544284"/>
                    <a:gd name="connsiteY4" fmla="*/ 154631 h 500804"/>
                    <a:gd name="connsiteX5" fmla="*/ 198035 w 544284"/>
                    <a:gd name="connsiteY5" fmla="*/ 151456 h 500804"/>
                    <a:gd name="connsiteX6" fmla="*/ 201210 w 544284"/>
                    <a:gd name="connsiteY6" fmla="*/ 18106 h 500804"/>
                    <a:gd name="connsiteX7" fmla="*/ 312335 w 544284"/>
                    <a:gd name="connsiteY7" fmla="*/ 14931 h 500804"/>
                    <a:gd name="connsiteX8" fmla="*/ 312335 w 544284"/>
                    <a:gd name="connsiteY8" fmla="*/ 145106 h 500804"/>
                    <a:gd name="connsiteX9" fmla="*/ 353610 w 544284"/>
                    <a:gd name="connsiteY9" fmla="*/ 151456 h 500804"/>
                    <a:gd name="connsiteX10" fmla="*/ 445685 w 544284"/>
                    <a:gd name="connsiteY10" fmla="*/ 164156 h 500804"/>
                    <a:gd name="connsiteX11" fmla="*/ 486960 w 544284"/>
                    <a:gd name="connsiteY11" fmla="*/ 189556 h 500804"/>
                    <a:gd name="connsiteX12" fmla="*/ 509185 w 544284"/>
                    <a:gd name="connsiteY12" fmla="*/ 234006 h 500804"/>
                    <a:gd name="connsiteX13" fmla="*/ 506010 w 544284"/>
                    <a:gd name="connsiteY13" fmla="*/ 488006 h 500804"/>
                    <a:gd name="connsiteX14" fmla="*/ 4360 w 544284"/>
                    <a:gd name="connsiteY14" fmla="*/ 449906 h 500804"/>
                    <a:gd name="connsiteX0" fmla="*/ 4360 w 519024"/>
                    <a:gd name="connsiteY0" fmla="*/ 449906 h 500804"/>
                    <a:gd name="connsiteX1" fmla="*/ 7535 w 519024"/>
                    <a:gd name="connsiteY1" fmla="*/ 214956 h 500804"/>
                    <a:gd name="connsiteX2" fmla="*/ 23410 w 519024"/>
                    <a:gd name="connsiteY2" fmla="*/ 176856 h 500804"/>
                    <a:gd name="connsiteX3" fmla="*/ 71035 w 519024"/>
                    <a:gd name="connsiteY3" fmla="*/ 160981 h 500804"/>
                    <a:gd name="connsiteX4" fmla="*/ 172635 w 519024"/>
                    <a:gd name="connsiteY4" fmla="*/ 154631 h 500804"/>
                    <a:gd name="connsiteX5" fmla="*/ 198035 w 519024"/>
                    <a:gd name="connsiteY5" fmla="*/ 151456 h 500804"/>
                    <a:gd name="connsiteX6" fmla="*/ 201210 w 519024"/>
                    <a:gd name="connsiteY6" fmla="*/ 18106 h 500804"/>
                    <a:gd name="connsiteX7" fmla="*/ 312335 w 519024"/>
                    <a:gd name="connsiteY7" fmla="*/ 14931 h 500804"/>
                    <a:gd name="connsiteX8" fmla="*/ 312335 w 519024"/>
                    <a:gd name="connsiteY8" fmla="*/ 145106 h 500804"/>
                    <a:gd name="connsiteX9" fmla="*/ 353610 w 519024"/>
                    <a:gd name="connsiteY9" fmla="*/ 151456 h 500804"/>
                    <a:gd name="connsiteX10" fmla="*/ 445685 w 519024"/>
                    <a:gd name="connsiteY10" fmla="*/ 164156 h 500804"/>
                    <a:gd name="connsiteX11" fmla="*/ 486960 w 519024"/>
                    <a:gd name="connsiteY11" fmla="*/ 189556 h 500804"/>
                    <a:gd name="connsiteX12" fmla="*/ 509185 w 519024"/>
                    <a:gd name="connsiteY12" fmla="*/ 234006 h 500804"/>
                    <a:gd name="connsiteX13" fmla="*/ 506010 w 519024"/>
                    <a:gd name="connsiteY13" fmla="*/ 488006 h 500804"/>
                    <a:gd name="connsiteX14" fmla="*/ 4360 w 519024"/>
                    <a:gd name="connsiteY14" fmla="*/ 449906 h 500804"/>
                    <a:gd name="connsiteX0" fmla="*/ 4360 w 519024"/>
                    <a:gd name="connsiteY0" fmla="*/ 449906 h 488006"/>
                    <a:gd name="connsiteX1" fmla="*/ 7535 w 519024"/>
                    <a:gd name="connsiteY1" fmla="*/ 214956 h 488006"/>
                    <a:gd name="connsiteX2" fmla="*/ 23410 w 519024"/>
                    <a:gd name="connsiteY2" fmla="*/ 176856 h 488006"/>
                    <a:gd name="connsiteX3" fmla="*/ 71035 w 519024"/>
                    <a:gd name="connsiteY3" fmla="*/ 160981 h 488006"/>
                    <a:gd name="connsiteX4" fmla="*/ 172635 w 519024"/>
                    <a:gd name="connsiteY4" fmla="*/ 154631 h 488006"/>
                    <a:gd name="connsiteX5" fmla="*/ 198035 w 519024"/>
                    <a:gd name="connsiteY5" fmla="*/ 151456 h 488006"/>
                    <a:gd name="connsiteX6" fmla="*/ 201210 w 519024"/>
                    <a:gd name="connsiteY6" fmla="*/ 18106 h 488006"/>
                    <a:gd name="connsiteX7" fmla="*/ 312335 w 519024"/>
                    <a:gd name="connsiteY7" fmla="*/ 14931 h 488006"/>
                    <a:gd name="connsiteX8" fmla="*/ 312335 w 519024"/>
                    <a:gd name="connsiteY8" fmla="*/ 145106 h 488006"/>
                    <a:gd name="connsiteX9" fmla="*/ 353610 w 519024"/>
                    <a:gd name="connsiteY9" fmla="*/ 151456 h 488006"/>
                    <a:gd name="connsiteX10" fmla="*/ 445685 w 519024"/>
                    <a:gd name="connsiteY10" fmla="*/ 164156 h 488006"/>
                    <a:gd name="connsiteX11" fmla="*/ 486960 w 519024"/>
                    <a:gd name="connsiteY11" fmla="*/ 189556 h 488006"/>
                    <a:gd name="connsiteX12" fmla="*/ 509185 w 519024"/>
                    <a:gd name="connsiteY12" fmla="*/ 234006 h 488006"/>
                    <a:gd name="connsiteX13" fmla="*/ 506010 w 519024"/>
                    <a:gd name="connsiteY13" fmla="*/ 488006 h 488006"/>
                    <a:gd name="connsiteX14" fmla="*/ 4360 w 519024"/>
                    <a:gd name="connsiteY14" fmla="*/ 449906 h 488006"/>
                    <a:gd name="connsiteX0" fmla="*/ 4360 w 523534"/>
                    <a:gd name="connsiteY0" fmla="*/ 449906 h 472131"/>
                    <a:gd name="connsiteX1" fmla="*/ 7535 w 523534"/>
                    <a:gd name="connsiteY1" fmla="*/ 214956 h 472131"/>
                    <a:gd name="connsiteX2" fmla="*/ 23410 w 523534"/>
                    <a:gd name="connsiteY2" fmla="*/ 176856 h 472131"/>
                    <a:gd name="connsiteX3" fmla="*/ 71035 w 523534"/>
                    <a:gd name="connsiteY3" fmla="*/ 160981 h 472131"/>
                    <a:gd name="connsiteX4" fmla="*/ 172635 w 523534"/>
                    <a:gd name="connsiteY4" fmla="*/ 154631 h 472131"/>
                    <a:gd name="connsiteX5" fmla="*/ 198035 w 523534"/>
                    <a:gd name="connsiteY5" fmla="*/ 151456 h 472131"/>
                    <a:gd name="connsiteX6" fmla="*/ 201210 w 523534"/>
                    <a:gd name="connsiteY6" fmla="*/ 18106 h 472131"/>
                    <a:gd name="connsiteX7" fmla="*/ 312335 w 523534"/>
                    <a:gd name="connsiteY7" fmla="*/ 14931 h 472131"/>
                    <a:gd name="connsiteX8" fmla="*/ 312335 w 523534"/>
                    <a:gd name="connsiteY8" fmla="*/ 145106 h 472131"/>
                    <a:gd name="connsiteX9" fmla="*/ 353610 w 523534"/>
                    <a:gd name="connsiteY9" fmla="*/ 151456 h 472131"/>
                    <a:gd name="connsiteX10" fmla="*/ 445685 w 523534"/>
                    <a:gd name="connsiteY10" fmla="*/ 164156 h 472131"/>
                    <a:gd name="connsiteX11" fmla="*/ 486960 w 523534"/>
                    <a:gd name="connsiteY11" fmla="*/ 189556 h 472131"/>
                    <a:gd name="connsiteX12" fmla="*/ 509185 w 523534"/>
                    <a:gd name="connsiteY12" fmla="*/ 234006 h 472131"/>
                    <a:gd name="connsiteX13" fmla="*/ 512360 w 523534"/>
                    <a:gd name="connsiteY13" fmla="*/ 472131 h 472131"/>
                    <a:gd name="connsiteX14" fmla="*/ 4360 w 523534"/>
                    <a:gd name="connsiteY14" fmla="*/ 449906 h 472131"/>
                    <a:gd name="connsiteX0" fmla="*/ 4360 w 513675"/>
                    <a:gd name="connsiteY0" fmla="*/ 449906 h 472131"/>
                    <a:gd name="connsiteX1" fmla="*/ 7535 w 513675"/>
                    <a:gd name="connsiteY1" fmla="*/ 214956 h 472131"/>
                    <a:gd name="connsiteX2" fmla="*/ 23410 w 513675"/>
                    <a:gd name="connsiteY2" fmla="*/ 176856 h 472131"/>
                    <a:gd name="connsiteX3" fmla="*/ 71035 w 513675"/>
                    <a:gd name="connsiteY3" fmla="*/ 160981 h 472131"/>
                    <a:gd name="connsiteX4" fmla="*/ 172635 w 513675"/>
                    <a:gd name="connsiteY4" fmla="*/ 154631 h 472131"/>
                    <a:gd name="connsiteX5" fmla="*/ 198035 w 513675"/>
                    <a:gd name="connsiteY5" fmla="*/ 151456 h 472131"/>
                    <a:gd name="connsiteX6" fmla="*/ 201210 w 513675"/>
                    <a:gd name="connsiteY6" fmla="*/ 18106 h 472131"/>
                    <a:gd name="connsiteX7" fmla="*/ 312335 w 513675"/>
                    <a:gd name="connsiteY7" fmla="*/ 14931 h 472131"/>
                    <a:gd name="connsiteX8" fmla="*/ 312335 w 513675"/>
                    <a:gd name="connsiteY8" fmla="*/ 145106 h 472131"/>
                    <a:gd name="connsiteX9" fmla="*/ 353610 w 513675"/>
                    <a:gd name="connsiteY9" fmla="*/ 151456 h 472131"/>
                    <a:gd name="connsiteX10" fmla="*/ 445685 w 513675"/>
                    <a:gd name="connsiteY10" fmla="*/ 164156 h 472131"/>
                    <a:gd name="connsiteX11" fmla="*/ 486960 w 513675"/>
                    <a:gd name="connsiteY11" fmla="*/ 189556 h 472131"/>
                    <a:gd name="connsiteX12" fmla="*/ 509185 w 513675"/>
                    <a:gd name="connsiteY12" fmla="*/ 234006 h 472131"/>
                    <a:gd name="connsiteX13" fmla="*/ 512360 w 513675"/>
                    <a:gd name="connsiteY13" fmla="*/ 472131 h 472131"/>
                    <a:gd name="connsiteX14" fmla="*/ 4360 w 513675"/>
                    <a:gd name="connsiteY14" fmla="*/ 449906 h 472131"/>
                    <a:gd name="connsiteX0" fmla="*/ 4360 w 513675"/>
                    <a:gd name="connsiteY0" fmla="*/ 446969 h 469194"/>
                    <a:gd name="connsiteX1" fmla="*/ 7535 w 513675"/>
                    <a:gd name="connsiteY1" fmla="*/ 212019 h 469194"/>
                    <a:gd name="connsiteX2" fmla="*/ 23410 w 513675"/>
                    <a:gd name="connsiteY2" fmla="*/ 173919 h 469194"/>
                    <a:gd name="connsiteX3" fmla="*/ 71035 w 513675"/>
                    <a:gd name="connsiteY3" fmla="*/ 158044 h 469194"/>
                    <a:gd name="connsiteX4" fmla="*/ 172635 w 513675"/>
                    <a:gd name="connsiteY4" fmla="*/ 151694 h 469194"/>
                    <a:gd name="connsiteX5" fmla="*/ 188510 w 513675"/>
                    <a:gd name="connsiteY5" fmla="*/ 94544 h 469194"/>
                    <a:gd name="connsiteX6" fmla="*/ 201210 w 513675"/>
                    <a:gd name="connsiteY6" fmla="*/ 15169 h 469194"/>
                    <a:gd name="connsiteX7" fmla="*/ 312335 w 513675"/>
                    <a:gd name="connsiteY7" fmla="*/ 11994 h 469194"/>
                    <a:gd name="connsiteX8" fmla="*/ 312335 w 513675"/>
                    <a:gd name="connsiteY8" fmla="*/ 142169 h 469194"/>
                    <a:gd name="connsiteX9" fmla="*/ 353610 w 513675"/>
                    <a:gd name="connsiteY9" fmla="*/ 148519 h 469194"/>
                    <a:gd name="connsiteX10" fmla="*/ 445685 w 513675"/>
                    <a:gd name="connsiteY10" fmla="*/ 161219 h 469194"/>
                    <a:gd name="connsiteX11" fmla="*/ 486960 w 513675"/>
                    <a:gd name="connsiteY11" fmla="*/ 186619 h 469194"/>
                    <a:gd name="connsiteX12" fmla="*/ 509185 w 513675"/>
                    <a:gd name="connsiteY12" fmla="*/ 231069 h 469194"/>
                    <a:gd name="connsiteX13" fmla="*/ 512360 w 513675"/>
                    <a:gd name="connsiteY13" fmla="*/ 469194 h 469194"/>
                    <a:gd name="connsiteX14" fmla="*/ 4360 w 513675"/>
                    <a:gd name="connsiteY14" fmla="*/ 446969 h 469194"/>
                    <a:gd name="connsiteX0" fmla="*/ 4360 w 513675"/>
                    <a:gd name="connsiteY0" fmla="*/ 443409 h 465634"/>
                    <a:gd name="connsiteX1" fmla="*/ 7535 w 513675"/>
                    <a:gd name="connsiteY1" fmla="*/ 208459 h 465634"/>
                    <a:gd name="connsiteX2" fmla="*/ 23410 w 513675"/>
                    <a:gd name="connsiteY2" fmla="*/ 170359 h 465634"/>
                    <a:gd name="connsiteX3" fmla="*/ 71035 w 513675"/>
                    <a:gd name="connsiteY3" fmla="*/ 154484 h 465634"/>
                    <a:gd name="connsiteX4" fmla="*/ 172635 w 513675"/>
                    <a:gd name="connsiteY4" fmla="*/ 148134 h 465634"/>
                    <a:gd name="connsiteX5" fmla="*/ 188510 w 513675"/>
                    <a:gd name="connsiteY5" fmla="*/ 90984 h 465634"/>
                    <a:gd name="connsiteX6" fmla="*/ 201210 w 513675"/>
                    <a:gd name="connsiteY6" fmla="*/ 11609 h 465634"/>
                    <a:gd name="connsiteX7" fmla="*/ 312335 w 513675"/>
                    <a:gd name="connsiteY7" fmla="*/ 8434 h 465634"/>
                    <a:gd name="connsiteX8" fmla="*/ 312335 w 513675"/>
                    <a:gd name="connsiteY8" fmla="*/ 87809 h 465634"/>
                    <a:gd name="connsiteX9" fmla="*/ 353610 w 513675"/>
                    <a:gd name="connsiteY9" fmla="*/ 144959 h 465634"/>
                    <a:gd name="connsiteX10" fmla="*/ 445685 w 513675"/>
                    <a:gd name="connsiteY10" fmla="*/ 157659 h 465634"/>
                    <a:gd name="connsiteX11" fmla="*/ 486960 w 513675"/>
                    <a:gd name="connsiteY11" fmla="*/ 183059 h 465634"/>
                    <a:gd name="connsiteX12" fmla="*/ 509185 w 513675"/>
                    <a:gd name="connsiteY12" fmla="*/ 227509 h 465634"/>
                    <a:gd name="connsiteX13" fmla="*/ 512360 w 513675"/>
                    <a:gd name="connsiteY13" fmla="*/ 465634 h 465634"/>
                    <a:gd name="connsiteX14" fmla="*/ 4360 w 513675"/>
                    <a:gd name="connsiteY14" fmla="*/ 443409 h 465634"/>
                    <a:gd name="connsiteX0" fmla="*/ 4360 w 513675"/>
                    <a:gd name="connsiteY0" fmla="*/ 443409 h 465634"/>
                    <a:gd name="connsiteX1" fmla="*/ 7535 w 513675"/>
                    <a:gd name="connsiteY1" fmla="*/ 208459 h 465634"/>
                    <a:gd name="connsiteX2" fmla="*/ 23410 w 513675"/>
                    <a:gd name="connsiteY2" fmla="*/ 170359 h 465634"/>
                    <a:gd name="connsiteX3" fmla="*/ 71035 w 513675"/>
                    <a:gd name="connsiteY3" fmla="*/ 154484 h 465634"/>
                    <a:gd name="connsiteX4" fmla="*/ 172635 w 513675"/>
                    <a:gd name="connsiteY4" fmla="*/ 148134 h 465634"/>
                    <a:gd name="connsiteX5" fmla="*/ 188510 w 513675"/>
                    <a:gd name="connsiteY5" fmla="*/ 90984 h 465634"/>
                    <a:gd name="connsiteX6" fmla="*/ 201210 w 513675"/>
                    <a:gd name="connsiteY6" fmla="*/ 11609 h 465634"/>
                    <a:gd name="connsiteX7" fmla="*/ 312335 w 513675"/>
                    <a:gd name="connsiteY7" fmla="*/ 8434 h 465634"/>
                    <a:gd name="connsiteX8" fmla="*/ 312335 w 513675"/>
                    <a:gd name="connsiteY8" fmla="*/ 87809 h 465634"/>
                    <a:gd name="connsiteX9" fmla="*/ 334560 w 513675"/>
                    <a:gd name="connsiteY9" fmla="*/ 135434 h 465634"/>
                    <a:gd name="connsiteX10" fmla="*/ 445685 w 513675"/>
                    <a:gd name="connsiteY10" fmla="*/ 157659 h 465634"/>
                    <a:gd name="connsiteX11" fmla="*/ 486960 w 513675"/>
                    <a:gd name="connsiteY11" fmla="*/ 183059 h 465634"/>
                    <a:gd name="connsiteX12" fmla="*/ 509185 w 513675"/>
                    <a:gd name="connsiteY12" fmla="*/ 227509 h 465634"/>
                    <a:gd name="connsiteX13" fmla="*/ 512360 w 513675"/>
                    <a:gd name="connsiteY13" fmla="*/ 465634 h 465634"/>
                    <a:gd name="connsiteX14" fmla="*/ 4360 w 513675"/>
                    <a:gd name="connsiteY14" fmla="*/ 443409 h 465634"/>
                    <a:gd name="connsiteX0" fmla="*/ 4360 w 510500"/>
                    <a:gd name="connsiteY0" fmla="*/ 443409 h 449759"/>
                    <a:gd name="connsiteX1" fmla="*/ 7535 w 510500"/>
                    <a:gd name="connsiteY1" fmla="*/ 208459 h 449759"/>
                    <a:gd name="connsiteX2" fmla="*/ 23410 w 510500"/>
                    <a:gd name="connsiteY2" fmla="*/ 170359 h 449759"/>
                    <a:gd name="connsiteX3" fmla="*/ 71035 w 510500"/>
                    <a:gd name="connsiteY3" fmla="*/ 154484 h 449759"/>
                    <a:gd name="connsiteX4" fmla="*/ 172635 w 510500"/>
                    <a:gd name="connsiteY4" fmla="*/ 148134 h 449759"/>
                    <a:gd name="connsiteX5" fmla="*/ 188510 w 510500"/>
                    <a:gd name="connsiteY5" fmla="*/ 90984 h 449759"/>
                    <a:gd name="connsiteX6" fmla="*/ 201210 w 510500"/>
                    <a:gd name="connsiteY6" fmla="*/ 11609 h 449759"/>
                    <a:gd name="connsiteX7" fmla="*/ 312335 w 510500"/>
                    <a:gd name="connsiteY7" fmla="*/ 8434 h 449759"/>
                    <a:gd name="connsiteX8" fmla="*/ 312335 w 510500"/>
                    <a:gd name="connsiteY8" fmla="*/ 87809 h 449759"/>
                    <a:gd name="connsiteX9" fmla="*/ 334560 w 510500"/>
                    <a:gd name="connsiteY9" fmla="*/ 135434 h 449759"/>
                    <a:gd name="connsiteX10" fmla="*/ 445685 w 510500"/>
                    <a:gd name="connsiteY10" fmla="*/ 157659 h 449759"/>
                    <a:gd name="connsiteX11" fmla="*/ 486960 w 510500"/>
                    <a:gd name="connsiteY11" fmla="*/ 183059 h 449759"/>
                    <a:gd name="connsiteX12" fmla="*/ 509185 w 510500"/>
                    <a:gd name="connsiteY12" fmla="*/ 227509 h 449759"/>
                    <a:gd name="connsiteX13" fmla="*/ 506010 w 510500"/>
                    <a:gd name="connsiteY13" fmla="*/ 449759 h 449759"/>
                    <a:gd name="connsiteX14" fmla="*/ 4360 w 510500"/>
                    <a:gd name="connsiteY14" fmla="*/ 443409 h 449759"/>
                    <a:gd name="connsiteX0" fmla="*/ 4360 w 510500"/>
                    <a:gd name="connsiteY0" fmla="*/ 443409 h 454926"/>
                    <a:gd name="connsiteX1" fmla="*/ 7535 w 510500"/>
                    <a:gd name="connsiteY1" fmla="*/ 208459 h 454926"/>
                    <a:gd name="connsiteX2" fmla="*/ 23410 w 510500"/>
                    <a:gd name="connsiteY2" fmla="*/ 170359 h 454926"/>
                    <a:gd name="connsiteX3" fmla="*/ 71035 w 510500"/>
                    <a:gd name="connsiteY3" fmla="*/ 154484 h 454926"/>
                    <a:gd name="connsiteX4" fmla="*/ 172635 w 510500"/>
                    <a:gd name="connsiteY4" fmla="*/ 148134 h 454926"/>
                    <a:gd name="connsiteX5" fmla="*/ 188510 w 510500"/>
                    <a:gd name="connsiteY5" fmla="*/ 90984 h 454926"/>
                    <a:gd name="connsiteX6" fmla="*/ 201210 w 510500"/>
                    <a:gd name="connsiteY6" fmla="*/ 11609 h 454926"/>
                    <a:gd name="connsiteX7" fmla="*/ 312335 w 510500"/>
                    <a:gd name="connsiteY7" fmla="*/ 8434 h 454926"/>
                    <a:gd name="connsiteX8" fmla="*/ 312335 w 510500"/>
                    <a:gd name="connsiteY8" fmla="*/ 87809 h 454926"/>
                    <a:gd name="connsiteX9" fmla="*/ 334560 w 510500"/>
                    <a:gd name="connsiteY9" fmla="*/ 135434 h 454926"/>
                    <a:gd name="connsiteX10" fmla="*/ 445685 w 510500"/>
                    <a:gd name="connsiteY10" fmla="*/ 157659 h 454926"/>
                    <a:gd name="connsiteX11" fmla="*/ 486960 w 510500"/>
                    <a:gd name="connsiteY11" fmla="*/ 183059 h 454926"/>
                    <a:gd name="connsiteX12" fmla="*/ 509185 w 510500"/>
                    <a:gd name="connsiteY12" fmla="*/ 227509 h 454926"/>
                    <a:gd name="connsiteX13" fmla="*/ 506010 w 510500"/>
                    <a:gd name="connsiteY13" fmla="*/ 449759 h 454926"/>
                    <a:gd name="connsiteX14" fmla="*/ 4360 w 510500"/>
                    <a:gd name="connsiteY14" fmla="*/ 443409 h 454926"/>
                    <a:gd name="connsiteX0" fmla="*/ 6473 w 512613"/>
                    <a:gd name="connsiteY0" fmla="*/ 443409 h 454926"/>
                    <a:gd name="connsiteX1" fmla="*/ 9648 w 512613"/>
                    <a:gd name="connsiteY1" fmla="*/ 208459 h 454926"/>
                    <a:gd name="connsiteX2" fmla="*/ 73148 w 512613"/>
                    <a:gd name="connsiteY2" fmla="*/ 154484 h 454926"/>
                    <a:gd name="connsiteX3" fmla="*/ 174748 w 512613"/>
                    <a:gd name="connsiteY3" fmla="*/ 148134 h 454926"/>
                    <a:gd name="connsiteX4" fmla="*/ 190623 w 512613"/>
                    <a:gd name="connsiteY4" fmla="*/ 90984 h 454926"/>
                    <a:gd name="connsiteX5" fmla="*/ 203323 w 512613"/>
                    <a:gd name="connsiteY5" fmla="*/ 11609 h 454926"/>
                    <a:gd name="connsiteX6" fmla="*/ 314448 w 512613"/>
                    <a:gd name="connsiteY6" fmla="*/ 8434 h 454926"/>
                    <a:gd name="connsiteX7" fmla="*/ 314448 w 512613"/>
                    <a:gd name="connsiteY7" fmla="*/ 87809 h 454926"/>
                    <a:gd name="connsiteX8" fmla="*/ 336673 w 512613"/>
                    <a:gd name="connsiteY8" fmla="*/ 135434 h 454926"/>
                    <a:gd name="connsiteX9" fmla="*/ 447798 w 512613"/>
                    <a:gd name="connsiteY9" fmla="*/ 157659 h 454926"/>
                    <a:gd name="connsiteX10" fmla="*/ 489073 w 512613"/>
                    <a:gd name="connsiteY10" fmla="*/ 183059 h 454926"/>
                    <a:gd name="connsiteX11" fmla="*/ 511298 w 512613"/>
                    <a:gd name="connsiteY11" fmla="*/ 227509 h 454926"/>
                    <a:gd name="connsiteX12" fmla="*/ 508123 w 512613"/>
                    <a:gd name="connsiteY12" fmla="*/ 449759 h 454926"/>
                    <a:gd name="connsiteX13" fmla="*/ 6473 w 512613"/>
                    <a:gd name="connsiteY13" fmla="*/ 443409 h 454926"/>
                    <a:gd name="connsiteX0" fmla="*/ 4049 w 510189"/>
                    <a:gd name="connsiteY0" fmla="*/ 443409 h 454926"/>
                    <a:gd name="connsiteX1" fmla="*/ 7224 w 510189"/>
                    <a:gd name="connsiteY1" fmla="*/ 208459 h 454926"/>
                    <a:gd name="connsiteX2" fmla="*/ 70724 w 510189"/>
                    <a:gd name="connsiteY2" fmla="*/ 154484 h 454926"/>
                    <a:gd name="connsiteX3" fmla="*/ 172324 w 510189"/>
                    <a:gd name="connsiteY3" fmla="*/ 148134 h 454926"/>
                    <a:gd name="connsiteX4" fmla="*/ 188199 w 510189"/>
                    <a:gd name="connsiteY4" fmla="*/ 90984 h 454926"/>
                    <a:gd name="connsiteX5" fmla="*/ 200899 w 510189"/>
                    <a:gd name="connsiteY5" fmla="*/ 11609 h 454926"/>
                    <a:gd name="connsiteX6" fmla="*/ 312024 w 510189"/>
                    <a:gd name="connsiteY6" fmla="*/ 8434 h 454926"/>
                    <a:gd name="connsiteX7" fmla="*/ 312024 w 510189"/>
                    <a:gd name="connsiteY7" fmla="*/ 87809 h 454926"/>
                    <a:gd name="connsiteX8" fmla="*/ 334249 w 510189"/>
                    <a:gd name="connsiteY8" fmla="*/ 135434 h 454926"/>
                    <a:gd name="connsiteX9" fmla="*/ 445374 w 510189"/>
                    <a:gd name="connsiteY9" fmla="*/ 157659 h 454926"/>
                    <a:gd name="connsiteX10" fmla="*/ 486649 w 510189"/>
                    <a:gd name="connsiteY10" fmla="*/ 183059 h 454926"/>
                    <a:gd name="connsiteX11" fmla="*/ 508874 w 510189"/>
                    <a:gd name="connsiteY11" fmla="*/ 227509 h 454926"/>
                    <a:gd name="connsiteX12" fmla="*/ 505699 w 510189"/>
                    <a:gd name="connsiteY12" fmla="*/ 449759 h 454926"/>
                    <a:gd name="connsiteX13" fmla="*/ 4049 w 510189"/>
                    <a:gd name="connsiteY13" fmla="*/ 443409 h 454926"/>
                    <a:gd name="connsiteX0" fmla="*/ 4049 w 510189"/>
                    <a:gd name="connsiteY0" fmla="*/ 443409 h 454926"/>
                    <a:gd name="connsiteX1" fmla="*/ 7224 w 510189"/>
                    <a:gd name="connsiteY1" fmla="*/ 208459 h 454926"/>
                    <a:gd name="connsiteX2" fmla="*/ 70724 w 510189"/>
                    <a:gd name="connsiteY2" fmla="*/ 154484 h 454926"/>
                    <a:gd name="connsiteX3" fmla="*/ 172324 w 510189"/>
                    <a:gd name="connsiteY3" fmla="*/ 148134 h 454926"/>
                    <a:gd name="connsiteX4" fmla="*/ 188199 w 510189"/>
                    <a:gd name="connsiteY4" fmla="*/ 90984 h 454926"/>
                    <a:gd name="connsiteX5" fmla="*/ 200899 w 510189"/>
                    <a:gd name="connsiteY5" fmla="*/ 11609 h 454926"/>
                    <a:gd name="connsiteX6" fmla="*/ 312024 w 510189"/>
                    <a:gd name="connsiteY6" fmla="*/ 8434 h 454926"/>
                    <a:gd name="connsiteX7" fmla="*/ 312024 w 510189"/>
                    <a:gd name="connsiteY7" fmla="*/ 87809 h 454926"/>
                    <a:gd name="connsiteX8" fmla="*/ 334249 w 510189"/>
                    <a:gd name="connsiteY8" fmla="*/ 135434 h 454926"/>
                    <a:gd name="connsiteX9" fmla="*/ 445374 w 510189"/>
                    <a:gd name="connsiteY9" fmla="*/ 157659 h 454926"/>
                    <a:gd name="connsiteX10" fmla="*/ 508874 w 510189"/>
                    <a:gd name="connsiteY10" fmla="*/ 227509 h 454926"/>
                    <a:gd name="connsiteX11" fmla="*/ 505699 w 510189"/>
                    <a:gd name="connsiteY11" fmla="*/ 449759 h 454926"/>
                    <a:gd name="connsiteX12" fmla="*/ 4049 w 510189"/>
                    <a:gd name="connsiteY12" fmla="*/ 443409 h 454926"/>
                    <a:gd name="connsiteX0" fmla="*/ 4049 w 510189"/>
                    <a:gd name="connsiteY0" fmla="*/ 443409 h 454926"/>
                    <a:gd name="connsiteX1" fmla="*/ 7224 w 510189"/>
                    <a:gd name="connsiteY1" fmla="*/ 208459 h 454926"/>
                    <a:gd name="connsiteX2" fmla="*/ 70724 w 510189"/>
                    <a:gd name="connsiteY2" fmla="*/ 154484 h 454926"/>
                    <a:gd name="connsiteX3" fmla="*/ 172324 w 510189"/>
                    <a:gd name="connsiteY3" fmla="*/ 148134 h 454926"/>
                    <a:gd name="connsiteX4" fmla="*/ 188199 w 510189"/>
                    <a:gd name="connsiteY4" fmla="*/ 90984 h 454926"/>
                    <a:gd name="connsiteX5" fmla="*/ 200899 w 510189"/>
                    <a:gd name="connsiteY5" fmla="*/ 11609 h 454926"/>
                    <a:gd name="connsiteX6" fmla="*/ 312024 w 510189"/>
                    <a:gd name="connsiteY6" fmla="*/ 8434 h 454926"/>
                    <a:gd name="connsiteX7" fmla="*/ 312024 w 510189"/>
                    <a:gd name="connsiteY7" fmla="*/ 87809 h 454926"/>
                    <a:gd name="connsiteX8" fmla="*/ 334249 w 510189"/>
                    <a:gd name="connsiteY8" fmla="*/ 135434 h 454926"/>
                    <a:gd name="connsiteX9" fmla="*/ 445374 w 510189"/>
                    <a:gd name="connsiteY9" fmla="*/ 157659 h 454926"/>
                    <a:gd name="connsiteX10" fmla="*/ 508874 w 510189"/>
                    <a:gd name="connsiteY10" fmla="*/ 227509 h 454926"/>
                    <a:gd name="connsiteX11" fmla="*/ 505699 w 510189"/>
                    <a:gd name="connsiteY11" fmla="*/ 449759 h 454926"/>
                    <a:gd name="connsiteX12" fmla="*/ 4049 w 510189"/>
                    <a:gd name="connsiteY12" fmla="*/ 443409 h 454926"/>
                    <a:gd name="connsiteX0" fmla="*/ 5987 w 512127"/>
                    <a:gd name="connsiteY0" fmla="*/ 443409 h 454926"/>
                    <a:gd name="connsiteX1" fmla="*/ 2812 w 512127"/>
                    <a:gd name="connsiteY1" fmla="*/ 217984 h 454926"/>
                    <a:gd name="connsiteX2" fmla="*/ 72662 w 512127"/>
                    <a:gd name="connsiteY2" fmla="*/ 154484 h 454926"/>
                    <a:gd name="connsiteX3" fmla="*/ 174262 w 512127"/>
                    <a:gd name="connsiteY3" fmla="*/ 148134 h 454926"/>
                    <a:gd name="connsiteX4" fmla="*/ 190137 w 512127"/>
                    <a:gd name="connsiteY4" fmla="*/ 90984 h 454926"/>
                    <a:gd name="connsiteX5" fmla="*/ 202837 w 512127"/>
                    <a:gd name="connsiteY5" fmla="*/ 11609 h 454926"/>
                    <a:gd name="connsiteX6" fmla="*/ 313962 w 512127"/>
                    <a:gd name="connsiteY6" fmla="*/ 8434 h 454926"/>
                    <a:gd name="connsiteX7" fmla="*/ 313962 w 512127"/>
                    <a:gd name="connsiteY7" fmla="*/ 87809 h 454926"/>
                    <a:gd name="connsiteX8" fmla="*/ 336187 w 512127"/>
                    <a:gd name="connsiteY8" fmla="*/ 135434 h 454926"/>
                    <a:gd name="connsiteX9" fmla="*/ 447312 w 512127"/>
                    <a:gd name="connsiteY9" fmla="*/ 157659 h 454926"/>
                    <a:gd name="connsiteX10" fmla="*/ 510812 w 512127"/>
                    <a:gd name="connsiteY10" fmla="*/ 227509 h 454926"/>
                    <a:gd name="connsiteX11" fmla="*/ 507637 w 512127"/>
                    <a:gd name="connsiteY11" fmla="*/ 449759 h 454926"/>
                    <a:gd name="connsiteX12" fmla="*/ 5987 w 512127"/>
                    <a:gd name="connsiteY12" fmla="*/ 443409 h 454926"/>
                    <a:gd name="connsiteX0" fmla="*/ 9762 w 515902"/>
                    <a:gd name="connsiteY0" fmla="*/ 443409 h 454926"/>
                    <a:gd name="connsiteX1" fmla="*/ 6587 w 515902"/>
                    <a:gd name="connsiteY1" fmla="*/ 217984 h 454926"/>
                    <a:gd name="connsiteX2" fmla="*/ 76437 w 515902"/>
                    <a:gd name="connsiteY2" fmla="*/ 154484 h 454926"/>
                    <a:gd name="connsiteX3" fmla="*/ 178037 w 515902"/>
                    <a:gd name="connsiteY3" fmla="*/ 148134 h 454926"/>
                    <a:gd name="connsiteX4" fmla="*/ 193912 w 515902"/>
                    <a:gd name="connsiteY4" fmla="*/ 90984 h 454926"/>
                    <a:gd name="connsiteX5" fmla="*/ 206612 w 515902"/>
                    <a:gd name="connsiteY5" fmla="*/ 11609 h 454926"/>
                    <a:gd name="connsiteX6" fmla="*/ 317737 w 515902"/>
                    <a:gd name="connsiteY6" fmla="*/ 8434 h 454926"/>
                    <a:gd name="connsiteX7" fmla="*/ 317737 w 515902"/>
                    <a:gd name="connsiteY7" fmla="*/ 87809 h 454926"/>
                    <a:gd name="connsiteX8" fmla="*/ 339962 w 515902"/>
                    <a:gd name="connsiteY8" fmla="*/ 135434 h 454926"/>
                    <a:gd name="connsiteX9" fmla="*/ 451087 w 515902"/>
                    <a:gd name="connsiteY9" fmla="*/ 157659 h 454926"/>
                    <a:gd name="connsiteX10" fmla="*/ 514587 w 515902"/>
                    <a:gd name="connsiteY10" fmla="*/ 227509 h 454926"/>
                    <a:gd name="connsiteX11" fmla="*/ 511412 w 515902"/>
                    <a:gd name="connsiteY11" fmla="*/ 449759 h 454926"/>
                    <a:gd name="connsiteX12" fmla="*/ 9762 w 515902"/>
                    <a:gd name="connsiteY12" fmla="*/ 443409 h 454926"/>
                    <a:gd name="connsiteX0" fmla="*/ 9762 w 515902"/>
                    <a:gd name="connsiteY0" fmla="*/ 443409 h 454926"/>
                    <a:gd name="connsiteX1" fmla="*/ 6587 w 515902"/>
                    <a:gd name="connsiteY1" fmla="*/ 217984 h 454926"/>
                    <a:gd name="connsiteX2" fmla="*/ 76437 w 515902"/>
                    <a:gd name="connsiteY2" fmla="*/ 154484 h 454926"/>
                    <a:gd name="connsiteX3" fmla="*/ 178037 w 515902"/>
                    <a:gd name="connsiteY3" fmla="*/ 148134 h 454926"/>
                    <a:gd name="connsiteX4" fmla="*/ 193912 w 515902"/>
                    <a:gd name="connsiteY4" fmla="*/ 90984 h 454926"/>
                    <a:gd name="connsiteX5" fmla="*/ 206612 w 515902"/>
                    <a:gd name="connsiteY5" fmla="*/ 11609 h 454926"/>
                    <a:gd name="connsiteX6" fmla="*/ 317737 w 515902"/>
                    <a:gd name="connsiteY6" fmla="*/ 8434 h 454926"/>
                    <a:gd name="connsiteX7" fmla="*/ 317737 w 515902"/>
                    <a:gd name="connsiteY7" fmla="*/ 87809 h 454926"/>
                    <a:gd name="connsiteX8" fmla="*/ 339962 w 515902"/>
                    <a:gd name="connsiteY8" fmla="*/ 135434 h 454926"/>
                    <a:gd name="connsiteX9" fmla="*/ 451087 w 515902"/>
                    <a:gd name="connsiteY9" fmla="*/ 157659 h 454926"/>
                    <a:gd name="connsiteX10" fmla="*/ 514587 w 515902"/>
                    <a:gd name="connsiteY10" fmla="*/ 227509 h 454926"/>
                    <a:gd name="connsiteX11" fmla="*/ 511412 w 515902"/>
                    <a:gd name="connsiteY11" fmla="*/ 449759 h 454926"/>
                    <a:gd name="connsiteX12" fmla="*/ 9762 w 515902"/>
                    <a:gd name="connsiteY12" fmla="*/ 443409 h 454926"/>
                    <a:gd name="connsiteX0" fmla="*/ 9762 w 515902"/>
                    <a:gd name="connsiteY0" fmla="*/ 443409 h 454926"/>
                    <a:gd name="connsiteX1" fmla="*/ 6587 w 515902"/>
                    <a:gd name="connsiteY1" fmla="*/ 217984 h 454926"/>
                    <a:gd name="connsiteX2" fmla="*/ 76437 w 515902"/>
                    <a:gd name="connsiteY2" fmla="*/ 154484 h 454926"/>
                    <a:gd name="connsiteX3" fmla="*/ 193912 w 515902"/>
                    <a:gd name="connsiteY3" fmla="*/ 90984 h 454926"/>
                    <a:gd name="connsiteX4" fmla="*/ 206612 w 515902"/>
                    <a:gd name="connsiteY4" fmla="*/ 11609 h 454926"/>
                    <a:gd name="connsiteX5" fmla="*/ 317737 w 515902"/>
                    <a:gd name="connsiteY5" fmla="*/ 8434 h 454926"/>
                    <a:gd name="connsiteX6" fmla="*/ 317737 w 515902"/>
                    <a:gd name="connsiteY6" fmla="*/ 87809 h 454926"/>
                    <a:gd name="connsiteX7" fmla="*/ 339962 w 515902"/>
                    <a:gd name="connsiteY7" fmla="*/ 135434 h 454926"/>
                    <a:gd name="connsiteX8" fmla="*/ 451087 w 515902"/>
                    <a:gd name="connsiteY8" fmla="*/ 157659 h 454926"/>
                    <a:gd name="connsiteX9" fmla="*/ 514587 w 515902"/>
                    <a:gd name="connsiteY9" fmla="*/ 227509 h 454926"/>
                    <a:gd name="connsiteX10" fmla="*/ 511412 w 515902"/>
                    <a:gd name="connsiteY10" fmla="*/ 449759 h 454926"/>
                    <a:gd name="connsiteX11" fmla="*/ 9762 w 515902"/>
                    <a:gd name="connsiteY11" fmla="*/ 443409 h 454926"/>
                    <a:gd name="connsiteX0" fmla="*/ 9762 w 515902"/>
                    <a:gd name="connsiteY0" fmla="*/ 446099 h 457616"/>
                    <a:gd name="connsiteX1" fmla="*/ 6587 w 515902"/>
                    <a:gd name="connsiteY1" fmla="*/ 220674 h 457616"/>
                    <a:gd name="connsiteX2" fmla="*/ 76437 w 515902"/>
                    <a:gd name="connsiteY2" fmla="*/ 157174 h 457616"/>
                    <a:gd name="connsiteX3" fmla="*/ 190737 w 515902"/>
                    <a:gd name="connsiteY3" fmla="*/ 138124 h 457616"/>
                    <a:gd name="connsiteX4" fmla="*/ 206612 w 515902"/>
                    <a:gd name="connsiteY4" fmla="*/ 14299 h 457616"/>
                    <a:gd name="connsiteX5" fmla="*/ 317737 w 515902"/>
                    <a:gd name="connsiteY5" fmla="*/ 11124 h 457616"/>
                    <a:gd name="connsiteX6" fmla="*/ 317737 w 515902"/>
                    <a:gd name="connsiteY6" fmla="*/ 90499 h 457616"/>
                    <a:gd name="connsiteX7" fmla="*/ 339962 w 515902"/>
                    <a:gd name="connsiteY7" fmla="*/ 138124 h 457616"/>
                    <a:gd name="connsiteX8" fmla="*/ 451087 w 515902"/>
                    <a:gd name="connsiteY8" fmla="*/ 160349 h 457616"/>
                    <a:gd name="connsiteX9" fmla="*/ 514587 w 515902"/>
                    <a:gd name="connsiteY9" fmla="*/ 230199 h 457616"/>
                    <a:gd name="connsiteX10" fmla="*/ 511412 w 515902"/>
                    <a:gd name="connsiteY10" fmla="*/ 452449 h 457616"/>
                    <a:gd name="connsiteX11" fmla="*/ 9762 w 515902"/>
                    <a:gd name="connsiteY11" fmla="*/ 446099 h 457616"/>
                    <a:gd name="connsiteX0" fmla="*/ 9762 w 515902"/>
                    <a:gd name="connsiteY0" fmla="*/ 446099 h 457616"/>
                    <a:gd name="connsiteX1" fmla="*/ 6587 w 515902"/>
                    <a:gd name="connsiteY1" fmla="*/ 220674 h 457616"/>
                    <a:gd name="connsiteX2" fmla="*/ 76437 w 515902"/>
                    <a:gd name="connsiteY2" fmla="*/ 157174 h 457616"/>
                    <a:gd name="connsiteX3" fmla="*/ 190737 w 515902"/>
                    <a:gd name="connsiteY3" fmla="*/ 138124 h 457616"/>
                    <a:gd name="connsiteX4" fmla="*/ 206612 w 515902"/>
                    <a:gd name="connsiteY4" fmla="*/ 14299 h 457616"/>
                    <a:gd name="connsiteX5" fmla="*/ 317737 w 515902"/>
                    <a:gd name="connsiteY5" fmla="*/ 11124 h 457616"/>
                    <a:gd name="connsiteX6" fmla="*/ 317737 w 515902"/>
                    <a:gd name="connsiteY6" fmla="*/ 90499 h 457616"/>
                    <a:gd name="connsiteX7" fmla="*/ 451087 w 515902"/>
                    <a:gd name="connsiteY7" fmla="*/ 160349 h 457616"/>
                    <a:gd name="connsiteX8" fmla="*/ 514587 w 515902"/>
                    <a:gd name="connsiteY8" fmla="*/ 230199 h 457616"/>
                    <a:gd name="connsiteX9" fmla="*/ 511412 w 515902"/>
                    <a:gd name="connsiteY9" fmla="*/ 452449 h 457616"/>
                    <a:gd name="connsiteX10" fmla="*/ 9762 w 515902"/>
                    <a:gd name="connsiteY10" fmla="*/ 446099 h 457616"/>
                    <a:gd name="connsiteX0" fmla="*/ 9762 w 515902"/>
                    <a:gd name="connsiteY0" fmla="*/ 447482 h 458999"/>
                    <a:gd name="connsiteX1" fmla="*/ 6587 w 515902"/>
                    <a:gd name="connsiteY1" fmla="*/ 222057 h 458999"/>
                    <a:gd name="connsiteX2" fmla="*/ 76437 w 515902"/>
                    <a:gd name="connsiteY2" fmla="*/ 158557 h 458999"/>
                    <a:gd name="connsiteX3" fmla="*/ 190737 w 515902"/>
                    <a:gd name="connsiteY3" fmla="*/ 139507 h 458999"/>
                    <a:gd name="connsiteX4" fmla="*/ 206612 w 515902"/>
                    <a:gd name="connsiteY4" fmla="*/ 15682 h 458999"/>
                    <a:gd name="connsiteX5" fmla="*/ 317737 w 515902"/>
                    <a:gd name="connsiteY5" fmla="*/ 12507 h 458999"/>
                    <a:gd name="connsiteX6" fmla="*/ 330437 w 515902"/>
                    <a:gd name="connsiteY6" fmla="*/ 114107 h 458999"/>
                    <a:gd name="connsiteX7" fmla="*/ 451087 w 515902"/>
                    <a:gd name="connsiteY7" fmla="*/ 161732 h 458999"/>
                    <a:gd name="connsiteX8" fmla="*/ 514587 w 515902"/>
                    <a:gd name="connsiteY8" fmla="*/ 231582 h 458999"/>
                    <a:gd name="connsiteX9" fmla="*/ 511412 w 515902"/>
                    <a:gd name="connsiteY9" fmla="*/ 453832 h 458999"/>
                    <a:gd name="connsiteX10" fmla="*/ 9762 w 515902"/>
                    <a:gd name="connsiteY10" fmla="*/ 447482 h 458999"/>
                    <a:gd name="connsiteX0" fmla="*/ 9762 w 515902"/>
                    <a:gd name="connsiteY0" fmla="*/ 446348 h 457865"/>
                    <a:gd name="connsiteX1" fmla="*/ 6587 w 515902"/>
                    <a:gd name="connsiteY1" fmla="*/ 220923 h 457865"/>
                    <a:gd name="connsiteX2" fmla="*/ 76437 w 515902"/>
                    <a:gd name="connsiteY2" fmla="*/ 157423 h 457865"/>
                    <a:gd name="connsiteX3" fmla="*/ 200262 w 515902"/>
                    <a:gd name="connsiteY3" fmla="*/ 119323 h 457865"/>
                    <a:gd name="connsiteX4" fmla="*/ 206612 w 515902"/>
                    <a:gd name="connsiteY4" fmla="*/ 14548 h 457865"/>
                    <a:gd name="connsiteX5" fmla="*/ 317737 w 515902"/>
                    <a:gd name="connsiteY5" fmla="*/ 11373 h 457865"/>
                    <a:gd name="connsiteX6" fmla="*/ 330437 w 515902"/>
                    <a:gd name="connsiteY6" fmla="*/ 112973 h 457865"/>
                    <a:gd name="connsiteX7" fmla="*/ 451087 w 515902"/>
                    <a:gd name="connsiteY7" fmla="*/ 160598 h 457865"/>
                    <a:gd name="connsiteX8" fmla="*/ 514587 w 515902"/>
                    <a:gd name="connsiteY8" fmla="*/ 230448 h 457865"/>
                    <a:gd name="connsiteX9" fmla="*/ 511412 w 515902"/>
                    <a:gd name="connsiteY9" fmla="*/ 452698 h 457865"/>
                    <a:gd name="connsiteX10" fmla="*/ 9762 w 515902"/>
                    <a:gd name="connsiteY10" fmla="*/ 446348 h 457865"/>
                    <a:gd name="connsiteX0" fmla="*/ 9762 w 515902"/>
                    <a:gd name="connsiteY0" fmla="*/ 446681 h 458198"/>
                    <a:gd name="connsiteX1" fmla="*/ 6587 w 515902"/>
                    <a:gd name="connsiteY1" fmla="*/ 221256 h 458198"/>
                    <a:gd name="connsiteX2" fmla="*/ 76437 w 515902"/>
                    <a:gd name="connsiteY2" fmla="*/ 157756 h 458198"/>
                    <a:gd name="connsiteX3" fmla="*/ 200262 w 515902"/>
                    <a:gd name="connsiteY3" fmla="*/ 119656 h 458198"/>
                    <a:gd name="connsiteX4" fmla="*/ 206612 w 515902"/>
                    <a:gd name="connsiteY4" fmla="*/ 14881 h 458198"/>
                    <a:gd name="connsiteX5" fmla="*/ 317737 w 515902"/>
                    <a:gd name="connsiteY5" fmla="*/ 11706 h 458198"/>
                    <a:gd name="connsiteX6" fmla="*/ 311502 w 515902"/>
                    <a:gd name="connsiteY6" fmla="*/ 118302 h 458198"/>
                    <a:gd name="connsiteX7" fmla="*/ 451087 w 515902"/>
                    <a:gd name="connsiteY7" fmla="*/ 160931 h 458198"/>
                    <a:gd name="connsiteX8" fmla="*/ 514587 w 515902"/>
                    <a:gd name="connsiteY8" fmla="*/ 230781 h 458198"/>
                    <a:gd name="connsiteX9" fmla="*/ 511412 w 515902"/>
                    <a:gd name="connsiteY9" fmla="*/ 453031 h 458198"/>
                    <a:gd name="connsiteX10" fmla="*/ 9762 w 515902"/>
                    <a:gd name="connsiteY10" fmla="*/ 446681 h 458198"/>
                    <a:gd name="connsiteX0" fmla="*/ 9762 w 515902"/>
                    <a:gd name="connsiteY0" fmla="*/ 446681 h 458198"/>
                    <a:gd name="connsiteX1" fmla="*/ 6587 w 515902"/>
                    <a:gd name="connsiteY1" fmla="*/ 221256 h 458198"/>
                    <a:gd name="connsiteX2" fmla="*/ 76437 w 515902"/>
                    <a:gd name="connsiteY2" fmla="*/ 157756 h 458198"/>
                    <a:gd name="connsiteX3" fmla="*/ 200262 w 515902"/>
                    <a:gd name="connsiteY3" fmla="*/ 119656 h 458198"/>
                    <a:gd name="connsiteX4" fmla="*/ 206612 w 515902"/>
                    <a:gd name="connsiteY4" fmla="*/ 14881 h 458198"/>
                    <a:gd name="connsiteX5" fmla="*/ 301506 w 515902"/>
                    <a:gd name="connsiteY5" fmla="*/ 11706 h 458198"/>
                    <a:gd name="connsiteX6" fmla="*/ 311502 w 515902"/>
                    <a:gd name="connsiteY6" fmla="*/ 118302 h 458198"/>
                    <a:gd name="connsiteX7" fmla="*/ 451087 w 515902"/>
                    <a:gd name="connsiteY7" fmla="*/ 160931 h 458198"/>
                    <a:gd name="connsiteX8" fmla="*/ 514587 w 515902"/>
                    <a:gd name="connsiteY8" fmla="*/ 230781 h 458198"/>
                    <a:gd name="connsiteX9" fmla="*/ 511412 w 515902"/>
                    <a:gd name="connsiteY9" fmla="*/ 453031 h 458198"/>
                    <a:gd name="connsiteX10" fmla="*/ 9762 w 515902"/>
                    <a:gd name="connsiteY10" fmla="*/ 446681 h 458198"/>
                    <a:gd name="connsiteX0" fmla="*/ 9762 w 515902"/>
                    <a:gd name="connsiteY0" fmla="*/ 446681 h 458198"/>
                    <a:gd name="connsiteX1" fmla="*/ 6587 w 515902"/>
                    <a:gd name="connsiteY1" fmla="*/ 221256 h 458198"/>
                    <a:gd name="connsiteX2" fmla="*/ 76437 w 515902"/>
                    <a:gd name="connsiteY2" fmla="*/ 157756 h 458198"/>
                    <a:gd name="connsiteX3" fmla="*/ 200262 w 515902"/>
                    <a:gd name="connsiteY3" fmla="*/ 119656 h 458198"/>
                    <a:gd name="connsiteX4" fmla="*/ 206612 w 515902"/>
                    <a:gd name="connsiteY4" fmla="*/ 14881 h 458198"/>
                    <a:gd name="connsiteX5" fmla="*/ 301506 w 515902"/>
                    <a:gd name="connsiteY5" fmla="*/ 11706 h 458198"/>
                    <a:gd name="connsiteX6" fmla="*/ 311502 w 515902"/>
                    <a:gd name="connsiteY6" fmla="*/ 118302 h 458198"/>
                    <a:gd name="connsiteX7" fmla="*/ 442972 w 515902"/>
                    <a:gd name="connsiteY7" fmla="*/ 180912 h 458198"/>
                    <a:gd name="connsiteX8" fmla="*/ 514587 w 515902"/>
                    <a:gd name="connsiteY8" fmla="*/ 230781 h 458198"/>
                    <a:gd name="connsiteX9" fmla="*/ 511412 w 515902"/>
                    <a:gd name="connsiteY9" fmla="*/ 453031 h 458198"/>
                    <a:gd name="connsiteX10" fmla="*/ 9762 w 515902"/>
                    <a:gd name="connsiteY10" fmla="*/ 446681 h 458198"/>
                    <a:gd name="connsiteX0" fmla="*/ 9762 w 511905"/>
                    <a:gd name="connsiteY0" fmla="*/ 446681 h 458198"/>
                    <a:gd name="connsiteX1" fmla="*/ 6587 w 511905"/>
                    <a:gd name="connsiteY1" fmla="*/ 221256 h 458198"/>
                    <a:gd name="connsiteX2" fmla="*/ 76437 w 511905"/>
                    <a:gd name="connsiteY2" fmla="*/ 157756 h 458198"/>
                    <a:gd name="connsiteX3" fmla="*/ 200262 w 511905"/>
                    <a:gd name="connsiteY3" fmla="*/ 119656 h 458198"/>
                    <a:gd name="connsiteX4" fmla="*/ 206612 w 511905"/>
                    <a:gd name="connsiteY4" fmla="*/ 14881 h 458198"/>
                    <a:gd name="connsiteX5" fmla="*/ 301506 w 511905"/>
                    <a:gd name="connsiteY5" fmla="*/ 11706 h 458198"/>
                    <a:gd name="connsiteX6" fmla="*/ 311502 w 511905"/>
                    <a:gd name="connsiteY6" fmla="*/ 118302 h 458198"/>
                    <a:gd name="connsiteX7" fmla="*/ 442972 w 511905"/>
                    <a:gd name="connsiteY7" fmla="*/ 180912 h 458198"/>
                    <a:gd name="connsiteX8" fmla="*/ 498357 w 511905"/>
                    <a:gd name="connsiteY8" fmla="*/ 250762 h 458198"/>
                    <a:gd name="connsiteX9" fmla="*/ 511412 w 511905"/>
                    <a:gd name="connsiteY9" fmla="*/ 453031 h 458198"/>
                    <a:gd name="connsiteX10" fmla="*/ 9762 w 511905"/>
                    <a:gd name="connsiteY10" fmla="*/ 446681 h 458198"/>
                    <a:gd name="connsiteX0" fmla="*/ 9762 w 511905"/>
                    <a:gd name="connsiteY0" fmla="*/ 446681 h 458198"/>
                    <a:gd name="connsiteX1" fmla="*/ 6587 w 511905"/>
                    <a:gd name="connsiteY1" fmla="*/ 221256 h 458198"/>
                    <a:gd name="connsiteX2" fmla="*/ 76437 w 511905"/>
                    <a:gd name="connsiteY2" fmla="*/ 157756 h 458198"/>
                    <a:gd name="connsiteX3" fmla="*/ 200262 w 511905"/>
                    <a:gd name="connsiteY3" fmla="*/ 119656 h 458198"/>
                    <a:gd name="connsiteX4" fmla="*/ 206612 w 511905"/>
                    <a:gd name="connsiteY4" fmla="*/ 14881 h 458198"/>
                    <a:gd name="connsiteX5" fmla="*/ 301506 w 511905"/>
                    <a:gd name="connsiteY5" fmla="*/ 11706 h 458198"/>
                    <a:gd name="connsiteX6" fmla="*/ 311502 w 511905"/>
                    <a:gd name="connsiteY6" fmla="*/ 118302 h 458198"/>
                    <a:gd name="connsiteX7" fmla="*/ 437562 w 511905"/>
                    <a:gd name="connsiteY7" fmla="*/ 198396 h 458198"/>
                    <a:gd name="connsiteX8" fmla="*/ 498357 w 511905"/>
                    <a:gd name="connsiteY8" fmla="*/ 250762 h 458198"/>
                    <a:gd name="connsiteX9" fmla="*/ 511412 w 511905"/>
                    <a:gd name="connsiteY9" fmla="*/ 453031 h 458198"/>
                    <a:gd name="connsiteX10" fmla="*/ 9762 w 511905"/>
                    <a:gd name="connsiteY10" fmla="*/ 446681 h 458198"/>
                    <a:gd name="connsiteX0" fmla="*/ 9762 w 511905"/>
                    <a:gd name="connsiteY0" fmla="*/ 446681 h 458198"/>
                    <a:gd name="connsiteX1" fmla="*/ 6587 w 511905"/>
                    <a:gd name="connsiteY1" fmla="*/ 221256 h 458198"/>
                    <a:gd name="connsiteX2" fmla="*/ 76437 w 511905"/>
                    <a:gd name="connsiteY2" fmla="*/ 157756 h 458198"/>
                    <a:gd name="connsiteX3" fmla="*/ 200262 w 511905"/>
                    <a:gd name="connsiteY3" fmla="*/ 119656 h 458198"/>
                    <a:gd name="connsiteX4" fmla="*/ 206612 w 511905"/>
                    <a:gd name="connsiteY4" fmla="*/ 14881 h 458198"/>
                    <a:gd name="connsiteX5" fmla="*/ 301506 w 511905"/>
                    <a:gd name="connsiteY5" fmla="*/ 11706 h 458198"/>
                    <a:gd name="connsiteX6" fmla="*/ 311502 w 511905"/>
                    <a:gd name="connsiteY6" fmla="*/ 118302 h 458198"/>
                    <a:gd name="connsiteX7" fmla="*/ 451087 w 511905"/>
                    <a:gd name="connsiteY7" fmla="*/ 188406 h 458198"/>
                    <a:gd name="connsiteX8" fmla="*/ 498357 w 511905"/>
                    <a:gd name="connsiteY8" fmla="*/ 250762 h 458198"/>
                    <a:gd name="connsiteX9" fmla="*/ 511412 w 511905"/>
                    <a:gd name="connsiteY9" fmla="*/ 453031 h 458198"/>
                    <a:gd name="connsiteX10" fmla="*/ 9762 w 511905"/>
                    <a:gd name="connsiteY10" fmla="*/ 446681 h 458198"/>
                    <a:gd name="connsiteX0" fmla="*/ 9762 w 511905"/>
                    <a:gd name="connsiteY0" fmla="*/ 447695 h 459212"/>
                    <a:gd name="connsiteX1" fmla="*/ 6587 w 511905"/>
                    <a:gd name="connsiteY1" fmla="*/ 222270 h 459212"/>
                    <a:gd name="connsiteX2" fmla="*/ 76437 w 511905"/>
                    <a:gd name="connsiteY2" fmla="*/ 158770 h 459212"/>
                    <a:gd name="connsiteX3" fmla="*/ 200262 w 511905"/>
                    <a:gd name="connsiteY3" fmla="*/ 120670 h 459212"/>
                    <a:gd name="connsiteX4" fmla="*/ 206612 w 511905"/>
                    <a:gd name="connsiteY4" fmla="*/ 15895 h 459212"/>
                    <a:gd name="connsiteX5" fmla="*/ 301506 w 511905"/>
                    <a:gd name="connsiteY5" fmla="*/ 12720 h 459212"/>
                    <a:gd name="connsiteX6" fmla="*/ 311502 w 511905"/>
                    <a:gd name="connsiteY6" fmla="*/ 134302 h 459212"/>
                    <a:gd name="connsiteX7" fmla="*/ 451087 w 511905"/>
                    <a:gd name="connsiteY7" fmla="*/ 189420 h 459212"/>
                    <a:gd name="connsiteX8" fmla="*/ 498357 w 511905"/>
                    <a:gd name="connsiteY8" fmla="*/ 251776 h 459212"/>
                    <a:gd name="connsiteX9" fmla="*/ 511412 w 511905"/>
                    <a:gd name="connsiteY9" fmla="*/ 454045 h 459212"/>
                    <a:gd name="connsiteX10" fmla="*/ 9762 w 511905"/>
                    <a:gd name="connsiteY10" fmla="*/ 447695 h 459212"/>
                    <a:gd name="connsiteX0" fmla="*/ 4227 w 522600"/>
                    <a:gd name="connsiteY0" fmla="*/ 455188 h 463021"/>
                    <a:gd name="connsiteX1" fmla="*/ 17282 w 522600"/>
                    <a:gd name="connsiteY1" fmla="*/ 222270 h 463021"/>
                    <a:gd name="connsiteX2" fmla="*/ 87132 w 522600"/>
                    <a:gd name="connsiteY2" fmla="*/ 158770 h 463021"/>
                    <a:gd name="connsiteX3" fmla="*/ 210957 w 522600"/>
                    <a:gd name="connsiteY3" fmla="*/ 120670 h 463021"/>
                    <a:gd name="connsiteX4" fmla="*/ 217307 w 522600"/>
                    <a:gd name="connsiteY4" fmla="*/ 15895 h 463021"/>
                    <a:gd name="connsiteX5" fmla="*/ 312201 w 522600"/>
                    <a:gd name="connsiteY5" fmla="*/ 12720 h 463021"/>
                    <a:gd name="connsiteX6" fmla="*/ 322197 w 522600"/>
                    <a:gd name="connsiteY6" fmla="*/ 134302 h 463021"/>
                    <a:gd name="connsiteX7" fmla="*/ 461782 w 522600"/>
                    <a:gd name="connsiteY7" fmla="*/ 189420 h 463021"/>
                    <a:gd name="connsiteX8" fmla="*/ 509052 w 522600"/>
                    <a:gd name="connsiteY8" fmla="*/ 251776 h 463021"/>
                    <a:gd name="connsiteX9" fmla="*/ 522107 w 522600"/>
                    <a:gd name="connsiteY9" fmla="*/ 454045 h 463021"/>
                    <a:gd name="connsiteX10" fmla="*/ 4227 w 522600"/>
                    <a:gd name="connsiteY10" fmla="*/ 455188 h 463021"/>
                    <a:gd name="connsiteX0" fmla="*/ 4227 w 522600"/>
                    <a:gd name="connsiteY0" fmla="*/ 455188 h 457596"/>
                    <a:gd name="connsiteX1" fmla="*/ 17282 w 522600"/>
                    <a:gd name="connsiteY1" fmla="*/ 222270 h 457596"/>
                    <a:gd name="connsiteX2" fmla="*/ 87132 w 522600"/>
                    <a:gd name="connsiteY2" fmla="*/ 158770 h 457596"/>
                    <a:gd name="connsiteX3" fmla="*/ 210957 w 522600"/>
                    <a:gd name="connsiteY3" fmla="*/ 120670 h 457596"/>
                    <a:gd name="connsiteX4" fmla="*/ 217307 w 522600"/>
                    <a:gd name="connsiteY4" fmla="*/ 15895 h 457596"/>
                    <a:gd name="connsiteX5" fmla="*/ 312201 w 522600"/>
                    <a:gd name="connsiteY5" fmla="*/ 12720 h 457596"/>
                    <a:gd name="connsiteX6" fmla="*/ 322197 w 522600"/>
                    <a:gd name="connsiteY6" fmla="*/ 134302 h 457596"/>
                    <a:gd name="connsiteX7" fmla="*/ 461782 w 522600"/>
                    <a:gd name="connsiteY7" fmla="*/ 189420 h 457596"/>
                    <a:gd name="connsiteX8" fmla="*/ 509052 w 522600"/>
                    <a:gd name="connsiteY8" fmla="*/ 251776 h 457596"/>
                    <a:gd name="connsiteX9" fmla="*/ 522107 w 522600"/>
                    <a:gd name="connsiteY9" fmla="*/ 454045 h 457596"/>
                    <a:gd name="connsiteX10" fmla="*/ 4227 w 522600"/>
                    <a:gd name="connsiteY10" fmla="*/ 455188 h 457596"/>
                    <a:gd name="connsiteX0" fmla="*/ 12757 w 531130"/>
                    <a:gd name="connsiteY0" fmla="*/ 455188 h 457596"/>
                    <a:gd name="connsiteX1" fmla="*/ 6876 w 531130"/>
                    <a:gd name="connsiteY1" fmla="*/ 237256 h 457596"/>
                    <a:gd name="connsiteX2" fmla="*/ 95662 w 531130"/>
                    <a:gd name="connsiteY2" fmla="*/ 158770 h 457596"/>
                    <a:gd name="connsiteX3" fmla="*/ 219487 w 531130"/>
                    <a:gd name="connsiteY3" fmla="*/ 120670 h 457596"/>
                    <a:gd name="connsiteX4" fmla="*/ 225837 w 531130"/>
                    <a:gd name="connsiteY4" fmla="*/ 15895 h 457596"/>
                    <a:gd name="connsiteX5" fmla="*/ 320731 w 531130"/>
                    <a:gd name="connsiteY5" fmla="*/ 12720 h 457596"/>
                    <a:gd name="connsiteX6" fmla="*/ 330727 w 531130"/>
                    <a:gd name="connsiteY6" fmla="*/ 134302 h 457596"/>
                    <a:gd name="connsiteX7" fmla="*/ 470312 w 531130"/>
                    <a:gd name="connsiteY7" fmla="*/ 189420 h 457596"/>
                    <a:gd name="connsiteX8" fmla="*/ 517582 w 531130"/>
                    <a:gd name="connsiteY8" fmla="*/ 251776 h 457596"/>
                    <a:gd name="connsiteX9" fmla="*/ 530637 w 531130"/>
                    <a:gd name="connsiteY9" fmla="*/ 454045 h 457596"/>
                    <a:gd name="connsiteX10" fmla="*/ 12757 w 531130"/>
                    <a:gd name="connsiteY10" fmla="*/ 455188 h 457596"/>
                    <a:gd name="connsiteX0" fmla="*/ 7226 w 536419"/>
                    <a:gd name="connsiteY0" fmla="*/ 447695 h 456315"/>
                    <a:gd name="connsiteX1" fmla="*/ 12165 w 536419"/>
                    <a:gd name="connsiteY1" fmla="*/ 237256 h 456315"/>
                    <a:gd name="connsiteX2" fmla="*/ 100951 w 536419"/>
                    <a:gd name="connsiteY2" fmla="*/ 158770 h 456315"/>
                    <a:gd name="connsiteX3" fmla="*/ 224776 w 536419"/>
                    <a:gd name="connsiteY3" fmla="*/ 120670 h 456315"/>
                    <a:gd name="connsiteX4" fmla="*/ 231126 w 536419"/>
                    <a:gd name="connsiteY4" fmla="*/ 15895 h 456315"/>
                    <a:gd name="connsiteX5" fmla="*/ 326020 w 536419"/>
                    <a:gd name="connsiteY5" fmla="*/ 12720 h 456315"/>
                    <a:gd name="connsiteX6" fmla="*/ 336016 w 536419"/>
                    <a:gd name="connsiteY6" fmla="*/ 134302 h 456315"/>
                    <a:gd name="connsiteX7" fmla="*/ 475601 w 536419"/>
                    <a:gd name="connsiteY7" fmla="*/ 189420 h 456315"/>
                    <a:gd name="connsiteX8" fmla="*/ 522871 w 536419"/>
                    <a:gd name="connsiteY8" fmla="*/ 251776 h 456315"/>
                    <a:gd name="connsiteX9" fmla="*/ 535926 w 536419"/>
                    <a:gd name="connsiteY9" fmla="*/ 454045 h 456315"/>
                    <a:gd name="connsiteX10" fmla="*/ 7226 w 536419"/>
                    <a:gd name="connsiteY10" fmla="*/ 447695 h 456315"/>
                    <a:gd name="connsiteX0" fmla="*/ 7226 w 528834"/>
                    <a:gd name="connsiteY0" fmla="*/ 447695 h 456315"/>
                    <a:gd name="connsiteX1" fmla="*/ 12165 w 528834"/>
                    <a:gd name="connsiteY1" fmla="*/ 237256 h 456315"/>
                    <a:gd name="connsiteX2" fmla="*/ 100951 w 528834"/>
                    <a:gd name="connsiteY2" fmla="*/ 158770 h 456315"/>
                    <a:gd name="connsiteX3" fmla="*/ 224776 w 528834"/>
                    <a:gd name="connsiteY3" fmla="*/ 120670 h 456315"/>
                    <a:gd name="connsiteX4" fmla="*/ 231126 w 528834"/>
                    <a:gd name="connsiteY4" fmla="*/ 15895 h 456315"/>
                    <a:gd name="connsiteX5" fmla="*/ 326020 w 528834"/>
                    <a:gd name="connsiteY5" fmla="*/ 12720 h 456315"/>
                    <a:gd name="connsiteX6" fmla="*/ 336016 w 528834"/>
                    <a:gd name="connsiteY6" fmla="*/ 134302 h 456315"/>
                    <a:gd name="connsiteX7" fmla="*/ 475601 w 528834"/>
                    <a:gd name="connsiteY7" fmla="*/ 189420 h 456315"/>
                    <a:gd name="connsiteX8" fmla="*/ 522871 w 528834"/>
                    <a:gd name="connsiteY8" fmla="*/ 251776 h 456315"/>
                    <a:gd name="connsiteX9" fmla="*/ 527811 w 528834"/>
                    <a:gd name="connsiteY9" fmla="*/ 454045 h 456315"/>
                    <a:gd name="connsiteX10" fmla="*/ 7226 w 528834"/>
                    <a:gd name="connsiteY10" fmla="*/ 447695 h 456315"/>
                    <a:gd name="connsiteX0" fmla="*/ 7226 w 528834"/>
                    <a:gd name="connsiteY0" fmla="*/ 447695 h 456315"/>
                    <a:gd name="connsiteX1" fmla="*/ 12165 w 528834"/>
                    <a:gd name="connsiteY1" fmla="*/ 237256 h 456315"/>
                    <a:gd name="connsiteX2" fmla="*/ 100951 w 528834"/>
                    <a:gd name="connsiteY2" fmla="*/ 158770 h 456315"/>
                    <a:gd name="connsiteX3" fmla="*/ 224776 w 528834"/>
                    <a:gd name="connsiteY3" fmla="*/ 120670 h 456315"/>
                    <a:gd name="connsiteX4" fmla="*/ 231126 w 528834"/>
                    <a:gd name="connsiteY4" fmla="*/ 15895 h 456315"/>
                    <a:gd name="connsiteX5" fmla="*/ 326020 w 528834"/>
                    <a:gd name="connsiteY5" fmla="*/ 12720 h 456315"/>
                    <a:gd name="connsiteX6" fmla="*/ 336016 w 528834"/>
                    <a:gd name="connsiteY6" fmla="*/ 134302 h 456315"/>
                    <a:gd name="connsiteX7" fmla="*/ 462076 w 528834"/>
                    <a:gd name="connsiteY7" fmla="*/ 184425 h 456315"/>
                    <a:gd name="connsiteX8" fmla="*/ 522871 w 528834"/>
                    <a:gd name="connsiteY8" fmla="*/ 251776 h 456315"/>
                    <a:gd name="connsiteX9" fmla="*/ 527811 w 528834"/>
                    <a:gd name="connsiteY9" fmla="*/ 454045 h 456315"/>
                    <a:gd name="connsiteX10" fmla="*/ 7226 w 528834"/>
                    <a:gd name="connsiteY10" fmla="*/ 447695 h 456315"/>
                    <a:gd name="connsiteX0" fmla="*/ 8515 w 530123"/>
                    <a:gd name="connsiteY0" fmla="*/ 447695 h 456315"/>
                    <a:gd name="connsiteX1" fmla="*/ 10749 w 530123"/>
                    <a:gd name="connsiteY1" fmla="*/ 244749 h 456315"/>
                    <a:gd name="connsiteX2" fmla="*/ 102240 w 530123"/>
                    <a:gd name="connsiteY2" fmla="*/ 158770 h 456315"/>
                    <a:gd name="connsiteX3" fmla="*/ 226065 w 530123"/>
                    <a:gd name="connsiteY3" fmla="*/ 120670 h 456315"/>
                    <a:gd name="connsiteX4" fmla="*/ 232415 w 530123"/>
                    <a:gd name="connsiteY4" fmla="*/ 15895 h 456315"/>
                    <a:gd name="connsiteX5" fmla="*/ 327309 w 530123"/>
                    <a:gd name="connsiteY5" fmla="*/ 12720 h 456315"/>
                    <a:gd name="connsiteX6" fmla="*/ 337305 w 530123"/>
                    <a:gd name="connsiteY6" fmla="*/ 134302 h 456315"/>
                    <a:gd name="connsiteX7" fmla="*/ 463365 w 530123"/>
                    <a:gd name="connsiteY7" fmla="*/ 184425 h 456315"/>
                    <a:gd name="connsiteX8" fmla="*/ 524160 w 530123"/>
                    <a:gd name="connsiteY8" fmla="*/ 251776 h 456315"/>
                    <a:gd name="connsiteX9" fmla="*/ 529100 w 530123"/>
                    <a:gd name="connsiteY9" fmla="*/ 454045 h 456315"/>
                    <a:gd name="connsiteX10" fmla="*/ 8515 w 530123"/>
                    <a:gd name="connsiteY10" fmla="*/ 447695 h 456315"/>
                    <a:gd name="connsiteX0" fmla="*/ 7671 w 529279"/>
                    <a:gd name="connsiteY0" fmla="*/ 447695 h 456315"/>
                    <a:gd name="connsiteX1" fmla="*/ 9905 w 529279"/>
                    <a:gd name="connsiteY1" fmla="*/ 244749 h 456315"/>
                    <a:gd name="connsiteX2" fmla="*/ 87870 w 529279"/>
                    <a:gd name="connsiteY2" fmla="*/ 166263 h 456315"/>
                    <a:gd name="connsiteX3" fmla="*/ 225221 w 529279"/>
                    <a:gd name="connsiteY3" fmla="*/ 120670 h 456315"/>
                    <a:gd name="connsiteX4" fmla="*/ 231571 w 529279"/>
                    <a:gd name="connsiteY4" fmla="*/ 15895 h 456315"/>
                    <a:gd name="connsiteX5" fmla="*/ 326465 w 529279"/>
                    <a:gd name="connsiteY5" fmla="*/ 12720 h 456315"/>
                    <a:gd name="connsiteX6" fmla="*/ 336461 w 529279"/>
                    <a:gd name="connsiteY6" fmla="*/ 134302 h 456315"/>
                    <a:gd name="connsiteX7" fmla="*/ 462521 w 529279"/>
                    <a:gd name="connsiteY7" fmla="*/ 184425 h 456315"/>
                    <a:gd name="connsiteX8" fmla="*/ 523316 w 529279"/>
                    <a:gd name="connsiteY8" fmla="*/ 251776 h 456315"/>
                    <a:gd name="connsiteX9" fmla="*/ 528256 w 529279"/>
                    <a:gd name="connsiteY9" fmla="*/ 454045 h 456315"/>
                    <a:gd name="connsiteX10" fmla="*/ 7671 w 529279"/>
                    <a:gd name="connsiteY10" fmla="*/ 447695 h 456315"/>
                    <a:gd name="connsiteX0" fmla="*/ 7671 w 529279"/>
                    <a:gd name="connsiteY0" fmla="*/ 447558 h 456178"/>
                    <a:gd name="connsiteX1" fmla="*/ 9905 w 529279"/>
                    <a:gd name="connsiteY1" fmla="*/ 244612 h 456178"/>
                    <a:gd name="connsiteX2" fmla="*/ 87870 w 529279"/>
                    <a:gd name="connsiteY2" fmla="*/ 166126 h 456178"/>
                    <a:gd name="connsiteX3" fmla="*/ 206285 w 529279"/>
                    <a:gd name="connsiteY3" fmla="*/ 118035 h 456178"/>
                    <a:gd name="connsiteX4" fmla="*/ 231571 w 529279"/>
                    <a:gd name="connsiteY4" fmla="*/ 15758 h 456178"/>
                    <a:gd name="connsiteX5" fmla="*/ 326465 w 529279"/>
                    <a:gd name="connsiteY5" fmla="*/ 12583 h 456178"/>
                    <a:gd name="connsiteX6" fmla="*/ 336461 w 529279"/>
                    <a:gd name="connsiteY6" fmla="*/ 134165 h 456178"/>
                    <a:gd name="connsiteX7" fmla="*/ 462521 w 529279"/>
                    <a:gd name="connsiteY7" fmla="*/ 184288 h 456178"/>
                    <a:gd name="connsiteX8" fmla="*/ 523316 w 529279"/>
                    <a:gd name="connsiteY8" fmla="*/ 251639 h 456178"/>
                    <a:gd name="connsiteX9" fmla="*/ 528256 w 529279"/>
                    <a:gd name="connsiteY9" fmla="*/ 453908 h 456178"/>
                    <a:gd name="connsiteX10" fmla="*/ 7671 w 529279"/>
                    <a:gd name="connsiteY10" fmla="*/ 447558 h 456178"/>
                    <a:gd name="connsiteX0" fmla="*/ 14544 w 536152"/>
                    <a:gd name="connsiteY0" fmla="*/ 447558 h 456178"/>
                    <a:gd name="connsiteX1" fmla="*/ 5958 w 536152"/>
                    <a:gd name="connsiteY1" fmla="*/ 247109 h 456178"/>
                    <a:gd name="connsiteX2" fmla="*/ 94743 w 536152"/>
                    <a:gd name="connsiteY2" fmla="*/ 166126 h 456178"/>
                    <a:gd name="connsiteX3" fmla="*/ 213158 w 536152"/>
                    <a:gd name="connsiteY3" fmla="*/ 118035 h 456178"/>
                    <a:gd name="connsiteX4" fmla="*/ 238444 w 536152"/>
                    <a:gd name="connsiteY4" fmla="*/ 15758 h 456178"/>
                    <a:gd name="connsiteX5" fmla="*/ 333338 w 536152"/>
                    <a:gd name="connsiteY5" fmla="*/ 12583 h 456178"/>
                    <a:gd name="connsiteX6" fmla="*/ 343334 w 536152"/>
                    <a:gd name="connsiteY6" fmla="*/ 134165 h 456178"/>
                    <a:gd name="connsiteX7" fmla="*/ 469394 w 536152"/>
                    <a:gd name="connsiteY7" fmla="*/ 184288 h 456178"/>
                    <a:gd name="connsiteX8" fmla="*/ 530189 w 536152"/>
                    <a:gd name="connsiteY8" fmla="*/ 251639 h 456178"/>
                    <a:gd name="connsiteX9" fmla="*/ 535129 w 536152"/>
                    <a:gd name="connsiteY9" fmla="*/ 453908 h 456178"/>
                    <a:gd name="connsiteX10" fmla="*/ 14544 w 536152"/>
                    <a:gd name="connsiteY10" fmla="*/ 447558 h 456178"/>
                    <a:gd name="connsiteX0" fmla="*/ 7226 w 542359"/>
                    <a:gd name="connsiteY0" fmla="*/ 450055 h 456488"/>
                    <a:gd name="connsiteX1" fmla="*/ 12165 w 542359"/>
                    <a:gd name="connsiteY1" fmla="*/ 247109 h 456488"/>
                    <a:gd name="connsiteX2" fmla="*/ 100950 w 542359"/>
                    <a:gd name="connsiteY2" fmla="*/ 166126 h 456488"/>
                    <a:gd name="connsiteX3" fmla="*/ 219365 w 542359"/>
                    <a:gd name="connsiteY3" fmla="*/ 118035 h 456488"/>
                    <a:gd name="connsiteX4" fmla="*/ 244651 w 542359"/>
                    <a:gd name="connsiteY4" fmla="*/ 15758 h 456488"/>
                    <a:gd name="connsiteX5" fmla="*/ 339545 w 542359"/>
                    <a:gd name="connsiteY5" fmla="*/ 12583 h 456488"/>
                    <a:gd name="connsiteX6" fmla="*/ 349541 w 542359"/>
                    <a:gd name="connsiteY6" fmla="*/ 134165 h 456488"/>
                    <a:gd name="connsiteX7" fmla="*/ 475601 w 542359"/>
                    <a:gd name="connsiteY7" fmla="*/ 184288 h 456488"/>
                    <a:gd name="connsiteX8" fmla="*/ 536396 w 542359"/>
                    <a:gd name="connsiteY8" fmla="*/ 251639 h 456488"/>
                    <a:gd name="connsiteX9" fmla="*/ 541336 w 542359"/>
                    <a:gd name="connsiteY9" fmla="*/ 453908 h 456488"/>
                    <a:gd name="connsiteX10" fmla="*/ 7226 w 542359"/>
                    <a:gd name="connsiteY10" fmla="*/ 450055 h 456488"/>
                    <a:gd name="connsiteX0" fmla="*/ 7226 w 542359"/>
                    <a:gd name="connsiteY0" fmla="*/ 450055 h 456488"/>
                    <a:gd name="connsiteX1" fmla="*/ 12165 w 542359"/>
                    <a:gd name="connsiteY1" fmla="*/ 247109 h 456488"/>
                    <a:gd name="connsiteX2" fmla="*/ 100950 w 542359"/>
                    <a:gd name="connsiteY2" fmla="*/ 166126 h 456488"/>
                    <a:gd name="connsiteX3" fmla="*/ 219365 w 542359"/>
                    <a:gd name="connsiteY3" fmla="*/ 118035 h 456488"/>
                    <a:gd name="connsiteX4" fmla="*/ 244651 w 542359"/>
                    <a:gd name="connsiteY4" fmla="*/ 15758 h 456488"/>
                    <a:gd name="connsiteX5" fmla="*/ 331430 w 542359"/>
                    <a:gd name="connsiteY5" fmla="*/ 12583 h 456488"/>
                    <a:gd name="connsiteX6" fmla="*/ 349541 w 542359"/>
                    <a:gd name="connsiteY6" fmla="*/ 134165 h 456488"/>
                    <a:gd name="connsiteX7" fmla="*/ 475601 w 542359"/>
                    <a:gd name="connsiteY7" fmla="*/ 184288 h 456488"/>
                    <a:gd name="connsiteX8" fmla="*/ 536396 w 542359"/>
                    <a:gd name="connsiteY8" fmla="*/ 251639 h 456488"/>
                    <a:gd name="connsiteX9" fmla="*/ 541336 w 542359"/>
                    <a:gd name="connsiteY9" fmla="*/ 453908 h 456488"/>
                    <a:gd name="connsiteX10" fmla="*/ 7226 w 542359"/>
                    <a:gd name="connsiteY10" fmla="*/ 450055 h 456488"/>
                    <a:gd name="connsiteX0" fmla="*/ 7226 w 542359"/>
                    <a:gd name="connsiteY0" fmla="*/ 450055 h 456488"/>
                    <a:gd name="connsiteX1" fmla="*/ 12165 w 542359"/>
                    <a:gd name="connsiteY1" fmla="*/ 247109 h 456488"/>
                    <a:gd name="connsiteX2" fmla="*/ 100950 w 542359"/>
                    <a:gd name="connsiteY2" fmla="*/ 166126 h 456488"/>
                    <a:gd name="connsiteX3" fmla="*/ 219365 w 542359"/>
                    <a:gd name="connsiteY3" fmla="*/ 118035 h 456488"/>
                    <a:gd name="connsiteX4" fmla="*/ 244651 w 542359"/>
                    <a:gd name="connsiteY4" fmla="*/ 15758 h 456488"/>
                    <a:gd name="connsiteX5" fmla="*/ 331430 w 542359"/>
                    <a:gd name="connsiteY5" fmla="*/ 12583 h 456488"/>
                    <a:gd name="connsiteX6" fmla="*/ 349541 w 542359"/>
                    <a:gd name="connsiteY6" fmla="*/ 134165 h 456488"/>
                    <a:gd name="connsiteX7" fmla="*/ 483716 w 542359"/>
                    <a:gd name="connsiteY7" fmla="*/ 179293 h 456488"/>
                    <a:gd name="connsiteX8" fmla="*/ 536396 w 542359"/>
                    <a:gd name="connsiteY8" fmla="*/ 251639 h 456488"/>
                    <a:gd name="connsiteX9" fmla="*/ 541336 w 542359"/>
                    <a:gd name="connsiteY9" fmla="*/ 453908 h 456488"/>
                    <a:gd name="connsiteX10" fmla="*/ 7226 w 542359"/>
                    <a:gd name="connsiteY10" fmla="*/ 450055 h 456488"/>
                    <a:gd name="connsiteX0" fmla="*/ 6630 w 541763"/>
                    <a:gd name="connsiteY0" fmla="*/ 450055 h 456488"/>
                    <a:gd name="connsiteX1" fmla="*/ 11569 w 541763"/>
                    <a:gd name="connsiteY1" fmla="*/ 247109 h 456488"/>
                    <a:gd name="connsiteX2" fmla="*/ 89534 w 541763"/>
                    <a:gd name="connsiteY2" fmla="*/ 166126 h 456488"/>
                    <a:gd name="connsiteX3" fmla="*/ 218769 w 541763"/>
                    <a:gd name="connsiteY3" fmla="*/ 118035 h 456488"/>
                    <a:gd name="connsiteX4" fmla="*/ 244055 w 541763"/>
                    <a:gd name="connsiteY4" fmla="*/ 15758 h 456488"/>
                    <a:gd name="connsiteX5" fmla="*/ 330834 w 541763"/>
                    <a:gd name="connsiteY5" fmla="*/ 12583 h 456488"/>
                    <a:gd name="connsiteX6" fmla="*/ 348945 w 541763"/>
                    <a:gd name="connsiteY6" fmla="*/ 134165 h 456488"/>
                    <a:gd name="connsiteX7" fmla="*/ 483120 w 541763"/>
                    <a:gd name="connsiteY7" fmla="*/ 179293 h 456488"/>
                    <a:gd name="connsiteX8" fmla="*/ 535800 w 541763"/>
                    <a:gd name="connsiteY8" fmla="*/ 251639 h 456488"/>
                    <a:gd name="connsiteX9" fmla="*/ 540740 w 541763"/>
                    <a:gd name="connsiteY9" fmla="*/ 453908 h 456488"/>
                    <a:gd name="connsiteX10" fmla="*/ 6630 w 541763"/>
                    <a:gd name="connsiteY10" fmla="*/ 450055 h 456488"/>
                    <a:gd name="connsiteX0" fmla="*/ 4856 w 539989"/>
                    <a:gd name="connsiteY0" fmla="*/ 450055 h 456488"/>
                    <a:gd name="connsiteX1" fmla="*/ 15205 w 539989"/>
                    <a:gd name="connsiteY1" fmla="*/ 227128 h 456488"/>
                    <a:gd name="connsiteX2" fmla="*/ 87760 w 539989"/>
                    <a:gd name="connsiteY2" fmla="*/ 166126 h 456488"/>
                    <a:gd name="connsiteX3" fmla="*/ 216995 w 539989"/>
                    <a:gd name="connsiteY3" fmla="*/ 118035 h 456488"/>
                    <a:gd name="connsiteX4" fmla="*/ 242281 w 539989"/>
                    <a:gd name="connsiteY4" fmla="*/ 15758 h 456488"/>
                    <a:gd name="connsiteX5" fmla="*/ 329060 w 539989"/>
                    <a:gd name="connsiteY5" fmla="*/ 12583 h 456488"/>
                    <a:gd name="connsiteX6" fmla="*/ 347171 w 539989"/>
                    <a:gd name="connsiteY6" fmla="*/ 134165 h 456488"/>
                    <a:gd name="connsiteX7" fmla="*/ 481346 w 539989"/>
                    <a:gd name="connsiteY7" fmla="*/ 179293 h 456488"/>
                    <a:gd name="connsiteX8" fmla="*/ 534026 w 539989"/>
                    <a:gd name="connsiteY8" fmla="*/ 251639 h 456488"/>
                    <a:gd name="connsiteX9" fmla="*/ 538966 w 539989"/>
                    <a:gd name="connsiteY9" fmla="*/ 453908 h 456488"/>
                    <a:gd name="connsiteX10" fmla="*/ 4856 w 539989"/>
                    <a:gd name="connsiteY10" fmla="*/ 450055 h 4564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39989" h="456488">
                      <a:moveTo>
                        <a:pt x="4856" y="450055"/>
                      </a:moveTo>
                      <a:cubicBezTo>
                        <a:pt x="-5198" y="385497"/>
                        <a:pt x="1388" y="274449"/>
                        <a:pt x="15205" y="227128"/>
                      </a:cubicBezTo>
                      <a:cubicBezTo>
                        <a:pt x="29022" y="179807"/>
                        <a:pt x="54128" y="184308"/>
                        <a:pt x="87760" y="166126"/>
                      </a:cubicBezTo>
                      <a:cubicBezTo>
                        <a:pt x="121392" y="147944"/>
                        <a:pt x="191242" y="143096"/>
                        <a:pt x="216995" y="118035"/>
                      </a:cubicBezTo>
                      <a:cubicBezTo>
                        <a:pt x="242748" y="92974"/>
                        <a:pt x="223604" y="33333"/>
                        <a:pt x="242281" y="15758"/>
                      </a:cubicBezTo>
                      <a:cubicBezTo>
                        <a:pt x="260958" y="-1817"/>
                        <a:pt x="311578" y="-7151"/>
                        <a:pt x="329060" y="12583"/>
                      </a:cubicBezTo>
                      <a:cubicBezTo>
                        <a:pt x="346542" y="32317"/>
                        <a:pt x="321790" y="106380"/>
                        <a:pt x="347171" y="134165"/>
                      </a:cubicBezTo>
                      <a:cubicBezTo>
                        <a:pt x="372552" y="161950"/>
                        <a:pt x="450204" y="159714"/>
                        <a:pt x="481346" y="179293"/>
                      </a:cubicBezTo>
                      <a:cubicBezTo>
                        <a:pt x="512489" y="198872"/>
                        <a:pt x="523972" y="202956"/>
                        <a:pt x="534026" y="251639"/>
                      </a:cubicBezTo>
                      <a:cubicBezTo>
                        <a:pt x="537201" y="301381"/>
                        <a:pt x="542141" y="328496"/>
                        <a:pt x="538966" y="453908"/>
                      </a:cubicBezTo>
                      <a:cubicBezTo>
                        <a:pt x="307191" y="461845"/>
                        <a:pt x="250800" y="448827"/>
                        <a:pt x="4856" y="450055"/>
                      </a:cubicBezTo>
                      <a:close/>
                    </a:path>
                  </a:pathLst>
                </a:custGeom>
                <a:solidFill>
                  <a:schemeClr val="bg1"/>
                </a:solidFill>
                <a:ln w="57150">
                  <a:solidFill>
                    <a:schemeClr val="tx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258" name="Oval 257">
                  <a:extLst>
                    <a:ext uri="{FF2B5EF4-FFF2-40B4-BE49-F238E27FC236}">
                      <a16:creationId xmlns:a16="http://schemas.microsoft.com/office/drawing/2014/main" id="{5AE7A7D9-B830-384C-A920-C866D9D8D04B}"/>
                    </a:ext>
                  </a:extLst>
                </p:cNvPr>
                <p:cNvSpPr/>
                <p:nvPr/>
              </p:nvSpPr>
              <p:spPr>
                <a:xfrm>
                  <a:off x="1964431" y="3500843"/>
                  <a:ext cx="259337" cy="299858"/>
                </a:xfrm>
                <a:prstGeom prst="ellipse">
                  <a:avLst/>
                </a:prstGeom>
                <a:solidFill>
                  <a:schemeClr val="bg1"/>
                </a:solidFill>
                <a:ln w="57150">
                  <a:solidFill>
                    <a:schemeClr val="tx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grpSp>
        </p:grpSp>
        <p:grpSp>
          <p:nvGrpSpPr>
            <p:cNvPr id="249" name="Group 248">
              <a:extLst>
                <a:ext uri="{FF2B5EF4-FFF2-40B4-BE49-F238E27FC236}">
                  <a16:creationId xmlns:a16="http://schemas.microsoft.com/office/drawing/2014/main" id="{73C2F7F0-7BB9-644E-A850-1EB1334528E2}"/>
                </a:ext>
              </a:extLst>
            </p:cNvPr>
            <p:cNvGrpSpPr/>
            <p:nvPr/>
          </p:nvGrpSpPr>
          <p:grpSpPr>
            <a:xfrm>
              <a:off x="2495712" y="4589934"/>
              <a:ext cx="1256698" cy="510604"/>
              <a:chOff x="2495712" y="4589934"/>
              <a:chExt cx="1256698" cy="510604"/>
            </a:xfrm>
            <a:solidFill>
              <a:schemeClr val="tx1">
                <a:lumMod val="50000"/>
              </a:schemeClr>
            </a:solidFill>
          </p:grpSpPr>
          <p:sp>
            <p:nvSpPr>
              <p:cNvPr id="251" name="Rounded Rectangle 250">
                <a:extLst>
                  <a:ext uri="{FF2B5EF4-FFF2-40B4-BE49-F238E27FC236}">
                    <a16:creationId xmlns:a16="http://schemas.microsoft.com/office/drawing/2014/main" id="{64929541-1315-1643-A9D5-118014504E6D}"/>
                  </a:ext>
                </a:extLst>
              </p:cNvPr>
              <p:cNvSpPr/>
              <p:nvPr/>
            </p:nvSpPr>
            <p:spPr>
              <a:xfrm>
                <a:off x="2495712" y="4589934"/>
                <a:ext cx="1256697" cy="251941"/>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252" name="Rectangle 251">
                <a:extLst>
                  <a:ext uri="{FF2B5EF4-FFF2-40B4-BE49-F238E27FC236}">
                    <a16:creationId xmlns:a16="http://schemas.microsoft.com/office/drawing/2014/main" id="{9B7DFFBC-E198-1349-A34B-BB29E92DA754}"/>
                  </a:ext>
                </a:extLst>
              </p:cNvPr>
              <p:cNvSpPr/>
              <p:nvPr/>
            </p:nvSpPr>
            <p:spPr>
              <a:xfrm>
                <a:off x="2498725" y="4797790"/>
                <a:ext cx="1253685" cy="13315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253" name="Rectangle 252">
                <a:extLst>
                  <a:ext uri="{FF2B5EF4-FFF2-40B4-BE49-F238E27FC236}">
                    <a16:creationId xmlns:a16="http://schemas.microsoft.com/office/drawing/2014/main" id="{A07AC8CC-4BD4-184A-9767-4F5FEA8BC22A}"/>
                  </a:ext>
                </a:extLst>
              </p:cNvPr>
              <p:cNvSpPr/>
              <p:nvPr/>
            </p:nvSpPr>
            <p:spPr>
              <a:xfrm>
                <a:off x="2546350" y="4923041"/>
                <a:ext cx="109152" cy="17749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254" name="Rectangle 253">
                <a:extLst>
                  <a:ext uri="{FF2B5EF4-FFF2-40B4-BE49-F238E27FC236}">
                    <a16:creationId xmlns:a16="http://schemas.microsoft.com/office/drawing/2014/main" id="{AD68C385-4B31-AD4D-B802-7A56D4596ABE}"/>
                  </a:ext>
                </a:extLst>
              </p:cNvPr>
              <p:cNvSpPr/>
              <p:nvPr/>
            </p:nvSpPr>
            <p:spPr>
              <a:xfrm>
                <a:off x="3610945" y="4923041"/>
                <a:ext cx="109152" cy="17749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grpSp>
        <p:sp>
          <p:nvSpPr>
            <p:cNvPr id="250" name="Trapezoid 249">
              <a:extLst>
                <a:ext uri="{FF2B5EF4-FFF2-40B4-BE49-F238E27FC236}">
                  <a16:creationId xmlns:a16="http://schemas.microsoft.com/office/drawing/2014/main" id="{68AB789D-123C-C244-9533-9262582FFBF8}"/>
                </a:ext>
              </a:extLst>
            </p:cNvPr>
            <p:cNvSpPr/>
            <p:nvPr/>
          </p:nvSpPr>
          <p:spPr>
            <a:xfrm>
              <a:off x="2655502" y="4181475"/>
              <a:ext cx="958850" cy="363303"/>
            </a:xfrm>
            <a:prstGeom prst="trapezoid">
              <a:avLst/>
            </a:prstGeom>
            <a:solidFill>
              <a:schemeClr val="tx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grpSp>
    </p:spTree>
    <p:extLst>
      <p:ext uri="{BB962C8B-B14F-4D97-AF65-F5344CB8AC3E}">
        <p14:creationId xmlns:p14="http://schemas.microsoft.com/office/powerpoint/2010/main" val="420966722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48BB187-1B0C-B940-B50E-31AFE8E96F11}"/>
              </a:ext>
            </a:extLst>
          </p:cNvPr>
          <p:cNvSpPr>
            <a:spLocks noGrp="1"/>
          </p:cNvSpPr>
          <p:nvPr>
            <p:ph type="title"/>
          </p:nvPr>
        </p:nvSpPr>
        <p:spPr/>
        <p:txBody>
          <a:bodyPr/>
          <a:lstStyle/>
          <a:p>
            <a:endParaRPr lang="en-US"/>
          </a:p>
        </p:txBody>
      </p:sp>
      <p:sp>
        <p:nvSpPr>
          <p:cNvPr id="4" name="Slide Number Placeholder 3">
            <a:extLst>
              <a:ext uri="{FF2B5EF4-FFF2-40B4-BE49-F238E27FC236}">
                <a16:creationId xmlns:a16="http://schemas.microsoft.com/office/drawing/2014/main" id="{F8B2007B-3DE6-444E-9970-4CD6CBEDEB65}"/>
              </a:ext>
            </a:extLst>
          </p:cNvPr>
          <p:cNvSpPr>
            <a:spLocks noGrp="1"/>
          </p:cNvSpPr>
          <p:nvPr>
            <p:ph type="sldNum" idx="12"/>
          </p:nvPr>
        </p:nvSpPr>
        <p:spPr/>
        <p:txBody>
          <a:bodyPr/>
          <a:lstStyle/>
          <a:p>
            <a:fld id="{00000000-1234-1234-1234-123412341234}" type="slidenum">
              <a:rPr lang="en" smtClean="0"/>
              <a:pPr/>
              <a:t>24</a:t>
            </a:fld>
            <a:endParaRPr lang="en"/>
          </a:p>
        </p:txBody>
      </p:sp>
      <p:pic>
        <p:nvPicPr>
          <p:cNvPr id="5" name="Picture 4">
            <a:extLst>
              <a:ext uri="{FF2B5EF4-FFF2-40B4-BE49-F238E27FC236}">
                <a16:creationId xmlns:a16="http://schemas.microsoft.com/office/drawing/2014/main" id="{3E68CDBE-1B5C-9343-96EF-EA9B782C5A1D}"/>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279400" y="648929"/>
            <a:ext cx="17355779" cy="7461401"/>
          </a:xfrm>
          <a:prstGeom prst="rect">
            <a:avLst/>
          </a:prstGeom>
        </p:spPr>
      </p:pic>
      <p:sp>
        <p:nvSpPr>
          <p:cNvPr id="6" name="Rectangle 5">
            <a:extLst>
              <a:ext uri="{FF2B5EF4-FFF2-40B4-BE49-F238E27FC236}">
                <a16:creationId xmlns:a16="http://schemas.microsoft.com/office/drawing/2014/main" id="{9984D214-D680-4243-ABCC-67642D72C3C3}"/>
              </a:ext>
            </a:extLst>
          </p:cNvPr>
          <p:cNvSpPr/>
          <p:nvPr/>
        </p:nvSpPr>
        <p:spPr>
          <a:xfrm>
            <a:off x="10632559" y="1570958"/>
            <a:ext cx="2190307" cy="762374"/>
          </a:xfrm>
          <a:prstGeom prst="rect">
            <a:avLst/>
          </a:prstGeom>
          <a:noFill/>
          <a:ln w="571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3" name="TextBox 2">
            <a:extLst>
              <a:ext uri="{FF2B5EF4-FFF2-40B4-BE49-F238E27FC236}">
                <a16:creationId xmlns:a16="http://schemas.microsoft.com/office/drawing/2014/main" id="{EFB24072-F9B8-7D40-9EEE-6FDFBE3CBED6}"/>
              </a:ext>
            </a:extLst>
          </p:cNvPr>
          <p:cNvSpPr txBox="1"/>
          <p:nvPr/>
        </p:nvSpPr>
        <p:spPr>
          <a:xfrm>
            <a:off x="9965744" y="8290203"/>
            <a:ext cx="6769802" cy="464614"/>
          </a:xfrm>
          <a:prstGeom prst="rect">
            <a:avLst/>
          </a:prstGeom>
          <a:noFill/>
        </p:spPr>
        <p:txBody>
          <a:bodyPr wrap="none" rtlCol="0">
            <a:spAutoFit/>
          </a:bodyPr>
          <a:lstStyle/>
          <a:p>
            <a:r>
              <a:rPr lang="en-US" dirty="0"/>
              <a:t>100 millisecond screen rendering with no JOINs</a:t>
            </a:r>
          </a:p>
        </p:txBody>
      </p:sp>
    </p:spTree>
    <p:extLst>
      <p:ext uri="{BB962C8B-B14F-4D97-AF65-F5344CB8AC3E}">
        <p14:creationId xmlns:p14="http://schemas.microsoft.com/office/powerpoint/2010/main" val="157221607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49116F-9F29-2249-B5C2-2209D95109E7}"/>
              </a:ext>
            </a:extLst>
          </p:cNvPr>
          <p:cNvSpPr>
            <a:spLocks noGrp="1"/>
          </p:cNvSpPr>
          <p:nvPr>
            <p:ph type="title"/>
          </p:nvPr>
        </p:nvSpPr>
        <p:spPr/>
        <p:txBody>
          <a:bodyPr/>
          <a:lstStyle/>
          <a:p>
            <a:r>
              <a:rPr lang="en-US" dirty="0"/>
              <a:t>Similarity Score – A scaled measure of “alikeness” for a context</a:t>
            </a:r>
          </a:p>
        </p:txBody>
      </p:sp>
      <p:sp>
        <p:nvSpPr>
          <p:cNvPr id="3" name="Text Placeholder 2">
            <a:extLst>
              <a:ext uri="{FF2B5EF4-FFF2-40B4-BE49-F238E27FC236}">
                <a16:creationId xmlns:a16="http://schemas.microsoft.com/office/drawing/2014/main" id="{92EE18E7-19C8-EA4F-9EA4-185B11BC89BA}"/>
              </a:ext>
            </a:extLst>
          </p:cNvPr>
          <p:cNvSpPr>
            <a:spLocks noGrp="1"/>
          </p:cNvSpPr>
          <p:nvPr>
            <p:ph type="body" idx="1"/>
          </p:nvPr>
        </p:nvSpPr>
        <p:spPr>
          <a:xfrm>
            <a:off x="609546" y="7315636"/>
            <a:ext cx="16662507" cy="1798783"/>
          </a:xfrm>
        </p:spPr>
        <p:txBody>
          <a:bodyPr/>
          <a:lstStyle/>
          <a:p>
            <a:r>
              <a:rPr lang="en-US" dirty="0"/>
              <a:t>A single scaled dimension of comparison for a given setting or context</a:t>
            </a:r>
          </a:p>
          <a:p>
            <a:r>
              <a:rPr lang="en-US" dirty="0"/>
              <a:t>Comparing a patient to itself would have a similarity score of 1.0</a:t>
            </a:r>
          </a:p>
          <a:p>
            <a:r>
              <a:rPr lang="en-US" dirty="0"/>
              <a:t>Patients that have few common characteristics would have a score of 0.1</a:t>
            </a:r>
          </a:p>
        </p:txBody>
      </p:sp>
      <p:sp>
        <p:nvSpPr>
          <p:cNvPr id="4" name="Slide Number Placeholder 3">
            <a:extLst>
              <a:ext uri="{FF2B5EF4-FFF2-40B4-BE49-F238E27FC236}">
                <a16:creationId xmlns:a16="http://schemas.microsoft.com/office/drawing/2014/main" id="{DCF0E45B-C3C3-8B4D-9B8F-C01487A9218B}"/>
              </a:ext>
            </a:extLst>
          </p:cNvPr>
          <p:cNvSpPr>
            <a:spLocks noGrp="1"/>
          </p:cNvSpPr>
          <p:nvPr>
            <p:ph type="sldNum" idx="12"/>
          </p:nvPr>
        </p:nvSpPr>
        <p:spPr/>
        <p:txBody>
          <a:bodyPr/>
          <a:lstStyle/>
          <a:p>
            <a:fld id="{00000000-1234-1234-1234-123412341234}" type="slidenum">
              <a:rPr lang="en" smtClean="0"/>
              <a:pPr/>
              <a:t>25</a:t>
            </a:fld>
            <a:endParaRPr lang="en"/>
          </a:p>
        </p:txBody>
      </p:sp>
      <p:pic>
        <p:nvPicPr>
          <p:cNvPr id="5" name="Picture 4">
            <a:extLst>
              <a:ext uri="{FF2B5EF4-FFF2-40B4-BE49-F238E27FC236}">
                <a16:creationId xmlns:a16="http://schemas.microsoft.com/office/drawing/2014/main" id="{8E707C4C-F7EA-314A-A770-B98E1E9EAF9F}"/>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2852932" y="3844323"/>
            <a:ext cx="969036" cy="1302072"/>
          </a:xfrm>
          <a:prstGeom prst="rect">
            <a:avLst/>
          </a:prstGeom>
        </p:spPr>
      </p:pic>
      <p:pic>
        <p:nvPicPr>
          <p:cNvPr id="6" name="Picture 5">
            <a:extLst>
              <a:ext uri="{FF2B5EF4-FFF2-40B4-BE49-F238E27FC236}">
                <a16:creationId xmlns:a16="http://schemas.microsoft.com/office/drawing/2014/main" id="{0496D764-50E3-C84D-B0CE-DF641CFF6CF7}"/>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7959447" y="1962937"/>
            <a:ext cx="912987" cy="1226761"/>
          </a:xfrm>
          <a:prstGeom prst="rect">
            <a:avLst/>
          </a:prstGeom>
        </p:spPr>
      </p:pic>
      <p:cxnSp>
        <p:nvCxnSpPr>
          <p:cNvPr id="7" name="Straight Arrow Connector 6">
            <a:extLst>
              <a:ext uri="{FF2B5EF4-FFF2-40B4-BE49-F238E27FC236}">
                <a16:creationId xmlns:a16="http://schemas.microsoft.com/office/drawing/2014/main" id="{6CD29FE2-AE79-2B47-A276-0BCD305D335C}"/>
              </a:ext>
            </a:extLst>
          </p:cNvPr>
          <p:cNvCxnSpPr>
            <a:cxnSpLocks/>
          </p:cNvCxnSpPr>
          <p:nvPr/>
        </p:nvCxnSpPr>
        <p:spPr>
          <a:xfrm flipV="1">
            <a:off x="4089697" y="2702870"/>
            <a:ext cx="3602021" cy="1645791"/>
          </a:xfrm>
          <a:prstGeom prst="straightConnector1">
            <a:avLst/>
          </a:prstGeom>
          <a:ln w="76200" cap="rnd">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 name="Straight Arrow Connector 8">
            <a:extLst>
              <a:ext uri="{FF2B5EF4-FFF2-40B4-BE49-F238E27FC236}">
                <a16:creationId xmlns:a16="http://schemas.microsoft.com/office/drawing/2014/main" id="{E58E96CE-68AF-B448-AD2D-0CB2BDFC8015}"/>
              </a:ext>
            </a:extLst>
          </p:cNvPr>
          <p:cNvCxnSpPr>
            <a:cxnSpLocks/>
          </p:cNvCxnSpPr>
          <p:nvPr/>
        </p:nvCxnSpPr>
        <p:spPr>
          <a:xfrm flipV="1">
            <a:off x="4089697" y="4626567"/>
            <a:ext cx="3717350" cy="1"/>
          </a:xfrm>
          <a:prstGeom prst="straightConnector1">
            <a:avLst/>
          </a:prstGeom>
          <a:ln w="127000" cap="rnd">
            <a:solidFill>
              <a:schemeClr val="accent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1" name="Straight Arrow Connector 10">
            <a:extLst>
              <a:ext uri="{FF2B5EF4-FFF2-40B4-BE49-F238E27FC236}">
                <a16:creationId xmlns:a16="http://schemas.microsoft.com/office/drawing/2014/main" id="{0F786773-8D34-D84F-A994-4E84144E197D}"/>
              </a:ext>
            </a:extLst>
          </p:cNvPr>
          <p:cNvCxnSpPr>
            <a:cxnSpLocks/>
          </p:cNvCxnSpPr>
          <p:nvPr/>
        </p:nvCxnSpPr>
        <p:spPr>
          <a:xfrm>
            <a:off x="4127867" y="4945142"/>
            <a:ext cx="2633832" cy="1594282"/>
          </a:xfrm>
          <a:prstGeom prst="straightConnector1">
            <a:avLst/>
          </a:prstGeom>
          <a:ln w="12700" cap="rnd">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pic>
        <p:nvPicPr>
          <p:cNvPr id="13" name="Picture 12">
            <a:extLst>
              <a:ext uri="{FF2B5EF4-FFF2-40B4-BE49-F238E27FC236}">
                <a16:creationId xmlns:a16="http://schemas.microsoft.com/office/drawing/2014/main" id="{499E9859-B8F2-2848-BB7D-4F87FCA02E9C}"/>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8078976" y="3844323"/>
            <a:ext cx="912987" cy="1226761"/>
          </a:xfrm>
          <a:prstGeom prst="rect">
            <a:avLst/>
          </a:prstGeom>
        </p:spPr>
      </p:pic>
      <p:pic>
        <p:nvPicPr>
          <p:cNvPr id="14" name="Picture 13">
            <a:extLst>
              <a:ext uri="{FF2B5EF4-FFF2-40B4-BE49-F238E27FC236}">
                <a16:creationId xmlns:a16="http://schemas.microsoft.com/office/drawing/2014/main" id="{CAF42E87-822B-E94D-A38D-894B872E2264}"/>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7046460" y="5800101"/>
            <a:ext cx="912987" cy="1226761"/>
          </a:xfrm>
          <a:prstGeom prst="rect">
            <a:avLst/>
          </a:prstGeom>
        </p:spPr>
      </p:pic>
      <p:sp>
        <p:nvSpPr>
          <p:cNvPr id="15" name="TextBox 14">
            <a:extLst>
              <a:ext uri="{FF2B5EF4-FFF2-40B4-BE49-F238E27FC236}">
                <a16:creationId xmlns:a16="http://schemas.microsoft.com/office/drawing/2014/main" id="{4DFCF5F3-DAE8-8E4B-97DF-ADE506A44297}"/>
              </a:ext>
            </a:extLst>
          </p:cNvPr>
          <p:cNvSpPr txBox="1"/>
          <p:nvPr/>
        </p:nvSpPr>
        <p:spPr>
          <a:xfrm>
            <a:off x="5682914" y="2725084"/>
            <a:ext cx="617477" cy="464614"/>
          </a:xfrm>
          <a:prstGeom prst="rect">
            <a:avLst/>
          </a:prstGeom>
          <a:noFill/>
        </p:spPr>
        <p:txBody>
          <a:bodyPr wrap="none" rtlCol="0">
            <a:spAutoFit/>
          </a:bodyPr>
          <a:lstStyle/>
          <a:p>
            <a:r>
              <a:rPr lang="en-US" dirty="0"/>
              <a:t>.43</a:t>
            </a:r>
          </a:p>
        </p:txBody>
      </p:sp>
      <p:sp>
        <p:nvSpPr>
          <p:cNvPr id="16" name="TextBox 15">
            <a:extLst>
              <a:ext uri="{FF2B5EF4-FFF2-40B4-BE49-F238E27FC236}">
                <a16:creationId xmlns:a16="http://schemas.microsoft.com/office/drawing/2014/main" id="{A2004043-597B-AC45-AAD2-28A73860682B}"/>
              </a:ext>
            </a:extLst>
          </p:cNvPr>
          <p:cNvSpPr txBox="1"/>
          <p:nvPr/>
        </p:nvSpPr>
        <p:spPr>
          <a:xfrm>
            <a:off x="5890707" y="3999032"/>
            <a:ext cx="617477" cy="464614"/>
          </a:xfrm>
          <a:prstGeom prst="rect">
            <a:avLst/>
          </a:prstGeom>
          <a:noFill/>
        </p:spPr>
        <p:txBody>
          <a:bodyPr wrap="none" rtlCol="0">
            <a:spAutoFit/>
          </a:bodyPr>
          <a:lstStyle/>
          <a:p>
            <a:r>
              <a:rPr lang="en-US" dirty="0"/>
              <a:t>.92</a:t>
            </a:r>
          </a:p>
        </p:txBody>
      </p:sp>
      <p:sp>
        <p:nvSpPr>
          <p:cNvPr id="17" name="TextBox 16">
            <a:extLst>
              <a:ext uri="{FF2B5EF4-FFF2-40B4-BE49-F238E27FC236}">
                <a16:creationId xmlns:a16="http://schemas.microsoft.com/office/drawing/2014/main" id="{4B8C83A0-9E8C-634E-9187-8B7D06230C8B}"/>
              </a:ext>
            </a:extLst>
          </p:cNvPr>
          <p:cNvSpPr txBox="1"/>
          <p:nvPr/>
        </p:nvSpPr>
        <p:spPr>
          <a:xfrm>
            <a:off x="5682914" y="5406574"/>
            <a:ext cx="444352" cy="464614"/>
          </a:xfrm>
          <a:prstGeom prst="rect">
            <a:avLst/>
          </a:prstGeom>
          <a:noFill/>
        </p:spPr>
        <p:txBody>
          <a:bodyPr wrap="none" rtlCol="0">
            <a:spAutoFit/>
          </a:bodyPr>
          <a:lstStyle/>
          <a:p>
            <a:r>
              <a:rPr lang="en-US" dirty="0"/>
              <a:t>.1</a:t>
            </a:r>
          </a:p>
        </p:txBody>
      </p:sp>
      <p:sp>
        <p:nvSpPr>
          <p:cNvPr id="8" name="Rounded Rectangle 7">
            <a:extLst>
              <a:ext uri="{FF2B5EF4-FFF2-40B4-BE49-F238E27FC236}">
                <a16:creationId xmlns:a16="http://schemas.microsoft.com/office/drawing/2014/main" id="{CD287433-FE85-6243-816E-07A47A52AF31}"/>
              </a:ext>
            </a:extLst>
          </p:cNvPr>
          <p:cNvSpPr/>
          <p:nvPr/>
        </p:nvSpPr>
        <p:spPr>
          <a:xfrm>
            <a:off x="12531777" y="2424846"/>
            <a:ext cx="2158584" cy="1141453"/>
          </a:xfrm>
          <a:prstGeom prst="round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t>Care Plan 1</a:t>
            </a:r>
          </a:p>
        </p:txBody>
      </p:sp>
      <p:sp>
        <p:nvSpPr>
          <p:cNvPr id="18" name="Rounded Rectangle 17">
            <a:extLst>
              <a:ext uri="{FF2B5EF4-FFF2-40B4-BE49-F238E27FC236}">
                <a16:creationId xmlns:a16="http://schemas.microsoft.com/office/drawing/2014/main" id="{99D13358-3C8E-5845-A051-96894811155F}"/>
              </a:ext>
            </a:extLst>
          </p:cNvPr>
          <p:cNvSpPr/>
          <p:nvPr/>
        </p:nvSpPr>
        <p:spPr>
          <a:xfrm>
            <a:off x="12531777" y="3773382"/>
            <a:ext cx="2158584" cy="1141453"/>
          </a:xfrm>
          <a:prstGeom prst="round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t>Care Plan 2</a:t>
            </a:r>
          </a:p>
        </p:txBody>
      </p:sp>
      <p:sp>
        <p:nvSpPr>
          <p:cNvPr id="19" name="Rounded Rectangle 18">
            <a:extLst>
              <a:ext uri="{FF2B5EF4-FFF2-40B4-BE49-F238E27FC236}">
                <a16:creationId xmlns:a16="http://schemas.microsoft.com/office/drawing/2014/main" id="{BC44881E-B184-BA4C-A7EE-447CF6923FD6}"/>
              </a:ext>
            </a:extLst>
          </p:cNvPr>
          <p:cNvSpPr/>
          <p:nvPr/>
        </p:nvSpPr>
        <p:spPr>
          <a:xfrm>
            <a:off x="12531777" y="5105316"/>
            <a:ext cx="2158584" cy="1141453"/>
          </a:xfrm>
          <a:prstGeom prst="round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t>Care Plan 4</a:t>
            </a:r>
          </a:p>
        </p:txBody>
      </p:sp>
      <p:cxnSp>
        <p:nvCxnSpPr>
          <p:cNvPr id="20" name="Straight Arrow Connector 19">
            <a:extLst>
              <a:ext uri="{FF2B5EF4-FFF2-40B4-BE49-F238E27FC236}">
                <a16:creationId xmlns:a16="http://schemas.microsoft.com/office/drawing/2014/main" id="{7BAC3735-E97A-444B-9B02-D168C4217BEF}"/>
              </a:ext>
            </a:extLst>
          </p:cNvPr>
          <p:cNvCxnSpPr>
            <a:cxnSpLocks/>
          </p:cNvCxnSpPr>
          <p:nvPr/>
        </p:nvCxnSpPr>
        <p:spPr>
          <a:xfrm flipV="1">
            <a:off x="9379221" y="2995572"/>
            <a:ext cx="2987664" cy="1439150"/>
          </a:xfrm>
          <a:prstGeom prst="straightConnector1">
            <a:avLst/>
          </a:prstGeom>
          <a:ln w="127000" cap="rnd">
            <a:solidFill>
              <a:schemeClr val="accent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1" name="Straight Arrow Connector 20">
            <a:extLst>
              <a:ext uri="{FF2B5EF4-FFF2-40B4-BE49-F238E27FC236}">
                <a16:creationId xmlns:a16="http://schemas.microsoft.com/office/drawing/2014/main" id="{62E74964-3910-D649-BDA3-9080FF8DF7A9}"/>
              </a:ext>
            </a:extLst>
          </p:cNvPr>
          <p:cNvCxnSpPr>
            <a:cxnSpLocks/>
          </p:cNvCxnSpPr>
          <p:nvPr/>
        </p:nvCxnSpPr>
        <p:spPr>
          <a:xfrm flipV="1">
            <a:off x="9379221" y="4434722"/>
            <a:ext cx="2987664" cy="22981"/>
          </a:xfrm>
          <a:prstGeom prst="straightConnector1">
            <a:avLst/>
          </a:prstGeom>
          <a:ln w="38100" cap="rnd">
            <a:solidFill>
              <a:schemeClr val="accent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6" name="Straight Arrow Connector 25">
            <a:extLst>
              <a:ext uri="{FF2B5EF4-FFF2-40B4-BE49-F238E27FC236}">
                <a16:creationId xmlns:a16="http://schemas.microsoft.com/office/drawing/2014/main" id="{38B1829C-4672-1A4C-82B7-DA8D57F605DD}"/>
              </a:ext>
            </a:extLst>
          </p:cNvPr>
          <p:cNvCxnSpPr>
            <a:cxnSpLocks/>
          </p:cNvCxnSpPr>
          <p:nvPr/>
        </p:nvCxnSpPr>
        <p:spPr>
          <a:xfrm>
            <a:off x="9349404" y="4457703"/>
            <a:ext cx="3017481" cy="1342398"/>
          </a:xfrm>
          <a:prstGeom prst="straightConnector1">
            <a:avLst/>
          </a:prstGeom>
          <a:ln w="38100" cap="rnd">
            <a:solidFill>
              <a:schemeClr val="accent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0" name="TextBox 29">
            <a:extLst>
              <a:ext uri="{FF2B5EF4-FFF2-40B4-BE49-F238E27FC236}">
                <a16:creationId xmlns:a16="http://schemas.microsoft.com/office/drawing/2014/main" id="{14D87CC7-747D-3F45-89A9-3B84B1AA91AA}"/>
              </a:ext>
            </a:extLst>
          </p:cNvPr>
          <p:cNvSpPr txBox="1"/>
          <p:nvPr/>
        </p:nvSpPr>
        <p:spPr>
          <a:xfrm>
            <a:off x="14916956" y="2538943"/>
            <a:ext cx="1514006" cy="836896"/>
          </a:xfrm>
          <a:prstGeom prst="rect">
            <a:avLst/>
          </a:prstGeom>
          <a:noFill/>
        </p:spPr>
        <p:txBody>
          <a:bodyPr wrap="square" rtlCol="0">
            <a:spAutoFit/>
          </a:bodyPr>
          <a:lstStyle/>
          <a:p>
            <a:r>
              <a:rPr lang="en-US" dirty="0"/>
              <a:t>95% effective</a:t>
            </a:r>
          </a:p>
        </p:txBody>
      </p:sp>
      <p:sp>
        <p:nvSpPr>
          <p:cNvPr id="31" name="TextBox 30">
            <a:extLst>
              <a:ext uri="{FF2B5EF4-FFF2-40B4-BE49-F238E27FC236}">
                <a16:creationId xmlns:a16="http://schemas.microsoft.com/office/drawing/2014/main" id="{7E3E8DF0-F264-3D4E-9009-D47507DB922C}"/>
              </a:ext>
            </a:extLst>
          </p:cNvPr>
          <p:cNvSpPr txBox="1"/>
          <p:nvPr/>
        </p:nvSpPr>
        <p:spPr>
          <a:xfrm>
            <a:off x="14916956" y="3836543"/>
            <a:ext cx="1514006" cy="836896"/>
          </a:xfrm>
          <a:prstGeom prst="rect">
            <a:avLst/>
          </a:prstGeom>
          <a:noFill/>
        </p:spPr>
        <p:txBody>
          <a:bodyPr wrap="square" rtlCol="0">
            <a:spAutoFit/>
          </a:bodyPr>
          <a:lstStyle/>
          <a:p>
            <a:r>
              <a:rPr lang="en-US" dirty="0"/>
              <a:t>82% effective</a:t>
            </a:r>
          </a:p>
        </p:txBody>
      </p:sp>
      <p:sp>
        <p:nvSpPr>
          <p:cNvPr id="32" name="TextBox 31">
            <a:extLst>
              <a:ext uri="{FF2B5EF4-FFF2-40B4-BE49-F238E27FC236}">
                <a16:creationId xmlns:a16="http://schemas.microsoft.com/office/drawing/2014/main" id="{B85627E3-AF19-DF40-A252-E1E54B38443D}"/>
              </a:ext>
            </a:extLst>
          </p:cNvPr>
          <p:cNvSpPr txBox="1"/>
          <p:nvPr/>
        </p:nvSpPr>
        <p:spPr>
          <a:xfrm>
            <a:off x="14948390" y="5094523"/>
            <a:ext cx="1514006" cy="836896"/>
          </a:xfrm>
          <a:prstGeom prst="rect">
            <a:avLst/>
          </a:prstGeom>
          <a:noFill/>
        </p:spPr>
        <p:txBody>
          <a:bodyPr wrap="square" rtlCol="0">
            <a:spAutoFit/>
          </a:bodyPr>
          <a:lstStyle/>
          <a:p>
            <a:r>
              <a:rPr lang="en-US" dirty="0"/>
              <a:t>75% effective</a:t>
            </a:r>
          </a:p>
        </p:txBody>
      </p:sp>
      <p:sp>
        <p:nvSpPr>
          <p:cNvPr id="33" name="TextBox 32">
            <a:extLst>
              <a:ext uri="{FF2B5EF4-FFF2-40B4-BE49-F238E27FC236}">
                <a16:creationId xmlns:a16="http://schemas.microsoft.com/office/drawing/2014/main" id="{B8703D2D-DC4B-7640-9A8A-5F4369E6B3BC}"/>
              </a:ext>
            </a:extLst>
          </p:cNvPr>
          <p:cNvSpPr txBox="1"/>
          <p:nvPr/>
        </p:nvSpPr>
        <p:spPr>
          <a:xfrm>
            <a:off x="7928754" y="5105316"/>
            <a:ext cx="1291636" cy="464614"/>
          </a:xfrm>
          <a:prstGeom prst="rect">
            <a:avLst/>
          </a:prstGeom>
          <a:noFill/>
        </p:spPr>
        <p:txBody>
          <a:bodyPr wrap="none" rtlCol="0">
            <a:spAutoFit/>
          </a:bodyPr>
          <a:lstStyle/>
          <a:p>
            <a:r>
              <a:rPr lang="en-US" dirty="0"/>
              <a:t>Top 100</a:t>
            </a:r>
          </a:p>
        </p:txBody>
      </p:sp>
    </p:spTree>
    <p:extLst>
      <p:ext uri="{BB962C8B-B14F-4D97-AF65-F5344CB8AC3E}">
        <p14:creationId xmlns:p14="http://schemas.microsoft.com/office/powerpoint/2010/main" val="87900447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60787" y="769819"/>
            <a:ext cx="13316720" cy="804877"/>
          </a:xfrm>
        </p:spPr>
        <p:txBody>
          <a:bodyPr/>
          <a:lstStyle/>
          <a:p>
            <a:r>
              <a:rPr lang="en-US" dirty="0"/>
              <a:t>Graph Representation of Patients – Includes Structure </a:t>
            </a:r>
          </a:p>
        </p:txBody>
      </p:sp>
      <p:sp>
        <p:nvSpPr>
          <p:cNvPr id="4" name="Slide Number Placeholder 3"/>
          <p:cNvSpPr>
            <a:spLocks noGrp="1"/>
          </p:cNvSpPr>
          <p:nvPr>
            <p:ph type="sldNum" idx="12"/>
          </p:nvPr>
        </p:nvSpPr>
        <p:spPr/>
        <p:txBody>
          <a:bodyPr/>
          <a:lstStyle/>
          <a:p>
            <a:fld id="{00000000-1234-1234-1234-123412341234}" type="slidenum">
              <a:rPr lang="en" smtClean="0"/>
              <a:pPr/>
              <a:t>26</a:t>
            </a:fld>
            <a:endParaRPr lang="en"/>
          </a:p>
        </p:txBody>
      </p:sp>
      <p:grpSp>
        <p:nvGrpSpPr>
          <p:cNvPr id="5" name="Group 4">
            <a:extLst>
              <a:ext uri="{FF2B5EF4-FFF2-40B4-BE49-F238E27FC236}">
                <a16:creationId xmlns:a16="http://schemas.microsoft.com/office/drawing/2014/main" id="{F8A4BA5B-B416-FF48-A926-430674DF3293}"/>
              </a:ext>
            </a:extLst>
          </p:cNvPr>
          <p:cNvGrpSpPr/>
          <p:nvPr/>
        </p:nvGrpSpPr>
        <p:grpSpPr>
          <a:xfrm>
            <a:off x="12138771" y="4793919"/>
            <a:ext cx="3150274" cy="1628839"/>
            <a:chOff x="12864129" y="3879341"/>
            <a:chExt cx="3623845" cy="2606133"/>
          </a:xfrm>
        </p:grpSpPr>
        <p:sp>
          <p:nvSpPr>
            <p:cNvPr id="862" name="Oval 861"/>
            <p:cNvSpPr/>
            <p:nvPr/>
          </p:nvSpPr>
          <p:spPr>
            <a:xfrm>
              <a:off x="12864129" y="3879341"/>
              <a:ext cx="3623845" cy="2606133"/>
            </a:xfrm>
            <a:prstGeom prst="ellipse">
              <a:avLst/>
            </a:prstGeom>
            <a:solidFill>
              <a:schemeClr val="accent2">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sp>
          <p:nvSpPr>
            <p:cNvPr id="729" name="Oval 728"/>
            <p:cNvSpPr/>
            <p:nvPr/>
          </p:nvSpPr>
          <p:spPr>
            <a:xfrm>
              <a:off x="14723454" y="4182456"/>
              <a:ext cx="287866" cy="250790"/>
            </a:xfrm>
            <a:prstGeom prst="ellipse">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sp>
          <p:nvSpPr>
            <p:cNvPr id="730" name="Oval 729"/>
            <p:cNvSpPr/>
            <p:nvPr/>
          </p:nvSpPr>
          <p:spPr>
            <a:xfrm>
              <a:off x="15368153" y="4641782"/>
              <a:ext cx="287866" cy="25079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cxnSp>
          <p:nvCxnSpPr>
            <p:cNvPr id="731" name="Straight Arrow Connector 730"/>
            <p:cNvCxnSpPr/>
            <p:nvPr/>
          </p:nvCxnSpPr>
          <p:spPr>
            <a:xfrm>
              <a:off x="15002656" y="4412494"/>
              <a:ext cx="441147" cy="281990"/>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732" name="Oval 731"/>
            <p:cNvSpPr/>
            <p:nvPr/>
          </p:nvSpPr>
          <p:spPr>
            <a:xfrm>
              <a:off x="14376101" y="4694840"/>
              <a:ext cx="287866" cy="250790"/>
            </a:xfrm>
            <a:prstGeom prst="ellipse">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sp>
          <p:nvSpPr>
            <p:cNvPr id="733" name="Oval 732"/>
            <p:cNvSpPr/>
            <p:nvPr/>
          </p:nvSpPr>
          <p:spPr>
            <a:xfrm>
              <a:off x="14908662" y="5316075"/>
              <a:ext cx="287866" cy="25079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cxnSp>
          <p:nvCxnSpPr>
            <p:cNvPr id="734" name="Straight Arrow Connector 733"/>
            <p:cNvCxnSpPr/>
            <p:nvPr/>
          </p:nvCxnSpPr>
          <p:spPr>
            <a:xfrm>
              <a:off x="14621811" y="4908904"/>
              <a:ext cx="329009" cy="443899"/>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735" name="Oval 734"/>
            <p:cNvSpPr/>
            <p:nvPr/>
          </p:nvSpPr>
          <p:spPr>
            <a:xfrm>
              <a:off x="13979533" y="5229390"/>
              <a:ext cx="287866" cy="250790"/>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sp>
          <p:nvSpPr>
            <p:cNvPr id="736" name="Oval 735"/>
            <p:cNvSpPr/>
            <p:nvPr/>
          </p:nvSpPr>
          <p:spPr>
            <a:xfrm>
              <a:off x="14195345" y="5739896"/>
              <a:ext cx="287866" cy="250790"/>
            </a:xfrm>
            <a:prstGeom prst="ellipse">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cxnSp>
          <p:nvCxnSpPr>
            <p:cNvPr id="737" name="Straight Arrow Connector 736"/>
            <p:cNvCxnSpPr/>
            <p:nvPr/>
          </p:nvCxnSpPr>
          <p:spPr>
            <a:xfrm>
              <a:off x="14267400" y="5354786"/>
              <a:ext cx="641263" cy="86685"/>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38" name="Straight Arrow Connector 737"/>
            <p:cNvCxnSpPr/>
            <p:nvPr/>
          </p:nvCxnSpPr>
          <p:spPr>
            <a:xfrm flipV="1">
              <a:off x="14663967" y="4767177"/>
              <a:ext cx="704186" cy="53058"/>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739" name="Oval 738"/>
            <p:cNvSpPr/>
            <p:nvPr/>
          </p:nvSpPr>
          <p:spPr>
            <a:xfrm>
              <a:off x="15735746" y="5104323"/>
              <a:ext cx="287866" cy="25079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cxnSp>
          <p:nvCxnSpPr>
            <p:cNvPr id="740" name="Straight Arrow Connector 739"/>
            <p:cNvCxnSpPr/>
            <p:nvPr/>
          </p:nvCxnSpPr>
          <p:spPr>
            <a:xfrm flipH="1">
              <a:off x="15154372" y="4855846"/>
              <a:ext cx="255938" cy="496957"/>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741" name="Oval 740"/>
            <p:cNvSpPr/>
            <p:nvPr/>
          </p:nvSpPr>
          <p:spPr>
            <a:xfrm>
              <a:off x="14867387" y="5865291"/>
              <a:ext cx="287866" cy="250790"/>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cxnSp>
          <p:nvCxnSpPr>
            <p:cNvPr id="742" name="Straight Arrow Connector 741"/>
            <p:cNvCxnSpPr/>
            <p:nvPr/>
          </p:nvCxnSpPr>
          <p:spPr>
            <a:xfrm flipV="1">
              <a:off x="15011321" y="5566865"/>
              <a:ext cx="41275" cy="298426"/>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43" name="Straight Arrow Connector 742"/>
            <p:cNvCxnSpPr/>
            <p:nvPr/>
          </p:nvCxnSpPr>
          <p:spPr>
            <a:xfrm flipV="1">
              <a:off x="15113097" y="5318386"/>
              <a:ext cx="664807" cy="583632"/>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44" name="Straight Arrow Connector 743"/>
            <p:cNvCxnSpPr/>
            <p:nvPr/>
          </p:nvCxnSpPr>
          <p:spPr>
            <a:xfrm flipH="1" flipV="1">
              <a:off x="15613863" y="4855846"/>
              <a:ext cx="164040" cy="285204"/>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45" name="Straight Arrow Connector 744"/>
            <p:cNvCxnSpPr/>
            <p:nvPr/>
          </p:nvCxnSpPr>
          <p:spPr>
            <a:xfrm flipH="1">
              <a:off x="14621811" y="4396519"/>
              <a:ext cx="143800" cy="335048"/>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46" name="Straight Arrow Connector 745"/>
            <p:cNvCxnSpPr/>
            <p:nvPr/>
          </p:nvCxnSpPr>
          <p:spPr>
            <a:xfrm flipH="1">
              <a:off x="14123466" y="4908904"/>
              <a:ext cx="294792" cy="320487"/>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47" name="Straight Arrow Connector 746"/>
            <p:cNvCxnSpPr/>
            <p:nvPr/>
          </p:nvCxnSpPr>
          <p:spPr>
            <a:xfrm>
              <a:off x="14483211" y="5865292"/>
              <a:ext cx="384176" cy="125395"/>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48" name="Straight Arrow Connector 747"/>
            <p:cNvCxnSpPr/>
            <p:nvPr/>
          </p:nvCxnSpPr>
          <p:spPr>
            <a:xfrm>
              <a:off x="13502625" y="5185167"/>
              <a:ext cx="476908" cy="169619"/>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49" name="Straight Arrow Connector 748"/>
            <p:cNvCxnSpPr/>
            <p:nvPr/>
          </p:nvCxnSpPr>
          <p:spPr>
            <a:xfrm flipH="1" flipV="1">
              <a:off x="14095705" y="4310892"/>
              <a:ext cx="613514" cy="6288"/>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750" name="Oval 749"/>
            <p:cNvSpPr/>
            <p:nvPr/>
          </p:nvSpPr>
          <p:spPr>
            <a:xfrm>
              <a:off x="13807838" y="4185497"/>
              <a:ext cx="287866" cy="250790"/>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sp>
          <p:nvSpPr>
            <p:cNvPr id="751" name="Oval 750"/>
            <p:cNvSpPr/>
            <p:nvPr/>
          </p:nvSpPr>
          <p:spPr>
            <a:xfrm>
              <a:off x="13749709" y="4666796"/>
              <a:ext cx="287866" cy="250790"/>
            </a:xfrm>
            <a:prstGeom prst="ellipse">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cxnSp>
          <p:nvCxnSpPr>
            <p:cNvPr id="752" name="Straight Arrow Connector 751"/>
            <p:cNvCxnSpPr/>
            <p:nvPr/>
          </p:nvCxnSpPr>
          <p:spPr>
            <a:xfrm>
              <a:off x="14037575" y="4792191"/>
              <a:ext cx="338526" cy="28044"/>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753" name="Oval 752"/>
            <p:cNvSpPr/>
            <p:nvPr/>
          </p:nvSpPr>
          <p:spPr>
            <a:xfrm>
              <a:off x="13228858" y="5015655"/>
              <a:ext cx="287866" cy="250790"/>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cxnSp>
          <p:nvCxnSpPr>
            <p:cNvPr id="754" name="Straight Arrow Connector 753"/>
            <p:cNvCxnSpPr>
              <a:stCxn id="755" idx="6"/>
              <a:endCxn id="736" idx="2"/>
            </p:cNvCxnSpPr>
            <p:nvPr/>
          </p:nvCxnSpPr>
          <p:spPr>
            <a:xfrm flipV="1">
              <a:off x="13776995" y="5865292"/>
              <a:ext cx="418350" cy="29567"/>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755" name="Oval 754"/>
            <p:cNvSpPr/>
            <p:nvPr/>
          </p:nvSpPr>
          <p:spPr>
            <a:xfrm>
              <a:off x="13489129" y="5769463"/>
              <a:ext cx="287866" cy="250790"/>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cxnSp>
          <p:nvCxnSpPr>
            <p:cNvPr id="756" name="Straight Arrow Connector 755"/>
            <p:cNvCxnSpPr>
              <a:stCxn id="755" idx="0"/>
              <a:endCxn id="753" idx="4"/>
            </p:cNvCxnSpPr>
            <p:nvPr/>
          </p:nvCxnSpPr>
          <p:spPr>
            <a:xfrm flipH="1" flipV="1">
              <a:off x="13372792" y="5266445"/>
              <a:ext cx="260271" cy="503018"/>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854" name="Straight Arrow Connector 853"/>
            <p:cNvCxnSpPr>
              <a:stCxn id="750" idx="4"/>
              <a:endCxn id="751" idx="0"/>
            </p:cNvCxnSpPr>
            <p:nvPr/>
          </p:nvCxnSpPr>
          <p:spPr>
            <a:xfrm flipH="1">
              <a:off x="13893643" y="4436288"/>
              <a:ext cx="58129" cy="230509"/>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857" name="Straight Arrow Connector 856"/>
            <p:cNvCxnSpPr>
              <a:stCxn id="751" idx="4"/>
              <a:endCxn id="735" idx="1"/>
            </p:cNvCxnSpPr>
            <p:nvPr/>
          </p:nvCxnSpPr>
          <p:spPr>
            <a:xfrm>
              <a:off x="13893642" y="4917587"/>
              <a:ext cx="128048" cy="348531"/>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grpSp>
        <p:nvGrpSpPr>
          <p:cNvPr id="3" name="Group 2">
            <a:extLst>
              <a:ext uri="{FF2B5EF4-FFF2-40B4-BE49-F238E27FC236}">
                <a16:creationId xmlns:a16="http://schemas.microsoft.com/office/drawing/2014/main" id="{2F2DD42D-3275-5243-A082-4B0E7AFEC91F}"/>
              </a:ext>
            </a:extLst>
          </p:cNvPr>
          <p:cNvGrpSpPr/>
          <p:nvPr/>
        </p:nvGrpSpPr>
        <p:grpSpPr>
          <a:xfrm>
            <a:off x="8884256" y="3181517"/>
            <a:ext cx="3442046" cy="1973350"/>
            <a:chOff x="8570604" y="3163708"/>
            <a:chExt cx="3959478" cy="2652377"/>
          </a:xfrm>
        </p:grpSpPr>
        <p:sp>
          <p:nvSpPr>
            <p:cNvPr id="861" name="Oval 860"/>
            <p:cNvSpPr/>
            <p:nvPr/>
          </p:nvSpPr>
          <p:spPr>
            <a:xfrm>
              <a:off x="8570604" y="3163708"/>
              <a:ext cx="3959478" cy="2652377"/>
            </a:xfrm>
            <a:prstGeom prst="ellipse">
              <a:avLst/>
            </a:prstGeom>
            <a:solidFill>
              <a:schemeClr val="accent2">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sp>
          <p:nvSpPr>
            <p:cNvPr id="773" name="Oval 772"/>
            <p:cNvSpPr/>
            <p:nvPr/>
          </p:nvSpPr>
          <p:spPr>
            <a:xfrm>
              <a:off x="10979332" y="3486106"/>
              <a:ext cx="287866" cy="250790"/>
            </a:xfrm>
            <a:prstGeom prst="ellipse">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sp>
          <p:nvSpPr>
            <p:cNvPr id="774" name="Oval 773"/>
            <p:cNvSpPr/>
            <p:nvPr/>
          </p:nvSpPr>
          <p:spPr>
            <a:xfrm>
              <a:off x="11624031" y="3945432"/>
              <a:ext cx="287866" cy="25079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cxnSp>
          <p:nvCxnSpPr>
            <p:cNvPr id="775" name="Straight Arrow Connector 774"/>
            <p:cNvCxnSpPr/>
            <p:nvPr/>
          </p:nvCxnSpPr>
          <p:spPr>
            <a:xfrm>
              <a:off x="11258534" y="3716144"/>
              <a:ext cx="441147" cy="281990"/>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776" name="Oval 775"/>
            <p:cNvSpPr/>
            <p:nvPr/>
          </p:nvSpPr>
          <p:spPr>
            <a:xfrm>
              <a:off x="10631979" y="3998490"/>
              <a:ext cx="287866" cy="250790"/>
            </a:xfrm>
            <a:prstGeom prst="ellipse">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sp>
          <p:nvSpPr>
            <p:cNvPr id="777" name="Oval 776"/>
            <p:cNvSpPr/>
            <p:nvPr/>
          </p:nvSpPr>
          <p:spPr>
            <a:xfrm>
              <a:off x="11164540" y="4619725"/>
              <a:ext cx="287866" cy="25079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cxnSp>
          <p:nvCxnSpPr>
            <p:cNvPr id="778" name="Straight Arrow Connector 777"/>
            <p:cNvCxnSpPr/>
            <p:nvPr/>
          </p:nvCxnSpPr>
          <p:spPr>
            <a:xfrm>
              <a:off x="10877689" y="4212554"/>
              <a:ext cx="329009" cy="443899"/>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779" name="Oval 778"/>
            <p:cNvSpPr/>
            <p:nvPr/>
          </p:nvSpPr>
          <p:spPr>
            <a:xfrm>
              <a:off x="10235411" y="4533040"/>
              <a:ext cx="287866" cy="250790"/>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sp>
          <p:nvSpPr>
            <p:cNvPr id="780" name="Oval 779"/>
            <p:cNvSpPr/>
            <p:nvPr/>
          </p:nvSpPr>
          <p:spPr>
            <a:xfrm>
              <a:off x="10451223" y="5043546"/>
              <a:ext cx="287866" cy="250790"/>
            </a:xfrm>
            <a:prstGeom prst="ellipse">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cxnSp>
          <p:nvCxnSpPr>
            <p:cNvPr id="781" name="Straight Arrow Connector 780"/>
            <p:cNvCxnSpPr/>
            <p:nvPr/>
          </p:nvCxnSpPr>
          <p:spPr>
            <a:xfrm>
              <a:off x="10523278" y="4658436"/>
              <a:ext cx="641263" cy="86685"/>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82" name="Straight Arrow Connector 781"/>
            <p:cNvCxnSpPr/>
            <p:nvPr/>
          </p:nvCxnSpPr>
          <p:spPr>
            <a:xfrm flipV="1">
              <a:off x="10919845" y="4070827"/>
              <a:ext cx="704186" cy="53058"/>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783" name="Oval 782"/>
            <p:cNvSpPr/>
            <p:nvPr/>
          </p:nvSpPr>
          <p:spPr>
            <a:xfrm>
              <a:off x="11991624" y="4407973"/>
              <a:ext cx="287866" cy="25079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cxnSp>
          <p:nvCxnSpPr>
            <p:cNvPr id="784" name="Straight Arrow Connector 783"/>
            <p:cNvCxnSpPr/>
            <p:nvPr/>
          </p:nvCxnSpPr>
          <p:spPr>
            <a:xfrm flipH="1">
              <a:off x="11410250" y="4159496"/>
              <a:ext cx="255938" cy="496957"/>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785" name="Oval 784"/>
            <p:cNvSpPr/>
            <p:nvPr/>
          </p:nvSpPr>
          <p:spPr>
            <a:xfrm>
              <a:off x="11123265" y="5168941"/>
              <a:ext cx="287866" cy="250790"/>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cxnSp>
          <p:nvCxnSpPr>
            <p:cNvPr id="786" name="Straight Arrow Connector 785"/>
            <p:cNvCxnSpPr/>
            <p:nvPr/>
          </p:nvCxnSpPr>
          <p:spPr>
            <a:xfrm flipV="1">
              <a:off x="11267199" y="4870515"/>
              <a:ext cx="41275" cy="298426"/>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87" name="Straight Arrow Connector 786"/>
            <p:cNvCxnSpPr/>
            <p:nvPr/>
          </p:nvCxnSpPr>
          <p:spPr>
            <a:xfrm flipV="1">
              <a:off x="11368975" y="4622036"/>
              <a:ext cx="664807" cy="583632"/>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88" name="Straight Arrow Connector 787"/>
            <p:cNvCxnSpPr/>
            <p:nvPr/>
          </p:nvCxnSpPr>
          <p:spPr>
            <a:xfrm flipH="1" flipV="1">
              <a:off x="11869741" y="4159496"/>
              <a:ext cx="164040" cy="285204"/>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89" name="Straight Arrow Connector 788"/>
            <p:cNvCxnSpPr/>
            <p:nvPr/>
          </p:nvCxnSpPr>
          <p:spPr>
            <a:xfrm flipH="1">
              <a:off x="10877689" y="3700169"/>
              <a:ext cx="143800" cy="335048"/>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90" name="Straight Arrow Connector 789"/>
            <p:cNvCxnSpPr/>
            <p:nvPr/>
          </p:nvCxnSpPr>
          <p:spPr>
            <a:xfrm flipH="1">
              <a:off x="10379344" y="4212554"/>
              <a:ext cx="294792" cy="320487"/>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91" name="Straight Arrow Connector 790"/>
            <p:cNvCxnSpPr/>
            <p:nvPr/>
          </p:nvCxnSpPr>
          <p:spPr>
            <a:xfrm>
              <a:off x="10739089" y="5168942"/>
              <a:ext cx="384176" cy="125395"/>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92" name="Straight Arrow Connector 791"/>
            <p:cNvCxnSpPr>
              <a:endCxn id="779" idx="3"/>
            </p:cNvCxnSpPr>
            <p:nvPr/>
          </p:nvCxnSpPr>
          <p:spPr>
            <a:xfrm flipV="1">
              <a:off x="9905310" y="4747103"/>
              <a:ext cx="372258" cy="198088"/>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93" name="Straight Arrow Connector 792"/>
            <p:cNvCxnSpPr/>
            <p:nvPr/>
          </p:nvCxnSpPr>
          <p:spPr>
            <a:xfrm flipH="1" flipV="1">
              <a:off x="10351583" y="3614542"/>
              <a:ext cx="613514" cy="6288"/>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794" name="Oval 793"/>
            <p:cNvSpPr/>
            <p:nvPr/>
          </p:nvSpPr>
          <p:spPr>
            <a:xfrm>
              <a:off x="10063716" y="3489147"/>
              <a:ext cx="287866" cy="250790"/>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sp>
          <p:nvSpPr>
            <p:cNvPr id="795" name="Oval 794"/>
            <p:cNvSpPr/>
            <p:nvPr/>
          </p:nvSpPr>
          <p:spPr>
            <a:xfrm>
              <a:off x="10005587" y="3970446"/>
              <a:ext cx="287866" cy="250790"/>
            </a:xfrm>
            <a:prstGeom prst="ellipse">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cxnSp>
          <p:nvCxnSpPr>
            <p:cNvPr id="796" name="Straight Arrow Connector 795"/>
            <p:cNvCxnSpPr/>
            <p:nvPr/>
          </p:nvCxnSpPr>
          <p:spPr>
            <a:xfrm>
              <a:off x="10293453" y="4095841"/>
              <a:ext cx="338526" cy="28044"/>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797" name="Oval 796"/>
            <p:cNvSpPr/>
            <p:nvPr/>
          </p:nvSpPr>
          <p:spPr>
            <a:xfrm>
              <a:off x="9650859" y="4915442"/>
              <a:ext cx="287866" cy="250790"/>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cxnSp>
          <p:nvCxnSpPr>
            <p:cNvPr id="798" name="Straight Arrow Connector 797"/>
            <p:cNvCxnSpPr/>
            <p:nvPr/>
          </p:nvCxnSpPr>
          <p:spPr>
            <a:xfrm>
              <a:off x="9938725" y="5040837"/>
              <a:ext cx="512498" cy="128104"/>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799" name="Oval 798"/>
            <p:cNvSpPr/>
            <p:nvPr/>
          </p:nvSpPr>
          <p:spPr>
            <a:xfrm>
              <a:off x="9648255" y="5382604"/>
              <a:ext cx="287866" cy="250790"/>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cxnSp>
          <p:nvCxnSpPr>
            <p:cNvPr id="800" name="Straight Arrow Connector 799"/>
            <p:cNvCxnSpPr/>
            <p:nvPr/>
          </p:nvCxnSpPr>
          <p:spPr>
            <a:xfrm flipV="1">
              <a:off x="9792188" y="5166232"/>
              <a:ext cx="2604" cy="216372"/>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827" name="Oval 826"/>
            <p:cNvSpPr/>
            <p:nvPr/>
          </p:nvSpPr>
          <p:spPr>
            <a:xfrm>
              <a:off x="9568178" y="4329588"/>
              <a:ext cx="287866" cy="25079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sp>
          <p:nvSpPr>
            <p:cNvPr id="828" name="Oval 827"/>
            <p:cNvSpPr/>
            <p:nvPr/>
          </p:nvSpPr>
          <p:spPr>
            <a:xfrm>
              <a:off x="10069572" y="5376744"/>
              <a:ext cx="287866" cy="25079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cxnSp>
          <p:nvCxnSpPr>
            <p:cNvPr id="829" name="Straight Arrow Connector 828"/>
            <p:cNvCxnSpPr>
              <a:stCxn id="795" idx="3"/>
              <a:endCxn id="827" idx="7"/>
            </p:cNvCxnSpPr>
            <p:nvPr/>
          </p:nvCxnSpPr>
          <p:spPr>
            <a:xfrm flipH="1">
              <a:off x="9813888" y="4184509"/>
              <a:ext cx="233857" cy="181806"/>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832" name="Straight Arrow Connector 831"/>
            <p:cNvCxnSpPr>
              <a:stCxn id="779" idx="1"/>
              <a:endCxn id="827" idx="6"/>
            </p:cNvCxnSpPr>
            <p:nvPr/>
          </p:nvCxnSpPr>
          <p:spPr>
            <a:xfrm flipH="1" flipV="1">
              <a:off x="9856044" y="4454983"/>
              <a:ext cx="421524" cy="114784"/>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835" name="Straight Arrow Connector 834"/>
            <p:cNvCxnSpPr>
              <a:stCxn id="827" idx="4"/>
              <a:endCxn id="797" idx="0"/>
            </p:cNvCxnSpPr>
            <p:nvPr/>
          </p:nvCxnSpPr>
          <p:spPr>
            <a:xfrm>
              <a:off x="9712112" y="4580378"/>
              <a:ext cx="82681" cy="335064"/>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839" name="Straight Arrow Connector 838"/>
            <p:cNvCxnSpPr>
              <a:stCxn id="780" idx="3"/>
              <a:endCxn id="828" idx="7"/>
            </p:cNvCxnSpPr>
            <p:nvPr/>
          </p:nvCxnSpPr>
          <p:spPr>
            <a:xfrm flipH="1">
              <a:off x="10315282" y="5257609"/>
              <a:ext cx="178099" cy="155862"/>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844" name="Oval 843"/>
            <p:cNvSpPr/>
            <p:nvPr/>
          </p:nvSpPr>
          <p:spPr>
            <a:xfrm>
              <a:off x="9459745" y="3623236"/>
              <a:ext cx="287866" cy="25079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cxnSp>
          <p:nvCxnSpPr>
            <p:cNvPr id="845" name="Straight Arrow Connector 844"/>
            <p:cNvCxnSpPr>
              <a:stCxn id="844" idx="6"/>
              <a:endCxn id="794" idx="2"/>
            </p:cNvCxnSpPr>
            <p:nvPr/>
          </p:nvCxnSpPr>
          <p:spPr>
            <a:xfrm flipV="1">
              <a:off x="9747612" y="3614543"/>
              <a:ext cx="316105" cy="134089"/>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848" name="Straight Arrow Connector 847"/>
            <p:cNvCxnSpPr>
              <a:stCxn id="844" idx="5"/>
              <a:endCxn id="795" idx="1"/>
            </p:cNvCxnSpPr>
            <p:nvPr/>
          </p:nvCxnSpPr>
          <p:spPr>
            <a:xfrm>
              <a:off x="9705454" y="3837299"/>
              <a:ext cx="342290" cy="169874"/>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851" name="Straight Arrow Connector 850"/>
            <p:cNvCxnSpPr>
              <a:endCxn id="827" idx="1"/>
            </p:cNvCxnSpPr>
            <p:nvPr/>
          </p:nvCxnSpPr>
          <p:spPr>
            <a:xfrm>
              <a:off x="9221127" y="4211597"/>
              <a:ext cx="389209" cy="154718"/>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873" name="Oval 872"/>
            <p:cNvSpPr/>
            <p:nvPr/>
          </p:nvSpPr>
          <p:spPr>
            <a:xfrm>
              <a:off x="8952463" y="4024622"/>
              <a:ext cx="287866" cy="250790"/>
            </a:xfrm>
            <a:prstGeom prst="ellipse">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cxnSp>
          <p:nvCxnSpPr>
            <p:cNvPr id="876" name="Straight Arrow Connector 875"/>
            <p:cNvCxnSpPr>
              <a:stCxn id="877" idx="7"/>
              <a:endCxn id="827" idx="3"/>
            </p:cNvCxnSpPr>
            <p:nvPr/>
          </p:nvCxnSpPr>
          <p:spPr>
            <a:xfrm flipV="1">
              <a:off x="9228537" y="4543651"/>
              <a:ext cx="381798" cy="221562"/>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877" name="Oval 876"/>
            <p:cNvSpPr/>
            <p:nvPr/>
          </p:nvSpPr>
          <p:spPr>
            <a:xfrm>
              <a:off x="8982828" y="4728486"/>
              <a:ext cx="287866" cy="250790"/>
            </a:xfrm>
            <a:prstGeom prst="ellipse">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grpSp>
      <p:sp>
        <p:nvSpPr>
          <p:cNvPr id="883" name="TextBox 882"/>
          <p:cNvSpPr txBox="1"/>
          <p:nvPr/>
        </p:nvSpPr>
        <p:spPr>
          <a:xfrm flipH="1">
            <a:off x="8528166" y="2208397"/>
            <a:ext cx="7824707" cy="646331"/>
          </a:xfrm>
          <a:prstGeom prst="rect">
            <a:avLst/>
          </a:prstGeom>
          <a:noFill/>
        </p:spPr>
        <p:txBody>
          <a:bodyPr wrap="square" rtlCol="0">
            <a:spAutoFit/>
          </a:bodyPr>
          <a:lstStyle/>
          <a:p>
            <a:pPr algn="ctr"/>
            <a:r>
              <a:rPr lang="en-US" sz="3600" b="1" dirty="0"/>
              <a:t>Sample Patient Population (250M)</a:t>
            </a:r>
          </a:p>
        </p:txBody>
      </p:sp>
      <p:grpSp>
        <p:nvGrpSpPr>
          <p:cNvPr id="15" name="Group 14">
            <a:extLst>
              <a:ext uri="{FF2B5EF4-FFF2-40B4-BE49-F238E27FC236}">
                <a16:creationId xmlns:a16="http://schemas.microsoft.com/office/drawing/2014/main" id="{6EAEF4A6-5BEA-FD45-88EB-ED3D6C5FD1E5}"/>
              </a:ext>
            </a:extLst>
          </p:cNvPr>
          <p:cNvGrpSpPr/>
          <p:nvPr/>
        </p:nvGrpSpPr>
        <p:grpSpPr>
          <a:xfrm>
            <a:off x="1715950" y="4065031"/>
            <a:ext cx="3442046" cy="2014896"/>
            <a:chOff x="2016615" y="2184332"/>
            <a:chExt cx="3959478" cy="2652377"/>
          </a:xfrm>
        </p:grpSpPr>
        <p:sp>
          <p:nvSpPr>
            <p:cNvPr id="224" name="Oval 223">
              <a:extLst>
                <a:ext uri="{FF2B5EF4-FFF2-40B4-BE49-F238E27FC236}">
                  <a16:creationId xmlns:a16="http://schemas.microsoft.com/office/drawing/2014/main" id="{48532C6B-B1AC-E748-8501-DE0791D1AC21}"/>
                </a:ext>
              </a:extLst>
            </p:cNvPr>
            <p:cNvSpPr/>
            <p:nvPr/>
          </p:nvSpPr>
          <p:spPr>
            <a:xfrm>
              <a:off x="2016615" y="2184332"/>
              <a:ext cx="3959478" cy="2652377"/>
            </a:xfrm>
            <a:prstGeom prst="ellipse">
              <a:avLst/>
            </a:prstGeom>
            <a:solidFill>
              <a:schemeClr val="accent1">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sp>
          <p:nvSpPr>
            <p:cNvPr id="225" name="Oval 224">
              <a:extLst>
                <a:ext uri="{FF2B5EF4-FFF2-40B4-BE49-F238E27FC236}">
                  <a16:creationId xmlns:a16="http://schemas.microsoft.com/office/drawing/2014/main" id="{12B5028F-FC65-6F4D-A59E-8F4A3C415183}"/>
                </a:ext>
              </a:extLst>
            </p:cNvPr>
            <p:cNvSpPr/>
            <p:nvPr/>
          </p:nvSpPr>
          <p:spPr>
            <a:xfrm>
              <a:off x="4425343" y="2506730"/>
              <a:ext cx="287866" cy="250790"/>
            </a:xfrm>
            <a:prstGeom prst="ellipse">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sp>
          <p:nvSpPr>
            <p:cNvPr id="226" name="Oval 225">
              <a:extLst>
                <a:ext uri="{FF2B5EF4-FFF2-40B4-BE49-F238E27FC236}">
                  <a16:creationId xmlns:a16="http://schemas.microsoft.com/office/drawing/2014/main" id="{F4C4C3FA-88B3-B944-8AE7-53E7D5608D7C}"/>
                </a:ext>
              </a:extLst>
            </p:cNvPr>
            <p:cNvSpPr/>
            <p:nvPr/>
          </p:nvSpPr>
          <p:spPr>
            <a:xfrm>
              <a:off x="5070042" y="2966056"/>
              <a:ext cx="287866" cy="25079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cxnSp>
          <p:nvCxnSpPr>
            <p:cNvPr id="227" name="Straight Arrow Connector 226">
              <a:extLst>
                <a:ext uri="{FF2B5EF4-FFF2-40B4-BE49-F238E27FC236}">
                  <a16:creationId xmlns:a16="http://schemas.microsoft.com/office/drawing/2014/main" id="{8FE27E01-BC84-254C-B59B-CF8CDF69A304}"/>
                </a:ext>
              </a:extLst>
            </p:cNvPr>
            <p:cNvCxnSpPr/>
            <p:nvPr/>
          </p:nvCxnSpPr>
          <p:spPr>
            <a:xfrm>
              <a:off x="4704545" y="2736768"/>
              <a:ext cx="441147" cy="281990"/>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28" name="Oval 227">
              <a:extLst>
                <a:ext uri="{FF2B5EF4-FFF2-40B4-BE49-F238E27FC236}">
                  <a16:creationId xmlns:a16="http://schemas.microsoft.com/office/drawing/2014/main" id="{B2F9FD64-D5EB-0A46-8ECE-4D6A8A966C43}"/>
                </a:ext>
              </a:extLst>
            </p:cNvPr>
            <p:cNvSpPr/>
            <p:nvPr/>
          </p:nvSpPr>
          <p:spPr>
            <a:xfrm>
              <a:off x="4077990" y="3019114"/>
              <a:ext cx="287866" cy="250790"/>
            </a:xfrm>
            <a:prstGeom prst="ellipse">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sp>
          <p:nvSpPr>
            <p:cNvPr id="229" name="Oval 228">
              <a:extLst>
                <a:ext uri="{FF2B5EF4-FFF2-40B4-BE49-F238E27FC236}">
                  <a16:creationId xmlns:a16="http://schemas.microsoft.com/office/drawing/2014/main" id="{3E7DA412-C89F-C741-BAD0-20709E77AAC9}"/>
                </a:ext>
              </a:extLst>
            </p:cNvPr>
            <p:cNvSpPr/>
            <p:nvPr/>
          </p:nvSpPr>
          <p:spPr>
            <a:xfrm>
              <a:off x="4610551" y="3640349"/>
              <a:ext cx="287866" cy="25079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cxnSp>
          <p:nvCxnSpPr>
            <p:cNvPr id="230" name="Straight Arrow Connector 229">
              <a:extLst>
                <a:ext uri="{FF2B5EF4-FFF2-40B4-BE49-F238E27FC236}">
                  <a16:creationId xmlns:a16="http://schemas.microsoft.com/office/drawing/2014/main" id="{98C507AB-B08F-FF40-9FC2-2BB1113B916D}"/>
                </a:ext>
              </a:extLst>
            </p:cNvPr>
            <p:cNvCxnSpPr/>
            <p:nvPr/>
          </p:nvCxnSpPr>
          <p:spPr>
            <a:xfrm>
              <a:off x="4323700" y="3233178"/>
              <a:ext cx="329009" cy="443899"/>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31" name="Oval 230">
              <a:extLst>
                <a:ext uri="{FF2B5EF4-FFF2-40B4-BE49-F238E27FC236}">
                  <a16:creationId xmlns:a16="http://schemas.microsoft.com/office/drawing/2014/main" id="{D78DB726-6018-EA4E-9C14-0157DFAECB58}"/>
                </a:ext>
              </a:extLst>
            </p:cNvPr>
            <p:cNvSpPr/>
            <p:nvPr/>
          </p:nvSpPr>
          <p:spPr>
            <a:xfrm>
              <a:off x="3681422" y="3553664"/>
              <a:ext cx="287866" cy="250790"/>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sp>
          <p:nvSpPr>
            <p:cNvPr id="232" name="Oval 231">
              <a:extLst>
                <a:ext uri="{FF2B5EF4-FFF2-40B4-BE49-F238E27FC236}">
                  <a16:creationId xmlns:a16="http://schemas.microsoft.com/office/drawing/2014/main" id="{1735D87C-A722-9B49-8B2F-5BAD95178903}"/>
                </a:ext>
              </a:extLst>
            </p:cNvPr>
            <p:cNvSpPr/>
            <p:nvPr/>
          </p:nvSpPr>
          <p:spPr>
            <a:xfrm>
              <a:off x="3897234" y="4064170"/>
              <a:ext cx="287866" cy="250790"/>
            </a:xfrm>
            <a:prstGeom prst="ellipse">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cxnSp>
          <p:nvCxnSpPr>
            <p:cNvPr id="233" name="Straight Arrow Connector 232">
              <a:extLst>
                <a:ext uri="{FF2B5EF4-FFF2-40B4-BE49-F238E27FC236}">
                  <a16:creationId xmlns:a16="http://schemas.microsoft.com/office/drawing/2014/main" id="{3F80CACF-BDEC-9147-BF5F-A04BD536A796}"/>
                </a:ext>
              </a:extLst>
            </p:cNvPr>
            <p:cNvCxnSpPr/>
            <p:nvPr/>
          </p:nvCxnSpPr>
          <p:spPr>
            <a:xfrm>
              <a:off x="3969289" y="3679060"/>
              <a:ext cx="641263" cy="86685"/>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34" name="Straight Arrow Connector 233">
              <a:extLst>
                <a:ext uri="{FF2B5EF4-FFF2-40B4-BE49-F238E27FC236}">
                  <a16:creationId xmlns:a16="http://schemas.microsoft.com/office/drawing/2014/main" id="{8676C05B-F087-D644-BA2C-60CF5FCE328B}"/>
                </a:ext>
              </a:extLst>
            </p:cNvPr>
            <p:cNvCxnSpPr/>
            <p:nvPr/>
          </p:nvCxnSpPr>
          <p:spPr>
            <a:xfrm flipV="1">
              <a:off x="4365856" y="3091451"/>
              <a:ext cx="704186" cy="53058"/>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35" name="Oval 234">
              <a:extLst>
                <a:ext uri="{FF2B5EF4-FFF2-40B4-BE49-F238E27FC236}">
                  <a16:creationId xmlns:a16="http://schemas.microsoft.com/office/drawing/2014/main" id="{5AA1D6C8-23F6-EF45-B768-1A1610E1E02B}"/>
                </a:ext>
              </a:extLst>
            </p:cNvPr>
            <p:cNvSpPr/>
            <p:nvPr/>
          </p:nvSpPr>
          <p:spPr>
            <a:xfrm>
              <a:off x="5437635" y="3428597"/>
              <a:ext cx="287866" cy="25079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cxnSp>
          <p:nvCxnSpPr>
            <p:cNvPr id="236" name="Straight Arrow Connector 235">
              <a:extLst>
                <a:ext uri="{FF2B5EF4-FFF2-40B4-BE49-F238E27FC236}">
                  <a16:creationId xmlns:a16="http://schemas.microsoft.com/office/drawing/2014/main" id="{0F9FADEC-7BC5-9049-9957-12D81F0AB031}"/>
                </a:ext>
              </a:extLst>
            </p:cNvPr>
            <p:cNvCxnSpPr/>
            <p:nvPr/>
          </p:nvCxnSpPr>
          <p:spPr>
            <a:xfrm flipH="1">
              <a:off x="4856261" y="3180120"/>
              <a:ext cx="255938" cy="496957"/>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37" name="Oval 236">
              <a:extLst>
                <a:ext uri="{FF2B5EF4-FFF2-40B4-BE49-F238E27FC236}">
                  <a16:creationId xmlns:a16="http://schemas.microsoft.com/office/drawing/2014/main" id="{FAC265B5-9925-8042-9916-02BDE8E73027}"/>
                </a:ext>
              </a:extLst>
            </p:cNvPr>
            <p:cNvSpPr/>
            <p:nvPr/>
          </p:nvSpPr>
          <p:spPr>
            <a:xfrm>
              <a:off x="4569276" y="4189565"/>
              <a:ext cx="287866" cy="250790"/>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cxnSp>
          <p:nvCxnSpPr>
            <p:cNvPr id="238" name="Straight Arrow Connector 237">
              <a:extLst>
                <a:ext uri="{FF2B5EF4-FFF2-40B4-BE49-F238E27FC236}">
                  <a16:creationId xmlns:a16="http://schemas.microsoft.com/office/drawing/2014/main" id="{79CEE212-0A30-4C47-83E8-572F76B00483}"/>
                </a:ext>
              </a:extLst>
            </p:cNvPr>
            <p:cNvCxnSpPr/>
            <p:nvPr/>
          </p:nvCxnSpPr>
          <p:spPr>
            <a:xfrm flipV="1">
              <a:off x="4713210" y="3891139"/>
              <a:ext cx="41275" cy="298426"/>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39" name="Straight Arrow Connector 238">
              <a:extLst>
                <a:ext uri="{FF2B5EF4-FFF2-40B4-BE49-F238E27FC236}">
                  <a16:creationId xmlns:a16="http://schemas.microsoft.com/office/drawing/2014/main" id="{8C28BD56-AAC9-7642-93D7-238F5B6C517D}"/>
                </a:ext>
              </a:extLst>
            </p:cNvPr>
            <p:cNvCxnSpPr/>
            <p:nvPr/>
          </p:nvCxnSpPr>
          <p:spPr>
            <a:xfrm flipV="1">
              <a:off x="4814986" y="3642660"/>
              <a:ext cx="664807" cy="583632"/>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40" name="Straight Arrow Connector 239">
              <a:extLst>
                <a:ext uri="{FF2B5EF4-FFF2-40B4-BE49-F238E27FC236}">
                  <a16:creationId xmlns:a16="http://schemas.microsoft.com/office/drawing/2014/main" id="{D9DF32DB-76CD-6843-8F0B-90675B8FAC56}"/>
                </a:ext>
              </a:extLst>
            </p:cNvPr>
            <p:cNvCxnSpPr/>
            <p:nvPr/>
          </p:nvCxnSpPr>
          <p:spPr>
            <a:xfrm flipH="1" flipV="1">
              <a:off x="5315752" y="3180120"/>
              <a:ext cx="164040" cy="285204"/>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42" name="Straight Arrow Connector 241">
              <a:extLst>
                <a:ext uri="{FF2B5EF4-FFF2-40B4-BE49-F238E27FC236}">
                  <a16:creationId xmlns:a16="http://schemas.microsoft.com/office/drawing/2014/main" id="{EBC62430-7D47-114D-B256-B7A2B190F71B}"/>
                </a:ext>
              </a:extLst>
            </p:cNvPr>
            <p:cNvCxnSpPr/>
            <p:nvPr/>
          </p:nvCxnSpPr>
          <p:spPr>
            <a:xfrm flipH="1">
              <a:off x="4323700" y="2720793"/>
              <a:ext cx="143800" cy="335048"/>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43" name="Straight Arrow Connector 242">
              <a:extLst>
                <a:ext uri="{FF2B5EF4-FFF2-40B4-BE49-F238E27FC236}">
                  <a16:creationId xmlns:a16="http://schemas.microsoft.com/office/drawing/2014/main" id="{5ABE69E1-4BD2-AC48-80D5-D341DF8E96C7}"/>
                </a:ext>
              </a:extLst>
            </p:cNvPr>
            <p:cNvCxnSpPr/>
            <p:nvPr/>
          </p:nvCxnSpPr>
          <p:spPr>
            <a:xfrm flipH="1">
              <a:off x="3825355" y="3233178"/>
              <a:ext cx="294792" cy="320487"/>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44" name="Straight Arrow Connector 243">
              <a:extLst>
                <a:ext uri="{FF2B5EF4-FFF2-40B4-BE49-F238E27FC236}">
                  <a16:creationId xmlns:a16="http://schemas.microsoft.com/office/drawing/2014/main" id="{85562FBF-9D8D-994F-A419-216769B90A9D}"/>
                </a:ext>
              </a:extLst>
            </p:cNvPr>
            <p:cNvCxnSpPr/>
            <p:nvPr/>
          </p:nvCxnSpPr>
          <p:spPr>
            <a:xfrm>
              <a:off x="4185100" y="4189566"/>
              <a:ext cx="384176" cy="125395"/>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46" name="Straight Arrow Connector 245">
              <a:extLst>
                <a:ext uri="{FF2B5EF4-FFF2-40B4-BE49-F238E27FC236}">
                  <a16:creationId xmlns:a16="http://schemas.microsoft.com/office/drawing/2014/main" id="{390AE7C2-D7F4-E943-B79C-7E03C98BD83A}"/>
                </a:ext>
              </a:extLst>
            </p:cNvPr>
            <p:cNvCxnSpPr>
              <a:endCxn id="231" idx="3"/>
            </p:cNvCxnSpPr>
            <p:nvPr/>
          </p:nvCxnSpPr>
          <p:spPr>
            <a:xfrm flipV="1">
              <a:off x="3351321" y="3767727"/>
              <a:ext cx="372258" cy="198088"/>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47" name="Straight Arrow Connector 246">
              <a:extLst>
                <a:ext uri="{FF2B5EF4-FFF2-40B4-BE49-F238E27FC236}">
                  <a16:creationId xmlns:a16="http://schemas.microsoft.com/office/drawing/2014/main" id="{CBD11907-3560-EE4A-9B80-4BD0D3ED4FF2}"/>
                </a:ext>
              </a:extLst>
            </p:cNvPr>
            <p:cNvCxnSpPr/>
            <p:nvPr/>
          </p:nvCxnSpPr>
          <p:spPr>
            <a:xfrm flipH="1" flipV="1">
              <a:off x="3797594" y="2635166"/>
              <a:ext cx="613514" cy="6288"/>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49" name="Oval 248">
              <a:extLst>
                <a:ext uri="{FF2B5EF4-FFF2-40B4-BE49-F238E27FC236}">
                  <a16:creationId xmlns:a16="http://schemas.microsoft.com/office/drawing/2014/main" id="{4A6290E5-F499-934E-AABB-A0C5E619A7B1}"/>
                </a:ext>
              </a:extLst>
            </p:cNvPr>
            <p:cNvSpPr/>
            <p:nvPr/>
          </p:nvSpPr>
          <p:spPr>
            <a:xfrm>
              <a:off x="3509727" y="2509771"/>
              <a:ext cx="287866" cy="250790"/>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sp>
          <p:nvSpPr>
            <p:cNvPr id="250" name="Oval 249">
              <a:extLst>
                <a:ext uri="{FF2B5EF4-FFF2-40B4-BE49-F238E27FC236}">
                  <a16:creationId xmlns:a16="http://schemas.microsoft.com/office/drawing/2014/main" id="{42CC2E0F-8269-6943-BE0E-9C9F40383492}"/>
                </a:ext>
              </a:extLst>
            </p:cNvPr>
            <p:cNvSpPr/>
            <p:nvPr/>
          </p:nvSpPr>
          <p:spPr>
            <a:xfrm>
              <a:off x="3451598" y="2991070"/>
              <a:ext cx="287866" cy="250790"/>
            </a:xfrm>
            <a:prstGeom prst="ellipse">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cxnSp>
          <p:nvCxnSpPr>
            <p:cNvPr id="251" name="Straight Arrow Connector 250">
              <a:extLst>
                <a:ext uri="{FF2B5EF4-FFF2-40B4-BE49-F238E27FC236}">
                  <a16:creationId xmlns:a16="http://schemas.microsoft.com/office/drawing/2014/main" id="{8A780EB7-DA95-314D-B3FE-0854FA031A23}"/>
                </a:ext>
              </a:extLst>
            </p:cNvPr>
            <p:cNvCxnSpPr/>
            <p:nvPr/>
          </p:nvCxnSpPr>
          <p:spPr>
            <a:xfrm>
              <a:off x="3739464" y="3116465"/>
              <a:ext cx="338526" cy="28044"/>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52" name="Oval 251">
              <a:extLst>
                <a:ext uri="{FF2B5EF4-FFF2-40B4-BE49-F238E27FC236}">
                  <a16:creationId xmlns:a16="http://schemas.microsoft.com/office/drawing/2014/main" id="{FD08F17E-6E58-DA46-BADE-72B672E5E2A1}"/>
                </a:ext>
              </a:extLst>
            </p:cNvPr>
            <p:cNvSpPr/>
            <p:nvPr/>
          </p:nvSpPr>
          <p:spPr>
            <a:xfrm>
              <a:off x="3096870" y="3936066"/>
              <a:ext cx="287866" cy="250790"/>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cxnSp>
          <p:nvCxnSpPr>
            <p:cNvPr id="253" name="Straight Arrow Connector 252">
              <a:extLst>
                <a:ext uri="{FF2B5EF4-FFF2-40B4-BE49-F238E27FC236}">
                  <a16:creationId xmlns:a16="http://schemas.microsoft.com/office/drawing/2014/main" id="{C3AB8836-8355-8444-9844-B0AAFF279F9B}"/>
                </a:ext>
              </a:extLst>
            </p:cNvPr>
            <p:cNvCxnSpPr/>
            <p:nvPr/>
          </p:nvCxnSpPr>
          <p:spPr>
            <a:xfrm>
              <a:off x="3384736" y="4061461"/>
              <a:ext cx="512498" cy="128104"/>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54" name="Oval 253">
              <a:extLst>
                <a:ext uri="{FF2B5EF4-FFF2-40B4-BE49-F238E27FC236}">
                  <a16:creationId xmlns:a16="http://schemas.microsoft.com/office/drawing/2014/main" id="{93505224-03BC-A44A-989C-FE9B191B08EA}"/>
                </a:ext>
              </a:extLst>
            </p:cNvPr>
            <p:cNvSpPr/>
            <p:nvPr/>
          </p:nvSpPr>
          <p:spPr>
            <a:xfrm>
              <a:off x="3094266" y="4403228"/>
              <a:ext cx="287866" cy="250790"/>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cxnSp>
          <p:nvCxnSpPr>
            <p:cNvPr id="255" name="Straight Arrow Connector 254">
              <a:extLst>
                <a:ext uri="{FF2B5EF4-FFF2-40B4-BE49-F238E27FC236}">
                  <a16:creationId xmlns:a16="http://schemas.microsoft.com/office/drawing/2014/main" id="{B1A1729D-80D7-074D-B5A2-57986E9D62D2}"/>
                </a:ext>
              </a:extLst>
            </p:cNvPr>
            <p:cNvCxnSpPr/>
            <p:nvPr/>
          </p:nvCxnSpPr>
          <p:spPr>
            <a:xfrm flipV="1">
              <a:off x="3238199" y="4186856"/>
              <a:ext cx="2604" cy="216372"/>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56" name="Oval 255">
              <a:extLst>
                <a:ext uri="{FF2B5EF4-FFF2-40B4-BE49-F238E27FC236}">
                  <a16:creationId xmlns:a16="http://schemas.microsoft.com/office/drawing/2014/main" id="{2421981C-CA72-5646-8B56-B7F30FAFFD4A}"/>
                </a:ext>
              </a:extLst>
            </p:cNvPr>
            <p:cNvSpPr/>
            <p:nvPr/>
          </p:nvSpPr>
          <p:spPr>
            <a:xfrm>
              <a:off x="3014189" y="3350212"/>
              <a:ext cx="287866" cy="25079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sp>
          <p:nvSpPr>
            <p:cNvPr id="257" name="Oval 256">
              <a:extLst>
                <a:ext uri="{FF2B5EF4-FFF2-40B4-BE49-F238E27FC236}">
                  <a16:creationId xmlns:a16="http://schemas.microsoft.com/office/drawing/2014/main" id="{875F86D5-760B-9341-BE42-BF11A1293B51}"/>
                </a:ext>
              </a:extLst>
            </p:cNvPr>
            <p:cNvSpPr/>
            <p:nvPr/>
          </p:nvSpPr>
          <p:spPr>
            <a:xfrm>
              <a:off x="3515583" y="4397368"/>
              <a:ext cx="287866" cy="25079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cxnSp>
          <p:nvCxnSpPr>
            <p:cNvPr id="259" name="Straight Arrow Connector 258">
              <a:extLst>
                <a:ext uri="{FF2B5EF4-FFF2-40B4-BE49-F238E27FC236}">
                  <a16:creationId xmlns:a16="http://schemas.microsoft.com/office/drawing/2014/main" id="{3B520CB9-9381-334D-805D-DDCE5BCEA3C1}"/>
                </a:ext>
              </a:extLst>
            </p:cNvPr>
            <p:cNvCxnSpPr>
              <a:stCxn id="250" idx="3"/>
              <a:endCxn id="256" idx="7"/>
            </p:cNvCxnSpPr>
            <p:nvPr/>
          </p:nvCxnSpPr>
          <p:spPr>
            <a:xfrm flipH="1">
              <a:off x="3259899" y="3205133"/>
              <a:ext cx="233857" cy="181806"/>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60" name="Straight Arrow Connector 259">
              <a:extLst>
                <a:ext uri="{FF2B5EF4-FFF2-40B4-BE49-F238E27FC236}">
                  <a16:creationId xmlns:a16="http://schemas.microsoft.com/office/drawing/2014/main" id="{74C1E8C0-0696-C04B-9AA0-1EC94AB1DB3F}"/>
                </a:ext>
              </a:extLst>
            </p:cNvPr>
            <p:cNvCxnSpPr>
              <a:stCxn id="231" idx="1"/>
              <a:endCxn id="256" idx="6"/>
            </p:cNvCxnSpPr>
            <p:nvPr/>
          </p:nvCxnSpPr>
          <p:spPr>
            <a:xfrm flipH="1" flipV="1">
              <a:off x="3302055" y="3475607"/>
              <a:ext cx="421524" cy="114784"/>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61" name="Straight Arrow Connector 260">
              <a:extLst>
                <a:ext uri="{FF2B5EF4-FFF2-40B4-BE49-F238E27FC236}">
                  <a16:creationId xmlns:a16="http://schemas.microsoft.com/office/drawing/2014/main" id="{A6AD301A-EC5E-0342-81D5-078158479110}"/>
                </a:ext>
              </a:extLst>
            </p:cNvPr>
            <p:cNvCxnSpPr>
              <a:stCxn id="256" idx="4"/>
              <a:endCxn id="252" idx="0"/>
            </p:cNvCxnSpPr>
            <p:nvPr/>
          </p:nvCxnSpPr>
          <p:spPr>
            <a:xfrm>
              <a:off x="3158123" y="3601002"/>
              <a:ext cx="82681" cy="335064"/>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62" name="Straight Arrow Connector 261">
              <a:extLst>
                <a:ext uri="{FF2B5EF4-FFF2-40B4-BE49-F238E27FC236}">
                  <a16:creationId xmlns:a16="http://schemas.microsoft.com/office/drawing/2014/main" id="{E75D452B-C2E2-9645-81B6-5B5D8A6089BC}"/>
                </a:ext>
              </a:extLst>
            </p:cNvPr>
            <p:cNvCxnSpPr>
              <a:stCxn id="232" idx="3"/>
              <a:endCxn id="257" idx="7"/>
            </p:cNvCxnSpPr>
            <p:nvPr/>
          </p:nvCxnSpPr>
          <p:spPr>
            <a:xfrm flipH="1">
              <a:off x="3761293" y="4278233"/>
              <a:ext cx="178099" cy="155862"/>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63" name="Oval 262">
              <a:extLst>
                <a:ext uri="{FF2B5EF4-FFF2-40B4-BE49-F238E27FC236}">
                  <a16:creationId xmlns:a16="http://schemas.microsoft.com/office/drawing/2014/main" id="{7120C21F-E3D5-1B41-9334-048A12CFA9E1}"/>
                </a:ext>
              </a:extLst>
            </p:cNvPr>
            <p:cNvSpPr/>
            <p:nvPr/>
          </p:nvSpPr>
          <p:spPr>
            <a:xfrm>
              <a:off x="2905756" y="2643860"/>
              <a:ext cx="287866" cy="25079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cxnSp>
          <p:nvCxnSpPr>
            <p:cNvPr id="265" name="Straight Arrow Connector 264">
              <a:extLst>
                <a:ext uri="{FF2B5EF4-FFF2-40B4-BE49-F238E27FC236}">
                  <a16:creationId xmlns:a16="http://schemas.microsoft.com/office/drawing/2014/main" id="{E4B578B0-B490-5A4A-A8E0-A9563087E0CF}"/>
                </a:ext>
              </a:extLst>
            </p:cNvPr>
            <p:cNvCxnSpPr>
              <a:stCxn id="263" idx="6"/>
              <a:endCxn id="249" idx="2"/>
            </p:cNvCxnSpPr>
            <p:nvPr/>
          </p:nvCxnSpPr>
          <p:spPr>
            <a:xfrm flipV="1">
              <a:off x="3193623" y="2635167"/>
              <a:ext cx="316105" cy="134089"/>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66" name="Straight Arrow Connector 265">
              <a:extLst>
                <a:ext uri="{FF2B5EF4-FFF2-40B4-BE49-F238E27FC236}">
                  <a16:creationId xmlns:a16="http://schemas.microsoft.com/office/drawing/2014/main" id="{FA43F9F0-6E4C-4741-861B-E679165E8976}"/>
                </a:ext>
              </a:extLst>
            </p:cNvPr>
            <p:cNvCxnSpPr>
              <a:stCxn id="263" idx="5"/>
              <a:endCxn id="250" idx="1"/>
            </p:cNvCxnSpPr>
            <p:nvPr/>
          </p:nvCxnSpPr>
          <p:spPr>
            <a:xfrm>
              <a:off x="3151465" y="2857923"/>
              <a:ext cx="342290" cy="169874"/>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68" name="Straight Arrow Connector 267">
              <a:extLst>
                <a:ext uri="{FF2B5EF4-FFF2-40B4-BE49-F238E27FC236}">
                  <a16:creationId xmlns:a16="http://schemas.microsoft.com/office/drawing/2014/main" id="{3DB5CCBF-EE7C-854E-BA10-3ABF4F34E2B6}"/>
                </a:ext>
              </a:extLst>
            </p:cNvPr>
            <p:cNvCxnSpPr>
              <a:endCxn id="256" idx="1"/>
            </p:cNvCxnSpPr>
            <p:nvPr/>
          </p:nvCxnSpPr>
          <p:spPr>
            <a:xfrm>
              <a:off x="2667138" y="3232221"/>
              <a:ext cx="389209" cy="154718"/>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69" name="Oval 268">
              <a:extLst>
                <a:ext uri="{FF2B5EF4-FFF2-40B4-BE49-F238E27FC236}">
                  <a16:creationId xmlns:a16="http://schemas.microsoft.com/office/drawing/2014/main" id="{6F83380D-06BF-CE44-8C15-3E08EDF38F5A}"/>
                </a:ext>
              </a:extLst>
            </p:cNvPr>
            <p:cNvSpPr/>
            <p:nvPr/>
          </p:nvSpPr>
          <p:spPr>
            <a:xfrm>
              <a:off x="2398474" y="3045246"/>
              <a:ext cx="287866" cy="250790"/>
            </a:xfrm>
            <a:prstGeom prst="ellipse">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cxnSp>
          <p:nvCxnSpPr>
            <p:cNvPr id="271" name="Straight Arrow Connector 270">
              <a:extLst>
                <a:ext uri="{FF2B5EF4-FFF2-40B4-BE49-F238E27FC236}">
                  <a16:creationId xmlns:a16="http://schemas.microsoft.com/office/drawing/2014/main" id="{36D1D3AD-0CE2-9B42-9EEB-FE5AB86B4ED2}"/>
                </a:ext>
              </a:extLst>
            </p:cNvPr>
            <p:cNvCxnSpPr>
              <a:stCxn id="272" idx="7"/>
              <a:endCxn id="256" idx="3"/>
            </p:cNvCxnSpPr>
            <p:nvPr/>
          </p:nvCxnSpPr>
          <p:spPr>
            <a:xfrm flipV="1">
              <a:off x="2674548" y="3564275"/>
              <a:ext cx="381798" cy="221562"/>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72" name="Oval 271">
              <a:extLst>
                <a:ext uri="{FF2B5EF4-FFF2-40B4-BE49-F238E27FC236}">
                  <a16:creationId xmlns:a16="http://schemas.microsoft.com/office/drawing/2014/main" id="{00BE3553-BEE6-5E4B-9585-B30A55EE62A1}"/>
                </a:ext>
              </a:extLst>
            </p:cNvPr>
            <p:cNvSpPr/>
            <p:nvPr/>
          </p:nvSpPr>
          <p:spPr>
            <a:xfrm>
              <a:off x="2428839" y="3749110"/>
              <a:ext cx="287866" cy="250790"/>
            </a:xfrm>
            <a:prstGeom prst="ellipse">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grpSp>
      <p:sp>
        <p:nvSpPr>
          <p:cNvPr id="284" name="TextBox 283">
            <a:extLst>
              <a:ext uri="{FF2B5EF4-FFF2-40B4-BE49-F238E27FC236}">
                <a16:creationId xmlns:a16="http://schemas.microsoft.com/office/drawing/2014/main" id="{6667A83B-426C-3C44-91C1-62F34DD932FA}"/>
              </a:ext>
            </a:extLst>
          </p:cNvPr>
          <p:cNvSpPr txBox="1"/>
          <p:nvPr/>
        </p:nvSpPr>
        <p:spPr>
          <a:xfrm flipH="1">
            <a:off x="1402272" y="3127887"/>
            <a:ext cx="4253023" cy="646331"/>
          </a:xfrm>
          <a:prstGeom prst="rect">
            <a:avLst/>
          </a:prstGeom>
          <a:noFill/>
        </p:spPr>
        <p:txBody>
          <a:bodyPr wrap="square" rtlCol="0">
            <a:spAutoFit/>
          </a:bodyPr>
          <a:lstStyle/>
          <a:p>
            <a:pPr algn="ctr"/>
            <a:r>
              <a:rPr lang="en-US" sz="3600" b="1" dirty="0"/>
              <a:t>Target Patient</a:t>
            </a:r>
          </a:p>
        </p:txBody>
      </p:sp>
      <p:grpSp>
        <p:nvGrpSpPr>
          <p:cNvPr id="286" name="Group 285">
            <a:extLst>
              <a:ext uri="{FF2B5EF4-FFF2-40B4-BE49-F238E27FC236}">
                <a16:creationId xmlns:a16="http://schemas.microsoft.com/office/drawing/2014/main" id="{C6A8A77A-5D8D-F84C-BF5B-46C3EFAB5C82}"/>
              </a:ext>
            </a:extLst>
          </p:cNvPr>
          <p:cNvGrpSpPr/>
          <p:nvPr/>
        </p:nvGrpSpPr>
        <p:grpSpPr>
          <a:xfrm>
            <a:off x="9293832" y="6477006"/>
            <a:ext cx="3442046" cy="1973350"/>
            <a:chOff x="8570604" y="3163708"/>
            <a:chExt cx="3959478" cy="2652377"/>
          </a:xfrm>
        </p:grpSpPr>
        <p:sp>
          <p:nvSpPr>
            <p:cNvPr id="287" name="Oval 286">
              <a:extLst>
                <a:ext uri="{FF2B5EF4-FFF2-40B4-BE49-F238E27FC236}">
                  <a16:creationId xmlns:a16="http://schemas.microsoft.com/office/drawing/2014/main" id="{918448A4-C361-5148-B465-B033F8BF76F3}"/>
                </a:ext>
              </a:extLst>
            </p:cNvPr>
            <p:cNvSpPr/>
            <p:nvPr/>
          </p:nvSpPr>
          <p:spPr>
            <a:xfrm>
              <a:off x="8570604" y="3163708"/>
              <a:ext cx="3959478" cy="2652377"/>
            </a:xfrm>
            <a:prstGeom prst="ellipse">
              <a:avLst/>
            </a:prstGeom>
            <a:solidFill>
              <a:schemeClr val="accent2">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sp>
          <p:nvSpPr>
            <p:cNvPr id="289" name="Oval 288">
              <a:extLst>
                <a:ext uri="{FF2B5EF4-FFF2-40B4-BE49-F238E27FC236}">
                  <a16:creationId xmlns:a16="http://schemas.microsoft.com/office/drawing/2014/main" id="{A5E4D110-477B-6C47-868E-926CC472528C}"/>
                </a:ext>
              </a:extLst>
            </p:cNvPr>
            <p:cNvSpPr/>
            <p:nvPr/>
          </p:nvSpPr>
          <p:spPr>
            <a:xfrm>
              <a:off x="10979332" y="3486106"/>
              <a:ext cx="287866" cy="250790"/>
            </a:xfrm>
            <a:prstGeom prst="ellipse">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sp>
          <p:nvSpPr>
            <p:cNvPr id="290" name="Oval 289">
              <a:extLst>
                <a:ext uri="{FF2B5EF4-FFF2-40B4-BE49-F238E27FC236}">
                  <a16:creationId xmlns:a16="http://schemas.microsoft.com/office/drawing/2014/main" id="{F60E037B-D328-4941-B8E4-4A5C3480CBA7}"/>
                </a:ext>
              </a:extLst>
            </p:cNvPr>
            <p:cNvSpPr/>
            <p:nvPr/>
          </p:nvSpPr>
          <p:spPr>
            <a:xfrm>
              <a:off x="11624031" y="3945432"/>
              <a:ext cx="287866" cy="25079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cxnSp>
          <p:nvCxnSpPr>
            <p:cNvPr id="292" name="Straight Arrow Connector 291">
              <a:extLst>
                <a:ext uri="{FF2B5EF4-FFF2-40B4-BE49-F238E27FC236}">
                  <a16:creationId xmlns:a16="http://schemas.microsoft.com/office/drawing/2014/main" id="{AA9FCF3C-8756-9E47-9950-E78C058B7F1D}"/>
                </a:ext>
              </a:extLst>
            </p:cNvPr>
            <p:cNvCxnSpPr/>
            <p:nvPr/>
          </p:nvCxnSpPr>
          <p:spPr>
            <a:xfrm>
              <a:off x="11258534" y="3716144"/>
              <a:ext cx="441147" cy="281990"/>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93" name="Oval 292">
              <a:extLst>
                <a:ext uri="{FF2B5EF4-FFF2-40B4-BE49-F238E27FC236}">
                  <a16:creationId xmlns:a16="http://schemas.microsoft.com/office/drawing/2014/main" id="{22358ACD-DE49-9D4B-98D1-96B1B20CCD78}"/>
                </a:ext>
              </a:extLst>
            </p:cNvPr>
            <p:cNvSpPr/>
            <p:nvPr/>
          </p:nvSpPr>
          <p:spPr>
            <a:xfrm>
              <a:off x="10631979" y="3998490"/>
              <a:ext cx="287866" cy="250790"/>
            </a:xfrm>
            <a:prstGeom prst="ellipse">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sp>
          <p:nvSpPr>
            <p:cNvPr id="295" name="Oval 294">
              <a:extLst>
                <a:ext uri="{FF2B5EF4-FFF2-40B4-BE49-F238E27FC236}">
                  <a16:creationId xmlns:a16="http://schemas.microsoft.com/office/drawing/2014/main" id="{D7D91317-7B6A-B643-B3E4-8544CAA4EEA2}"/>
                </a:ext>
              </a:extLst>
            </p:cNvPr>
            <p:cNvSpPr/>
            <p:nvPr/>
          </p:nvSpPr>
          <p:spPr>
            <a:xfrm>
              <a:off x="11164540" y="4619725"/>
              <a:ext cx="287866" cy="25079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cxnSp>
          <p:nvCxnSpPr>
            <p:cNvPr id="296" name="Straight Arrow Connector 295">
              <a:extLst>
                <a:ext uri="{FF2B5EF4-FFF2-40B4-BE49-F238E27FC236}">
                  <a16:creationId xmlns:a16="http://schemas.microsoft.com/office/drawing/2014/main" id="{84B844E6-D03E-3549-AE85-6CA75AD35E51}"/>
                </a:ext>
              </a:extLst>
            </p:cNvPr>
            <p:cNvCxnSpPr/>
            <p:nvPr/>
          </p:nvCxnSpPr>
          <p:spPr>
            <a:xfrm>
              <a:off x="10877689" y="4212554"/>
              <a:ext cx="329009" cy="443899"/>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98" name="Oval 297">
              <a:extLst>
                <a:ext uri="{FF2B5EF4-FFF2-40B4-BE49-F238E27FC236}">
                  <a16:creationId xmlns:a16="http://schemas.microsoft.com/office/drawing/2014/main" id="{0C39616B-BFB0-2449-9F89-D09A8F4832F4}"/>
                </a:ext>
              </a:extLst>
            </p:cNvPr>
            <p:cNvSpPr/>
            <p:nvPr/>
          </p:nvSpPr>
          <p:spPr>
            <a:xfrm>
              <a:off x="10235411" y="4533040"/>
              <a:ext cx="287866" cy="250790"/>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sp>
          <p:nvSpPr>
            <p:cNvPr id="299" name="Oval 298">
              <a:extLst>
                <a:ext uri="{FF2B5EF4-FFF2-40B4-BE49-F238E27FC236}">
                  <a16:creationId xmlns:a16="http://schemas.microsoft.com/office/drawing/2014/main" id="{2796B241-FB5D-5546-BBEE-09EE7EF8FF1E}"/>
                </a:ext>
              </a:extLst>
            </p:cNvPr>
            <p:cNvSpPr/>
            <p:nvPr/>
          </p:nvSpPr>
          <p:spPr>
            <a:xfrm>
              <a:off x="10451223" y="5043546"/>
              <a:ext cx="287866" cy="250790"/>
            </a:xfrm>
            <a:prstGeom prst="ellipse">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cxnSp>
          <p:nvCxnSpPr>
            <p:cNvPr id="318" name="Straight Arrow Connector 317">
              <a:extLst>
                <a:ext uri="{FF2B5EF4-FFF2-40B4-BE49-F238E27FC236}">
                  <a16:creationId xmlns:a16="http://schemas.microsoft.com/office/drawing/2014/main" id="{31F6B400-6138-3344-B59A-8C9D3E041F6F}"/>
                </a:ext>
              </a:extLst>
            </p:cNvPr>
            <p:cNvCxnSpPr/>
            <p:nvPr/>
          </p:nvCxnSpPr>
          <p:spPr>
            <a:xfrm>
              <a:off x="10523278" y="4658436"/>
              <a:ext cx="641263" cy="86685"/>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20" name="Straight Arrow Connector 319">
              <a:extLst>
                <a:ext uri="{FF2B5EF4-FFF2-40B4-BE49-F238E27FC236}">
                  <a16:creationId xmlns:a16="http://schemas.microsoft.com/office/drawing/2014/main" id="{544437D2-3454-C04B-A7D8-D5E7E2CE4F51}"/>
                </a:ext>
              </a:extLst>
            </p:cNvPr>
            <p:cNvCxnSpPr/>
            <p:nvPr/>
          </p:nvCxnSpPr>
          <p:spPr>
            <a:xfrm flipV="1">
              <a:off x="10919845" y="4070827"/>
              <a:ext cx="704186" cy="53058"/>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21" name="Oval 320">
              <a:extLst>
                <a:ext uri="{FF2B5EF4-FFF2-40B4-BE49-F238E27FC236}">
                  <a16:creationId xmlns:a16="http://schemas.microsoft.com/office/drawing/2014/main" id="{B462FD83-2282-A843-ACA3-1310CE11B287}"/>
                </a:ext>
              </a:extLst>
            </p:cNvPr>
            <p:cNvSpPr/>
            <p:nvPr/>
          </p:nvSpPr>
          <p:spPr>
            <a:xfrm>
              <a:off x="11991624" y="4407973"/>
              <a:ext cx="287866" cy="25079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cxnSp>
          <p:nvCxnSpPr>
            <p:cNvPr id="322" name="Straight Arrow Connector 321">
              <a:extLst>
                <a:ext uri="{FF2B5EF4-FFF2-40B4-BE49-F238E27FC236}">
                  <a16:creationId xmlns:a16="http://schemas.microsoft.com/office/drawing/2014/main" id="{D73170AB-D8F3-B74C-ACC9-9671D07D4DBD}"/>
                </a:ext>
              </a:extLst>
            </p:cNvPr>
            <p:cNvCxnSpPr/>
            <p:nvPr/>
          </p:nvCxnSpPr>
          <p:spPr>
            <a:xfrm flipH="1">
              <a:off x="11410250" y="4159496"/>
              <a:ext cx="255938" cy="496957"/>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23" name="Oval 322">
              <a:extLst>
                <a:ext uri="{FF2B5EF4-FFF2-40B4-BE49-F238E27FC236}">
                  <a16:creationId xmlns:a16="http://schemas.microsoft.com/office/drawing/2014/main" id="{DFB4C641-CE70-0140-A592-2D7EFC6E1104}"/>
                </a:ext>
              </a:extLst>
            </p:cNvPr>
            <p:cNvSpPr/>
            <p:nvPr/>
          </p:nvSpPr>
          <p:spPr>
            <a:xfrm>
              <a:off x="11123265" y="5168941"/>
              <a:ext cx="287866" cy="250790"/>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cxnSp>
          <p:nvCxnSpPr>
            <p:cNvPr id="324" name="Straight Arrow Connector 323">
              <a:extLst>
                <a:ext uri="{FF2B5EF4-FFF2-40B4-BE49-F238E27FC236}">
                  <a16:creationId xmlns:a16="http://schemas.microsoft.com/office/drawing/2014/main" id="{AA340029-DB9F-0548-A307-87693BD7E377}"/>
                </a:ext>
              </a:extLst>
            </p:cNvPr>
            <p:cNvCxnSpPr/>
            <p:nvPr/>
          </p:nvCxnSpPr>
          <p:spPr>
            <a:xfrm flipV="1">
              <a:off x="11267199" y="4870515"/>
              <a:ext cx="41275" cy="298426"/>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25" name="Straight Arrow Connector 324">
              <a:extLst>
                <a:ext uri="{FF2B5EF4-FFF2-40B4-BE49-F238E27FC236}">
                  <a16:creationId xmlns:a16="http://schemas.microsoft.com/office/drawing/2014/main" id="{2ABB5DD7-E35F-F649-84D6-23EFB31238CC}"/>
                </a:ext>
              </a:extLst>
            </p:cNvPr>
            <p:cNvCxnSpPr/>
            <p:nvPr/>
          </p:nvCxnSpPr>
          <p:spPr>
            <a:xfrm flipV="1">
              <a:off x="11368975" y="4622036"/>
              <a:ext cx="664807" cy="583632"/>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26" name="Straight Arrow Connector 325">
              <a:extLst>
                <a:ext uri="{FF2B5EF4-FFF2-40B4-BE49-F238E27FC236}">
                  <a16:creationId xmlns:a16="http://schemas.microsoft.com/office/drawing/2014/main" id="{3D722082-A90A-8F4F-9736-1BB917A9344C}"/>
                </a:ext>
              </a:extLst>
            </p:cNvPr>
            <p:cNvCxnSpPr/>
            <p:nvPr/>
          </p:nvCxnSpPr>
          <p:spPr>
            <a:xfrm flipH="1" flipV="1">
              <a:off x="11869741" y="4159496"/>
              <a:ext cx="164040" cy="285204"/>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27" name="Straight Arrow Connector 326">
              <a:extLst>
                <a:ext uri="{FF2B5EF4-FFF2-40B4-BE49-F238E27FC236}">
                  <a16:creationId xmlns:a16="http://schemas.microsoft.com/office/drawing/2014/main" id="{F0C75F4A-C069-354A-81E6-15CC6851C3A1}"/>
                </a:ext>
              </a:extLst>
            </p:cNvPr>
            <p:cNvCxnSpPr/>
            <p:nvPr/>
          </p:nvCxnSpPr>
          <p:spPr>
            <a:xfrm flipH="1">
              <a:off x="10877689" y="3700169"/>
              <a:ext cx="143800" cy="335048"/>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28" name="Straight Arrow Connector 327">
              <a:extLst>
                <a:ext uri="{FF2B5EF4-FFF2-40B4-BE49-F238E27FC236}">
                  <a16:creationId xmlns:a16="http://schemas.microsoft.com/office/drawing/2014/main" id="{B2E69818-75B5-F34D-95FD-2EC429A1493E}"/>
                </a:ext>
              </a:extLst>
            </p:cNvPr>
            <p:cNvCxnSpPr/>
            <p:nvPr/>
          </p:nvCxnSpPr>
          <p:spPr>
            <a:xfrm flipH="1">
              <a:off x="10379344" y="4212554"/>
              <a:ext cx="294792" cy="320487"/>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29" name="Straight Arrow Connector 328">
              <a:extLst>
                <a:ext uri="{FF2B5EF4-FFF2-40B4-BE49-F238E27FC236}">
                  <a16:creationId xmlns:a16="http://schemas.microsoft.com/office/drawing/2014/main" id="{4BC9760B-B7A8-9647-AD77-DBCE2AE41F1D}"/>
                </a:ext>
              </a:extLst>
            </p:cNvPr>
            <p:cNvCxnSpPr/>
            <p:nvPr/>
          </p:nvCxnSpPr>
          <p:spPr>
            <a:xfrm>
              <a:off x="10739089" y="5168942"/>
              <a:ext cx="384176" cy="125395"/>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30" name="Straight Arrow Connector 329">
              <a:extLst>
                <a:ext uri="{FF2B5EF4-FFF2-40B4-BE49-F238E27FC236}">
                  <a16:creationId xmlns:a16="http://schemas.microsoft.com/office/drawing/2014/main" id="{A0AB1BE3-F93D-E444-B959-7900B20E0DE0}"/>
                </a:ext>
              </a:extLst>
            </p:cNvPr>
            <p:cNvCxnSpPr>
              <a:endCxn id="298" idx="3"/>
            </p:cNvCxnSpPr>
            <p:nvPr/>
          </p:nvCxnSpPr>
          <p:spPr>
            <a:xfrm flipV="1">
              <a:off x="9905310" y="4747103"/>
              <a:ext cx="372258" cy="198088"/>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31" name="Straight Arrow Connector 330">
              <a:extLst>
                <a:ext uri="{FF2B5EF4-FFF2-40B4-BE49-F238E27FC236}">
                  <a16:creationId xmlns:a16="http://schemas.microsoft.com/office/drawing/2014/main" id="{F9E50D43-EC7A-6C4D-9EDF-08DFFB5EE80F}"/>
                </a:ext>
              </a:extLst>
            </p:cNvPr>
            <p:cNvCxnSpPr/>
            <p:nvPr/>
          </p:nvCxnSpPr>
          <p:spPr>
            <a:xfrm flipH="1" flipV="1">
              <a:off x="10351583" y="3614542"/>
              <a:ext cx="613514" cy="6288"/>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32" name="Oval 331">
              <a:extLst>
                <a:ext uri="{FF2B5EF4-FFF2-40B4-BE49-F238E27FC236}">
                  <a16:creationId xmlns:a16="http://schemas.microsoft.com/office/drawing/2014/main" id="{CE5985CD-E11D-784E-AD94-F5FBD58127C5}"/>
                </a:ext>
              </a:extLst>
            </p:cNvPr>
            <p:cNvSpPr/>
            <p:nvPr/>
          </p:nvSpPr>
          <p:spPr>
            <a:xfrm>
              <a:off x="10063716" y="3489147"/>
              <a:ext cx="287866" cy="250790"/>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sp>
          <p:nvSpPr>
            <p:cNvPr id="333" name="Oval 332">
              <a:extLst>
                <a:ext uri="{FF2B5EF4-FFF2-40B4-BE49-F238E27FC236}">
                  <a16:creationId xmlns:a16="http://schemas.microsoft.com/office/drawing/2014/main" id="{9D6CD1B4-3607-9340-9A1A-2FEA025EB282}"/>
                </a:ext>
              </a:extLst>
            </p:cNvPr>
            <p:cNvSpPr/>
            <p:nvPr/>
          </p:nvSpPr>
          <p:spPr>
            <a:xfrm>
              <a:off x="10005587" y="3970446"/>
              <a:ext cx="287866" cy="250790"/>
            </a:xfrm>
            <a:prstGeom prst="ellipse">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cxnSp>
          <p:nvCxnSpPr>
            <p:cNvPr id="334" name="Straight Arrow Connector 333">
              <a:extLst>
                <a:ext uri="{FF2B5EF4-FFF2-40B4-BE49-F238E27FC236}">
                  <a16:creationId xmlns:a16="http://schemas.microsoft.com/office/drawing/2014/main" id="{0679256E-E2FA-4042-BD62-91C3C599BA79}"/>
                </a:ext>
              </a:extLst>
            </p:cNvPr>
            <p:cNvCxnSpPr/>
            <p:nvPr/>
          </p:nvCxnSpPr>
          <p:spPr>
            <a:xfrm>
              <a:off x="10293453" y="4095841"/>
              <a:ext cx="338526" cy="28044"/>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35" name="Oval 334">
              <a:extLst>
                <a:ext uri="{FF2B5EF4-FFF2-40B4-BE49-F238E27FC236}">
                  <a16:creationId xmlns:a16="http://schemas.microsoft.com/office/drawing/2014/main" id="{7E36AC81-A347-B042-BDF2-8AB0D6639D52}"/>
                </a:ext>
              </a:extLst>
            </p:cNvPr>
            <p:cNvSpPr/>
            <p:nvPr/>
          </p:nvSpPr>
          <p:spPr>
            <a:xfrm>
              <a:off x="9650859" y="4915442"/>
              <a:ext cx="287866" cy="250790"/>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cxnSp>
          <p:nvCxnSpPr>
            <p:cNvPr id="336" name="Straight Arrow Connector 335">
              <a:extLst>
                <a:ext uri="{FF2B5EF4-FFF2-40B4-BE49-F238E27FC236}">
                  <a16:creationId xmlns:a16="http://schemas.microsoft.com/office/drawing/2014/main" id="{CBCCF791-6BF6-2C40-8537-08835A2E2E7B}"/>
                </a:ext>
              </a:extLst>
            </p:cNvPr>
            <p:cNvCxnSpPr/>
            <p:nvPr/>
          </p:nvCxnSpPr>
          <p:spPr>
            <a:xfrm>
              <a:off x="9938725" y="5040837"/>
              <a:ext cx="512498" cy="128104"/>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37" name="Oval 336">
              <a:extLst>
                <a:ext uri="{FF2B5EF4-FFF2-40B4-BE49-F238E27FC236}">
                  <a16:creationId xmlns:a16="http://schemas.microsoft.com/office/drawing/2014/main" id="{EB36261B-F91C-FA4E-8084-8938096BD56E}"/>
                </a:ext>
              </a:extLst>
            </p:cNvPr>
            <p:cNvSpPr/>
            <p:nvPr/>
          </p:nvSpPr>
          <p:spPr>
            <a:xfrm>
              <a:off x="9648255" y="5382604"/>
              <a:ext cx="287866" cy="250790"/>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cxnSp>
          <p:nvCxnSpPr>
            <p:cNvPr id="338" name="Straight Arrow Connector 337">
              <a:extLst>
                <a:ext uri="{FF2B5EF4-FFF2-40B4-BE49-F238E27FC236}">
                  <a16:creationId xmlns:a16="http://schemas.microsoft.com/office/drawing/2014/main" id="{0441EEFC-82C6-F94B-8EF7-8E7E643F652C}"/>
                </a:ext>
              </a:extLst>
            </p:cNvPr>
            <p:cNvCxnSpPr/>
            <p:nvPr/>
          </p:nvCxnSpPr>
          <p:spPr>
            <a:xfrm flipV="1">
              <a:off x="9792188" y="5166232"/>
              <a:ext cx="2604" cy="216372"/>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39" name="Oval 338">
              <a:extLst>
                <a:ext uri="{FF2B5EF4-FFF2-40B4-BE49-F238E27FC236}">
                  <a16:creationId xmlns:a16="http://schemas.microsoft.com/office/drawing/2014/main" id="{A74AA8B5-4524-0841-8FC2-6509EA58AAA7}"/>
                </a:ext>
              </a:extLst>
            </p:cNvPr>
            <p:cNvSpPr/>
            <p:nvPr/>
          </p:nvSpPr>
          <p:spPr>
            <a:xfrm>
              <a:off x="9568178" y="4329588"/>
              <a:ext cx="287866" cy="25079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sp>
          <p:nvSpPr>
            <p:cNvPr id="340" name="Oval 339">
              <a:extLst>
                <a:ext uri="{FF2B5EF4-FFF2-40B4-BE49-F238E27FC236}">
                  <a16:creationId xmlns:a16="http://schemas.microsoft.com/office/drawing/2014/main" id="{8A11AFC9-7011-0D46-BA4B-302616F5D68E}"/>
                </a:ext>
              </a:extLst>
            </p:cNvPr>
            <p:cNvSpPr/>
            <p:nvPr/>
          </p:nvSpPr>
          <p:spPr>
            <a:xfrm>
              <a:off x="10069572" y="5376744"/>
              <a:ext cx="287866" cy="25079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cxnSp>
          <p:nvCxnSpPr>
            <p:cNvPr id="341" name="Straight Arrow Connector 340">
              <a:extLst>
                <a:ext uri="{FF2B5EF4-FFF2-40B4-BE49-F238E27FC236}">
                  <a16:creationId xmlns:a16="http://schemas.microsoft.com/office/drawing/2014/main" id="{DCE35C29-757D-5C43-A839-DF7891CB5F16}"/>
                </a:ext>
              </a:extLst>
            </p:cNvPr>
            <p:cNvCxnSpPr>
              <a:stCxn id="333" idx="3"/>
              <a:endCxn id="339" idx="7"/>
            </p:cNvCxnSpPr>
            <p:nvPr/>
          </p:nvCxnSpPr>
          <p:spPr>
            <a:xfrm flipH="1">
              <a:off x="9813888" y="4184509"/>
              <a:ext cx="233857" cy="181806"/>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42" name="Straight Arrow Connector 341">
              <a:extLst>
                <a:ext uri="{FF2B5EF4-FFF2-40B4-BE49-F238E27FC236}">
                  <a16:creationId xmlns:a16="http://schemas.microsoft.com/office/drawing/2014/main" id="{4A7E4363-DD76-4D4A-82E5-AED8EB4F6419}"/>
                </a:ext>
              </a:extLst>
            </p:cNvPr>
            <p:cNvCxnSpPr>
              <a:stCxn id="298" idx="1"/>
              <a:endCxn id="339" idx="6"/>
            </p:cNvCxnSpPr>
            <p:nvPr/>
          </p:nvCxnSpPr>
          <p:spPr>
            <a:xfrm flipH="1" flipV="1">
              <a:off x="9856044" y="4454983"/>
              <a:ext cx="421524" cy="114784"/>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43" name="Straight Arrow Connector 342">
              <a:extLst>
                <a:ext uri="{FF2B5EF4-FFF2-40B4-BE49-F238E27FC236}">
                  <a16:creationId xmlns:a16="http://schemas.microsoft.com/office/drawing/2014/main" id="{EC452FAE-5590-7140-AACF-7C4D65F57040}"/>
                </a:ext>
              </a:extLst>
            </p:cNvPr>
            <p:cNvCxnSpPr>
              <a:stCxn id="339" idx="4"/>
              <a:endCxn id="335" idx="0"/>
            </p:cNvCxnSpPr>
            <p:nvPr/>
          </p:nvCxnSpPr>
          <p:spPr>
            <a:xfrm>
              <a:off x="9712112" y="4580378"/>
              <a:ext cx="82681" cy="335064"/>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44" name="Straight Arrow Connector 343">
              <a:extLst>
                <a:ext uri="{FF2B5EF4-FFF2-40B4-BE49-F238E27FC236}">
                  <a16:creationId xmlns:a16="http://schemas.microsoft.com/office/drawing/2014/main" id="{251A43C0-AFE0-1340-A585-B292AB554432}"/>
                </a:ext>
              </a:extLst>
            </p:cNvPr>
            <p:cNvCxnSpPr>
              <a:stCxn id="299" idx="3"/>
              <a:endCxn id="340" idx="7"/>
            </p:cNvCxnSpPr>
            <p:nvPr/>
          </p:nvCxnSpPr>
          <p:spPr>
            <a:xfrm flipH="1">
              <a:off x="10315282" y="5257609"/>
              <a:ext cx="178099" cy="155862"/>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45" name="Oval 344">
              <a:extLst>
                <a:ext uri="{FF2B5EF4-FFF2-40B4-BE49-F238E27FC236}">
                  <a16:creationId xmlns:a16="http://schemas.microsoft.com/office/drawing/2014/main" id="{F2183CDE-D669-6749-A08F-D46CC8CA6552}"/>
                </a:ext>
              </a:extLst>
            </p:cNvPr>
            <p:cNvSpPr/>
            <p:nvPr/>
          </p:nvSpPr>
          <p:spPr>
            <a:xfrm>
              <a:off x="9459745" y="3623236"/>
              <a:ext cx="287866" cy="25079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cxnSp>
          <p:nvCxnSpPr>
            <p:cNvPr id="346" name="Straight Arrow Connector 345">
              <a:extLst>
                <a:ext uri="{FF2B5EF4-FFF2-40B4-BE49-F238E27FC236}">
                  <a16:creationId xmlns:a16="http://schemas.microsoft.com/office/drawing/2014/main" id="{73454904-5E6E-F04F-97AB-414578915FB0}"/>
                </a:ext>
              </a:extLst>
            </p:cNvPr>
            <p:cNvCxnSpPr>
              <a:stCxn id="345" idx="6"/>
              <a:endCxn id="332" idx="2"/>
            </p:cNvCxnSpPr>
            <p:nvPr/>
          </p:nvCxnSpPr>
          <p:spPr>
            <a:xfrm flipV="1">
              <a:off x="9747612" y="3614543"/>
              <a:ext cx="316105" cy="134089"/>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47" name="Straight Arrow Connector 346">
              <a:extLst>
                <a:ext uri="{FF2B5EF4-FFF2-40B4-BE49-F238E27FC236}">
                  <a16:creationId xmlns:a16="http://schemas.microsoft.com/office/drawing/2014/main" id="{00DC3220-2F19-1247-A843-29A5FA3DF46A}"/>
                </a:ext>
              </a:extLst>
            </p:cNvPr>
            <p:cNvCxnSpPr>
              <a:stCxn id="345" idx="5"/>
              <a:endCxn id="333" idx="1"/>
            </p:cNvCxnSpPr>
            <p:nvPr/>
          </p:nvCxnSpPr>
          <p:spPr>
            <a:xfrm>
              <a:off x="9705454" y="3837299"/>
              <a:ext cx="342290" cy="169874"/>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48" name="Straight Arrow Connector 347">
              <a:extLst>
                <a:ext uri="{FF2B5EF4-FFF2-40B4-BE49-F238E27FC236}">
                  <a16:creationId xmlns:a16="http://schemas.microsoft.com/office/drawing/2014/main" id="{A30013E9-D825-9841-AB3E-2D836CDEEB92}"/>
                </a:ext>
              </a:extLst>
            </p:cNvPr>
            <p:cNvCxnSpPr>
              <a:endCxn id="339" idx="1"/>
            </p:cNvCxnSpPr>
            <p:nvPr/>
          </p:nvCxnSpPr>
          <p:spPr>
            <a:xfrm>
              <a:off x="9221127" y="4211597"/>
              <a:ext cx="389209" cy="154718"/>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49" name="Oval 348">
              <a:extLst>
                <a:ext uri="{FF2B5EF4-FFF2-40B4-BE49-F238E27FC236}">
                  <a16:creationId xmlns:a16="http://schemas.microsoft.com/office/drawing/2014/main" id="{D501755C-0463-C44A-ABC3-9028B27C7E6D}"/>
                </a:ext>
              </a:extLst>
            </p:cNvPr>
            <p:cNvSpPr/>
            <p:nvPr/>
          </p:nvSpPr>
          <p:spPr>
            <a:xfrm>
              <a:off x="8952463" y="4024622"/>
              <a:ext cx="287866" cy="250790"/>
            </a:xfrm>
            <a:prstGeom prst="ellipse">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cxnSp>
          <p:nvCxnSpPr>
            <p:cNvPr id="350" name="Straight Arrow Connector 349">
              <a:extLst>
                <a:ext uri="{FF2B5EF4-FFF2-40B4-BE49-F238E27FC236}">
                  <a16:creationId xmlns:a16="http://schemas.microsoft.com/office/drawing/2014/main" id="{76E425EC-62AD-9644-89FB-C8463CCEA3A0}"/>
                </a:ext>
              </a:extLst>
            </p:cNvPr>
            <p:cNvCxnSpPr>
              <a:stCxn id="351" idx="7"/>
              <a:endCxn id="339" idx="3"/>
            </p:cNvCxnSpPr>
            <p:nvPr/>
          </p:nvCxnSpPr>
          <p:spPr>
            <a:xfrm flipV="1">
              <a:off x="9228537" y="4543651"/>
              <a:ext cx="381798" cy="221562"/>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51" name="Oval 350">
              <a:extLst>
                <a:ext uri="{FF2B5EF4-FFF2-40B4-BE49-F238E27FC236}">
                  <a16:creationId xmlns:a16="http://schemas.microsoft.com/office/drawing/2014/main" id="{F8E250EC-6A3C-4444-A1FB-534C51DB1786}"/>
                </a:ext>
              </a:extLst>
            </p:cNvPr>
            <p:cNvSpPr/>
            <p:nvPr/>
          </p:nvSpPr>
          <p:spPr>
            <a:xfrm>
              <a:off x="8982828" y="4728486"/>
              <a:ext cx="287866" cy="250790"/>
            </a:xfrm>
            <a:prstGeom prst="ellipse">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grpSp>
      <p:sp>
        <p:nvSpPr>
          <p:cNvPr id="25" name="TextBox 24">
            <a:extLst>
              <a:ext uri="{FF2B5EF4-FFF2-40B4-BE49-F238E27FC236}">
                <a16:creationId xmlns:a16="http://schemas.microsoft.com/office/drawing/2014/main" id="{2C6DAE79-5D6C-794B-A79C-004313EFAB51}"/>
              </a:ext>
            </a:extLst>
          </p:cNvPr>
          <p:cNvSpPr txBox="1"/>
          <p:nvPr/>
        </p:nvSpPr>
        <p:spPr>
          <a:xfrm>
            <a:off x="760787" y="8507038"/>
            <a:ext cx="10711587" cy="464614"/>
          </a:xfrm>
          <a:prstGeom prst="rect">
            <a:avLst/>
          </a:prstGeom>
          <a:noFill/>
        </p:spPr>
        <p:txBody>
          <a:bodyPr wrap="none" rtlCol="0">
            <a:spAutoFit/>
          </a:bodyPr>
          <a:lstStyle/>
          <a:p>
            <a:r>
              <a:rPr lang="en-US" dirty="0"/>
              <a:t>How can I </a:t>
            </a:r>
            <a:r>
              <a:rPr lang="en-US" b="1" dirty="0"/>
              <a:t>quickly</a:t>
            </a:r>
            <a:r>
              <a:rPr lang="en-US" dirty="0"/>
              <a:t> compare these graphs and find the most similar patients?</a:t>
            </a:r>
          </a:p>
        </p:txBody>
      </p:sp>
      <p:cxnSp>
        <p:nvCxnSpPr>
          <p:cNvPr id="7" name="Straight Arrow Connector 6">
            <a:extLst>
              <a:ext uri="{FF2B5EF4-FFF2-40B4-BE49-F238E27FC236}">
                <a16:creationId xmlns:a16="http://schemas.microsoft.com/office/drawing/2014/main" id="{2EBA5792-7596-AB42-A2DB-D397628DE2C9}"/>
              </a:ext>
            </a:extLst>
          </p:cNvPr>
          <p:cNvCxnSpPr>
            <a:stCxn id="224" idx="6"/>
            <a:endCxn id="861" idx="2"/>
          </p:cNvCxnSpPr>
          <p:nvPr/>
        </p:nvCxnSpPr>
        <p:spPr>
          <a:xfrm flipV="1">
            <a:off x="5157996" y="4168192"/>
            <a:ext cx="3726260" cy="904287"/>
          </a:xfrm>
          <a:prstGeom prst="straightConnector1">
            <a:avLst/>
          </a:prstGeom>
          <a:ln w="762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70" name="Straight Arrow Connector 169">
            <a:extLst>
              <a:ext uri="{FF2B5EF4-FFF2-40B4-BE49-F238E27FC236}">
                <a16:creationId xmlns:a16="http://schemas.microsoft.com/office/drawing/2014/main" id="{C0431EC7-F820-F54D-9514-F39785B652DA}"/>
              </a:ext>
            </a:extLst>
          </p:cNvPr>
          <p:cNvCxnSpPr>
            <a:cxnSpLocks/>
            <a:endCxn id="862" idx="2"/>
          </p:cNvCxnSpPr>
          <p:nvPr/>
        </p:nvCxnSpPr>
        <p:spPr>
          <a:xfrm>
            <a:off x="5157996" y="5072479"/>
            <a:ext cx="6980775" cy="535860"/>
          </a:xfrm>
          <a:prstGeom prst="straightConnector1">
            <a:avLst/>
          </a:prstGeom>
          <a:ln w="762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73" name="Straight Arrow Connector 172">
            <a:extLst>
              <a:ext uri="{FF2B5EF4-FFF2-40B4-BE49-F238E27FC236}">
                <a16:creationId xmlns:a16="http://schemas.microsoft.com/office/drawing/2014/main" id="{7C57D399-75BB-4D44-8CCF-1BE8A62E4B9F}"/>
              </a:ext>
            </a:extLst>
          </p:cNvPr>
          <p:cNvCxnSpPr>
            <a:cxnSpLocks/>
          </p:cNvCxnSpPr>
          <p:nvPr/>
        </p:nvCxnSpPr>
        <p:spPr>
          <a:xfrm>
            <a:off x="5157996" y="5072479"/>
            <a:ext cx="4219920" cy="2391576"/>
          </a:xfrm>
          <a:prstGeom prst="straightConnector1">
            <a:avLst/>
          </a:prstGeom>
          <a:ln w="762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1A5C807E-2F14-B540-8278-103263F57D98}"/>
              </a:ext>
            </a:extLst>
          </p:cNvPr>
          <p:cNvSpPr txBox="1"/>
          <p:nvPr/>
        </p:nvSpPr>
        <p:spPr>
          <a:xfrm>
            <a:off x="5538245" y="3731296"/>
            <a:ext cx="2903359" cy="464614"/>
          </a:xfrm>
          <a:prstGeom prst="rect">
            <a:avLst/>
          </a:prstGeom>
          <a:noFill/>
        </p:spPr>
        <p:txBody>
          <a:bodyPr wrap="none" rtlCol="0">
            <a:spAutoFit/>
          </a:bodyPr>
          <a:lstStyle/>
          <a:p>
            <a:r>
              <a:rPr lang="en-US" dirty="0"/>
              <a:t>Similarity score = .5</a:t>
            </a:r>
          </a:p>
        </p:txBody>
      </p:sp>
      <p:sp>
        <p:nvSpPr>
          <p:cNvPr id="178" name="TextBox 177">
            <a:extLst>
              <a:ext uri="{FF2B5EF4-FFF2-40B4-BE49-F238E27FC236}">
                <a16:creationId xmlns:a16="http://schemas.microsoft.com/office/drawing/2014/main" id="{05A4892C-4A5A-A240-8410-58D6950F8BA8}"/>
              </a:ext>
            </a:extLst>
          </p:cNvPr>
          <p:cNvSpPr txBox="1"/>
          <p:nvPr/>
        </p:nvSpPr>
        <p:spPr>
          <a:xfrm>
            <a:off x="7419147" y="5484434"/>
            <a:ext cx="2903359" cy="464614"/>
          </a:xfrm>
          <a:prstGeom prst="rect">
            <a:avLst/>
          </a:prstGeom>
          <a:noFill/>
        </p:spPr>
        <p:txBody>
          <a:bodyPr wrap="none" rtlCol="0">
            <a:spAutoFit/>
          </a:bodyPr>
          <a:lstStyle/>
          <a:p>
            <a:r>
              <a:rPr lang="en-US" dirty="0"/>
              <a:t>Similarity score = .9</a:t>
            </a:r>
          </a:p>
        </p:txBody>
      </p:sp>
      <p:sp>
        <p:nvSpPr>
          <p:cNvPr id="179" name="TextBox 178">
            <a:extLst>
              <a:ext uri="{FF2B5EF4-FFF2-40B4-BE49-F238E27FC236}">
                <a16:creationId xmlns:a16="http://schemas.microsoft.com/office/drawing/2014/main" id="{A869F9AD-77ED-4342-8F07-56B12317ED7B}"/>
              </a:ext>
            </a:extLst>
          </p:cNvPr>
          <p:cNvSpPr txBox="1"/>
          <p:nvPr/>
        </p:nvSpPr>
        <p:spPr>
          <a:xfrm>
            <a:off x="5495173" y="6976470"/>
            <a:ext cx="2903359" cy="464614"/>
          </a:xfrm>
          <a:prstGeom prst="rect">
            <a:avLst/>
          </a:prstGeom>
          <a:noFill/>
        </p:spPr>
        <p:txBody>
          <a:bodyPr wrap="none" rtlCol="0">
            <a:spAutoFit/>
          </a:bodyPr>
          <a:lstStyle/>
          <a:p>
            <a:r>
              <a:rPr lang="en-US" dirty="0"/>
              <a:t>Similarity score = .8</a:t>
            </a:r>
          </a:p>
        </p:txBody>
      </p:sp>
    </p:spTree>
    <p:extLst>
      <p:ext uri="{BB962C8B-B14F-4D97-AF65-F5344CB8AC3E}">
        <p14:creationId xmlns:p14="http://schemas.microsoft.com/office/powerpoint/2010/main" val="2371615752"/>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5F431BA-B23A-4F4A-B028-238CB388C97D}"/>
              </a:ext>
            </a:extLst>
          </p:cNvPr>
          <p:cNvSpPr>
            <a:spLocks noGrp="1"/>
          </p:cNvSpPr>
          <p:nvPr>
            <p:ph type="title"/>
          </p:nvPr>
        </p:nvSpPr>
        <p:spPr/>
        <p:txBody>
          <a:bodyPr/>
          <a:lstStyle/>
          <a:p>
            <a:r>
              <a:rPr lang="en-US" dirty="0"/>
              <a:t>From Graph to Vector Space</a:t>
            </a:r>
          </a:p>
        </p:txBody>
      </p:sp>
      <p:sp>
        <p:nvSpPr>
          <p:cNvPr id="3" name="Text Placeholder 2">
            <a:extLst>
              <a:ext uri="{FF2B5EF4-FFF2-40B4-BE49-F238E27FC236}">
                <a16:creationId xmlns:a16="http://schemas.microsoft.com/office/drawing/2014/main" id="{6EDF49D8-2E49-6643-8FBC-DF8002677E29}"/>
              </a:ext>
            </a:extLst>
          </p:cNvPr>
          <p:cNvSpPr>
            <a:spLocks noGrp="1"/>
          </p:cNvSpPr>
          <p:nvPr>
            <p:ph type="body" idx="1"/>
          </p:nvPr>
        </p:nvSpPr>
        <p:spPr>
          <a:xfrm>
            <a:off x="570821" y="6535050"/>
            <a:ext cx="16662507" cy="2573080"/>
          </a:xfrm>
        </p:spPr>
        <p:txBody>
          <a:bodyPr/>
          <a:lstStyle/>
          <a:p>
            <a:r>
              <a:rPr lang="en-US" sz="3600" dirty="0"/>
              <a:t>We need to convert the graph representation into a vector of scalers</a:t>
            </a:r>
          </a:p>
          <a:p>
            <a:r>
              <a:rPr lang="en-US" sz="3600" dirty="0"/>
              <a:t>How do we represent counts? </a:t>
            </a:r>
          </a:p>
          <a:p>
            <a:r>
              <a:rPr lang="en-US" sz="3600" dirty="0"/>
              <a:t>How can we automate the process of finding both the relevent </a:t>
            </a:r>
            <a:r>
              <a:rPr lang="en-US" sz="3600" b="1" dirty="0"/>
              <a:t>properties</a:t>
            </a:r>
            <a:r>
              <a:rPr lang="en-US" sz="3600" dirty="0"/>
              <a:t> and </a:t>
            </a:r>
            <a:r>
              <a:rPr lang="en-US" sz="3600" b="1" dirty="0"/>
              <a:t>structure</a:t>
            </a:r>
            <a:r>
              <a:rPr lang="en-US" sz="3600" dirty="0"/>
              <a:t> in our graph?</a:t>
            </a:r>
          </a:p>
        </p:txBody>
      </p:sp>
      <p:sp>
        <p:nvSpPr>
          <p:cNvPr id="4" name="Slide Number Placeholder 3">
            <a:extLst>
              <a:ext uri="{FF2B5EF4-FFF2-40B4-BE49-F238E27FC236}">
                <a16:creationId xmlns:a16="http://schemas.microsoft.com/office/drawing/2014/main" id="{8C02E0DA-CF6E-C148-A35C-1103A315CDDB}"/>
              </a:ext>
            </a:extLst>
          </p:cNvPr>
          <p:cNvSpPr>
            <a:spLocks noGrp="1"/>
          </p:cNvSpPr>
          <p:nvPr>
            <p:ph type="sldNum" idx="12"/>
          </p:nvPr>
        </p:nvSpPr>
        <p:spPr/>
        <p:txBody>
          <a:bodyPr/>
          <a:lstStyle/>
          <a:p>
            <a:fld id="{00000000-1234-1234-1234-123412341234}" type="slidenum">
              <a:rPr lang="en" smtClean="0"/>
              <a:pPr/>
              <a:t>27</a:t>
            </a:fld>
            <a:endParaRPr lang="en"/>
          </a:p>
        </p:txBody>
      </p:sp>
      <p:grpSp>
        <p:nvGrpSpPr>
          <p:cNvPr id="5" name="Group 4">
            <a:extLst>
              <a:ext uri="{FF2B5EF4-FFF2-40B4-BE49-F238E27FC236}">
                <a16:creationId xmlns:a16="http://schemas.microsoft.com/office/drawing/2014/main" id="{B62303A7-D183-A04C-9F50-F8D71DB8D658}"/>
              </a:ext>
            </a:extLst>
          </p:cNvPr>
          <p:cNvGrpSpPr/>
          <p:nvPr/>
        </p:nvGrpSpPr>
        <p:grpSpPr>
          <a:xfrm>
            <a:off x="3378847" y="3122830"/>
            <a:ext cx="3442046" cy="2014896"/>
            <a:chOff x="2016615" y="2184332"/>
            <a:chExt cx="3959478" cy="2652377"/>
          </a:xfrm>
        </p:grpSpPr>
        <p:sp>
          <p:nvSpPr>
            <p:cNvPr id="6" name="Oval 5">
              <a:extLst>
                <a:ext uri="{FF2B5EF4-FFF2-40B4-BE49-F238E27FC236}">
                  <a16:creationId xmlns:a16="http://schemas.microsoft.com/office/drawing/2014/main" id="{1256F116-32CF-BC4F-A9BE-70331F12ED95}"/>
                </a:ext>
              </a:extLst>
            </p:cNvPr>
            <p:cNvSpPr/>
            <p:nvPr/>
          </p:nvSpPr>
          <p:spPr>
            <a:xfrm>
              <a:off x="2016615" y="2184332"/>
              <a:ext cx="3959478" cy="2652377"/>
            </a:xfrm>
            <a:prstGeom prst="ellipse">
              <a:avLst/>
            </a:prstGeom>
            <a:solidFill>
              <a:schemeClr val="accent1">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sp>
          <p:nvSpPr>
            <p:cNvPr id="7" name="Oval 6">
              <a:extLst>
                <a:ext uri="{FF2B5EF4-FFF2-40B4-BE49-F238E27FC236}">
                  <a16:creationId xmlns:a16="http://schemas.microsoft.com/office/drawing/2014/main" id="{67A70828-389F-B842-BE95-AADA15CFA63D}"/>
                </a:ext>
              </a:extLst>
            </p:cNvPr>
            <p:cNvSpPr/>
            <p:nvPr/>
          </p:nvSpPr>
          <p:spPr>
            <a:xfrm>
              <a:off x="4425343" y="2506730"/>
              <a:ext cx="287866" cy="250790"/>
            </a:xfrm>
            <a:prstGeom prst="ellipse">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sp>
          <p:nvSpPr>
            <p:cNvPr id="8" name="Oval 7">
              <a:extLst>
                <a:ext uri="{FF2B5EF4-FFF2-40B4-BE49-F238E27FC236}">
                  <a16:creationId xmlns:a16="http://schemas.microsoft.com/office/drawing/2014/main" id="{81B39CFF-AC65-A04E-B5CD-6C0C98B5CBB4}"/>
                </a:ext>
              </a:extLst>
            </p:cNvPr>
            <p:cNvSpPr/>
            <p:nvPr/>
          </p:nvSpPr>
          <p:spPr>
            <a:xfrm>
              <a:off x="5070042" y="2966056"/>
              <a:ext cx="287866" cy="25079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cxnSp>
          <p:nvCxnSpPr>
            <p:cNvPr id="9" name="Straight Arrow Connector 8">
              <a:extLst>
                <a:ext uri="{FF2B5EF4-FFF2-40B4-BE49-F238E27FC236}">
                  <a16:creationId xmlns:a16="http://schemas.microsoft.com/office/drawing/2014/main" id="{96285A8E-33F2-2A4B-98BB-12C4410626F0}"/>
                </a:ext>
              </a:extLst>
            </p:cNvPr>
            <p:cNvCxnSpPr/>
            <p:nvPr/>
          </p:nvCxnSpPr>
          <p:spPr>
            <a:xfrm>
              <a:off x="4704545" y="2736768"/>
              <a:ext cx="441147" cy="281990"/>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0" name="Oval 9">
              <a:extLst>
                <a:ext uri="{FF2B5EF4-FFF2-40B4-BE49-F238E27FC236}">
                  <a16:creationId xmlns:a16="http://schemas.microsoft.com/office/drawing/2014/main" id="{6E912407-B164-C146-A8E3-7E7D04A727C1}"/>
                </a:ext>
              </a:extLst>
            </p:cNvPr>
            <p:cNvSpPr/>
            <p:nvPr/>
          </p:nvSpPr>
          <p:spPr>
            <a:xfrm>
              <a:off x="4077990" y="3019114"/>
              <a:ext cx="287866" cy="250790"/>
            </a:xfrm>
            <a:prstGeom prst="ellipse">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sp>
          <p:nvSpPr>
            <p:cNvPr id="11" name="Oval 10">
              <a:extLst>
                <a:ext uri="{FF2B5EF4-FFF2-40B4-BE49-F238E27FC236}">
                  <a16:creationId xmlns:a16="http://schemas.microsoft.com/office/drawing/2014/main" id="{43DA2A78-A23D-DF40-B77E-BC71C66C2B16}"/>
                </a:ext>
              </a:extLst>
            </p:cNvPr>
            <p:cNvSpPr/>
            <p:nvPr/>
          </p:nvSpPr>
          <p:spPr>
            <a:xfrm>
              <a:off x="4610551" y="3640349"/>
              <a:ext cx="287866" cy="25079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cxnSp>
          <p:nvCxnSpPr>
            <p:cNvPr id="12" name="Straight Arrow Connector 11">
              <a:extLst>
                <a:ext uri="{FF2B5EF4-FFF2-40B4-BE49-F238E27FC236}">
                  <a16:creationId xmlns:a16="http://schemas.microsoft.com/office/drawing/2014/main" id="{E722E091-698B-D14A-8D65-480AB70A52C0}"/>
                </a:ext>
              </a:extLst>
            </p:cNvPr>
            <p:cNvCxnSpPr/>
            <p:nvPr/>
          </p:nvCxnSpPr>
          <p:spPr>
            <a:xfrm>
              <a:off x="4323700" y="3233178"/>
              <a:ext cx="329009" cy="443899"/>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3" name="Oval 12">
              <a:extLst>
                <a:ext uri="{FF2B5EF4-FFF2-40B4-BE49-F238E27FC236}">
                  <a16:creationId xmlns:a16="http://schemas.microsoft.com/office/drawing/2014/main" id="{6BCF50F9-941D-0540-8AC1-84603CF7FA2E}"/>
                </a:ext>
              </a:extLst>
            </p:cNvPr>
            <p:cNvSpPr/>
            <p:nvPr/>
          </p:nvSpPr>
          <p:spPr>
            <a:xfrm>
              <a:off x="3681422" y="3553664"/>
              <a:ext cx="287866" cy="250790"/>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sp>
          <p:nvSpPr>
            <p:cNvPr id="14" name="Oval 13">
              <a:extLst>
                <a:ext uri="{FF2B5EF4-FFF2-40B4-BE49-F238E27FC236}">
                  <a16:creationId xmlns:a16="http://schemas.microsoft.com/office/drawing/2014/main" id="{10A63774-57F3-3B4B-8F5D-5979D2CCAD71}"/>
                </a:ext>
              </a:extLst>
            </p:cNvPr>
            <p:cNvSpPr/>
            <p:nvPr/>
          </p:nvSpPr>
          <p:spPr>
            <a:xfrm>
              <a:off x="3897234" y="4064170"/>
              <a:ext cx="287866" cy="250790"/>
            </a:xfrm>
            <a:prstGeom prst="ellipse">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cxnSp>
          <p:nvCxnSpPr>
            <p:cNvPr id="15" name="Straight Arrow Connector 14">
              <a:extLst>
                <a:ext uri="{FF2B5EF4-FFF2-40B4-BE49-F238E27FC236}">
                  <a16:creationId xmlns:a16="http://schemas.microsoft.com/office/drawing/2014/main" id="{FFD2DA22-3C1A-F54F-A94F-88799B8FDFEA}"/>
                </a:ext>
              </a:extLst>
            </p:cNvPr>
            <p:cNvCxnSpPr/>
            <p:nvPr/>
          </p:nvCxnSpPr>
          <p:spPr>
            <a:xfrm>
              <a:off x="3969289" y="3679060"/>
              <a:ext cx="641263" cy="86685"/>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6" name="Straight Arrow Connector 15">
              <a:extLst>
                <a:ext uri="{FF2B5EF4-FFF2-40B4-BE49-F238E27FC236}">
                  <a16:creationId xmlns:a16="http://schemas.microsoft.com/office/drawing/2014/main" id="{A4F73A32-C305-AE4A-94B4-1CC953AAF6E2}"/>
                </a:ext>
              </a:extLst>
            </p:cNvPr>
            <p:cNvCxnSpPr/>
            <p:nvPr/>
          </p:nvCxnSpPr>
          <p:spPr>
            <a:xfrm flipV="1">
              <a:off x="4365856" y="3091451"/>
              <a:ext cx="704186" cy="53058"/>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7" name="Oval 16">
              <a:extLst>
                <a:ext uri="{FF2B5EF4-FFF2-40B4-BE49-F238E27FC236}">
                  <a16:creationId xmlns:a16="http://schemas.microsoft.com/office/drawing/2014/main" id="{D6E688A0-4649-8D46-9E7C-B5E76C132CB2}"/>
                </a:ext>
              </a:extLst>
            </p:cNvPr>
            <p:cNvSpPr/>
            <p:nvPr/>
          </p:nvSpPr>
          <p:spPr>
            <a:xfrm>
              <a:off x="5437635" y="3428597"/>
              <a:ext cx="287866" cy="25079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cxnSp>
          <p:nvCxnSpPr>
            <p:cNvPr id="18" name="Straight Arrow Connector 17">
              <a:extLst>
                <a:ext uri="{FF2B5EF4-FFF2-40B4-BE49-F238E27FC236}">
                  <a16:creationId xmlns:a16="http://schemas.microsoft.com/office/drawing/2014/main" id="{D089DAE5-1EEF-EA46-A635-A10C98FBE44D}"/>
                </a:ext>
              </a:extLst>
            </p:cNvPr>
            <p:cNvCxnSpPr/>
            <p:nvPr/>
          </p:nvCxnSpPr>
          <p:spPr>
            <a:xfrm flipH="1">
              <a:off x="4856261" y="3180120"/>
              <a:ext cx="255938" cy="496957"/>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9" name="Oval 18">
              <a:extLst>
                <a:ext uri="{FF2B5EF4-FFF2-40B4-BE49-F238E27FC236}">
                  <a16:creationId xmlns:a16="http://schemas.microsoft.com/office/drawing/2014/main" id="{A9B95C06-C7D0-4E49-AB4E-52336DD48D49}"/>
                </a:ext>
              </a:extLst>
            </p:cNvPr>
            <p:cNvSpPr/>
            <p:nvPr/>
          </p:nvSpPr>
          <p:spPr>
            <a:xfrm>
              <a:off x="4569276" y="4189565"/>
              <a:ext cx="287866" cy="250790"/>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cxnSp>
          <p:nvCxnSpPr>
            <p:cNvPr id="20" name="Straight Arrow Connector 19">
              <a:extLst>
                <a:ext uri="{FF2B5EF4-FFF2-40B4-BE49-F238E27FC236}">
                  <a16:creationId xmlns:a16="http://schemas.microsoft.com/office/drawing/2014/main" id="{9B1D3DCA-8FCA-9748-BDBC-110CAB62EA21}"/>
                </a:ext>
              </a:extLst>
            </p:cNvPr>
            <p:cNvCxnSpPr/>
            <p:nvPr/>
          </p:nvCxnSpPr>
          <p:spPr>
            <a:xfrm flipV="1">
              <a:off x="4713210" y="3891139"/>
              <a:ext cx="41275" cy="298426"/>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1" name="Straight Arrow Connector 20">
              <a:extLst>
                <a:ext uri="{FF2B5EF4-FFF2-40B4-BE49-F238E27FC236}">
                  <a16:creationId xmlns:a16="http://schemas.microsoft.com/office/drawing/2014/main" id="{E0A6B872-9973-8F4E-A1D9-E36994B53F17}"/>
                </a:ext>
              </a:extLst>
            </p:cNvPr>
            <p:cNvCxnSpPr/>
            <p:nvPr/>
          </p:nvCxnSpPr>
          <p:spPr>
            <a:xfrm flipV="1">
              <a:off x="4814986" y="3642660"/>
              <a:ext cx="664807" cy="583632"/>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2" name="Straight Arrow Connector 21">
              <a:extLst>
                <a:ext uri="{FF2B5EF4-FFF2-40B4-BE49-F238E27FC236}">
                  <a16:creationId xmlns:a16="http://schemas.microsoft.com/office/drawing/2014/main" id="{46427CAD-1094-D442-81D0-B95ADF9B85E8}"/>
                </a:ext>
              </a:extLst>
            </p:cNvPr>
            <p:cNvCxnSpPr/>
            <p:nvPr/>
          </p:nvCxnSpPr>
          <p:spPr>
            <a:xfrm flipH="1" flipV="1">
              <a:off x="5315752" y="3180120"/>
              <a:ext cx="164040" cy="285204"/>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3" name="Straight Arrow Connector 22">
              <a:extLst>
                <a:ext uri="{FF2B5EF4-FFF2-40B4-BE49-F238E27FC236}">
                  <a16:creationId xmlns:a16="http://schemas.microsoft.com/office/drawing/2014/main" id="{7F543528-2CE0-2544-80BE-BAAD029755E2}"/>
                </a:ext>
              </a:extLst>
            </p:cNvPr>
            <p:cNvCxnSpPr/>
            <p:nvPr/>
          </p:nvCxnSpPr>
          <p:spPr>
            <a:xfrm flipH="1">
              <a:off x="4323700" y="2720793"/>
              <a:ext cx="143800" cy="335048"/>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4" name="Straight Arrow Connector 23">
              <a:extLst>
                <a:ext uri="{FF2B5EF4-FFF2-40B4-BE49-F238E27FC236}">
                  <a16:creationId xmlns:a16="http://schemas.microsoft.com/office/drawing/2014/main" id="{C3DC15BF-7782-2E4D-8768-13D68EA2F743}"/>
                </a:ext>
              </a:extLst>
            </p:cNvPr>
            <p:cNvCxnSpPr/>
            <p:nvPr/>
          </p:nvCxnSpPr>
          <p:spPr>
            <a:xfrm flipH="1">
              <a:off x="3825355" y="3233178"/>
              <a:ext cx="294792" cy="320487"/>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5" name="Straight Arrow Connector 24">
              <a:extLst>
                <a:ext uri="{FF2B5EF4-FFF2-40B4-BE49-F238E27FC236}">
                  <a16:creationId xmlns:a16="http://schemas.microsoft.com/office/drawing/2014/main" id="{DCA685D1-A128-3B47-9C52-FCE167173A7F}"/>
                </a:ext>
              </a:extLst>
            </p:cNvPr>
            <p:cNvCxnSpPr/>
            <p:nvPr/>
          </p:nvCxnSpPr>
          <p:spPr>
            <a:xfrm>
              <a:off x="4185100" y="4189566"/>
              <a:ext cx="384176" cy="125395"/>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6" name="Straight Arrow Connector 25">
              <a:extLst>
                <a:ext uri="{FF2B5EF4-FFF2-40B4-BE49-F238E27FC236}">
                  <a16:creationId xmlns:a16="http://schemas.microsoft.com/office/drawing/2014/main" id="{2101C839-0988-8241-A112-1554DC8D63F1}"/>
                </a:ext>
              </a:extLst>
            </p:cNvPr>
            <p:cNvCxnSpPr>
              <a:endCxn id="13" idx="3"/>
            </p:cNvCxnSpPr>
            <p:nvPr/>
          </p:nvCxnSpPr>
          <p:spPr>
            <a:xfrm flipV="1">
              <a:off x="3351321" y="3767727"/>
              <a:ext cx="372258" cy="198088"/>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7" name="Straight Arrow Connector 26">
              <a:extLst>
                <a:ext uri="{FF2B5EF4-FFF2-40B4-BE49-F238E27FC236}">
                  <a16:creationId xmlns:a16="http://schemas.microsoft.com/office/drawing/2014/main" id="{3AC218C8-EBCB-CD44-916E-DC1AEE6A225B}"/>
                </a:ext>
              </a:extLst>
            </p:cNvPr>
            <p:cNvCxnSpPr/>
            <p:nvPr/>
          </p:nvCxnSpPr>
          <p:spPr>
            <a:xfrm flipH="1" flipV="1">
              <a:off x="3797594" y="2635166"/>
              <a:ext cx="613514" cy="6288"/>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8" name="Oval 27">
              <a:extLst>
                <a:ext uri="{FF2B5EF4-FFF2-40B4-BE49-F238E27FC236}">
                  <a16:creationId xmlns:a16="http://schemas.microsoft.com/office/drawing/2014/main" id="{5C1B4C41-EBE7-CE40-8957-06CDEBA5FCC3}"/>
                </a:ext>
              </a:extLst>
            </p:cNvPr>
            <p:cNvSpPr/>
            <p:nvPr/>
          </p:nvSpPr>
          <p:spPr>
            <a:xfrm>
              <a:off x="3509727" y="2509771"/>
              <a:ext cx="287866" cy="250790"/>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sp>
          <p:nvSpPr>
            <p:cNvPr id="29" name="Oval 28">
              <a:extLst>
                <a:ext uri="{FF2B5EF4-FFF2-40B4-BE49-F238E27FC236}">
                  <a16:creationId xmlns:a16="http://schemas.microsoft.com/office/drawing/2014/main" id="{CD7C76B6-C3F2-0E44-A59A-CBEB1528C704}"/>
                </a:ext>
              </a:extLst>
            </p:cNvPr>
            <p:cNvSpPr/>
            <p:nvPr/>
          </p:nvSpPr>
          <p:spPr>
            <a:xfrm>
              <a:off x="3451598" y="2991070"/>
              <a:ext cx="287866" cy="250790"/>
            </a:xfrm>
            <a:prstGeom prst="ellipse">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cxnSp>
          <p:nvCxnSpPr>
            <p:cNvPr id="30" name="Straight Arrow Connector 29">
              <a:extLst>
                <a:ext uri="{FF2B5EF4-FFF2-40B4-BE49-F238E27FC236}">
                  <a16:creationId xmlns:a16="http://schemas.microsoft.com/office/drawing/2014/main" id="{72639F25-9C23-2947-8693-9DEB79829610}"/>
                </a:ext>
              </a:extLst>
            </p:cNvPr>
            <p:cNvCxnSpPr/>
            <p:nvPr/>
          </p:nvCxnSpPr>
          <p:spPr>
            <a:xfrm>
              <a:off x="3739464" y="3116465"/>
              <a:ext cx="338526" cy="28044"/>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1" name="Oval 30">
              <a:extLst>
                <a:ext uri="{FF2B5EF4-FFF2-40B4-BE49-F238E27FC236}">
                  <a16:creationId xmlns:a16="http://schemas.microsoft.com/office/drawing/2014/main" id="{079BD954-5D40-B948-BAC4-E943A2755B1F}"/>
                </a:ext>
              </a:extLst>
            </p:cNvPr>
            <p:cNvSpPr/>
            <p:nvPr/>
          </p:nvSpPr>
          <p:spPr>
            <a:xfrm>
              <a:off x="3096870" y="3936066"/>
              <a:ext cx="287866" cy="250790"/>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cxnSp>
          <p:nvCxnSpPr>
            <p:cNvPr id="32" name="Straight Arrow Connector 31">
              <a:extLst>
                <a:ext uri="{FF2B5EF4-FFF2-40B4-BE49-F238E27FC236}">
                  <a16:creationId xmlns:a16="http://schemas.microsoft.com/office/drawing/2014/main" id="{7DC4DD68-AE35-C54C-9AAF-3EB1135CEE6F}"/>
                </a:ext>
              </a:extLst>
            </p:cNvPr>
            <p:cNvCxnSpPr/>
            <p:nvPr/>
          </p:nvCxnSpPr>
          <p:spPr>
            <a:xfrm>
              <a:off x="3384736" y="4061461"/>
              <a:ext cx="512498" cy="128104"/>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3" name="Oval 32">
              <a:extLst>
                <a:ext uri="{FF2B5EF4-FFF2-40B4-BE49-F238E27FC236}">
                  <a16:creationId xmlns:a16="http://schemas.microsoft.com/office/drawing/2014/main" id="{C72C2CF4-4986-2E4E-81F3-4D7BAC632274}"/>
                </a:ext>
              </a:extLst>
            </p:cNvPr>
            <p:cNvSpPr/>
            <p:nvPr/>
          </p:nvSpPr>
          <p:spPr>
            <a:xfrm>
              <a:off x="3094266" y="4403228"/>
              <a:ext cx="287866" cy="250790"/>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cxnSp>
          <p:nvCxnSpPr>
            <p:cNvPr id="34" name="Straight Arrow Connector 33">
              <a:extLst>
                <a:ext uri="{FF2B5EF4-FFF2-40B4-BE49-F238E27FC236}">
                  <a16:creationId xmlns:a16="http://schemas.microsoft.com/office/drawing/2014/main" id="{00A79795-53F3-A744-835B-856E6E315B50}"/>
                </a:ext>
              </a:extLst>
            </p:cNvPr>
            <p:cNvCxnSpPr/>
            <p:nvPr/>
          </p:nvCxnSpPr>
          <p:spPr>
            <a:xfrm flipV="1">
              <a:off x="3238199" y="4186856"/>
              <a:ext cx="2604" cy="216372"/>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5" name="Oval 34">
              <a:extLst>
                <a:ext uri="{FF2B5EF4-FFF2-40B4-BE49-F238E27FC236}">
                  <a16:creationId xmlns:a16="http://schemas.microsoft.com/office/drawing/2014/main" id="{8535B7D3-FB6D-F641-99A9-510D68E26AB1}"/>
                </a:ext>
              </a:extLst>
            </p:cNvPr>
            <p:cNvSpPr/>
            <p:nvPr/>
          </p:nvSpPr>
          <p:spPr>
            <a:xfrm>
              <a:off x="3014189" y="3350212"/>
              <a:ext cx="287866" cy="25079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sp>
          <p:nvSpPr>
            <p:cNvPr id="36" name="Oval 35">
              <a:extLst>
                <a:ext uri="{FF2B5EF4-FFF2-40B4-BE49-F238E27FC236}">
                  <a16:creationId xmlns:a16="http://schemas.microsoft.com/office/drawing/2014/main" id="{007D9711-F8A9-4C43-B094-056C89CB8AED}"/>
                </a:ext>
              </a:extLst>
            </p:cNvPr>
            <p:cNvSpPr/>
            <p:nvPr/>
          </p:nvSpPr>
          <p:spPr>
            <a:xfrm>
              <a:off x="3515583" y="4397368"/>
              <a:ext cx="287866" cy="25079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cxnSp>
          <p:nvCxnSpPr>
            <p:cNvPr id="37" name="Straight Arrow Connector 36">
              <a:extLst>
                <a:ext uri="{FF2B5EF4-FFF2-40B4-BE49-F238E27FC236}">
                  <a16:creationId xmlns:a16="http://schemas.microsoft.com/office/drawing/2014/main" id="{E4B0C35A-3B20-A54F-8620-A0A1A8CDD556}"/>
                </a:ext>
              </a:extLst>
            </p:cNvPr>
            <p:cNvCxnSpPr>
              <a:stCxn id="29" idx="3"/>
              <a:endCxn id="35" idx="7"/>
            </p:cNvCxnSpPr>
            <p:nvPr/>
          </p:nvCxnSpPr>
          <p:spPr>
            <a:xfrm flipH="1">
              <a:off x="3259899" y="3205133"/>
              <a:ext cx="233857" cy="181806"/>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8" name="Straight Arrow Connector 37">
              <a:extLst>
                <a:ext uri="{FF2B5EF4-FFF2-40B4-BE49-F238E27FC236}">
                  <a16:creationId xmlns:a16="http://schemas.microsoft.com/office/drawing/2014/main" id="{16C3340A-DE5F-2240-95DF-5509B9D3A610}"/>
                </a:ext>
              </a:extLst>
            </p:cNvPr>
            <p:cNvCxnSpPr>
              <a:stCxn id="13" idx="1"/>
              <a:endCxn id="35" idx="6"/>
            </p:cNvCxnSpPr>
            <p:nvPr/>
          </p:nvCxnSpPr>
          <p:spPr>
            <a:xfrm flipH="1" flipV="1">
              <a:off x="3302055" y="3475607"/>
              <a:ext cx="421524" cy="114784"/>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9" name="Straight Arrow Connector 38">
              <a:extLst>
                <a:ext uri="{FF2B5EF4-FFF2-40B4-BE49-F238E27FC236}">
                  <a16:creationId xmlns:a16="http://schemas.microsoft.com/office/drawing/2014/main" id="{D777B312-8C9F-0541-95E1-92D8FA3EFAA5}"/>
                </a:ext>
              </a:extLst>
            </p:cNvPr>
            <p:cNvCxnSpPr>
              <a:stCxn id="35" idx="4"/>
              <a:endCxn id="31" idx="0"/>
            </p:cNvCxnSpPr>
            <p:nvPr/>
          </p:nvCxnSpPr>
          <p:spPr>
            <a:xfrm>
              <a:off x="3158123" y="3601002"/>
              <a:ext cx="82681" cy="335064"/>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0" name="Straight Arrow Connector 39">
              <a:extLst>
                <a:ext uri="{FF2B5EF4-FFF2-40B4-BE49-F238E27FC236}">
                  <a16:creationId xmlns:a16="http://schemas.microsoft.com/office/drawing/2014/main" id="{C54BC202-E956-6942-B5F4-F3AC456524FC}"/>
                </a:ext>
              </a:extLst>
            </p:cNvPr>
            <p:cNvCxnSpPr>
              <a:stCxn id="14" idx="3"/>
              <a:endCxn id="36" idx="7"/>
            </p:cNvCxnSpPr>
            <p:nvPr/>
          </p:nvCxnSpPr>
          <p:spPr>
            <a:xfrm flipH="1">
              <a:off x="3761293" y="4278233"/>
              <a:ext cx="178099" cy="155862"/>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41" name="Oval 40">
              <a:extLst>
                <a:ext uri="{FF2B5EF4-FFF2-40B4-BE49-F238E27FC236}">
                  <a16:creationId xmlns:a16="http://schemas.microsoft.com/office/drawing/2014/main" id="{E95E7130-7112-2D4C-A9F5-C2EF40605217}"/>
                </a:ext>
              </a:extLst>
            </p:cNvPr>
            <p:cNvSpPr/>
            <p:nvPr/>
          </p:nvSpPr>
          <p:spPr>
            <a:xfrm>
              <a:off x="2905756" y="2643860"/>
              <a:ext cx="287866" cy="25079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cxnSp>
          <p:nvCxnSpPr>
            <p:cNvPr id="42" name="Straight Arrow Connector 41">
              <a:extLst>
                <a:ext uri="{FF2B5EF4-FFF2-40B4-BE49-F238E27FC236}">
                  <a16:creationId xmlns:a16="http://schemas.microsoft.com/office/drawing/2014/main" id="{651EDD85-A6AB-454A-AA5C-D90FE0BD64B1}"/>
                </a:ext>
              </a:extLst>
            </p:cNvPr>
            <p:cNvCxnSpPr>
              <a:stCxn id="41" idx="6"/>
              <a:endCxn id="28" idx="2"/>
            </p:cNvCxnSpPr>
            <p:nvPr/>
          </p:nvCxnSpPr>
          <p:spPr>
            <a:xfrm flipV="1">
              <a:off x="3193623" y="2635167"/>
              <a:ext cx="316105" cy="134089"/>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3" name="Straight Arrow Connector 42">
              <a:extLst>
                <a:ext uri="{FF2B5EF4-FFF2-40B4-BE49-F238E27FC236}">
                  <a16:creationId xmlns:a16="http://schemas.microsoft.com/office/drawing/2014/main" id="{50895F4A-80F4-9C4F-A6E9-23EECA06E1C9}"/>
                </a:ext>
              </a:extLst>
            </p:cNvPr>
            <p:cNvCxnSpPr>
              <a:stCxn id="41" idx="5"/>
              <a:endCxn id="29" idx="1"/>
            </p:cNvCxnSpPr>
            <p:nvPr/>
          </p:nvCxnSpPr>
          <p:spPr>
            <a:xfrm>
              <a:off x="3151465" y="2857923"/>
              <a:ext cx="342290" cy="169874"/>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4" name="Straight Arrow Connector 43">
              <a:extLst>
                <a:ext uri="{FF2B5EF4-FFF2-40B4-BE49-F238E27FC236}">
                  <a16:creationId xmlns:a16="http://schemas.microsoft.com/office/drawing/2014/main" id="{B04D0B69-EAA3-3241-9F04-26CB25765B0B}"/>
                </a:ext>
              </a:extLst>
            </p:cNvPr>
            <p:cNvCxnSpPr>
              <a:endCxn id="35" idx="1"/>
            </p:cNvCxnSpPr>
            <p:nvPr/>
          </p:nvCxnSpPr>
          <p:spPr>
            <a:xfrm>
              <a:off x="2667138" y="3232221"/>
              <a:ext cx="389209" cy="154718"/>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45" name="Oval 44">
              <a:extLst>
                <a:ext uri="{FF2B5EF4-FFF2-40B4-BE49-F238E27FC236}">
                  <a16:creationId xmlns:a16="http://schemas.microsoft.com/office/drawing/2014/main" id="{A74A8A0B-1E01-9C4A-BF18-9754951DD9D6}"/>
                </a:ext>
              </a:extLst>
            </p:cNvPr>
            <p:cNvSpPr/>
            <p:nvPr/>
          </p:nvSpPr>
          <p:spPr>
            <a:xfrm>
              <a:off x="2398474" y="3045246"/>
              <a:ext cx="287866" cy="250790"/>
            </a:xfrm>
            <a:prstGeom prst="ellipse">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cxnSp>
          <p:nvCxnSpPr>
            <p:cNvPr id="46" name="Straight Arrow Connector 45">
              <a:extLst>
                <a:ext uri="{FF2B5EF4-FFF2-40B4-BE49-F238E27FC236}">
                  <a16:creationId xmlns:a16="http://schemas.microsoft.com/office/drawing/2014/main" id="{ED0E63AF-D7CE-A944-8FB4-E5EA12382ABE}"/>
                </a:ext>
              </a:extLst>
            </p:cNvPr>
            <p:cNvCxnSpPr>
              <a:stCxn id="47" idx="7"/>
              <a:endCxn id="35" idx="3"/>
            </p:cNvCxnSpPr>
            <p:nvPr/>
          </p:nvCxnSpPr>
          <p:spPr>
            <a:xfrm flipV="1">
              <a:off x="2674548" y="3564275"/>
              <a:ext cx="381798" cy="221562"/>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47" name="Oval 46">
              <a:extLst>
                <a:ext uri="{FF2B5EF4-FFF2-40B4-BE49-F238E27FC236}">
                  <a16:creationId xmlns:a16="http://schemas.microsoft.com/office/drawing/2014/main" id="{818367D7-CC4B-C349-B361-727A2FB9100C}"/>
                </a:ext>
              </a:extLst>
            </p:cNvPr>
            <p:cNvSpPr/>
            <p:nvPr/>
          </p:nvSpPr>
          <p:spPr>
            <a:xfrm>
              <a:off x="2428839" y="3749110"/>
              <a:ext cx="287866" cy="250790"/>
            </a:xfrm>
            <a:prstGeom prst="ellipse">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grpSp>
      <p:sp>
        <p:nvSpPr>
          <p:cNvPr id="48" name="Left Bracket 47">
            <a:extLst>
              <a:ext uri="{FF2B5EF4-FFF2-40B4-BE49-F238E27FC236}">
                <a16:creationId xmlns:a16="http://schemas.microsoft.com/office/drawing/2014/main" id="{ACF20C1F-4B5D-B142-95E8-39AADD8FB273}"/>
              </a:ext>
            </a:extLst>
          </p:cNvPr>
          <p:cNvSpPr/>
          <p:nvPr/>
        </p:nvSpPr>
        <p:spPr>
          <a:xfrm>
            <a:off x="8464447" y="2545213"/>
            <a:ext cx="437628" cy="3681545"/>
          </a:xfrm>
          <a:prstGeom prst="leftBracket">
            <a:avLst>
              <a:gd name="adj" fmla="val 0"/>
            </a:avLst>
          </a:prstGeom>
          <a:ln w="38100">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3548"/>
          </a:p>
        </p:txBody>
      </p:sp>
      <p:sp>
        <p:nvSpPr>
          <p:cNvPr id="49" name="Left Bracket 48">
            <a:extLst>
              <a:ext uri="{FF2B5EF4-FFF2-40B4-BE49-F238E27FC236}">
                <a16:creationId xmlns:a16="http://schemas.microsoft.com/office/drawing/2014/main" id="{63EC6E51-05FF-9946-86DE-87E53DE0A8AC}"/>
              </a:ext>
            </a:extLst>
          </p:cNvPr>
          <p:cNvSpPr/>
          <p:nvPr/>
        </p:nvSpPr>
        <p:spPr>
          <a:xfrm flipH="1">
            <a:off x="9709017" y="2545213"/>
            <a:ext cx="441650" cy="3681545"/>
          </a:xfrm>
          <a:prstGeom prst="leftBracket">
            <a:avLst>
              <a:gd name="adj" fmla="val 0"/>
            </a:avLst>
          </a:prstGeom>
          <a:ln w="38100">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3548"/>
          </a:p>
        </p:txBody>
      </p:sp>
      <p:sp>
        <p:nvSpPr>
          <p:cNvPr id="50" name="TextBox 49">
            <a:extLst>
              <a:ext uri="{FF2B5EF4-FFF2-40B4-BE49-F238E27FC236}">
                <a16:creationId xmlns:a16="http://schemas.microsoft.com/office/drawing/2014/main" id="{4623A8BA-90EA-A745-A7B5-D3C655F5626D}"/>
              </a:ext>
            </a:extLst>
          </p:cNvPr>
          <p:cNvSpPr txBox="1"/>
          <p:nvPr/>
        </p:nvSpPr>
        <p:spPr>
          <a:xfrm>
            <a:off x="8604803" y="2570444"/>
            <a:ext cx="1723917" cy="3342453"/>
          </a:xfrm>
          <a:prstGeom prst="rect">
            <a:avLst/>
          </a:prstGeom>
          <a:noFill/>
        </p:spPr>
        <p:txBody>
          <a:bodyPr wrap="square" rtlCol="0">
            <a:spAutoFit/>
          </a:bodyPr>
          <a:lstStyle/>
          <a:p>
            <a:r>
              <a:rPr lang="en-US" sz="1760" dirty="0"/>
              <a:t>Gender</a:t>
            </a:r>
          </a:p>
          <a:p>
            <a:r>
              <a:rPr lang="en-US" sz="1760" dirty="0"/>
              <a:t>Age</a:t>
            </a:r>
          </a:p>
          <a:p>
            <a:r>
              <a:rPr lang="en-US" sz="1760" dirty="0"/>
              <a:t>CohortCode1</a:t>
            </a:r>
          </a:p>
          <a:p>
            <a:r>
              <a:rPr lang="en-US" sz="1760" dirty="0"/>
              <a:t>CohortCode2</a:t>
            </a:r>
          </a:p>
          <a:p>
            <a:r>
              <a:rPr lang="en-US" sz="1760" dirty="0"/>
              <a:t>Condition1</a:t>
            </a:r>
          </a:p>
          <a:p>
            <a:r>
              <a:rPr lang="en-US" sz="1760" dirty="0"/>
              <a:t>Condition2</a:t>
            </a:r>
          </a:p>
          <a:p>
            <a:r>
              <a:rPr lang="en-US" sz="1760" dirty="0"/>
              <a:t>Disease1</a:t>
            </a:r>
          </a:p>
          <a:p>
            <a:r>
              <a:rPr lang="en-US" sz="1760" dirty="0"/>
              <a:t>Disease2</a:t>
            </a:r>
          </a:p>
          <a:p>
            <a:r>
              <a:rPr lang="en-US" sz="1760" dirty="0"/>
              <a:t>Drug1</a:t>
            </a:r>
          </a:p>
          <a:p>
            <a:r>
              <a:rPr lang="en-US" sz="1760" dirty="0"/>
              <a:t>Drug2</a:t>
            </a:r>
          </a:p>
          <a:p>
            <a:r>
              <a:rPr lang="en-US" sz="1760" dirty="0"/>
              <a:t>Gene1</a:t>
            </a:r>
          </a:p>
          <a:p>
            <a:r>
              <a:rPr lang="en-US" sz="1760" dirty="0"/>
              <a:t>Gene2</a:t>
            </a:r>
          </a:p>
        </p:txBody>
      </p:sp>
      <p:sp>
        <p:nvSpPr>
          <p:cNvPr id="51" name="Left Bracket 50">
            <a:extLst>
              <a:ext uri="{FF2B5EF4-FFF2-40B4-BE49-F238E27FC236}">
                <a16:creationId xmlns:a16="http://schemas.microsoft.com/office/drawing/2014/main" id="{446B1F52-1259-4944-BDE2-70F22B2E95DF}"/>
              </a:ext>
            </a:extLst>
          </p:cNvPr>
          <p:cNvSpPr/>
          <p:nvPr/>
        </p:nvSpPr>
        <p:spPr>
          <a:xfrm>
            <a:off x="12494708" y="2558742"/>
            <a:ext cx="437628" cy="3681545"/>
          </a:xfrm>
          <a:prstGeom prst="leftBracket">
            <a:avLst>
              <a:gd name="adj" fmla="val 0"/>
            </a:avLst>
          </a:prstGeom>
          <a:ln w="38100">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3548"/>
          </a:p>
        </p:txBody>
      </p:sp>
      <p:sp>
        <p:nvSpPr>
          <p:cNvPr id="52" name="Left Bracket 51">
            <a:extLst>
              <a:ext uri="{FF2B5EF4-FFF2-40B4-BE49-F238E27FC236}">
                <a16:creationId xmlns:a16="http://schemas.microsoft.com/office/drawing/2014/main" id="{3FA78ECA-2E45-0D43-A293-59B2928CE48C}"/>
              </a:ext>
            </a:extLst>
          </p:cNvPr>
          <p:cNvSpPr/>
          <p:nvPr/>
        </p:nvSpPr>
        <p:spPr>
          <a:xfrm flipH="1">
            <a:off x="12999344" y="2527822"/>
            <a:ext cx="385031" cy="3704478"/>
          </a:xfrm>
          <a:prstGeom prst="leftBracket">
            <a:avLst>
              <a:gd name="adj" fmla="val 0"/>
            </a:avLst>
          </a:prstGeom>
          <a:ln w="38100">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3548"/>
          </a:p>
        </p:txBody>
      </p:sp>
      <p:sp>
        <p:nvSpPr>
          <p:cNvPr id="54" name="TextBox 53">
            <a:extLst>
              <a:ext uri="{FF2B5EF4-FFF2-40B4-BE49-F238E27FC236}">
                <a16:creationId xmlns:a16="http://schemas.microsoft.com/office/drawing/2014/main" id="{59473D62-1A6B-434A-A611-514369F9E710}"/>
              </a:ext>
            </a:extLst>
          </p:cNvPr>
          <p:cNvSpPr txBox="1"/>
          <p:nvPr/>
        </p:nvSpPr>
        <p:spPr>
          <a:xfrm>
            <a:off x="12736835" y="2725511"/>
            <a:ext cx="473896" cy="3342453"/>
          </a:xfrm>
          <a:prstGeom prst="rect">
            <a:avLst/>
          </a:prstGeom>
          <a:noFill/>
        </p:spPr>
        <p:txBody>
          <a:bodyPr wrap="square" rtlCol="0">
            <a:spAutoFit/>
          </a:bodyPr>
          <a:lstStyle/>
          <a:p>
            <a:r>
              <a:rPr lang="en-US" sz="1760" dirty="0"/>
              <a:t>1</a:t>
            </a:r>
          </a:p>
          <a:p>
            <a:r>
              <a:rPr lang="en-US" sz="1760" dirty="0"/>
              <a:t>10</a:t>
            </a:r>
          </a:p>
          <a:p>
            <a:r>
              <a:rPr lang="en-US" sz="1760" dirty="0"/>
              <a:t>5</a:t>
            </a:r>
          </a:p>
          <a:p>
            <a:r>
              <a:rPr lang="en-US" sz="1760" dirty="0"/>
              <a:t>8</a:t>
            </a:r>
          </a:p>
          <a:p>
            <a:r>
              <a:rPr lang="en-US" sz="1760" dirty="0"/>
              <a:t>14</a:t>
            </a:r>
          </a:p>
          <a:p>
            <a:r>
              <a:rPr lang="en-US" sz="1760" dirty="0"/>
              <a:t>3</a:t>
            </a:r>
          </a:p>
          <a:p>
            <a:r>
              <a:rPr lang="en-US" sz="1760" dirty="0"/>
              <a:t>6</a:t>
            </a:r>
          </a:p>
          <a:p>
            <a:r>
              <a:rPr lang="en-US" sz="1760" dirty="0"/>
              <a:t>57</a:t>
            </a:r>
          </a:p>
          <a:p>
            <a:r>
              <a:rPr lang="en-US" sz="1760" dirty="0"/>
              <a:t>34</a:t>
            </a:r>
          </a:p>
          <a:p>
            <a:r>
              <a:rPr lang="en-US" sz="1760" dirty="0"/>
              <a:t>15</a:t>
            </a:r>
          </a:p>
          <a:p>
            <a:r>
              <a:rPr lang="en-US" sz="1760" dirty="0"/>
              <a:t>5</a:t>
            </a:r>
          </a:p>
          <a:p>
            <a:r>
              <a:rPr lang="en-US" sz="1760" dirty="0"/>
              <a:t>66</a:t>
            </a:r>
          </a:p>
        </p:txBody>
      </p:sp>
      <p:sp>
        <p:nvSpPr>
          <p:cNvPr id="55" name="Right Arrow 54">
            <a:extLst>
              <a:ext uri="{FF2B5EF4-FFF2-40B4-BE49-F238E27FC236}">
                <a16:creationId xmlns:a16="http://schemas.microsoft.com/office/drawing/2014/main" id="{37BE7A58-1E12-F242-94C3-B3BB46CF1FE8}"/>
              </a:ext>
            </a:extLst>
          </p:cNvPr>
          <p:cNvSpPr/>
          <p:nvPr/>
        </p:nvSpPr>
        <p:spPr>
          <a:xfrm>
            <a:off x="7024170" y="3870716"/>
            <a:ext cx="1204159" cy="600794"/>
          </a:xfrm>
          <a:prstGeom prst="rightArrow">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56" name="Right Arrow 55">
            <a:extLst>
              <a:ext uri="{FF2B5EF4-FFF2-40B4-BE49-F238E27FC236}">
                <a16:creationId xmlns:a16="http://schemas.microsoft.com/office/drawing/2014/main" id="{43D1EEBD-6091-6945-B9D7-63B3A0890FB0}"/>
              </a:ext>
            </a:extLst>
          </p:cNvPr>
          <p:cNvSpPr/>
          <p:nvPr/>
        </p:nvSpPr>
        <p:spPr>
          <a:xfrm>
            <a:off x="10321997" y="3897315"/>
            <a:ext cx="1642607" cy="600794"/>
          </a:xfrm>
          <a:prstGeom prst="rightArrow">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57" name="TextBox 56">
            <a:extLst>
              <a:ext uri="{FF2B5EF4-FFF2-40B4-BE49-F238E27FC236}">
                <a16:creationId xmlns:a16="http://schemas.microsoft.com/office/drawing/2014/main" id="{37C78B43-C56A-F546-AC77-DB2ACE7C93F3}"/>
              </a:ext>
            </a:extLst>
          </p:cNvPr>
          <p:cNvSpPr txBox="1"/>
          <p:nvPr/>
        </p:nvSpPr>
        <p:spPr>
          <a:xfrm>
            <a:off x="3513471" y="5315309"/>
            <a:ext cx="3229795" cy="464614"/>
          </a:xfrm>
          <a:prstGeom prst="rect">
            <a:avLst/>
          </a:prstGeom>
          <a:noFill/>
        </p:spPr>
        <p:txBody>
          <a:bodyPr wrap="none" rtlCol="0">
            <a:spAutoFit/>
          </a:bodyPr>
          <a:lstStyle/>
          <a:p>
            <a:r>
              <a:rPr lang="en-US" b="1" dirty="0"/>
              <a:t>Target Patient Graph</a:t>
            </a:r>
          </a:p>
        </p:txBody>
      </p:sp>
      <p:sp>
        <p:nvSpPr>
          <p:cNvPr id="58" name="TextBox 57">
            <a:extLst>
              <a:ext uri="{FF2B5EF4-FFF2-40B4-BE49-F238E27FC236}">
                <a16:creationId xmlns:a16="http://schemas.microsoft.com/office/drawing/2014/main" id="{349D16E3-DD92-BB4E-BCBF-DB7E8BC94D9C}"/>
              </a:ext>
            </a:extLst>
          </p:cNvPr>
          <p:cNvSpPr txBox="1"/>
          <p:nvPr/>
        </p:nvSpPr>
        <p:spPr>
          <a:xfrm>
            <a:off x="10899536" y="2042510"/>
            <a:ext cx="4592860" cy="464614"/>
          </a:xfrm>
          <a:prstGeom prst="rect">
            <a:avLst/>
          </a:prstGeom>
          <a:noFill/>
        </p:spPr>
        <p:txBody>
          <a:bodyPr wrap="none" rtlCol="0">
            <a:spAutoFit/>
          </a:bodyPr>
          <a:lstStyle/>
          <a:p>
            <a:r>
              <a:rPr lang="en-US" b="1" dirty="0"/>
              <a:t>Target Patient Numeric Vector</a:t>
            </a:r>
          </a:p>
        </p:txBody>
      </p:sp>
      <p:sp>
        <p:nvSpPr>
          <p:cNvPr id="59" name="TextBox 58">
            <a:extLst>
              <a:ext uri="{FF2B5EF4-FFF2-40B4-BE49-F238E27FC236}">
                <a16:creationId xmlns:a16="http://schemas.microsoft.com/office/drawing/2014/main" id="{205C2FB4-5FEB-B34D-A782-4EB6779C0921}"/>
              </a:ext>
            </a:extLst>
          </p:cNvPr>
          <p:cNvSpPr txBox="1"/>
          <p:nvPr/>
        </p:nvSpPr>
        <p:spPr>
          <a:xfrm>
            <a:off x="7626249" y="1999045"/>
            <a:ext cx="3183885" cy="464614"/>
          </a:xfrm>
          <a:prstGeom prst="rect">
            <a:avLst/>
          </a:prstGeom>
          <a:noFill/>
        </p:spPr>
        <p:txBody>
          <a:bodyPr wrap="none" rtlCol="0">
            <a:spAutoFit/>
          </a:bodyPr>
          <a:lstStyle/>
          <a:p>
            <a:r>
              <a:rPr lang="en-US" b="1" dirty="0"/>
              <a:t>Feature Engineering</a:t>
            </a:r>
          </a:p>
        </p:txBody>
      </p:sp>
    </p:spTree>
    <p:extLst>
      <p:ext uri="{BB962C8B-B14F-4D97-AF65-F5344CB8AC3E}">
        <p14:creationId xmlns:p14="http://schemas.microsoft.com/office/powerpoint/2010/main" val="1915906326"/>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2F2229-454D-B148-B207-C318A87FA816}"/>
              </a:ext>
            </a:extLst>
          </p:cNvPr>
          <p:cNvSpPr>
            <a:spLocks noGrp="1"/>
          </p:cNvSpPr>
          <p:nvPr>
            <p:ph type="title"/>
          </p:nvPr>
        </p:nvSpPr>
        <p:spPr/>
        <p:txBody>
          <a:bodyPr/>
          <a:lstStyle/>
          <a:p>
            <a:r>
              <a:rPr lang="en-US" dirty="0"/>
              <a:t>“Patients Like Me”</a:t>
            </a:r>
          </a:p>
        </p:txBody>
      </p:sp>
      <p:sp>
        <p:nvSpPr>
          <p:cNvPr id="7" name="Slide Number Placeholder 6">
            <a:extLst>
              <a:ext uri="{FF2B5EF4-FFF2-40B4-BE49-F238E27FC236}">
                <a16:creationId xmlns:a16="http://schemas.microsoft.com/office/drawing/2014/main" id="{8414905B-909A-7A49-86E5-D95E0F62EA8B}"/>
              </a:ext>
            </a:extLst>
          </p:cNvPr>
          <p:cNvSpPr>
            <a:spLocks noGrp="1"/>
          </p:cNvSpPr>
          <p:nvPr>
            <p:ph type="sldNum" sz="quarter" idx="12"/>
          </p:nvPr>
        </p:nvSpPr>
        <p:spPr>
          <a:xfrm>
            <a:off x="13520503" y="9341412"/>
            <a:ext cx="4023360" cy="535517"/>
          </a:xfrm>
        </p:spPr>
        <p:txBody>
          <a:bodyPr/>
          <a:lstStyle/>
          <a:p>
            <a:fld id="{FD896C86-A606-5748-A901-4EDEEDDFB7C7}" type="slidenum">
              <a:rPr lang="en-US" smtClean="0"/>
              <a:t>28</a:t>
            </a:fld>
            <a:endParaRPr lang="en-US"/>
          </a:p>
        </p:txBody>
      </p:sp>
      <p:sp>
        <p:nvSpPr>
          <p:cNvPr id="3" name="Oval 2">
            <a:extLst>
              <a:ext uri="{FF2B5EF4-FFF2-40B4-BE49-F238E27FC236}">
                <a16:creationId xmlns:a16="http://schemas.microsoft.com/office/drawing/2014/main" id="{F603E26D-0E69-CD4C-9D5B-432E451B93E1}"/>
              </a:ext>
            </a:extLst>
          </p:cNvPr>
          <p:cNvSpPr/>
          <p:nvPr/>
        </p:nvSpPr>
        <p:spPr>
          <a:xfrm>
            <a:off x="2738708" y="2908115"/>
            <a:ext cx="381160" cy="324692"/>
          </a:xfrm>
          <a:prstGeom prst="ellipse">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548"/>
          </a:p>
        </p:txBody>
      </p:sp>
      <p:sp>
        <p:nvSpPr>
          <p:cNvPr id="4" name="Oval 3">
            <a:extLst>
              <a:ext uri="{FF2B5EF4-FFF2-40B4-BE49-F238E27FC236}">
                <a16:creationId xmlns:a16="http://schemas.microsoft.com/office/drawing/2014/main" id="{6E69CFB4-B18B-724C-A80E-633D62E651D2}"/>
              </a:ext>
            </a:extLst>
          </p:cNvPr>
          <p:cNvSpPr/>
          <p:nvPr/>
        </p:nvSpPr>
        <p:spPr>
          <a:xfrm>
            <a:off x="2329313" y="3851605"/>
            <a:ext cx="381160" cy="324692"/>
          </a:xfrm>
          <a:prstGeom prst="ellipse">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548"/>
          </a:p>
        </p:txBody>
      </p:sp>
      <p:sp>
        <p:nvSpPr>
          <p:cNvPr id="5" name="TextBox 4">
            <a:extLst>
              <a:ext uri="{FF2B5EF4-FFF2-40B4-BE49-F238E27FC236}">
                <a16:creationId xmlns:a16="http://schemas.microsoft.com/office/drawing/2014/main" id="{8762E16C-A0D3-6C49-A150-E2BBF899847B}"/>
              </a:ext>
            </a:extLst>
          </p:cNvPr>
          <p:cNvSpPr txBox="1"/>
          <p:nvPr/>
        </p:nvSpPr>
        <p:spPr>
          <a:xfrm>
            <a:off x="1702912" y="1847686"/>
            <a:ext cx="2403222" cy="954107"/>
          </a:xfrm>
          <a:prstGeom prst="rect">
            <a:avLst/>
          </a:prstGeom>
          <a:noFill/>
        </p:spPr>
        <p:txBody>
          <a:bodyPr wrap="none" rtlCol="0">
            <a:spAutoFit/>
          </a:bodyPr>
          <a:lstStyle/>
          <a:p>
            <a:pPr algn="ctr"/>
            <a:r>
              <a:rPr lang="en-US" sz="2800" dirty="0"/>
              <a:t>Target</a:t>
            </a:r>
            <a:br>
              <a:rPr lang="en-US" sz="2800" dirty="0"/>
            </a:br>
            <a:r>
              <a:rPr lang="en-US" sz="2800" dirty="0"/>
              <a:t>Patient Graph</a:t>
            </a:r>
          </a:p>
        </p:txBody>
      </p:sp>
      <p:sp>
        <p:nvSpPr>
          <p:cNvPr id="6" name="TextBox 5">
            <a:extLst>
              <a:ext uri="{FF2B5EF4-FFF2-40B4-BE49-F238E27FC236}">
                <a16:creationId xmlns:a16="http://schemas.microsoft.com/office/drawing/2014/main" id="{E9992130-5DBD-F744-B456-E0FBC78612E4}"/>
              </a:ext>
            </a:extLst>
          </p:cNvPr>
          <p:cNvSpPr txBox="1"/>
          <p:nvPr/>
        </p:nvSpPr>
        <p:spPr>
          <a:xfrm>
            <a:off x="1137244" y="7163226"/>
            <a:ext cx="15607111" cy="1938992"/>
          </a:xfrm>
          <a:prstGeom prst="rect">
            <a:avLst/>
          </a:prstGeom>
          <a:noFill/>
        </p:spPr>
        <p:txBody>
          <a:bodyPr wrap="square" rtlCol="0">
            <a:spAutoFit/>
          </a:bodyPr>
          <a:lstStyle/>
          <a:p>
            <a:pPr marL="419110" indent="-419110">
              <a:buFont typeface="Arial" panose="020B0604020202020204" pitchFamily="34" charset="0"/>
              <a:buChar char="•"/>
            </a:pPr>
            <a:r>
              <a:rPr lang="en-US" sz="2000" dirty="0"/>
              <a:t>Graph </a:t>
            </a:r>
            <a:r>
              <a:rPr lang="en-US" sz="2000" b="1" dirty="0"/>
              <a:t>Similarity</a:t>
            </a:r>
            <a:r>
              <a:rPr lang="en-US" sz="2000" dirty="0"/>
              <a:t> algorithms allow graph databases to quickly compare current items with many other items</a:t>
            </a:r>
          </a:p>
          <a:p>
            <a:pPr marL="419110" indent="-419110">
              <a:buFont typeface="Arial" panose="020B0604020202020204" pitchFamily="34" charset="0"/>
              <a:buChar char="•"/>
            </a:pPr>
            <a:r>
              <a:rPr lang="en-US" sz="2000" dirty="0"/>
              <a:t>For any given patient, we can use a fast, in-memory similarity algorithm to compare the key features of any patient to a larger population</a:t>
            </a:r>
          </a:p>
          <a:p>
            <a:pPr marL="419110" indent="-419110">
              <a:buFont typeface="Arial" panose="020B0604020202020204" pitchFamily="34" charset="0"/>
              <a:buChar char="•"/>
            </a:pPr>
            <a:r>
              <a:rPr lang="en-US" sz="2000" dirty="0"/>
              <a:t>Cohort codes can be </a:t>
            </a:r>
            <a:r>
              <a:rPr lang="en-US" sz="2000" b="1" dirty="0"/>
              <a:t>pre-calculated</a:t>
            </a:r>
            <a:r>
              <a:rPr lang="en-US" sz="2000" dirty="0"/>
              <a:t> to quickly narrow the sample population to a smaller group</a:t>
            </a:r>
          </a:p>
          <a:p>
            <a:pPr marL="419110" indent="-419110">
              <a:buFont typeface="Arial" panose="020B0604020202020204" pitchFamily="34" charset="0"/>
              <a:buChar char="•"/>
            </a:pPr>
            <a:r>
              <a:rPr lang="en-US" sz="2000" dirty="0"/>
              <a:t>This calculation is considered an “embarrassingly parallel” query and could be accelerated by adding more nodes to a cluster</a:t>
            </a:r>
          </a:p>
          <a:p>
            <a:pPr marL="419110" indent="-419110">
              <a:buFont typeface="Arial" panose="020B0604020202020204" pitchFamily="34" charset="0"/>
              <a:buChar char="•"/>
            </a:pPr>
            <a:r>
              <a:rPr lang="en-US" sz="2000" dirty="0"/>
              <a:t>Specialized graph hardware is coming (FPGA)</a:t>
            </a:r>
          </a:p>
        </p:txBody>
      </p:sp>
      <p:cxnSp>
        <p:nvCxnSpPr>
          <p:cNvPr id="8" name="Straight Arrow Connector 7">
            <a:extLst>
              <a:ext uri="{FF2B5EF4-FFF2-40B4-BE49-F238E27FC236}">
                <a16:creationId xmlns:a16="http://schemas.microsoft.com/office/drawing/2014/main" id="{5055E4E4-B4B9-6349-8147-680219EDA520}"/>
              </a:ext>
            </a:extLst>
          </p:cNvPr>
          <p:cNvCxnSpPr>
            <a:stCxn id="3" idx="3"/>
            <a:endCxn id="4" idx="0"/>
          </p:cNvCxnSpPr>
          <p:nvPr/>
        </p:nvCxnSpPr>
        <p:spPr>
          <a:xfrm flipH="1">
            <a:off x="2519894" y="3185257"/>
            <a:ext cx="274635" cy="666348"/>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9" name="Oval 8">
            <a:extLst>
              <a:ext uri="{FF2B5EF4-FFF2-40B4-BE49-F238E27FC236}">
                <a16:creationId xmlns:a16="http://schemas.microsoft.com/office/drawing/2014/main" id="{90B6635A-AC72-EE48-96BC-BAB5A8316231}"/>
              </a:ext>
            </a:extLst>
          </p:cNvPr>
          <p:cNvSpPr/>
          <p:nvPr/>
        </p:nvSpPr>
        <p:spPr>
          <a:xfrm>
            <a:off x="3249274" y="3851605"/>
            <a:ext cx="381160" cy="324692"/>
          </a:xfrm>
          <a:prstGeom prst="ellipse">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548"/>
          </a:p>
        </p:txBody>
      </p:sp>
      <p:cxnSp>
        <p:nvCxnSpPr>
          <p:cNvPr id="10" name="Straight Arrow Connector 9">
            <a:extLst>
              <a:ext uri="{FF2B5EF4-FFF2-40B4-BE49-F238E27FC236}">
                <a16:creationId xmlns:a16="http://schemas.microsoft.com/office/drawing/2014/main" id="{AA495408-3A79-8841-96D0-AB073A0ED725}"/>
              </a:ext>
            </a:extLst>
          </p:cNvPr>
          <p:cNvCxnSpPr>
            <a:cxnSpLocks/>
            <a:stCxn id="3" idx="5"/>
            <a:endCxn id="9" idx="0"/>
          </p:cNvCxnSpPr>
          <p:nvPr/>
        </p:nvCxnSpPr>
        <p:spPr>
          <a:xfrm>
            <a:off x="3064050" y="3185257"/>
            <a:ext cx="375805" cy="666348"/>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4" name="Oval 13">
            <a:extLst>
              <a:ext uri="{FF2B5EF4-FFF2-40B4-BE49-F238E27FC236}">
                <a16:creationId xmlns:a16="http://schemas.microsoft.com/office/drawing/2014/main" id="{FDE025AE-8D18-924F-96A1-723F6EB9DA31}"/>
              </a:ext>
            </a:extLst>
          </p:cNvPr>
          <p:cNvSpPr/>
          <p:nvPr/>
        </p:nvSpPr>
        <p:spPr>
          <a:xfrm>
            <a:off x="1949655" y="4700725"/>
            <a:ext cx="381160" cy="324692"/>
          </a:xfrm>
          <a:prstGeom prst="ellipse">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548"/>
          </a:p>
        </p:txBody>
      </p:sp>
      <p:sp>
        <p:nvSpPr>
          <p:cNvPr id="15" name="Oval 14">
            <a:extLst>
              <a:ext uri="{FF2B5EF4-FFF2-40B4-BE49-F238E27FC236}">
                <a16:creationId xmlns:a16="http://schemas.microsoft.com/office/drawing/2014/main" id="{E21F0CA8-9FAA-D048-8A0E-FDE85AD1760E}"/>
              </a:ext>
            </a:extLst>
          </p:cNvPr>
          <p:cNvSpPr/>
          <p:nvPr/>
        </p:nvSpPr>
        <p:spPr>
          <a:xfrm>
            <a:off x="1493407" y="5493885"/>
            <a:ext cx="381160" cy="324692"/>
          </a:xfrm>
          <a:prstGeom prst="ellipse">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548"/>
          </a:p>
        </p:txBody>
      </p:sp>
      <p:cxnSp>
        <p:nvCxnSpPr>
          <p:cNvPr id="16" name="Straight Arrow Connector 15">
            <a:extLst>
              <a:ext uri="{FF2B5EF4-FFF2-40B4-BE49-F238E27FC236}">
                <a16:creationId xmlns:a16="http://schemas.microsoft.com/office/drawing/2014/main" id="{BC2D0067-C97E-2A47-BD23-3ED50164F2A8}"/>
              </a:ext>
            </a:extLst>
          </p:cNvPr>
          <p:cNvCxnSpPr>
            <a:stCxn id="14" idx="3"/>
            <a:endCxn id="15" idx="0"/>
          </p:cNvCxnSpPr>
          <p:nvPr/>
        </p:nvCxnSpPr>
        <p:spPr>
          <a:xfrm flipH="1">
            <a:off x="1683987" y="4977867"/>
            <a:ext cx="321487" cy="516017"/>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7" name="Oval 16">
            <a:extLst>
              <a:ext uri="{FF2B5EF4-FFF2-40B4-BE49-F238E27FC236}">
                <a16:creationId xmlns:a16="http://schemas.microsoft.com/office/drawing/2014/main" id="{FE755871-92E3-7E44-8AAF-19EB72EFEAE6}"/>
              </a:ext>
            </a:extLst>
          </p:cNvPr>
          <p:cNvSpPr/>
          <p:nvPr/>
        </p:nvSpPr>
        <p:spPr>
          <a:xfrm>
            <a:off x="2413368" y="5493885"/>
            <a:ext cx="381160" cy="324692"/>
          </a:xfrm>
          <a:prstGeom prst="ellipse">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548"/>
          </a:p>
        </p:txBody>
      </p:sp>
      <p:cxnSp>
        <p:nvCxnSpPr>
          <p:cNvPr id="18" name="Straight Arrow Connector 17">
            <a:extLst>
              <a:ext uri="{FF2B5EF4-FFF2-40B4-BE49-F238E27FC236}">
                <a16:creationId xmlns:a16="http://schemas.microsoft.com/office/drawing/2014/main" id="{FE4186F0-9FCE-784E-819E-4D1325E46AD5}"/>
              </a:ext>
            </a:extLst>
          </p:cNvPr>
          <p:cNvCxnSpPr>
            <a:cxnSpLocks/>
            <a:stCxn id="14" idx="5"/>
            <a:endCxn id="17" idx="0"/>
          </p:cNvCxnSpPr>
          <p:nvPr/>
        </p:nvCxnSpPr>
        <p:spPr>
          <a:xfrm>
            <a:off x="2274995" y="4977867"/>
            <a:ext cx="328953" cy="516017"/>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9" name="Straight Arrow Connector 18">
            <a:extLst>
              <a:ext uri="{FF2B5EF4-FFF2-40B4-BE49-F238E27FC236}">
                <a16:creationId xmlns:a16="http://schemas.microsoft.com/office/drawing/2014/main" id="{703E231D-86BC-4D40-B23F-7BCFA3632AB3}"/>
              </a:ext>
            </a:extLst>
          </p:cNvPr>
          <p:cNvCxnSpPr>
            <a:cxnSpLocks/>
            <a:stCxn id="4" idx="3"/>
            <a:endCxn id="14" idx="0"/>
          </p:cNvCxnSpPr>
          <p:nvPr/>
        </p:nvCxnSpPr>
        <p:spPr>
          <a:xfrm flipH="1">
            <a:off x="2140235" y="4128747"/>
            <a:ext cx="244898" cy="571977"/>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5" name="Oval 24">
            <a:extLst>
              <a:ext uri="{FF2B5EF4-FFF2-40B4-BE49-F238E27FC236}">
                <a16:creationId xmlns:a16="http://schemas.microsoft.com/office/drawing/2014/main" id="{D2362DFB-1B7E-854E-B803-5C9F0017F3A5}"/>
              </a:ext>
            </a:extLst>
          </p:cNvPr>
          <p:cNvSpPr/>
          <p:nvPr/>
        </p:nvSpPr>
        <p:spPr>
          <a:xfrm>
            <a:off x="3658669" y="4700725"/>
            <a:ext cx="381160" cy="324692"/>
          </a:xfrm>
          <a:prstGeom prst="ellipse">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548"/>
          </a:p>
        </p:txBody>
      </p:sp>
      <p:sp>
        <p:nvSpPr>
          <p:cNvPr id="26" name="Oval 25">
            <a:extLst>
              <a:ext uri="{FF2B5EF4-FFF2-40B4-BE49-F238E27FC236}">
                <a16:creationId xmlns:a16="http://schemas.microsoft.com/office/drawing/2014/main" id="{0081D6FA-7ABB-0243-92D5-81E545CAA141}"/>
              </a:ext>
            </a:extLst>
          </p:cNvPr>
          <p:cNvSpPr/>
          <p:nvPr/>
        </p:nvSpPr>
        <p:spPr>
          <a:xfrm>
            <a:off x="3202421" y="5493885"/>
            <a:ext cx="381160" cy="324692"/>
          </a:xfrm>
          <a:prstGeom prst="ellipse">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548"/>
          </a:p>
        </p:txBody>
      </p:sp>
      <p:cxnSp>
        <p:nvCxnSpPr>
          <p:cNvPr id="27" name="Straight Arrow Connector 26">
            <a:extLst>
              <a:ext uri="{FF2B5EF4-FFF2-40B4-BE49-F238E27FC236}">
                <a16:creationId xmlns:a16="http://schemas.microsoft.com/office/drawing/2014/main" id="{33347FA4-8974-4042-9979-AC979F334231}"/>
              </a:ext>
            </a:extLst>
          </p:cNvPr>
          <p:cNvCxnSpPr>
            <a:stCxn id="25" idx="3"/>
            <a:endCxn id="26" idx="0"/>
          </p:cNvCxnSpPr>
          <p:nvPr/>
        </p:nvCxnSpPr>
        <p:spPr>
          <a:xfrm flipH="1">
            <a:off x="3393002" y="4977867"/>
            <a:ext cx="321487" cy="516017"/>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8" name="Oval 27">
            <a:extLst>
              <a:ext uri="{FF2B5EF4-FFF2-40B4-BE49-F238E27FC236}">
                <a16:creationId xmlns:a16="http://schemas.microsoft.com/office/drawing/2014/main" id="{93A33750-B2F7-174F-A0C4-C7FC35FCF7EF}"/>
              </a:ext>
            </a:extLst>
          </p:cNvPr>
          <p:cNvSpPr/>
          <p:nvPr/>
        </p:nvSpPr>
        <p:spPr>
          <a:xfrm>
            <a:off x="4122382" y="5493885"/>
            <a:ext cx="381160" cy="324692"/>
          </a:xfrm>
          <a:prstGeom prst="ellipse">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548"/>
          </a:p>
        </p:txBody>
      </p:sp>
      <p:cxnSp>
        <p:nvCxnSpPr>
          <p:cNvPr id="29" name="Straight Arrow Connector 28">
            <a:extLst>
              <a:ext uri="{FF2B5EF4-FFF2-40B4-BE49-F238E27FC236}">
                <a16:creationId xmlns:a16="http://schemas.microsoft.com/office/drawing/2014/main" id="{5DAEB1D6-6118-7143-98A4-EA3A0389C63B}"/>
              </a:ext>
            </a:extLst>
          </p:cNvPr>
          <p:cNvCxnSpPr>
            <a:cxnSpLocks/>
            <a:stCxn id="25" idx="5"/>
            <a:endCxn id="28" idx="0"/>
          </p:cNvCxnSpPr>
          <p:nvPr/>
        </p:nvCxnSpPr>
        <p:spPr>
          <a:xfrm>
            <a:off x="3984009" y="4977867"/>
            <a:ext cx="328953" cy="516017"/>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0" name="Straight Arrow Connector 29">
            <a:extLst>
              <a:ext uri="{FF2B5EF4-FFF2-40B4-BE49-F238E27FC236}">
                <a16:creationId xmlns:a16="http://schemas.microsoft.com/office/drawing/2014/main" id="{192A6414-FA63-6048-8A0E-93410EDA3978}"/>
              </a:ext>
            </a:extLst>
          </p:cNvPr>
          <p:cNvCxnSpPr>
            <a:cxnSpLocks/>
            <a:stCxn id="9" idx="5"/>
            <a:endCxn id="25" idx="0"/>
          </p:cNvCxnSpPr>
          <p:nvPr/>
        </p:nvCxnSpPr>
        <p:spPr>
          <a:xfrm>
            <a:off x="3574615" y="4128747"/>
            <a:ext cx="274635" cy="571977"/>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3" name="Oval 32">
            <a:extLst>
              <a:ext uri="{FF2B5EF4-FFF2-40B4-BE49-F238E27FC236}">
                <a16:creationId xmlns:a16="http://schemas.microsoft.com/office/drawing/2014/main" id="{8AAA1376-EB26-2B46-8D49-EEF6A0DEB830}"/>
              </a:ext>
            </a:extLst>
          </p:cNvPr>
          <p:cNvSpPr/>
          <p:nvPr/>
        </p:nvSpPr>
        <p:spPr>
          <a:xfrm>
            <a:off x="2793026" y="4681227"/>
            <a:ext cx="381160" cy="324692"/>
          </a:xfrm>
          <a:prstGeom prst="ellipse">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548"/>
          </a:p>
        </p:txBody>
      </p:sp>
      <p:cxnSp>
        <p:nvCxnSpPr>
          <p:cNvPr id="34" name="Straight Arrow Connector 33">
            <a:extLst>
              <a:ext uri="{FF2B5EF4-FFF2-40B4-BE49-F238E27FC236}">
                <a16:creationId xmlns:a16="http://schemas.microsoft.com/office/drawing/2014/main" id="{BF4A634F-967E-2E41-9DFD-C2ACDF6485EB}"/>
              </a:ext>
            </a:extLst>
          </p:cNvPr>
          <p:cNvCxnSpPr>
            <a:cxnSpLocks/>
            <a:stCxn id="9" idx="3"/>
            <a:endCxn id="33" idx="0"/>
          </p:cNvCxnSpPr>
          <p:nvPr/>
        </p:nvCxnSpPr>
        <p:spPr>
          <a:xfrm flipH="1">
            <a:off x="2983607" y="4128747"/>
            <a:ext cx="321487" cy="552479"/>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7" name="TextBox 36">
            <a:extLst>
              <a:ext uri="{FF2B5EF4-FFF2-40B4-BE49-F238E27FC236}">
                <a16:creationId xmlns:a16="http://schemas.microsoft.com/office/drawing/2014/main" id="{1A5F627E-34EB-2F4B-83B2-8202C34F1660}"/>
              </a:ext>
            </a:extLst>
          </p:cNvPr>
          <p:cNvSpPr txBox="1"/>
          <p:nvPr/>
        </p:nvSpPr>
        <p:spPr>
          <a:xfrm>
            <a:off x="3709375" y="3788247"/>
            <a:ext cx="1425390" cy="408253"/>
          </a:xfrm>
          <a:prstGeom prst="rect">
            <a:avLst/>
          </a:prstGeom>
          <a:noFill/>
        </p:spPr>
        <p:txBody>
          <a:bodyPr wrap="none" rtlCol="0">
            <a:spAutoFit/>
          </a:bodyPr>
          <a:lstStyle/>
          <a:p>
            <a:r>
              <a:rPr lang="en-US" sz="2053" dirty="0"/>
              <a:t>Conditions</a:t>
            </a:r>
          </a:p>
        </p:txBody>
      </p:sp>
      <p:sp>
        <p:nvSpPr>
          <p:cNvPr id="38" name="TextBox 37">
            <a:extLst>
              <a:ext uri="{FF2B5EF4-FFF2-40B4-BE49-F238E27FC236}">
                <a16:creationId xmlns:a16="http://schemas.microsoft.com/office/drawing/2014/main" id="{B740B88C-27CE-8B4B-A0D3-36D60E1036F4}"/>
              </a:ext>
            </a:extLst>
          </p:cNvPr>
          <p:cNvSpPr txBox="1"/>
          <p:nvPr/>
        </p:nvSpPr>
        <p:spPr>
          <a:xfrm>
            <a:off x="430940" y="3869581"/>
            <a:ext cx="1879041" cy="408253"/>
          </a:xfrm>
          <a:prstGeom prst="rect">
            <a:avLst/>
          </a:prstGeom>
          <a:noFill/>
        </p:spPr>
        <p:txBody>
          <a:bodyPr wrap="none" rtlCol="0">
            <a:spAutoFit/>
          </a:bodyPr>
          <a:lstStyle/>
          <a:p>
            <a:r>
              <a:rPr lang="en-US" sz="2053" dirty="0"/>
              <a:t>Demographics</a:t>
            </a:r>
          </a:p>
        </p:txBody>
      </p:sp>
      <p:sp>
        <p:nvSpPr>
          <p:cNvPr id="40" name="Left Bracket 39">
            <a:extLst>
              <a:ext uri="{FF2B5EF4-FFF2-40B4-BE49-F238E27FC236}">
                <a16:creationId xmlns:a16="http://schemas.microsoft.com/office/drawing/2014/main" id="{BBD289CA-15FC-5549-B93C-0EA21E06D729}"/>
              </a:ext>
            </a:extLst>
          </p:cNvPr>
          <p:cNvSpPr/>
          <p:nvPr/>
        </p:nvSpPr>
        <p:spPr>
          <a:xfrm>
            <a:off x="6721755" y="2860497"/>
            <a:ext cx="437628" cy="3681545"/>
          </a:xfrm>
          <a:prstGeom prst="leftBracket">
            <a:avLst>
              <a:gd name="adj" fmla="val 0"/>
            </a:avLst>
          </a:prstGeom>
          <a:ln w="38100">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3548"/>
          </a:p>
        </p:txBody>
      </p:sp>
      <p:sp>
        <p:nvSpPr>
          <p:cNvPr id="41" name="Left Bracket 40">
            <a:extLst>
              <a:ext uri="{FF2B5EF4-FFF2-40B4-BE49-F238E27FC236}">
                <a16:creationId xmlns:a16="http://schemas.microsoft.com/office/drawing/2014/main" id="{67CC41CF-963B-524E-B8C9-9D71AD824D2B}"/>
              </a:ext>
            </a:extLst>
          </p:cNvPr>
          <p:cNvSpPr/>
          <p:nvPr/>
        </p:nvSpPr>
        <p:spPr>
          <a:xfrm flipH="1">
            <a:off x="7884603" y="2837564"/>
            <a:ext cx="441650" cy="3681545"/>
          </a:xfrm>
          <a:prstGeom prst="leftBracket">
            <a:avLst>
              <a:gd name="adj" fmla="val 0"/>
            </a:avLst>
          </a:prstGeom>
          <a:ln w="38100">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3548"/>
          </a:p>
        </p:txBody>
      </p:sp>
      <p:sp>
        <p:nvSpPr>
          <p:cNvPr id="42" name="TextBox 41">
            <a:extLst>
              <a:ext uri="{FF2B5EF4-FFF2-40B4-BE49-F238E27FC236}">
                <a16:creationId xmlns:a16="http://schemas.microsoft.com/office/drawing/2014/main" id="{2E63BE9C-FC44-3645-A6AF-026ADCAB95E5}"/>
              </a:ext>
            </a:extLst>
          </p:cNvPr>
          <p:cNvSpPr txBox="1"/>
          <p:nvPr/>
        </p:nvSpPr>
        <p:spPr>
          <a:xfrm>
            <a:off x="6563260" y="2108816"/>
            <a:ext cx="2892138" cy="638316"/>
          </a:xfrm>
          <a:prstGeom prst="rect">
            <a:avLst/>
          </a:prstGeom>
          <a:noFill/>
        </p:spPr>
        <p:txBody>
          <a:bodyPr wrap="none" rtlCol="0">
            <a:spAutoFit/>
          </a:bodyPr>
          <a:lstStyle/>
          <a:p>
            <a:r>
              <a:rPr lang="en-US" sz="3548" dirty="0"/>
              <a:t>Key Features</a:t>
            </a:r>
          </a:p>
        </p:txBody>
      </p:sp>
      <p:sp>
        <p:nvSpPr>
          <p:cNvPr id="43" name="TextBox 42">
            <a:extLst>
              <a:ext uri="{FF2B5EF4-FFF2-40B4-BE49-F238E27FC236}">
                <a16:creationId xmlns:a16="http://schemas.microsoft.com/office/drawing/2014/main" id="{F1A50356-D4C7-5B42-8CE1-D2AEBD96BB66}"/>
              </a:ext>
            </a:extLst>
          </p:cNvPr>
          <p:cNvSpPr txBox="1"/>
          <p:nvPr/>
        </p:nvSpPr>
        <p:spPr>
          <a:xfrm>
            <a:off x="6862111" y="2885728"/>
            <a:ext cx="1723917" cy="3342453"/>
          </a:xfrm>
          <a:prstGeom prst="rect">
            <a:avLst/>
          </a:prstGeom>
          <a:noFill/>
        </p:spPr>
        <p:txBody>
          <a:bodyPr wrap="square" rtlCol="0">
            <a:spAutoFit/>
          </a:bodyPr>
          <a:lstStyle/>
          <a:p>
            <a:r>
              <a:rPr lang="en-US" sz="1760" dirty="0"/>
              <a:t>Gender</a:t>
            </a:r>
          </a:p>
          <a:p>
            <a:r>
              <a:rPr lang="en-US" sz="1760" dirty="0"/>
              <a:t>Age</a:t>
            </a:r>
          </a:p>
          <a:p>
            <a:r>
              <a:rPr lang="en-US" sz="1760" dirty="0"/>
              <a:t>CohortCode1</a:t>
            </a:r>
          </a:p>
          <a:p>
            <a:r>
              <a:rPr lang="en-US" sz="1760" dirty="0"/>
              <a:t>CohortCode2</a:t>
            </a:r>
          </a:p>
          <a:p>
            <a:r>
              <a:rPr lang="en-US" sz="1760" dirty="0"/>
              <a:t>Condition1</a:t>
            </a:r>
          </a:p>
          <a:p>
            <a:r>
              <a:rPr lang="en-US" sz="1760" dirty="0"/>
              <a:t>Condition2</a:t>
            </a:r>
          </a:p>
          <a:p>
            <a:r>
              <a:rPr lang="en-US" sz="1760" dirty="0"/>
              <a:t>Disease1</a:t>
            </a:r>
          </a:p>
          <a:p>
            <a:r>
              <a:rPr lang="en-US" sz="1760" dirty="0"/>
              <a:t>Disease2</a:t>
            </a:r>
          </a:p>
          <a:p>
            <a:r>
              <a:rPr lang="en-US" sz="1760" dirty="0"/>
              <a:t>Drug1</a:t>
            </a:r>
          </a:p>
          <a:p>
            <a:r>
              <a:rPr lang="en-US" sz="1760" dirty="0"/>
              <a:t>Drug2</a:t>
            </a:r>
          </a:p>
          <a:p>
            <a:r>
              <a:rPr lang="en-US" sz="1760" dirty="0"/>
              <a:t>Gene1</a:t>
            </a:r>
          </a:p>
          <a:p>
            <a:r>
              <a:rPr lang="en-US" sz="1760" dirty="0"/>
              <a:t>Gene2</a:t>
            </a:r>
          </a:p>
        </p:txBody>
      </p:sp>
      <p:sp>
        <p:nvSpPr>
          <p:cNvPr id="44" name="TextBox 43">
            <a:extLst>
              <a:ext uri="{FF2B5EF4-FFF2-40B4-BE49-F238E27FC236}">
                <a16:creationId xmlns:a16="http://schemas.microsoft.com/office/drawing/2014/main" id="{96079ABD-A878-5941-9D3F-A7BF40025E3C}"/>
              </a:ext>
            </a:extLst>
          </p:cNvPr>
          <p:cNvSpPr txBox="1"/>
          <p:nvPr/>
        </p:nvSpPr>
        <p:spPr>
          <a:xfrm>
            <a:off x="444242" y="5319742"/>
            <a:ext cx="958917" cy="408253"/>
          </a:xfrm>
          <a:prstGeom prst="rect">
            <a:avLst/>
          </a:prstGeom>
          <a:noFill/>
        </p:spPr>
        <p:txBody>
          <a:bodyPr wrap="none" rtlCol="0">
            <a:spAutoFit/>
          </a:bodyPr>
          <a:lstStyle/>
          <a:p>
            <a:r>
              <a:rPr lang="en-US" sz="2053" dirty="0"/>
              <a:t>Genes</a:t>
            </a:r>
          </a:p>
        </p:txBody>
      </p:sp>
      <p:sp>
        <p:nvSpPr>
          <p:cNvPr id="45" name="TextBox 44">
            <a:extLst>
              <a:ext uri="{FF2B5EF4-FFF2-40B4-BE49-F238E27FC236}">
                <a16:creationId xmlns:a16="http://schemas.microsoft.com/office/drawing/2014/main" id="{135FDFDB-C9B7-A14F-B747-9C182C010350}"/>
              </a:ext>
            </a:extLst>
          </p:cNvPr>
          <p:cNvSpPr txBox="1"/>
          <p:nvPr/>
        </p:nvSpPr>
        <p:spPr>
          <a:xfrm>
            <a:off x="4499281" y="5216629"/>
            <a:ext cx="564578" cy="408253"/>
          </a:xfrm>
          <a:prstGeom prst="rect">
            <a:avLst/>
          </a:prstGeom>
          <a:noFill/>
        </p:spPr>
        <p:txBody>
          <a:bodyPr wrap="none" rtlCol="0">
            <a:spAutoFit/>
          </a:bodyPr>
          <a:lstStyle/>
          <a:p>
            <a:r>
              <a:rPr lang="en-US" sz="2053" dirty="0"/>
              <a:t>IoT</a:t>
            </a:r>
          </a:p>
        </p:txBody>
      </p:sp>
      <p:sp>
        <p:nvSpPr>
          <p:cNvPr id="46" name="Right Arrow 45">
            <a:extLst>
              <a:ext uri="{FF2B5EF4-FFF2-40B4-BE49-F238E27FC236}">
                <a16:creationId xmlns:a16="http://schemas.microsoft.com/office/drawing/2014/main" id="{3D28744A-0ED1-D546-8058-735B89E2E5A3}"/>
              </a:ext>
            </a:extLst>
          </p:cNvPr>
          <p:cNvSpPr/>
          <p:nvPr/>
        </p:nvSpPr>
        <p:spPr>
          <a:xfrm>
            <a:off x="5171697" y="4259150"/>
            <a:ext cx="1421001" cy="766266"/>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a:t>Extract</a:t>
            </a:r>
          </a:p>
        </p:txBody>
      </p:sp>
      <p:sp>
        <p:nvSpPr>
          <p:cNvPr id="47" name="Left Bracket 46">
            <a:extLst>
              <a:ext uri="{FF2B5EF4-FFF2-40B4-BE49-F238E27FC236}">
                <a16:creationId xmlns:a16="http://schemas.microsoft.com/office/drawing/2014/main" id="{A849CC5F-4101-434C-8554-8F3912A31AB3}"/>
              </a:ext>
            </a:extLst>
          </p:cNvPr>
          <p:cNvSpPr/>
          <p:nvPr/>
        </p:nvSpPr>
        <p:spPr>
          <a:xfrm>
            <a:off x="11282448" y="2731230"/>
            <a:ext cx="437628" cy="3681545"/>
          </a:xfrm>
          <a:prstGeom prst="leftBracket">
            <a:avLst>
              <a:gd name="adj" fmla="val 0"/>
            </a:avLst>
          </a:prstGeom>
          <a:ln w="38100">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3548"/>
          </a:p>
        </p:txBody>
      </p:sp>
      <p:sp>
        <p:nvSpPr>
          <p:cNvPr id="48" name="Left Bracket 47">
            <a:extLst>
              <a:ext uri="{FF2B5EF4-FFF2-40B4-BE49-F238E27FC236}">
                <a16:creationId xmlns:a16="http://schemas.microsoft.com/office/drawing/2014/main" id="{2F1A059F-7B60-7948-A3EA-BD1F6A8FA857}"/>
              </a:ext>
            </a:extLst>
          </p:cNvPr>
          <p:cNvSpPr/>
          <p:nvPr/>
        </p:nvSpPr>
        <p:spPr>
          <a:xfrm flipH="1">
            <a:off x="12445296" y="2708297"/>
            <a:ext cx="441650" cy="3681545"/>
          </a:xfrm>
          <a:prstGeom prst="leftBracket">
            <a:avLst>
              <a:gd name="adj" fmla="val 0"/>
            </a:avLst>
          </a:prstGeom>
          <a:ln w="38100">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3548"/>
          </a:p>
        </p:txBody>
      </p:sp>
      <p:sp>
        <p:nvSpPr>
          <p:cNvPr id="49" name="TextBox 48">
            <a:extLst>
              <a:ext uri="{FF2B5EF4-FFF2-40B4-BE49-F238E27FC236}">
                <a16:creationId xmlns:a16="http://schemas.microsoft.com/office/drawing/2014/main" id="{4E56E977-44D6-1041-A83C-BC90AA2FB2D3}"/>
              </a:ext>
            </a:extLst>
          </p:cNvPr>
          <p:cNvSpPr txBox="1"/>
          <p:nvPr/>
        </p:nvSpPr>
        <p:spPr>
          <a:xfrm>
            <a:off x="11422804" y="2756460"/>
            <a:ext cx="1723917" cy="3342453"/>
          </a:xfrm>
          <a:prstGeom prst="rect">
            <a:avLst/>
          </a:prstGeom>
          <a:noFill/>
        </p:spPr>
        <p:txBody>
          <a:bodyPr wrap="square" rtlCol="0">
            <a:spAutoFit/>
          </a:bodyPr>
          <a:lstStyle/>
          <a:p>
            <a:r>
              <a:rPr lang="en-US" sz="1760" dirty="0"/>
              <a:t>Gender</a:t>
            </a:r>
          </a:p>
          <a:p>
            <a:r>
              <a:rPr lang="en-US" sz="1760" dirty="0"/>
              <a:t>Age</a:t>
            </a:r>
          </a:p>
          <a:p>
            <a:r>
              <a:rPr lang="en-US" sz="1760" dirty="0"/>
              <a:t>CohortCode1</a:t>
            </a:r>
          </a:p>
          <a:p>
            <a:r>
              <a:rPr lang="en-US" sz="1760" dirty="0"/>
              <a:t>CohortCode2</a:t>
            </a:r>
          </a:p>
          <a:p>
            <a:r>
              <a:rPr lang="en-US" sz="1760" dirty="0"/>
              <a:t>Condition1</a:t>
            </a:r>
          </a:p>
          <a:p>
            <a:r>
              <a:rPr lang="en-US" sz="1760" dirty="0"/>
              <a:t>Condition2</a:t>
            </a:r>
          </a:p>
          <a:p>
            <a:r>
              <a:rPr lang="en-US" sz="1760" dirty="0"/>
              <a:t>Disease1</a:t>
            </a:r>
          </a:p>
          <a:p>
            <a:r>
              <a:rPr lang="en-US" sz="1760" dirty="0"/>
              <a:t>Disease2</a:t>
            </a:r>
          </a:p>
          <a:p>
            <a:r>
              <a:rPr lang="en-US" sz="1760" dirty="0"/>
              <a:t>Drug1</a:t>
            </a:r>
          </a:p>
          <a:p>
            <a:r>
              <a:rPr lang="en-US" sz="1760" dirty="0"/>
              <a:t>Drug2</a:t>
            </a:r>
          </a:p>
          <a:p>
            <a:r>
              <a:rPr lang="en-US" sz="1760" dirty="0"/>
              <a:t>Gene1</a:t>
            </a:r>
          </a:p>
          <a:p>
            <a:r>
              <a:rPr lang="en-US" sz="1760" dirty="0"/>
              <a:t>Gene2</a:t>
            </a:r>
          </a:p>
        </p:txBody>
      </p:sp>
      <p:sp>
        <p:nvSpPr>
          <p:cNvPr id="50" name="Left Bracket 49">
            <a:extLst>
              <a:ext uri="{FF2B5EF4-FFF2-40B4-BE49-F238E27FC236}">
                <a16:creationId xmlns:a16="http://schemas.microsoft.com/office/drawing/2014/main" id="{6ECB6BEE-AF47-CA42-9EBE-106CA7D8353F}"/>
              </a:ext>
            </a:extLst>
          </p:cNvPr>
          <p:cNvSpPr/>
          <p:nvPr/>
        </p:nvSpPr>
        <p:spPr>
          <a:xfrm>
            <a:off x="13050277" y="2728260"/>
            <a:ext cx="437628" cy="3681545"/>
          </a:xfrm>
          <a:prstGeom prst="leftBracket">
            <a:avLst>
              <a:gd name="adj" fmla="val 0"/>
            </a:avLst>
          </a:prstGeom>
          <a:ln w="38100">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3548"/>
          </a:p>
        </p:txBody>
      </p:sp>
      <p:sp>
        <p:nvSpPr>
          <p:cNvPr id="51" name="Left Bracket 50">
            <a:extLst>
              <a:ext uri="{FF2B5EF4-FFF2-40B4-BE49-F238E27FC236}">
                <a16:creationId xmlns:a16="http://schemas.microsoft.com/office/drawing/2014/main" id="{221F2C6B-EEB9-6B44-B895-C89298A27613}"/>
              </a:ext>
            </a:extLst>
          </p:cNvPr>
          <p:cNvSpPr/>
          <p:nvPr/>
        </p:nvSpPr>
        <p:spPr>
          <a:xfrm flipH="1">
            <a:off x="14213125" y="2705327"/>
            <a:ext cx="441650" cy="3681545"/>
          </a:xfrm>
          <a:prstGeom prst="leftBracket">
            <a:avLst>
              <a:gd name="adj" fmla="val 0"/>
            </a:avLst>
          </a:prstGeom>
          <a:ln w="38100">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3548"/>
          </a:p>
        </p:txBody>
      </p:sp>
      <p:sp>
        <p:nvSpPr>
          <p:cNvPr id="52" name="TextBox 51">
            <a:extLst>
              <a:ext uri="{FF2B5EF4-FFF2-40B4-BE49-F238E27FC236}">
                <a16:creationId xmlns:a16="http://schemas.microsoft.com/office/drawing/2014/main" id="{E819482D-8529-604C-98F1-18952857ED8D}"/>
              </a:ext>
            </a:extLst>
          </p:cNvPr>
          <p:cNvSpPr txBox="1"/>
          <p:nvPr/>
        </p:nvSpPr>
        <p:spPr>
          <a:xfrm>
            <a:off x="13190633" y="2753490"/>
            <a:ext cx="1723917" cy="3342453"/>
          </a:xfrm>
          <a:prstGeom prst="rect">
            <a:avLst/>
          </a:prstGeom>
          <a:noFill/>
        </p:spPr>
        <p:txBody>
          <a:bodyPr wrap="square" rtlCol="0">
            <a:spAutoFit/>
          </a:bodyPr>
          <a:lstStyle/>
          <a:p>
            <a:r>
              <a:rPr lang="en-US" sz="1760" dirty="0"/>
              <a:t>Gender</a:t>
            </a:r>
          </a:p>
          <a:p>
            <a:r>
              <a:rPr lang="en-US" sz="1760" dirty="0"/>
              <a:t>Age</a:t>
            </a:r>
          </a:p>
          <a:p>
            <a:r>
              <a:rPr lang="en-US" sz="1760" dirty="0"/>
              <a:t>CohortCode1</a:t>
            </a:r>
          </a:p>
          <a:p>
            <a:r>
              <a:rPr lang="en-US" sz="1760" dirty="0"/>
              <a:t>CohortCode2</a:t>
            </a:r>
          </a:p>
          <a:p>
            <a:r>
              <a:rPr lang="en-US" sz="1760" dirty="0"/>
              <a:t>Condition1</a:t>
            </a:r>
          </a:p>
          <a:p>
            <a:r>
              <a:rPr lang="en-US" sz="1760" dirty="0"/>
              <a:t>Condition2</a:t>
            </a:r>
          </a:p>
          <a:p>
            <a:r>
              <a:rPr lang="en-US" sz="1760" dirty="0"/>
              <a:t>Disease1</a:t>
            </a:r>
          </a:p>
          <a:p>
            <a:r>
              <a:rPr lang="en-US" sz="1760" dirty="0"/>
              <a:t>Disease2</a:t>
            </a:r>
          </a:p>
          <a:p>
            <a:r>
              <a:rPr lang="en-US" sz="1760" dirty="0"/>
              <a:t>Drug1</a:t>
            </a:r>
          </a:p>
          <a:p>
            <a:r>
              <a:rPr lang="en-US" sz="1760" dirty="0"/>
              <a:t>Drug2</a:t>
            </a:r>
          </a:p>
          <a:p>
            <a:r>
              <a:rPr lang="en-US" sz="1760" dirty="0"/>
              <a:t>Gene1</a:t>
            </a:r>
          </a:p>
          <a:p>
            <a:r>
              <a:rPr lang="en-US" sz="1760" dirty="0"/>
              <a:t>Gene2</a:t>
            </a:r>
          </a:p>
        </p:txBody>
      </p:sp>
      <p:sp>
        <p:nvSpPr>
          <p:cNvPr id="53" name="Left Bracket 52">
            <a:extLst>
              <a:ext uri="{FF2B5EF4-FFF2-40B4-BE49-F238E27FC236}">
                <a16:creationId xmlns:a16="http://schemas.microsoft.com/office/drawing/2014/main" id="{2D91763E-CF64-C146-AA3F-97BF73E2C3C4}"/>
              </a:ext>
            </a:extLst>
          </p:cNvPr>
          <p:cNvSpPr/>
          <p:nvPr/>
        </p:nvSpPr>
        <p:spPr>
          <a:xfrm>
            <a:off x="14929259" y="2744563"/>
            <a:ext cx="437628" cy="3681545"/>
          </a:xfrm>
          <a:prstGeom prst="leftBracket">
            <a:avLst>
              <a:gd name="adj" fmla="val 0"/>
            </a:avLst>
          </a:prstGeom>
          <a:ln w="38100">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3548"/>
          </a:p>
        </p:txBody>
      </p:sp>
      <p:sp>
        <p:nvSpPr>
          <p:cNvPr id="54" name="Left Bracket 53">
            <a:extLst>
              <a:ext uri="{FF2B5EF4-FFF2-40B4-BE49-F238E27FC236}">
                <a16:creationId xmlns:a16="http://schemas.microsoft.com/office/drawing/2014/main" id="{F5050E45-053C-3B46-A0E5-BDABED2F4356}"/>
              </a:ext>
            </a:extLst>
          </p:cNvPr>
          <p:cNvSpPr/>
          <p:nvPr/>
        </p:nvSpPr>
        <p:spPr>
          <a:xfrm flipH="1">
            <a:off x="16092107" y="2721630"/>
            <a:ext cx="441650" cy="3681545"/>
          </a:xfrm>
          <a:prstGeom prst="leftBracket">
            <a:avLst>
              <a:gd name="adj" fmla="val 0"/>
            </a:avLst>
          </a:prstGeom>
          <a:ln w="38100">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3548"/>
          </a:p>
        </p:txBody>
      </p:sp>
      <p:sp>
        <p:nvSpPr>
          <p:cNvPr id="55" name="TextBox 54">
            <a:extLst>
              <a:ext uri="{FF2B5EF4-FFF2-40B4-BE49-F238E27FC236}">
                <a16:creationId xmlns:a16="http://schemas.microsoft.com/office/drawing/2014/main" id="{4315B88D-4EA4-804B-9941-F2E64B15CD67}"/>
              </a:ext>
            </a:extLst>
          </p:cNvPr>
          <p:cNvSpPr txBox="1"/>
          <p:nvPr/>
        </p:nvSpPr>
        <p:spPr>
          <a:xfrm>
            <a:off x="15069615" y="2769794"/>
            <a:ext cx="1723917" cy="3342453"/>
          </a:xfrm>
          <a:prstGeom prst="rect">
            <a:avLst/>
          </a:prstGeom>
          <a:noFill/>
        </p:spPr>
        <p:txBody>
          <a:bodyPr wrap="square" rtlCol="0">
            <a:spAutoFit/>
          </a:bodyPr>
          <a:lstStyle/>
          <a:p>
            <a:r>
              <a:rPr lang="en-US" sz="1760" dirty="0"/>
              <a:t>Gender</a:t>
            </a:r>
          </a:p>
          <a:p>
            <a:r>
              <a:rPr lang="en-US" sz="1760" dirty="0"/>
              <a:t>Age</a:t>
            </a:r>
          </a:p>
          <a:p>
            <a:r>
              <a:rPr lang="en-US" sz="1760" dirty="0"/>
              <a:t>CohortCode1</a:t>
            </a:r>
          </a:p>
          <a:p>
            <a:r>
              <a:rPr lang="en-US" sz="1760" dirty="0"/>
              <a:t>CohortCode2</a:t>
            </a:r>
          </a:p>
          <a:p>
            <a:r>
              <a:rPr lang="en-US" sz="1760" dirty="0"/>
              <a:t>Condition1</a:t>
            </a:r>
          </a:p>
          <a:p>
            <a:r>
              <a:rPr lang="en-US" sz="1760" dirty="0"/>
              <a:t>Condition2</a:t>
            </a:r>
          </a:p>
          <a:p>
            <a:r>
              <a:rPr lang="en-US" sz="1760" dirty="0"/>
              <a:t>Disease1</a:t>
            </a:r>
          </a:p>
          <a:p>
            <a:r>
              <a:rPr lang="en-US" sz="1760" dirty="0"/>
              <a:t>Disease2</a:t>
            </a:r>
          </a:p>
          <a:p>
            <a:r>
              <a:rPr lang="en-US" sz="1760" dirty="0"/>
              <a:t>Drug1</a:t>
            </a:r>
          </a:p>
          <a:p>
            <a:r>
              <a:rPr lang="en-US" sz="1760" dirty="0"/>
              <a:t>Drug2</a:t>
            </a:r>
          </a:p>
          <a:p>
            <a:r>
              <a:rPr lang="en-US" sz="1760" dirty="0"/>
              <a:t>Gene1</a:t>
            </a:r>
          </a:p>
          <a:p>
            <a:r>
              <a:rPr lang="en-US" sz="1760" dirty="0"/>
              <a:t>Gene2</a:t>
            </a:r>
          </a:p>
        </p:txBody>
      </p:sp>
      <p:sp>
        <p:nvSpPr>
          <p:cNvPr id="56" name="TextBox 55">
            <a:extLst>
              <a:ext uri="{FF2B5EF4-FFF2-40B4-BE49-F238E27FC236}">
                <a16:creationId xmlns:a16="http://schemas.microsoft.com/office/drawing/2014/main" id="{65152CE8-20FA-184D-BF15-0300097D7F3D}"/>
              </a:ext>
            </a:extLst>
          </p:cNvPr>
          <p:cNvSpPr txBox="1"/>
          <p:nvPr/>
        </p:nvSpPr>
        <p:spPr>
          <a:xfrm>
            <a:off x="10194585" y="1995954"/>
            <a:ext cx="7143815" cy="638316"/>
          </a:xfrm>
          <a:prstGeom prst="rect">
            <a:avLst/>
          </a:prstGeom>
          <a:noFill/>
        </p:spPr>
        <p:txBody>
          <a:bodyPr wrap="none" rtlCol="0">
            <a:spAutoFit/>
          </a:bodyPr>
          <a:lstStyle/>
          <a:p>
            <a:r>
              <a:rPr lang="en-US" sz="3548" dirty="0"/>
              <a:t>Cohort Sample Population Vectors</a:t>
            </a:r>
          </a:p>
        </p:txBody>
      </p:sp>
      <p:pic>
        <p:nvPicPr>
          <p:cNvPr id="57" name="Picture 56">
            <a:extLst>
              <a:ext uri="{FF2B5EF4-FFF2-40B4-BE49-F238E27FC236}">
                <a16:creationId xmlns:a16="http://schemas.microsoft.com/office/drawing/2014/main" id="{81EE519C-026D-3941-938E-AE3FA9395136}"/>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8463564" y="3950668"/>
            <a:ext cx="2702134" cy="1255660"/>
          </a:xfrm>
          <a:prstGeom prst="rect">
            <a:avLst/>
          </a:prstGeom>
        </p:spPr>
      </p:pic>
      <p:sp>
        <p:nvSpPr>
          <p:cNvPr id="58" name="TextBox 57">
            <a:extLst>
              <a:ext uri="{FF2B5EF4-FFF2-40B4-BE49-F238E27FC236}">
                <a16:creationId xmlns:a16="http://schemas.microsoft.com/office/drawing/2014/main" id="{DB7274CC-C314-2840-AB8C-71FCA02EB85C}"/>
              </a:ext>
            </a:extLst>
          </p:cNvPr>
          <p:cNvSpPr txBox="1"/>
          <p:nvPr/>
        </p:nvSpPr>
        <p:spPr>
          <a:xfrm>
            <a:off x="8564293" y="3371873"/>
            <a:ext cx="2428870" cy="461665"/>
          </a:xfrm>
          <a:prstGeom prst="rect">
            <a:avLst/>
          </a:prstGeom>
          <a:noFill/>
        </p:spPr>
        <p:txBody>
          <a:bodyPr wrap="none" rtlCol="0">
            <a:spAutoFit/>
          </a:bodyPr>
          <a:lstStyle/>
          <a:p>
            <a:r>
              <a:rPr lang="en-US" sz="2400" dirty="0"/>
              <a:t>Cosine similarity</a:t>
            </a:r>
          </a:p>
        </p:txBody>
      </p:sp>
      <p:sp>
        <p:nvSpPr>
          <p:cNvPr id="59" name="TextBox 58">
            <a:extLst>
              <a:ext uri="{FF2B5EF4-FFF2-40B4-BE49-F238E27FC236}">
                <a16:creationId xmlns:a16="http://schemas.microsoft.com/office/drawing/2014/main" id="{6F548A01-CDB8-0C4A-BABC-753AE6539736}"/>
              </a:ext>
            </a:extLst>
          </p:cNvPr>
          <p:cNvSpPr txBox="1"/>
          <p:nvPr/>
        </p:nvSpPr>
        <p:spPr>
          <a:xfrm>
            <a:off x="9457794" y="6494908"/>
            <a:ext cx="2085827" cy="408253"/>
          </a:xfrm>
          <a:prstGeom prst="rect">
            <a:avLst/>
          </a:prstGeom>
          <a:noFill/>
        </p:spPr>
        <p:txBody>
          <a:bodyPr wrap="none" rtlCol="0">
            <a:spAutoFit/>
          </a:bodyPr>
          <a:lstStyle/>
          <a:p>
            <a:r>
              <a:rPr lang="en-US" sz="2053" dirty="0"/>
              <a:t>Similarity Score:</a:t>
            </a:r>
          </a:p>
        </p:txBody>
      </p:sp>
      <p:sp>
        <p:nvSpPr>
          <p:cNvPr id="60" name="TextBox 59">
            <a:extLst>
              <a:ext uri="{FF2B5EF4-FFF2-40B4-BE49-F238E27FC236}">
                <a16:creationId xmlns:a16="http://schemas.microsoft.com/office/drawing/2014/main" id="{75E2E936-56D9-DD48-B787-4F8D1A517C65}"/>
              </a:ext>
            </a:extLst>
          </p:cNvPr>
          <p:cNvSpPr txBox="1"/>
          <p:nvPr/>
        </p:nvSpPr>
        <p:spPr>
          <a:xfrm>
            <a:off x="11820417" y="6320161"/>
            <a:ext cx="817853" cy="638316"/>
          </a:xfrm>
          <a:prstGeom prst="rect">
            <a:avLst/>
          </a:prstGeom>
          <a:noFill/>
        </p:spPr>
        <p:txBody>
          <a:bodyPr wrap="none" rtlCol="0">
            <a:spAutoFit/>
          </a:bodyPr>
          <a:lstStyle/>
          <a:p>
            <a:r>
              <a:rPr lang="en-US" sz="3548" dirty="0"/>
              <a:t>.80</a:t>
            </a:r>
          </a:p>
        </p:txBody>
      </p:sp>
      <p:sp>
        <p:nvSpPr>
          <p:cNvPr id="61" name="TextBox 60">
            <a:extLst>
              <a:ext uri="{FF2B5EF4-FFF2-40B4-BE49-F238E27FC236}">
                <a16:creationId xmlns:a16="http://schemas.microsoft.com/office/drawing/2014/main" id="{7B980312-7DD1-6448-ABC9-2698FDC62FA4}"/>
              </a:ext>
            </a:extLst>
          </p:cNvPr>
          <p:cNvSpPr txBox="1"/>
          <p:nvPr/>
        </p:nvSpPr>
        <p:spPr>
          <a:xfrm>
            <a:off x="13477126" y="6317212"/>
            <a:ext cx="817853" cy="638316"/>
          </a:xfrm>
          <a:prstGeom prst="rect">
            <a:avLst/>
          </a:prstGeom>
          <a:noFill/>
        </p:spPr>
        <p:txBody>
          <a:bodyPr wrap="none" rtlCol="0">
            <a:spAutoFit/>
          </a:bodyPr>
          <a:lstStyle/>
          <a:p>
            <a:r>
              <a:rPr lang="en-US" sz="3548" dirty="0"/>
              <a:t>.89</a:t>
            </a:r>
          </a:p>
        </p:txBody>
      </p:sp>
      <p:sp>
        <p:nvSpPr>
          <p:cNvPr id="62" name="TextBox 61">
            <a:extLst>
              <a:ext uri="{FF2B5EF4-FFF2-40B4-BE49-F238E27FC236}">
                <a16:creationId xmlns:a16="http://schemas.microsoft.com/office/drawing/2014/main" id="{B88C6C8C-AD39-234B-8826-70F173498C49}"/>
              </a:ext>
            </a:extLst>
          </p:cNvPr>
          <p:cNvSpPr txBox="1"/>
          <p:nvPr/>
        </p:nvSpPr>
        <p:spPr>
          <a:xfrm>
            <a:off x="15383708" y="6369110"/>
            <a:ext cx="817853" cy="638316"/>
          </a:xfrm>
          <a:prstGeom prst="rect">
            <a:avLst/>
          </a:prstGeom>
          <a:noFill/>
        </p:spPr>
        <p:txBody>
          <a:bodyPr wrap="none" rtlCol="0">
            <a:spAutoFit/>
          </a:bodyPr>
          <a:lstStyle/>
          <a:p>
            <a:r>
              <a:rPr lang="en-US" sz="3548" dirty="0"/>
              <a:t>.92</a:t>
            </a:r>
          </a:p>
        </p:txBody>
      </p:sp>
    </p:spTree>
    <p:extLst>
      <p:ext uri="{BB962C8B-B14F-4D97-AF65-F5344CB8AC3E}">
        <p14:creationId xmlns:p14="http://schemas.microsoft.com/office/powerpoint/2010/main" val="543845572"/>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Oval 19">
            <a:extLst>
              <a:ext uri="{FF2B5EF4-FFF2-40B4-BE49-F238E27FC236}">
                <a16:creationId xmlns:a16="http://schemas.microsoft.com/office/drawing/2014/main" id="{A46F5199-0AF6-4844-954F-BD8A1C3C0885}"/>
              </a:ext>
            </a:extLst>
          </p:cNvPr>
          <p:cNvSpPr/>
          <p:nvPr/>
        </p:nvSpPr>
        <p:spPr>
          <a:xfrm>
            <a:off x="7418774" y="2467904"/>
            <a:ext cx="7405141" cy="4557010"/>
          </a:xfrm>
          <a:prstGeom prst="ellipse">
            <a:avLst/>
          </a:prstGeom>
          <a:solidFill>
            <a:schemeClr val="bg1"/>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2" name="Title 1">
            <a:extLst>
              <a:ext uri="{FF2B5EF4-FFF2-40B4-BE49-F238E27FC236}">
                <a16:creationId xmlns:a16="http://schemas.microsoft.com/office/drawing/2014/main" id="{27ED6281-0609-C04A-9E4E-A463BB10F203}"/>
              </a:ext>
            </a:extLst>
          </p:cNvPr>
          <p:cNvSpPr>
            <a:spLocks noGrp="1"/>
          </p:cNvSpPr>
          <p:nvPr>
            <p:ph type="title"/>
          </p:nvPr>
        </p:nvSpPr>
        <p:spPr/>
        <p:txBody>
          <a:bodyPr/>
          <a:lstStyle/>
          <a:p>
            <a:r>
              <a:rPr lang="en-US" dirty="0"/>
              <a:t>Driving Use Case: Real-Time Patient Similarity</a:t>
            </a:r>
          </a:p>
        </p:txBody>
      </p:sp>
      <p:sp>
        <p:nvSpPr>
          <p:cNvPr id="3" name="Text Placeholder 2">
            <a:extLst>
              <a:ext uri="{FF2B5EF4-FFF2-40B4-BE49-F238E27FC236}">
                <a16:creationId xmlns:a16="http://schemas.microsoft.com/office/drawing/2014/main" id="{A48A02D1-DF0D-5C41-BFE8-77661FCE2BE8}"/>
              </a:ext>
            </a:extLst>
          </p:cNvPr>
          <p:cNvSpPr>
            <a:spLocks noGrp="1"/>
          </p:cNvSpPr>
          <p:nvPr>
            <p:ph type="body" idx="1"/>
          </p:nvPr>
        </p:nvSpPr>
        <p:spPr>
          <a:xfrm>
            <a:off x="603641" y="7408689"/>
            <a:ext cx="16662507" cy="1516965"/>
          </a:xfrm>
        </p:spPr>
        <p:txBody>
          <a:bodyPr/>
          <a:lstStyle/>
          <a:p>
            <a:r>
              <a:rPr lang="en-US" dirty="0"/>
              <a:t>Given a new patient that arrives a clinical setting, how can we </a:t>
            </a:r>
            <a:r>
              <a:rPr lang="en-US" b="1" dirty="0"/>
              <a:t>quickly</a:t>
            </a:r>
            <a:r>
              <a:rPr lang="en-US" dirty="0"/>
              <a:t> find the most similar patients?</a:t>
            </a:r>
          </a:p>
          <a:p>
            <a:r>
              <a:rPr lang="en-US" dirty="0"/>
              <a:t>Assumption: we have 10M “clean” clinical records of our population of 235 million members</a:t>
            </a:r>
          </a:p>
          <a:p>
            <a:r>
              <a:rPr lang="en-US" dirty="0"/>
              <a:t>No overnight batch jobs!</a:t>
            </a:r>
          </a:p>
        </p:txBody>
      </p:sp>
      <p:sp>
        <p:nvSpPr>
          <p:cNvPr id="4" name="Slide Number Placeholder 3">
            <a:extLst>
              <a:ext uri="{FF2B5EF4-FFF2-40B4-BE49-F238E27FC236}">
                <a16:creationId xmlns:a16="http://schemas.microsoft.com/office/drawing/2014/main" id="{9C1902E6-D032-6540-B30E-EA6F34FEAEE3}"/>
              </a:ext>
            </a:extLst>
          </p:cNvPr>
          <p:cNvSpPr>
            <a:spLocks noGrp="1"/>
          </p:cNvSpPr>
          <p:nvPr>
            <p:ph type="sldNum" idx="12"/>
          </p:nvPr>
        </p:nvSpPr>
        <p:spPr/>
        <p:txBody>
          <a:bodyPr/>
          <a:lstStyle/>
          <a:p>
            <a:fld id="{00000000-1234-1234-1234-123412341234}" type="slidenum">
              <a:rPr lang="en" smtClean="0"/>
              <a:pPr/>
              <a:t>29</a:t>
            </a:fld>
            <a:endParaRPr lang="en"/>
          </a:p>
        </p:txBody>
      </p:sp>
      <p:sp>
        <p:nvSpPr>
          <p:cNvPr id="6" name="TextBox 5">
            <a:extLst>
              <a:ext uri="{FF2B5EF4-FFF2-40B4-BE49-F238E27FC236}">
                <a16:creationId xmlns:a16="http://schemas.microsoft.com/office/drawing/2014/main" id="{38B07697-5A47-7046-AD36-0092891D174C}"/>
              </a:ext>
            </a:extLst>
          </p:cNvPr>
          <p:cNvSpPr txBox="1"/>
          <p:nvPr/>
        </p:nvSpPr>
        <p:spPr>
          <a:xfrm>
            <a:off x="1827662" y="5355046"/>
            <a:ext cx="1636987" cy="707886"/>
          </a:xfrm>
          <a:prstGeom prst="rect">
            <a:avLst/>
          </a:prstGeom>
          <a:noFill/>
        </p:spPr>
        <p:txBody>
          <a:bodyPr wrap="none" rtlCol="0">
            <a:spAutoFit/>
          </a:bodyPr>
          <a:lstStyle/>
          <a:p>
            <a:pPr algn="ctr"/>
            <a:r>
              <a:rPr lang="en-US" sz="2000" b="1" dirty="0"/>
              <a:t>New Patient</a:t>
            </a:r>
          </a:p>
          <a:p>
            <a:pPr algn="ctr"/>
            <a:r>
              <a:rPr lang="en-US" sz="2000" b="1" dirty="0"/>
              <a:t>in ER</a:t>
            </a:r>
          </a:p>
        </p:txBody>
      </p:sp>
      <p:sp>
        <p:nvSpPr>
          <p:cNvPr id="26" name="TextBox 25">
            <a:extLst>
              <a:ext uri="{FF2B5EF4-FFF2-40B4-BE49-F238E27FC236}">
                <a16:creationId xmlns:a16="http://schemas.microsoft.com/office/drawing/2014/main" id="{21E667D7-0A84-1745-92A1-3CF7304ACA01}"/>
              </a:ext>
            </a:extLst>
          </p:cNvPr>
          <p:cNvSpPr txBox="1"/>
          <p:nvPr/>
        </p:nvSpPr>
        <p:spPr>
          <a:xfrm>
            <a:off x="7708924" y="1914675"/>
            <a:ext cx="7114991" cy="400110"/>
          </a:xfrm>
          <a:prstGeom prst="rect">
            <a:avLst/>
          </a:prstGeom>
          <a:noFill/>
        </p:spPr>
        <p:txBody>
          <a:bodyPr wrap="square" rtlCol="0">
            <a:spAutoFit/>
          </a:bodyPr>
          <a:lstStyle/>
          <a:p>
            <a:pPr algn="ctr"/>
            <a:r>
              <a:rPr lang="en-US" sz="2000" b="1" dirty="0"/>
              <a:t>Sample Patient Populations (100s of millions)</a:t>
            </a:r>
          </a:p>
        </p:txBody>
      </p:sp>
      <p:sp>
        <p:nvSpPr>
          <p:cNvPr id="29" name="TextBox 28">
            <a:extLst>
              <a:ext uri="{FF2B5EF4-FFF2-40B4-BE49-F238E27FC236}">
                <a16:creationId xmlns:a16="http://schemas.microsoft.com/office/drawing/2014/main" id="{73D147AA-9D51-E441-883B-AA6372CBC987}"/>
              </a:ext>
            </a:extLst>
          </p:cNvPr>
          <p:cNvSpPr txBox="1"/>
          <p:nvPr/>
        </p:nvSpPr>
        <p:spPr>
          <a:xfrm>
            <a:off x="4131074" y="2663099"/>
            <a:ext cx="3200406" cy="707886"/>
          </a:xfrm>
          <a:prstGeom prst="rect">
            <a:avLst/>
          </a:prstGeom>
          <a:noFill/>
        </p:spPr>
        <p:txBody>
          <a:bodyPr wrap="square" rtlCol="0">
            <a:spAutoFit/>
          </a:bodyPr>
          <a:lstStyle/>
          <a:p>
            <a:pPr algn="ctr"/>
            <a:r>
              <a:rPr lang="en-US" sz="2000" i="1" dirty="0"/>
              <a:t>Which patients are the most like this patient?</a:t>
            </a:r>
          </a:p>
        </p:txBody>
      </p:sp>
      <p:cxnSp>
        <p:nvCxnSpPr>
          <p:cNvPr id="30" name="Straight Arrow Connector 29">
            <a:extLst>
              <a:ext uri="{FF2B5EF4-FFF2-40B4-BE49-F238E27FC236}">
                <a16:creationId xmlns:a16="http://schemas.microsoft.com/office/drawing/2014/main" id="{8ECD9A6C-87CB-B343-8DD9-C7EF6D84AA1C}"/>
              </a:ext>
            </a:extLst>
          </p:cNvPr>
          <p:cNvCxnSpPr>
            <a:cxnSpLocks/>
          </p:cNvCxnSpPr>
          <p:nvPr/>
        </p:nvCxnSpPr>
        <p:spPr>
          <a:xfrm flipH="1">
            <a:off x="4066493" y="4797790"/>
            <a:ext cx="3352283" cy="965"/>
          </a:xfrm>
          <a:prstGeom prst="straightConnector1">
            <a:avLst/>
          </a:prstGeom>
          <a:ln w="57150" cap="rnd">
            <a:solidFill>
              <a:srgbClr val="000000"/>
            </a:solidFill>
            <a:tailEnd type="triangle"/>
          </a:ln>
        </p:spPr>
        <p:style>
          <a:lnRef idx="1">
            <a:schemeClr val="accent1"/>
          </a:lnRef>
          <a:fillRef idx="0">
            <a:schemeClr val="accent1"/>
          </a:fillRef>
          <a:effectRef idx="0">
            <a:schemeClr val="accent1"/>
          </a:effectRef>
          <a:fontRef idx="minor">
            <a:schemeClr val="tx1"/>
          </a:fontRef>
        </p:style>
      </p:cxnSp>
      <p:cxnSp>
        <p:nvCxnSpPr>
          <p:cNvPr id="31" name="Straight Arrow Connector 30">
            <a:extLst>
              <a:ext uri="{FF2B5EF4-FFF2-40B4-BE49-F238E27FC236}">
                <a16:creationId xmlns:a16="http://schemas.microsoft.com/office/drawing/2014/main" id="{80A6A948-CD19-FE4E-B87D-4DAB7A5BB0EA}"/>
              </a:ext>
            </a:extLst>
          </p:cNvPr>
          <p:cNvCxnSpPr>
            <a:cxnSpLocks/>
          </p:cNvCxnSpPr>
          <p:nvPr/>
        </p:nvCxnSpPr>
        <p:spPr>
          <a:xfrm flipV="1">
            <a:off x="4150232" y="4375342"/>
            <a:ext cx="3330894" cy="7129"/>
          </a:xfrm>
          <a:prstGeom prst="straightConnector1">
            <a:avLst/>
          </a:prstGeom>
          <a:ln w="57150" cap="rnd">
            <a:solidFill>
              <a:srgbClr val="000000"/>
            </a:solidFill>
            <a:tailEnd type="triangle"/>
          </a:ln>
        </p:spPr>
        <p:style>
          <a:lnRef idx="1">
            <a:schemeClr val="accent1"/>
          </a:lnRef>
          <a:fillRef idx="0">
            <a:schemeClr val="accent1"/>
          </a:fillRef>
          <a:effectRef idx="0">
            <a:schemeClr val="accent1"/>
          </a:effectRef>
          <a:fontRef idx="minor">
            <a:schemeClr val="tx1"/>
          </a:fontRef>
        </p:style>
      </p:cxnSp>
      <p:sp>
        <p:nvSpPr>
          <p:cNvPr id="35" name="TextBox 34">
            <a:extLst>
              <a:ext uri="{FF2B5EF4-FFF2-40B4-BE49-F238E27FC236}">
                <a16:creationId xmlns:a16="http://schemas.microsoft.com/office/drawing/2014/main" id="{8B1A3BE3-87D6-5B4A-90BE-3C02A6EF8DA2}"/>
              </a:ext>
            </a:extLst>
          </p:cNvPr>
          <p:cNvSpPr txBox="1"/>
          <p:nvPr/>
        </p:nvSpPr>
        <p:spPr>
          <a:xfrm>
            <a:off x="3646728" y="3901511"/>
            <a:ext cx="3857146" cy="338554"/>
          </a:xfrm>
          <a:prstGeom prst="rect">
            <a:avLst/>
          </a:prstGeom>
          <a:noFill/>
        </p:spPr>
        <p:txBody>
          <a:bodyPr wrap="none" rtlCol="0">
            <a:spAutoFit/>
          </a:bodyPr>
          <a:lstStyle/>
          <a:p>
            <a:r>
              <a:rPr lang="en-US" sz="1600" dirty="0"/>
              <a:t>Patient Embedding (200 element vector)</a:t>
            </a:r>
          </a:p>
        </p:txBody>
      </p:sp>
      <p:grpSp>
        <p:nvGrpSpPr>
          <p:cNvPr id="52" name="Group 51">
            <a:extLst>
              <a:ext uri="{FF2B5EF4-FFF2-40B4-BE49-F238E27FC236}">
                <a16:creationId xmlns:a16="http://schemas.microsoft.com/office/drawing/2014/main" id="{E8151177-62DE-D648-973D-FB7E31D94981}"/>
              </a:ext>
            </a:extLst>
          </p:cNvPr>
          <p:cNvGrpSpPr/>
          <p:nvPr/>
        </p:nvGrpSpPr>
        <p:grpSpPr>
          <a:xfrm>
            <a:off x="1983416" y="3473207"/>
            <a:ext cx="1325481" cy="1781019"/>
            <a:chOff x="2441771" y="3385414"/>
            <a:chExt cx="1325481" cy="1781019"/>
          </a:xfrm>
        </p:grpSpPr>
        <p:pic>
          <p:nvPicPr>
            <p:cNvPr id="5" name="Picture 4">
              <a:extLst>
                <a:ext uri="{FF2B5EF4-FFF2-40B4-BE49-F238E27FC236}">
                  <a16:creationId xmlns:a16="http://schemas.microsoft.com/office/drawing/2014/main" id="{9999656C-6D28-234D-A6B9-089D09FC0667}"/>
                </a:ext>
              </a:extLst>
            </p:cNvPr>
            <p:cNvPicPr>
              <a:picLocks noChangeAspect="1"/>
            </p:cNvPicPr>
            <p:nvPr/>
          </p:nvPicPr>
          <p:blipFill rotWithShape="1">
            <a:blip r:embed="rId2"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a:xfrm>
              <a:off x="2441771" y="3385414"/>
              <a:ext cx="1325481" cy="1781019"/>
            </a:xfrm>
            <a:prstGeom prst="rect">
              <a:avLst/>
            </a:prstGeom>
          </p:spPr>
        </p:pic>
        <p:sp>
          <p:nvSpPr>
            <p:cNvPr id="45" name="Rounded Rectangle 44">
              <a:extLst>
                <a:ext uri="{FF2B5EF4-FFF2-40B4-BE49-F238E27FC236}">
                  <a16:creationId xmlns:a16="http://schemas.microsoft.com/office/drawing/2014/main" id="{324B5CCC-C86B-F24D-A83C-3676702C97D4}"/>
                </a:ext>
              </a:extLst>
            </p:cNvPr>
            <p:cNvSpPr/>
            <p:nvPr/>
          </p:nvSpPr>
          <p:spPr>
            <a:xfrm>
              <a:off x="2655502" y="3670300"/>
              <a:ext cx="958850" cy="436656"/>
            </a:xfrm>
            <a:prstGeom prst="roundRect">
              <a:avLst/>
            </a:prstGeom>
            <a:solidFill>
              <a:schemeClr val="tx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grpSp>
          <p:nvGrpSpPr>
            <p:cNvPr id="44" name="Group 43">
              <a:extLst>
                <a:ext uri="{FF2B5EF4-FFF2-40B4-BE49-F238E27FC236}">
                  <a16:creationId xmlns:a16="http://schemas.microsoft.com/office/drawing/2014/main" id="{EBC2B073-D460-244A-9050-54C4B3C214CA}"/>
                </a:ext>
              </a:extLst>
            </p:cNvPr>
            <p:cNvGrpSpPr/>
            <p:nvPr/>
          </p:nvGrpSpPr>
          <p:grpSpPr>
            <a:xfrm>
              <a:off x="2776471" y="3456093"/>
              <a:ext cx="748710" cy="1056883"/>
              <a:chOff x="1496718" y="3334932"/>
              <a:chExt cx="748710" cy="1056883"/>
            </a:xfrm>
          </p:grpSpPr>
          <p:grpSp>
            <p:nvGrpSpPr>
              <p:cNvPr id="40" name="Group 39">
                <a:extLst>
                  <a:ext uri="{FF2B5EF4-FFF2-40B4-BE49-F238E27FC236}">
                    <a16:creationId xmlns:a16="http://schemas.microsoft.com/office/drawing/2014/main" id="{A62F542A-20C6-D947-A723-6EDEE6E75121}"/>
                  </a:ext>
                </a:extLst>
              </p:cNvPr>
              <p:cNvGrpSpPr/>
              <p:nvPr/>
            </p:nvGrpSpPr>
            <p:grpSpPr>
              <a:xfrm>
                <a:off x="1496718" y="3334932"/>
                <a:ext cx="748710" cy="1056883"/>
                <a:chOff x="1843570" y="3508300"/>
                <a:chExt cx="514980" cy="727982"/>
              </a:xfrm>
              <a:solidFill>
                <a:schemeClr val="bg1"/>
              </a:solidFill>
            </p:grpSpPr>
            <p:sp>
              <p:nvSpPr>
                <p:cNvPr id="41" name="Freeform 40">
                  <a:extLst>
                    <a:ext uri="{FF2B5EF4-FFF2-40B4-BE49-F238E27FC236}">
                      <a16:creationId xmlns:a16="http://schemas.microsoft.com/office/drawing/2014/main" id="{55DAE749-DAF6-704F-AC46-B80970D45E4D}"/>
                    </a:ext>
                  </a:extLst>
                </p:cNvPr>
                <p:cNvSpPr/>
                <p:nvPr/>
              </p:nvSpPr>
              <p:spPr>
                <a:xfrm>
                  <a:off x="1843570" y="3787509"/>
                  <a:ext cx="514980" cy="448773"/>
                </a:xfrm>
                <a:custGeom>
                  <a:avLst/>
                  <a:gdLst>
                    <a:gd name="connsiteX0" fmla="*/ 36807 w 576731"/>
                    <a:gd name="connsiteY0" fmla="*/ 449906 h 505924"/>
                    <a:gd name="connsiteX1" fmla="*/ 39982 w 576731"/>
                    <a:gd name="connsiteY1" fmla="*/ 214956 h 505924"/>
                    <a:gd name="connsiteX2" fmla="*/ 55857 w 576731"/>
                    <a:gd name="connsiteY2" fmla="*/ 176856 h 505924"/>
                    <a:gd name="connsiteX3" fmla="*/ 103482 w 576731"/>
                    <a:gd name="connsiteY3" fmla="*/ 160981 h 505924"/>
                    <a:gd name="connsiteX4" fmla="*/ 205082 w 576731"/>
                    <a:gd name="connsiteY4" fmla="*/ 154631 h 505924"/>
                    <a:gd name="connsiteX5" fmla="*/ 230482 w 576731"/>
                    <a:gd name="connsiteY5" fmla="*/ 151456 h 505924"/>
                    <a:gd name="connsiteX6" fmla="*/ 233657 w 576731"/>
                    <a:gd name="connsiteY6" fmla="*/ 18106 h 505924"/>
                    <a:gd name="connsiteX7" fmla="*/ 344782 w 576731"/>
                    <a:gd name="connsiteY7" fmla="*/ 14931 h 505924"/>
                    <a:gd name="connsiteX8" fmla="*/ 344782 w 576731"/>
                    <a:gd name="connsiteY8" fmla="*/ 145106 h 505924"/>
                    <a:gd name="connsiteX9" fmla="*/ 386057 w 576731"/>
                    <a:gd name="connsiteY9" fmla="*/ 151456 h 505924"/>
                    <a:gd name="connsiteX10" fmla="*/ 478132 w 576731"/>
                    <a:gd name="connsiteY10" fmla="*/ 164156 h 505924"/>
                    <a:gd name="connsiteX11" fmla="*/ 519407 w 576731"/>
                    <a:gd name="connsiteY11" fmla="*/ 189556 h 505924"/>
                    <a:gd name="connsiteX12" fmla="*/ 541632 w 576731"/>
                    <a:gd name="connsiteY12" fmla="*/ 234006 h 505924"/>
                    <a:gd name="connsiteX13" fmla="*/ 538457 w 576731"/>
                    <a:gd name="connsiteY13" fmla="*/ 488006 h 505924"/>
                    <a:gd name="connsiteX14" fmla="*/ 36807 w 576731"/>
                    <a:gd name="connsiteY14" fmla="*/ 449906 h 505924"/>
                    <a:gd name="connsiteX0" fmla="*/ 5769 w 545693"/>
                    <a:gd name="connsiteY0" fmla="*/ 449906 h 505924"/>
                    <a:gd name="connsiteX1" fmla="*/ 8944 w 545693"/>
                    <a:gd name="connsiteY1" fmla="*/ 214956 h 505924"/>
                    <a:gd name="connsiteX2" fmla="*/ 24819 w 545693"/>
                    <a:gd name="connsiteY2" fmla="*/ 176856 h 505924"/>
                    <a:gd name="connsiteX3" fmla="*/ 72444 w 545693"/>
                    <a:gd name="connsiteY3" fmla="*/ 160981 h 505924"/>
                    <a:gd name="connsiteX4" fmla="*/ 174044 w 545693"/>
                    <a:gd name="connsiteY4" fmla="*/ 154631 h 505924"/>
                    <a:gd name="connsiteX5" fmla="*/ 199444 w 545693"/>
                    <a:gd name="connsiteY5" fmla="*/ 151456 h 505924"/>
                    <a:gd name="connsiteX6" fmla="*/ 202619 w 545693"/>
                    <a:gd name="connsiteY6" fmla="*/ 18106 h 505924"/>
                    <a:gd name="connsiteX7" fmla="*/ 313744 w 545693"/>
                    <a:gd name="connsiteY7" fmla="*/ 14931 h 505924"/>
                    <a:gd name="connsiteX8" fmla="*/ 313744 w 545693"/>
                    <a:gd name="connsiteY8" fmla="*/ 145106 h 505924"/>
                    <a:gd name="connsiteX9" fmla="*/ 355019 w 545693"/>
                    <a:gd name="connsiteY9" fmla="*/ 151456 h 505924"/>
                    <a:gd name="connsiteX10" fmla="*/ 447094 w 545693"/>
                    <a:gd name="connsiteY10" fmla="*/ 164156 h 505924"/>
                    <a:gd name="connsiteX11" fmla="*/ 488369 w 545693"/>
                    <a:gd name="connsiteY11" fmla="*/ 189556 h 505924"/>
                    <a:gd name="connsiteX12" fmla="*/ 510594 w 545693"/>
                    <a:gd name="connsiteY12" fmla="*/ 234006 h 505924"/>
                    <a:gd name="connsiteX13" fmla="*/ 507419 w 545693"/>
                    <a:gd name="connsiteY13" fmla="*/ 488006 h 505924"/>
                    <a:gd name="connsiteX14" fmla="*/ 5769 w 545693"/>
                    <a:gd name="connsiteY14" fmla="*/ 449906 h 505924"/>
                    <a:gd name="connsiteX0" fmla="*/ 21286 w 561210"/>
                    <a:gd name="connsiteY0" fmla="*/ 449906 h 508025"/>
                    <a:gd name="connsiteX1" fmla="*/ 24461 w 561210"/>
                    <a:gd name="connsiteY1" fmla="*/ 214956 h 508025"/>
                    <a:gd name="connsiteX2" fmla="*/ 40336 w 561210"/>
                    <a:gd name="connsiteY2" fmla="*/ 176856 h 508025"/>
                    <a:gd name="connsiteX3" fmla="*/ 87961 w 561210"/>
                    <a:gd name="connsiteY3" fmla="*/ 160981 h 508025"/>
                    <a:gd name="connsiteX4" fmla="*/ 189561 w 561210"/>
                    <a:gd name="connsiteY4" fmla="*/ 154631 h 508025"/>
                    <a:gd name="connsiteX5" fmla="*/ 214961 w 561210"/>
                    <a:gd name="connsiteY5" fmla="*/ 151456 h 508025"/>
                    <a:gd name="connsiteX6" fmla="*/ 218136 w 561210"/>
                    <a:gd name="connsiteY6" fmla="*/ 18106 h 508025"/>
                    <a:gd name="connsiteX7" fmla="*/ 329261 w 561210"/>
                    <a:gd name="connsiteY7" fmla="*/ 14931 h 508025"/>
                    <a:gd name="connsiteX8" fmla="*/ 329261 w 561210"/>
                    <a:gd name="connsiteY8" fmla="*/ 145106 h 508025"/>
                    <a:gd name="connsiteX9" fmla="*/ 370536 w 561210"/>
                    <a:gd name="connsiteY9" fmla="*/ 151456 h 508025"/>
                    <a:gd name="connsiteX10" fmla="*/ 462611 w 561210"/>
                    <a:gd name="connsiteY10" fmla="*/ 164156 h 508025"/>
                    <a:gd name="connsiteX11" fmla="*/ 503886 w 561210"/>
                    <a:gd name="connsiteY11" fmla="*/ 189556 h 508025"/>
                    <a:gd name="connsiteX12" fmla="*/ 526111 w 561210"/>
                    <a:gd name="connsiteY12" fmla="*/ 234006 h 508025"/>
                    <a:gd name="connsiteX13" fmla="*/ 522936 w 561210"/>
                    <a:gd name="connsiteY13" fmla="*/ 488006 h 508025"/>
                    <a:gd name="connsiteX14" fmla="*/ 21286 w 561210"/>
                    <a:gd name="connsiteY14" fmla="*/ 449906 h 508025"/>
                    <a:gd name="connsiteX0" fmla="*/ 21286 w 561210"/>
                    <a:gd name="connsiteY0" fmla="*/ 449906 h 508025"/>
                    <a:gd name="connsiteX1" fmla="*/ 24461 w 561210"/>
                    <a:gd name="connsiteY1" fmla="*/ 214956 h 508025"/>
                    <a:gd name="connsiteX2" fmla="*/ 40336 w 561210"/>
                    <a:gd name="connsiteY2" fmla="*/ 176856 h 508025"/>
                    <a:gd name="connsiteX3" fmla="*/ 87961 w 561210"/>
                    <a:gd name="connsiteY3" fmla="*/ 160981 h 508025"/>
                    <a:gd name="connsiteX4" fmla="*/ 189561 w 561210"/>
                    <a:gd name="connsiteY4" fmla="*/ 154631 h 508025"/>
                    <a:gd name="connsiteX5" fmla="*/ 214961 w 561210"/>
                    <a:gd name="connsiteY5" fmla="*/ 151456 h 508025"/>
                    <a:gd name="connsiteX6" fmla="*/ 218136 w 561210"/>
                    <a:gd name="connsiteY6" fmla="*/ 18106 h 508025"/>
                    <a:gd name="connsiteX7" fmla="*/ 329261 w 561210"/>
                    <a:gd name="connsiteY7" fmla="*/ 14931 h 508025"/>
                    <a:gd name="connsiteX8" fmla="*/ 329261 w 561210"/>
                    <a:gd name="connsiteY8" fmla="*/ 145106 h 508025"/>
                    <a:gd name="connsiteX9" fmla="*/ 370536 w 561210"/>
                    <a:gd name="connsiteY9" fmla="*/ 151456 h 508025"/>
                    <a:gd name="connsiteX10" fmla="*/ 462611 w 561210"/>
                    <a:gd name="connsiteY10" fmla="*/ 164156 h 508025"/>
                    <a:gd name="connsiteX11" fmla="*/ 503886 w 561210"/>
                    <a:gd name="connsiteY11" fmla="*/ 189556 h 508025"/>
                    <a:gd name="connsiteX12" fmla="*/ 526111 w 561210"/>
                    <a:gd name="connsiteY12" fmla="*/ 234006 h 508025"/>
                    <a:gd name="connsiteX13" fmla="*/ 522936 w 561210"/>
                    <a:gd name="connsiteY13" fmla="*/ 488006 h 508025"/>
                    <a:gd name="connsiteX14" fmla="*/ 21286 w 561210"/>
                    <a:gd name="connsiteY14" fmla="*/ 449906 h 508025"/>
                    <a:gd name="connsiteX0" fmla="*/ 4360 w 544284"/>
                    <a:gd name="connsiteY0" fmla="*/ 449906 h 508025"/>
                    <a:gd name="connsiteX1" fmla="*/ 7535 w 544284"/>
                    <a:gd name="connsiteY1" fmla="*/ 214956 h 508025"/>
                    <a:gd name="connsiteX2" fmla="*/ 23410 w 544284"/>
                    <a:gd name="connsiteY2" fmla="*/ 176856 h 508025"/>
                    <a:gd name="connsiteX3" fmla="*/ 71035 w 544284"/>
                    <a:gd name="connsiteY3" fmla="*/ 160981 h 508025"/>
                    <a:gd name="connsiteX4" fmla="*/ 172635 w 544284"/>
                    <a:gd name="connsiteY4" fmla="*/ 154631 h 508025"/>
                    <a:gd name="connsiteX5" fmla="*/ 198035 w 544284"/>
                    <a:gd name="connsiteY5" fmla="*/ 151456 h 508025"/>
                    <a:gd name="connsiteX6" fmla="*/ 201210 w 544284"/>
                    <a:gd name="connsiteY6" fmla="*/ 18106 h 508025"/>
                    <a:gd name="connsiteX7" fmla="*/ 312335 w 544284"/>
                    <a:gd name="connsiteY7" fmla="*/ 14931 h 508025"/>
                    <a:gd name="connsiteX8" fmla="*/ 312335 w 544284"/>
                    <a:gd name="connsiteY8" fmla="*/ 145106 h 508025"/>
                    <a:gd name="connsiteX9" fmla="*/ 353610 w 544284"/>
                    <a:gd name="connsiteY9" fmla="*/ 151456 h 508025"/>
                    <a:gd name="connsiteX10" fmla="*/ 445685 w 544284"/>
                    <a:gd name="connsiteY10" fmla="*/ 164156 h 508025"/>
                    <a:gd name="connsiteX11" fmla="*/ 486960 w 544284"/>
                    <a:gd name="connsiteY11" fmla="*/ 189556 h 508025"/>
                    <a:gd name="connsiteX12" fmla="*/ 509185 w 544284"/>
                    <a:gd name="connsiteY12" fmla="*/ 234006 h 508025"/>
                    <a:gd name="connsiteX13" fmla="*/ 506010 w 544284"/>
                    <a:gd name="connsiteY13" fmla="*/ 488006 h 508025"/>
                    <a:gd name="connsiteX14" fmla="*/ 4360 w 544284"/>
                    <a:gd name="connsiteY14" fmla="*/ 449906 h 508025"/>
                    <a:gd name="connsiteX0" fmla="*/ 4360 w 544284"/>
                    <a:gd name="connsiteY0" fmla="*/ 449906 h 500804"/>
                    <a:gd name="connsiteX1" fmla="*/ 7535 w 544284"/>
                    <a:gd name="connsiteY1" fmla="*/ 214956 h 500804"/>
                    <a:gd name="connsiteX2" fmla="*/ 23410 w 544284"/>
                    <a:gd name="connsiteY2" fmla="*/ 176856 h 500804"/>
                    <a:gd name="connsiteX3" fmla="*/ 71035 w 544284"/>
                    <a:gd name="connsiteY3" fmla="*/ 160981 h 500804"/>
                    <a:gd name="connsiteX4" fmla="*/ 172635 w 544284"/>
                    <a:gd name="connsiteY4" fmla="*/ 154631 h 500804"/>
                    <a:gd name="connsiteX5" fmla="*/ 198035 w 544284"/>
                    <a:gd name="connsiteY5" fmla="*/ 151456 h 500804"/>
                    <a:gd name="connsiteX6" fmla="*/ 201210 w 544284"/>
                    <a:gd name="connsiteY6" fmla="*/ 18106 h 500804"/>
                    <a:gd name="connsiteX7" fmla="*/ 312335 w 544284"/>
                    <a:gd name="connsiteY7" fmla="*/ 14931 h 500804"/>
                    <a:gd name="connsiteX8" fmla="*/ 312335 w 544284"/>
                    <a:gd name="connsiteY8" fmla="*/ 145106 h 500804"/>
                    <a:gd name="connsiteX9" fmla="*/ 353610 w 544284"/>
                    <a:gd name="connsiteY9" fmla="*/ 151456 h 500804"/>
                    <a:gd name="connsiteX10" fmla="*/ 445685 w 544284"/>
                    <a:gd name="connsiteY10" fmla="*/ 164156 h 500804"/>
                    <a:gd name="connsiteX11" fmla="*/ 486960 w 544284"/>
                    <a:gd name="connsiteY11" fmla="*/ 189556 h 500804"/>
                    <a:gd name="connsiteX12" fmla="*/ 509185 w 544284"/>
                    <a:gd name="connsiteY12" fmla="*/ 234006 h 500804"/>
                    <a:gd name="connsiteX13" fmla="*/ 506010 w 544284"/>
                    <a:gd name="connsiteY13" fmla="*/ 488006 h 500804"/>
                    <a:gd name="connsiteX14" fmla="*/ 4360 w 544284"/>
                    <a:gd name="connsiteY14" fmla="*/ 449906 h 500804"/>
                    <a:gd name="connsiteX0" fmla="*/ 4360 w 544284"/>
                    <a:gd name="connsiteY0" fmla="*/ 449906 h 500804"/>
                    <a:gd name="connsiteX1" fmla="*/ 7535 w 544284"/>
                    <a:gd name="connsiteY1" fmla="*/ 214956 h 500804"/>
                    <a:gd name="connsiteX2" fmla="*/ 23410 w 544284"/>
                    <a:gd name="connsiteY2" fmla="*/ 176856 h 500804"/>
                    <a:gd name="connsiteX3" fmla="*/ 71035 w 544284"/>
                    <a:gd name="connsiteY3" fmla="*/ 160981 h 500804"/>
                    <a:gd name="connsiteX4" fmla="*/ 172635 w 544284"/>
                    <a:gd name="connsiteY4" fmla="*/ 154631 h 500804"/>
                    <a:gd name="connsiteX5" fmla="*/ 198035 w 544284"/>
                    <a:gd name="connsiteY5" fmla="*/ 151456 h 500804"/>
                    <a:gd name="connsiteX6" fmla="*/ 201210 w 544284"/>
                    <a:gd name="connsiteY6" fmla="*/ 18106 h 500804"/>
                    <a:gd name="connsiteX7" fmla="*/ 312335 w 544284"/>
                    <a:gd name="connsiteY7" fmla="*/ 14931 h 500804"/>
                    <a:gd name="connsiteX8" fmla="*/ 312335 w 544284"/>
                    <a:gd name="connsiteY8" fmla="*/ 145106 h 500804"/>
                    <a:gd name="connsiteX9" fmla="*/ 353610 w 544284"/>
                    <a:gd name="connsiteY9" fmla="*/ 151456 h 500804"/>
                    <a:gd name="connsiteX10" fmla="*/ 445685 w 544284"/>
                    <a:gd name="connsiteY10" fmla="*/ 164156 h 500804"/>
                    <a:gd name="connsiteX11" fmla="*/ 486960 w 544284"/>
                    <a:gd name="connsiteY11" fmla="*/ 189556 h 500804"/>
                    <a:gd name="connsiteX12" fmla="*/ 509185 w 544284"/>
                    <a:gd name="connsiteY12" fmla="*/ 234006 h 500804"/>
                    <a:gd name="connsiteX13" fmla="*/ 506010 w 544284"/>
                    <a:gd name="connsiteY13" fmla="*/ 488006 h 500804"/>
                    <a:gd name="connsiteX14" fmla="*/ 4360 w 544284"/>
                    <a:gd name="connsiteY14" fmla="*/ 449906 h 500804"/>
                    <a:gd name="connsiteX0" fmla="*/ 4360 w 519024"/>
                    <a:gd name="connsiteY0" fmla="*/ 449906 h 500804"/>
                    <a:gd name="connsiteX1" fmla="*/ 7535 w 519024"/>
                    <a:gd name="connsiteY1" fmla="*/ 214956 h 500804"/>
                    <a:gd name="connsiteX2" fmla="*/ 23410 w 519024"/>
                    <a:gd name="connsiteY2" fmla="*/ 176856 h 500804"/>
                    <a:gd name="connsiteX3" fmla="*/ 71035 w 519024"/>
                    <a:gd name="connsiteY3" fmla="*/ 160981 h 500804"/>
                    <a:gd name="connsiteX4" fmla="*/ 172635 w 519024"/>
                    <a:gd name="connsiteY4" fmla="*/ 154631 h 500804"/>
                    <a:gd name="connsiteX5" fmla="*/ 198035 w 519024"/>
                    <a:gd name="connsiteY5" fmla="*/ 151456 h 500804"/>
                    <a:gd name="connsiteX6" fmla="*/ 201210 w 519024"/>
                    <a:gd name="connsiteY6" fmla="*/ 18106 h 500804"/>
                    <a:gd name="connsiteX7" fmla="*/ 312335 w 519024"/>
                    <a:gd name="connsiteY7" fmla="*/ 14931 h 500804"/>
                    <a:gd name="connsiteX8" fmla="*/ 312335 w 519024"/>
                    <a:gd name="connsiteY8" fmla="*/ 145106 h 500804"/>
                    <a:gd name="connsiteX9" fmla="*/ 353610 w 519024"/>
                    <a:gd name="connsiteY9" fmla="*/ 151456 h 500804"/>
                    <a:gd name="connsiteX10" fmla="*/ 445685 w 519024"/>
                    <a:gd name="connsiteY10" fmla="*/ 164156 h 500804"/>
                    <a:gd name="connsiteX11" fmla="*/ 486960 w 519024"/>
                    <a:gd name="connsiteY11" fmla="*/ 189556 h 500804"/>
                    <a:gd name="connsiteX12" fmla="*/ 509185 w 519024"/>
                    <a:gd name="connsiteY12" fmla="*/ 234006 h 500804"/>
                    <a:gd name="connsiteX13" fmla="*/ 506010 w 519024"/>
                    <a:gd name="connsiteY13" fmla="*/ 488006 h 500804"/>
                    <a:gd name="connsiteX14" fmla="*/ 4360 w 519024"/>
                    <a:gd name="connsiteY14" fmla="*/ 449906 h 500804"/>
                    <a:gd name="connsiteX0" fmla="*/ 4360 w 519024"/>
                    <a:gd name="connsiteY0" fmla="*/ 449906 h 488006"/>
                    <a:gd name="connsiteX1" fmla="*/ 7535 w 519024"/>
                    <a:gd name="connsiteY1" fmla="*/ 214956 h 488006"/>
                    <a:gd name="connsiteX2" fmla="*/ 23410 w 519024"/>
                    <a:gd name="connsiteY2" fmla="*/ 176856 h 488006"/>
                    <a:gd name="connsiteX3" fmla="*/ 71035 w 519024"/>
                    <a:gd name="connsiteY3" fmla="*/ 160981 h 488006"/>
                    <a:gd name="connsiteX4" fmla="*/ 172635 w 519024"/>
                    <a:gd name="connsiteY4" fmla="*/ 154631 h 488006"/>
                    <a:gd name="connsiteX5" fmla="*/ 198035 w 519024"/>
                    <a:gd name="connsiteY5" fmla="*/ 151456 h 488006"/>
                    <a:gd name="connsiteX6" fmla="*/ 201210 w 519024"/>
                    <a:gd name="connsiteY6" fmla="*/ 18106 h 488006"/>
                    <a:gd name="connsiteX7" fmla="*/ 312335 w 519024"/>
                    <a:gd name="connsiteY7" fmla="*/ 14931 h 488006"/>
                    <a:gd name="connsiteX8" fmla="*/ 312335 w 519024"/>
                    <a:gd name="connsiteY8" fmla="*/ 145106 h 488006"/>
                    <a:gd name="connsiteX9" fmla="*/ 353610 w 519024"/>
                    <a:gd name="connsiteY9" fmla="*/ 151456 h 488006"/>
                    <a:gd name="connsiteX10" fmla="*/ 445685 w 519024"/>
                    <a:gd name="connsiteY10" fmla="*/ 164156 h 488006"/>
                    <a:gd name="connsiteX11" fmla="*/ 486960 w 519024"/>
                    <a:gd name="connsiteY11" fmla="*/ 189556 h 488006"/>
                    <a:gd name="connsiteX12" fmla="*/ 509185 w 519024"/>
                    <a:gd name="connsiteY12" fmla="*/ 234006 h 488006"/>
                    <a:gd name="connsiteX13" fmla="*/ 506010 w 519024"/>
                    <a:gd name="connsiteY13" fmla="*/ 488006 h 488006"/>
                    <a:gd name="connsiteX14" fmla="*/ 4360 w 519024"/>
                    <a:gd name="connsiteY14" fmla="*/ 449906 h 488006"/>
                    <a:gd name="connsiteX0" fmla="*/ 4360 w 523534"/>
                    <a:gd name="connsiteY0" fmla="*/ 449906 h 472131"/>
                    <a:gd name="connsiteX1" fmla="*/ 7535 w 523534"/>
                    <a:gd name="connsiteY1" fmla="*/ 214956 h 472131"/>
                    <a:gd name="connsiteX2" fmla="*/ 23410 w 523534"/>
                    <a:gd name="connsiteY2" fmla="*/ 176856 h 472131"/>
                    <a:gd name="connsiteX3" fmla="*/ 71035 w 523534"/>
                    <a:gd name="connsiteY3" fmla="*/ 160981 h 472131"/>
                    <a:gd name="connsiteX4" fmla="*/ 172635 w 523534"/>
                    <a:gd name="connsiteY4" fmla="*/ 154631 h 472131"/>
                    <a:gd name="connsiteX5" fmla="*/ 198035 w 523534"/>
                    <a:gd name="connsiteY5" fmla="*/ 151456 h 472131"/>
                    <a:gd name="connsiteX6" fmla="*/ 201210 w 523534"/>
                    <a:gd name="connsiteY6" fmla="*/ 18106 h 472131"/>
                    <a:gd name="connsiteX7" fmla="*/ 312335 w 523534"/>
                    <a:gd name="connsiteY7" fmla="*/ 14931 h 472131"/>
                    <a:gd name="connsiteX8" fmla="*/ 312335 w 523534"/>
                    <a:gd name="connsiteY8" fmla="*/ 145106 h 472131"/>
                    <a:gd name="connsiteX9" fmla="*/ 353610 w 523534"/>
                    <a:gd name="connsiteY9" fmla="*/ 151456 h 472131"/>
                    <a:gd name="connsiteX10" fmla="*/ 445685 w 523534"/>
                    <a:gd name="connsiteY10" fmla="*/ 164156 h 472131"/>
                    <a:gd name="connsiteX11" fmla="*/ 486960 w 523534"/>
                    <a:gd name="connsiteY11" fmla="*/ 189556 h 472131"/>
                    <a:gd name="connsiteX12" fmla="*/ 509185 w 523534"/>
                    <a:gd name="connsiteY12" fmla="*/ 234006 h 472131"/>
                    <a:gd name="connsiteX13" fmla="*/ 512360 w 523534"/>
                    <a:gd name="connsiteY13" fmla="*/ 472131 h 472131"/>
                    <a:gd name="connsiteX14" fmla="*/ 4360 w 523534"/>
                    <a:gd name="connsiteY14" fmla="*/ 449906 h 472131"/>
                    <a:gd name="connsiteX0" fmla="*/ 4360 w 513675"/>
                    <a:gd name="connsiteY0" fmla="*/ 449906 h 472131"/>
                    <a:gd name="connsiteX1" fmla="*/ 7535 w 513675"/>
                    <a:gd name="connsiteY1" fmla="*/ 214956 h 472131"/>
                    <a:gd name="connsiteX2" fmla="*/ 23410 w 513675"/>
                    <a:gd name="connsiteY2" fmla="*/ 176856 h 472131"/>
                    <a:gd name="connsiteX3" fmla="*/ 71035 w 513675"/>
                    <a:gd name="connsiteY3" fmla="*/ 160981 h 472131"/>
                    <a:gd name="connsiteX4" fmla="*/ 172635 w 513675"/>
                    <a:gd name="connsiteY4" fmla="*/ 154631 h 472131"/>
                    <a:gd name="connsiteX5" fmla="*/ 198035 w 513675"/>
                    <a:gd name="connsiteY5" fmla="*/ 151456 h 472131"/>
                    <a:gd name="connsiteX6" fmla="*/ 201210 w 513675"/>
                    <a:gd name="connsiteY6" fmla="*/ 18106 h 472131"/>
                    <a:gd name="connsiteX7" fmla="*/ 312335 w 513675"/>
                    <a:gd name="connsiteY7" fmla="*/ 14931 h 472131"/>
                    <a:gd name="connsiteX8" fmla="*/ 312335 w 513675"/>
                    <a:gd name="connsiteY8" fmla="*/ 145106 h 472131"/>
                    <a:gd name="connsiteX9" fmla="*/ 353610 w 513675"/>
                    <a:gd name="connsiteY9" fmla="*/ 151456 h 472131"/>
                    <a:gd name="connsiteX10" fmla="*/ 445685 w 513675"/>
                    <a:gd name="connsiteY10" fmla="*/ 164156 h 472131"/>
                    <a:gd name="connsiteX11" fmla="*/ 486960 w 513675"/>
                    <a:gd name="connsiteY11" fmla="*/ 189556 h 472131"/>
                    <a:gd name="connsiteX12" fmla="*/ 509185 w 513675"/>
                    <a:gd name="connsiteY12" fmla="*/ 234006 h 472131"/>
                    <a:gd name="connsiteX13" fmla="*/ 512360 w 513675"/>
                    <a:gd name="connsiteY13" fmla="*/ 472131 h 472131"/>
                    <a:gd name="connsiteX14" fmla="*/ 4360 w 513675"/>
                    <a:gd name="connsiteY14" fmla="*/ 449906 h 472131"/>
                    <a:gd name="connsiteX0" fmla="*/ 4360 w 513675"/>
                    <a:gd name="connsiteY0" fmla="*/ 446969 h 469194"/>
                    <a:gd name="connsiteX1" fmla="*/ 7535 w 513675"/>
                    <a:gd name="connsiteY1" fmla="*/ 212019 h 469194"/>
                    <a:gd name="connsiteX2" fmla="*/ 23410 w 513675"/>
                    <a:gd name="connsiteY2" fmla="*/ 173919 h 469194"/>
                    <a:gd name="connsiteX3" fmla="*/ 71035 w 513675"/>
                    <a:gd name="connsiteY3" fmla="*/ 158044 h 469194"/>
                    <a:gd name="connsiteX4" fmla="*/ 172635 w 513675"/>
                    <a:gd name="connsiteY4" fmla="*/ 151694 h 469194"/>
                    <a:gd name="connsiteX5" fmla="*/ 188510 w 513675"/>
                    <a:gd name="connsiteY5" fmla="*/ 94544 h 469194"/>
                    <a:gd name="connsiteX6" fmla="*/ 201210 w 513675"/>
                    <a:gd name="connsiteY6" fmla="*/ 15169 h 469194"/>
                    <a:gd name="connsiteX7" fmla="*/ 312335 w 513675"/>
                    <a:gd name="connsiteY7" fmla="*/ 11994 h 469194"/>
                    <a:gd name="connsiteX8" fmla="*/ 312335 w 513675"/>
                    <a:gd name="connsiteY8" fmla="*/ 142169 h 469194"/>
                    <a:gd name="connsiteX9" fmla="*/ 353610 w 513675"/>
                    <a:gd name="connsiteY9" fmla="*/ 148519 h 469194"/>
                    <a:gd name="connsiteX10" fmla="*/ 445685 w 513675"/>
                    <a:gd name="connsiteY10" fmla="*/ 161219 h 469194"/>
                    <a:gd name="connsiteX11" fmla="*/ 486960 w 513675"/>
                    <a:gd name="connsiteY11" fmla="*/ 186619 h 469194"/>
                    <a:gd name="connsiteX12" fmla="*/ 509185 w 513675"/>
                    <a:gd name="connsiteY12" fmla="*/ 231069 h 469194"/>
                    <a:gd name="connsiteX13" fmla="*/ 512360 w 513675"/>
                    <a:gd name="connsiteY13" fmla="*/ 469194 h 469194"/>
                    <a:gd name="connsiteX14" fmla="*/ 4360 w 513675"/>
                    <a:gd name="connsiteY14" fmla="*/ 446969 h 469194"/>
                    <a:gd name="connsiteX0" fmla="*/ 4360 w 513675"/>
                    <a:gd name="connsiteY0" fmla="*/ 443409 h 465634"/>
                    <a:gd name="connsiteX1" fmla="*/ 7535 w 513675"/>
                    <a:gd name="connsiteY1" fmla="*/ 208459 h 465634"/>
                    <a:gd name="connsiteX2" fmla="*/ 23410 w 513675"/>
                    <a:gd name="connsiteY2" fmla="*/ 170359 h 465634"/>
                    <a:gd name="connsiteX3" fmla="*/ 71035 w 513675"/>
                    <a:gd name="connsiteY3" fmla="*/ 154484 h 465634"/>
                    <a:gd name="connsiteX4" fmla="*/ 172635 w 513675"/>
                    <a:gd name="connsiteY4" fmla="*/ 148134 h 465634"/>
                    <a:gd name="connsiteX5" fmla="*/ 188510 w 513675"/>
                    <a:gd name="connsiteY5" fmla="*/ 90984 h 465634"/>
                    <a:gd name="connsiteX6" fmla="*/ 201210 w 513675"/>
                    <a:gd name="connsiteY6" fmla="*/ 11609 h 465634"/>
                    <a:gd name="connsiteX7" fmla="*/ 312335 w 513675"/>
                    <a:gd name="connsiteY7" fmla="*/ 8434 h 465634"/>
                    <a:gd name="connsiteX8" fmla="*/ 312335 w 513675"/>
                    <a:gd name="connsiteY8" fmla="*/ 87809 h 465634"/>
                    <a:gd name="connsiteX9" fmla="*/ 353610 w 513675"/>
                    <a:gd name="connsiteY9" fmla="*/ 144959 h 465634"/>
                    <a:gd name="connsiteX10" fmla="*/ 445685 w 513675"/>
                    <a:gd name="connsiteY10" fmla="*/ 157659 h 465634"/>
                    <a:gd name="connsiteX11" fmla="*/ 486960 w 513675"/>
                    <a:gd name="connsiteY11" fmla="*/ 183059 h 465634"/>
                    <a:gd name="connsiteX12" fmla="*/ 509185 w 513675"/>
                    <a:gd name="connsiteY12" fmla="*/ 227509 h 465634"/>
                    <a:gd name="connsiteX13" fmla="*/ 512360 w 513675"/>
                    <a:gd name="connsiteY13" fmla="*/ 465634 h 465634"/>
                    <a:gd name="connsiteX14" fmla="*/ 4360 w 513675"/>
                    <a:gd name="connsiteY14" fmla="*/ 443409 h 465634"/>
                    <a:gd name="connsiteX0" fmla="*/ 4360 w 513675"/>
                    <a:gd name="connsiteY0" fmla="*/ 443409 h 465634"/>
                    <a:gd name="connsiteX1" fmla="*/ 7535 w 513675"/>
                    <a:gd name="connsiteY1" fmla="*/ 208459 h 465634"/>
                    <a:gd name="connsiteX2" fmla="*/ 23410 w 513675"/>
                    <a:gd name="connsiteY2" fmla="*/ 170359 h 465634"/>
                    <a:gd name="connsiteX3" fmla="*/ 71035 w 513675"/>
                    <a:gd name="connsiteY3" fmla="*/ 154484 h 465634"/>
                    <a:gd name="connsiteX4" fmla="*/ 172635 w 513675"/>
                    <a:gd name="connsiteY4" fmla="*/ 148134 h 465634"/>
                    <a:gd name="connsiteX5" fmla="*/ 188510 w 513675"/>
                    <a:gd name="connsiteY5" fmla="*/ 90984 h 465634"/>
                    <a:gd name="connsiteX6" fmla="*/ 201210 w 513675"/>
                    <a:gd name="connsiteY6" fmla="*/ 11609 h 465634"/>
                    <a:gd name="connsiteX7" fmla="*/ 312335 w 513675"/>
                    <a:gd name="connsiteY7" fmla="*/ 8434 h 465634"/>
                    <a:gd name="connsiteX8" fmla="*/ 312335 w 513675"/>
                    <a:gd name="connsiteY8" fmla="*/ 87809 h 465634"/>
                    <a:gd name="connsiteX9" fmla="*/ 334560 w 513675"/>
                    <a:gd name="connsiteY9" fmla="*/ 135434 h 465634"/>
                    <a:gd name="connsiteX10" fmla="*/ 445685 w 513675"/>
                    <a:gd name="connsiteY10" fmla="*/ 157659 h 465634"/>
                    <a:gd name="connsiteX11" fmla="*/ 486960 w 513675"/>
                    <a:gd name="connsiteY11" fmla="*/ 183059 h 465634"/>
                    <a:gd name="connsiteX12" fmla="*/ 509185 w 513675"/>
                    <a:gd name="connsiteY12" fmla="*/ 227509 h 465634"/>
                    <a:gd name="connsiteX13" fmla="*/ 512360 w 513675"/>
                    <a:gd name="connsiteY13" fmla="*/ 465634 h 465634"/>
                    <a:gd name="connsiteX14" fmla="*/ 4360 w 513675"/>
                    <a:gd name="connsiteY14" fmla="*/ 443409 h 465634"/>
                    <a:gd name="connsiteX0" fmla="*/ 4360 w 510500"/>
                    <a:gd name="connsiteY0" fmla="*/ 443409 h 449759"/>
                    <a:gd name="connsiteX1" fmla="*/ 7535 w 510500"/>
                    <a:gd name="connsiteY1" fmla="*/ 208459 h 449759"/>
                    <a:gd name="connsiteX2" fmla="*/ 23410 w 510500"/>
                    <a:gd name="connsiteY2" fmla="*/ 170359 h 449759"/>
                    <a:gd name="connsiteX3" fmla="*/ 71035 w 510500"/>
                    <a:gd name="connsiteY3" fmla="*/ 154484 h 449759"/>
                    <a:gd name="connsiteX4" fmla="*/ 172635 w 510500"/>
                    <a:gd name="connsiteY4" fmla="*/ 148134 h 449759"/>
                    <a:gd name="connsiteX5" fmla="*/ 188510 w 510500"/>
                    <a:gd name="connsiteY5" fmla="*/ 90984 h 449759"/>
                    <a:gd name="connsiteX6" fmla="*/ 201210 w 510500"/>
                    <a:gd name="connsiteY6" fmla="*/ 11609 h 449759"/>
                    <a:gd name="connsiteX7" fmla="*/ 312335 w 510500"/>
                    <a:gd name="connsiteY7" fmla="*/ 8434 h 449759"/>
                    <a:gd name="connsiteX8" fmla="*/ 312335 w 510500"/>
                    <a:gd name="connsiteY8" fmla="*/ 87809 h 449759"/>
                    <a:gd name="connsiteX9" fmla="*/ 334560 w 510500"/>
                    <a:gd name="connsiteY9" fmla="*/ 135434 h 449759"/>
                    <a:gd name="connsiteX10" fmla="*/ 445685 w 510500"/>
                    <a:gd name="connsiteY10" fmla="*/ 157659 h 449759"/>
                    <a:gd name="connsiteX11" fmla="*/ 486960 w 510500"/>
                    <a:gd name="connsiteY11" fmla="*/ 183059 h 449759"/>
                    <a:gd name="connsiteX12" fmla="*/ 509185 w 510500"/>
                    <a:gd name="connsiteY12" fmla="*/ 227509 h 449759"/>
                    <a:gd name="connsiteX13" fmla="*/ 506010 w 510500"/>
                    <a:gd name="connsiteY13" fmla="*/ 449759 h 449759"/>
                    <a:gd name="connsiteX14" fmla="*/ 4360 w 510500"/>
                    <a:gd name="connsiteY14" fmla="*/ 443409 h 449759"/>
                    <a:gd name="connsiteX0" fmla="*/ 4360 w 510500"/>
                    <a:gd name="connsiteY0" fmla="*/ 443409 h 454926"/>
                    <a:gd name="connsiteX1" fmla="*/ 7535 w 510500"/>
                    <a:gd name="connsiteY1" fmla="*/ 208459 h 454926"/>
                    <a:gd name="connsiteX2" fmla="*/ 23410 w 510500"/>
                    <a:gd name="connsiteY2" fmla="*/ 170359 h 454926"/>
                    <a:gd name="connsiteX3" fmla="*/ 71035 w 510500"/>
                    <a:gd name="connsiteY3" fmla="*/ 154484 h 454926"/>
                    <a:gd name="connsiteX4" fmla="*/ 172635 w 510500"/>
                    <a:gd name="connsiteY4" fmla="*/ 148134 h 454926"/>
                    <a:gd name="connsiteX5" fmla="*/ 188510 w 510500"/>
                    <a:gd name="connsiteY5" fmla="*/ 90984 h 454926"/>
                    <a:gd name="connsiteX6" fmla="*/ 201210 w 510500"/>
                    <a:gd name="connsiteY6" fmla="*/ 11609 h 454926"/>
                    <a:gd name="connsiteX7" fmla="*/ 312335 w 510500"/>
                    <a:gd name="connsiteY7" fmla="*/ 8434 h 454926"/>
                    <a:gd name="connsiteX8" fmla="*/ 312335 w 510500"/>
                    <a:gd name="connsiteY8" fmla="*/ 87809 h 454926"/>
                    <a:gd name="connsiteX9" fmla="*/ 334560 w 510500"/>
                    <a:gd name="connsiteY9" fmla="*/ 135434 h 454926"/>
                    <a:gd name="connsiteX10" fmla="*/ 445685 w 510500"/>
                    <a:gd name="connsiteY10" fmla="*/ 157659 h 454926"/>
                    <a:gd name="connsiteX11" fmla="*/ 486960 w 510500"/>
                    <a:gd name="connsiteY11" fmla="*/ 183059 h 454926"/>
                    <a:gd name="connsiteX12" fmla="*/ 509185 w 510500"/>
                    <a:gd name="connsiteY12" fmla="*/ 227509 h 454926"/>
                    <a:gd name="connsiteX13" fmla="*/ 506010 w 510500"/>
                    <a:gd name="connsiteY13" fmla="*/ 449759 h 454926"/>
                    <a:gd name="connsiteX14" fmla="*/ 4360 w 510500"/>
                    <a:gd name="connsiteY14" fmla="*/ 443409 h 454926"/>
                    <a:gd name="connsiteX0" fmla="*/ 6473 w 512613"/>
                    <a:gd name="connsiteY0" fmla="*/ 443409 h 454926"/>
                    <a:gd name="connsiteX1" fmla="*/ 9648 w 512613"/>
                    <a:gd name="connsiteY1" fmla="*/ 208459 h 454926"/>
                    <a:gd name="connsiteX2" fmla="*/ 73148 w 512613"/>
                    <a:gd name="connsiteY2" fmla="*/ 154484 h 454926"/>
                    <a:gd name="connsiteX3" fmla="*/ 174748 w 512613"/>
                    <a:gd name="connsiteY3" fmla="*/ 148134 h 454926"/>
                    <a:gd name="connsiteX4" fmla="*/ 190623 w 512613"/>
                    <a:gd name="connsiteY4" fmla="*/ 90984 h 454926"/>
                    <a:gd name="connsiteX5" fmla="*/ 203323 w 512613"/>
                    <a:gd name="connsiteY5" fmla="*/ 11609 h 454926"/>
                    <a:gd name="connsiteX6" fmla="*/ 314448 w 512613"/>
                    <a:gd name="connsiteY6" fmla="*/ 8434 h 454926"/>
                    <a:gd name="connsiteX7" fmla="*/ 314448 w 512613"/>
                    <a:gd name="connsiteY7" fmla="*/ 87809 h 454926"/>
                    <a:gd name="connsiteX8" fmla="*/ 336673 w 512613"/>
                    <a:gd name="connsiteY8" fmla="*/ 135434 h 454926"/>
                    <a:gd name="connsiteX9" fmla="*/ 447798 w 512613"/>
                    <a:gd name="connsiteY9" fmla="*/ 157659 h 454926"/>
                    <a:gd name="connsiteX10" fmla="*/ 489073 w 512613"/>
                    <a:gd name="connsiteY10" fmla="*/ 183059 h 454926"/>
                    <a:gd name="connsiteX11" fmla="*/ 511298 w 512613"/>
                    <a:gd name="connsiteY11" fmla="*/ 227509 h 454926"/>
                    <a:gd name="connsiteX12" fmla="*/ 508123 w 512613"/>
                    <a:gd name="connsiteY12" fmla="*/ 449759 h 454926"/>
                    <a:gd name="connsiteX13" fmla="*/ 6473 w 512613"/>
                    <a:gd name="connsiteY13" fmla="*/ 443409 h 454926"/>
                    <a:gd name="connsiteX0" fmla="*/ 4049 w 510189"/>
                    <a:gd name="connsiteY0" fmla="*/ 443409 h 454926"/>
                    <a:gd name="connsiteX1" fmla="*/ 7224 w 510189"/>
                    <a:gd name="connsiteY1" fmla="*/ 208459 h 454926"/>
                    <a:gd name="connsiteX2" fmla="*/ 70724 w 510189"/>
                    <a:gd name="connsiteY2" fmla="*/ 154484 h 454926"/>
                    <a:gd name="connsiteX3" fmla="*/ 172324 w 510189"/>
                    <a:gd name="connsiteY3" fmla="*/ 148134 h 454926"/>
                    <a:gd name="connsiteX4" fmla="*/ 188199 w 510189"/>
                    <a:gd name="connsiteY4" fmla="*/ 90984 h 454926"/>
                    <a:gd name="connsiteX5" fmla="*/ 200899 w 510189"/>
                    <a:gd name="connsiteY5" fmla="*/ 11609 h 454926"/>
                    <a:gd name="connsiteX6" fmla="*/ 312024 w 510189"/>
                    <a:gd name="connsiteY6" fmla="*/ 8434 h 454926"/>
                    <a:gd name="connsiteX7" fmla="*/ 312024 w 510189"/>
                    <a:gd name="connsiteY7" fmla="*/ 87809 h 454926"/>
                    <a:gd name="connsiteX8" fmla="*/ 334249 w 510189"/>
                    <a:gd name="connsiteY8" fmla="*/ 135434 h 454926"/>
                    <a:gd name="connsiteX9" fmla="*/ 445374 w 510189"/>
                    <a:gd name="connsiteY9" fmla="*/ 157659 h 454926"/>
                    <a:gd name="connsiteX10" fmla="*/ 486649 w 510189"/>
                    <a:gd name="connsiteY10" fmla="*/ 183059 h 454926"/>
                    <a:gd name="connsiteX11" fmla="*/ 508874 w 510189"/>
                    <a:gd name="connsiteY11" fmla="*/ 227509 h 454926"/>
                    <a:gd name="connsiteX12" fmla="*/ 505699 w 510189"/>
                    <a:gd name="connsiteY12" fmla="*/ 449759 h 454926"/>
                    <a:gd name="connsiteX13" fmla="*/ 4049 w 510189"/>
                    <a:gd name="connsiteY13" fmla="*/ 443409 h 454926"/>
                    <a:gd name="connsiteX0" fmla="*/ 4049 w 510189"/>
                    <a:gd name="connsiteY0" fmla="*/ 443409 h 454926"/>
                    <a:gd name="connsiteX1" fmla="*/ 7224 w 510189"/>
                    <a:gd name="connsiteY1" fmla="*/ 208459 h 454926"/>
                    <a:gd name="connsiteX2" fmla="*/ 70724 w 510189"/>
                    <a:gd name="connsiteY2" fmla="*/ 154484 h 454926"/>
                    <a:gd name="connsiteX3" fmla="*/ 172324 w 510189"/>
                    <a:gd name="connsiteY3" fmla="*/ 148134 h 454926"/>
                    <a:gd name="connsiteX4" fmla="*/ 188199 w 510189"/>
                    <a:gd name="connsiteY4" fmla="*/ 90984 h 454926"/>
                    <a:gd name="connsiteX5" fmla="*/ 200899 w 510189"/>
                    <a:gd name="connsiteY5" fmla="*/ 11609 h 454926"/>
                    <a:gd name="connsiteX6" fmla="*/ 312024 w 510189"/>
                    <a:gd name="connsiteY6" fmla="*/ 8434 h 454926"/>
                    <a:gd name="connsiteX7" fmla="*/ 312024 w 510189"/>
                    <a:gd name="connsiteY7" fmla="*/ 87809 h 454926"/>
                    <a:gd name="connsiteX8" fmla="*/ 334249 w 510189"/>
                    <a:gd name="connsiteY8" fmla="*/ 135434 h 454926"/>
                    <a:gd name="connsiteX9" fmla="*/ 445374 w 510189"/>
                    <a:gd name="connsiteY9" fmla="*/ 157659 h 454926"/>
                    <a:gd name="connsiteX10" fmla="*/ 508874 w 510189"/>
                    <a:gd name="connsiteY10" fmla="*/ 227509 h 454926"/>
                    <a:gd name="connsiteX11" fmla="*/ 505699 w 510189"/>
                    <a:gd name="connsiteY11" fmla="*/ 449759 h 454926"/>
                    <a:gd name="connsiteX12" fmla="*/ 4049 w 510189"/>
                    <a:gd name="connsiteY12" fmla="*/ 443409 h 454926"/>
                    <a:gd name="connsiteX0" fmla="*/ 4049 w 510189"/>
                    <a:gd name="connsiteY0" fmla="*/ 443409 h 454926"/>
                    <a:gd name="connsiteX1" fmla="*/ 7224 w 510189"/>
                    <a:gd name="connsiteY1" fmla="*/ 208459 h 454926"/>
                    <a:gd name="connsiteX2" fmla="*/ 70724 w 510189"/>
                    <a:gd name="connsiteY2" fmla="*/ 154484 h 454926"/>
                    <a:gd name="connsiteX3" fmla="*/ 172324 w 510189"/>
                    <a:gd name="connsiteY3" fmla="*/ 148134 h 454926"/>
                    <a:gd name="connsiteX4" fmla="*/ 188199 w 510189"/>
                    <a:gd name="connsiteY4" fmla="*/ 90984 h 454926"/>
                    <a:gd name="connsiteX5" fmla="*/ 200899 w 510189"/>
                    <a:gd name="connsiteY5" fmla="*/ 11609 h 454926"/>
                    <a:gd name="connsiteX6" fmla="*/ 312024 w 510189"/>
                    <a:gd name="connsiteY6" fmla="*/ 8434 h 454926"/>
                    <a:gd name="connsiteX7" fmla="*/ 312024 w 510189"/>
                    <a:gd name="connsiteY7" fmla="*/ 87809 h 454926"/>
                    <a:gd name="connsiteX8" fmla="*/ 334249 w 510189"/>
                    <a:gd name="connsiteY8" fmla="*/ 135434 h 454926"/>
                    <a:gd name="connsiteX9" fmla="*/ 445374 w 510189"/>
                    <a:gd name="connsiteY9" fmla="*/ 157659 h 454926"/>
                    <a:gd name="connsiteX10" fmla="*/ 508874 w 510189"/>
                    <a:gd name="connsiteY10" fmla="*/ 227509 h 454926"/>
                    <a:gd name="connsiteX11" fmla="*/ 505699 w 510189"/>
                    <a:gd name="connsiteY11" fmla="*/ 449759 h 454926"/>
                    <a:gd name="connsiteX12" fmla="*/ 4049 w 510189"/>
                    <a:gd name="connsiteY12" fmla="*/ 443409 h 454926"/>
                    <a:gd name="connsiteX0" fmla="*/ 5987 w 512127"/>
                    <a:gd name="connsiteY0" fmla="*/ 443409 h 454926"/>
                    <a:gd name="connsiteX1" fmla="*/ 2812 w 512127"/>
                    <a:gd name="connsiteY1" fmla="*/ 217984 h 454926"/>
                    <a:gd name="connsiteX2" fmla="*/ 72662 w 512127"/>
                    <a:gd name="connsiteY2" fmla="*/ 154484 h 454926"/>
                    <a:gd name="connsiteX3" fmla="*/ 174262 w 512127"/>
                    <a:gd name="connsiteY3" fmla="*/ 148134 h 454926"/>
                    <a:gd name="connsiteX4" fmla="*/ 190137 w 512127"/>
                    <a:gd name="connsiteY4" fmla="*/ 90984 h 454926"/>
                    <a:gd name="connsiteX5" fmla="*/ 202837 w 512127"/>
                    <a:gd name="connsiteY5" fmla="*/ 11609 h 454926"/>
                    <a:gd name="connsiteX6" fmla="*/ 313962 w 512127"/>
                    <a:gd name="connsiteY6" fmla="*/ 8434 h 454926"/>
                    <a:gd name="connsiteX7" fmla="*/ 313962 w 512127"/>
                    <a:gd name="connsiteY7" fmla="*/ 87809 h 454926"/>
                    <a:gd name="connsiteX8" fmla="*/ 336187 w 512127"/>
                    <a:gd name="connsiteY8" fmla="*/ 135434 h 454926"/>
                    <a:gd name="connsiteX9" fmla="*/ 447312 w 512127"/>
                    <a:gd name="connsiteY9" fmla="*/ 157659 h 454926"/>
                    <a:gd name="connsiteX10" fmla="*/ 510812 w 512127"/>
                    <a:gd name="connsiteY10" fmla="*/ 227509 h 454926"/>
                    <a:gd name="connsiteX11" fmla="*/ 507637 w 512127"/>
                    <a:gd name="connsiteY11" fmla="*/ 449759 h 454926"/>
                    <a:gd name="connsiteX12" fmla="*/ 5987 w 512127"/>
                    <a:gd name="connsiteY12" fmla="*/ 443409 h 454926"/>
                    <a:gd name="connsiteX0" fmla="*/ 9762 w 515902"/>
                    <a:gd name="connsiteY0" fmla="*/ 443409 h 454926"/>
                    <a:gd name="connsiteX1" fmla="*/ 6587 w 515902"/>
                    <a:gd name="connsiteY1" fmla="*/ 217984 h 454926"/>
                    <a:gd name="connsiteX2" fmla="*/ 76437 w 515902"/>
                    <a:gd name="connsiteY2" fmla="*/ 154484 h 454926"/>
                    <a:gd name="connsiteX3" fmla="*/ 178037 w 515902"/>
                    <a:gd name="connsiteY3" fmla="*/ 148134 h 454926"/>
                    <a:gd name="connsiteX4" fmla="*/ 193912 w 515902"/>
                    <a:gd name="connsiteY4" fmla="*/ 90984 h 454926"/>
                    <a:gd name="connsiteX5" fmla="*/ 206612 w 515902"/>
                    <a:gd name="connsiteY5" fmla="*/ 11609 h 454926"/>
                    <a:gd name="connsiteX6" fmla="*/ 317737 w 515902"/>
                    <a:gd name="connsiteY6" fmla="*/ 8434 h 454926"/>
                    <a:gd name="connsiteX7" fmla="*/ 317737 w 515902"/>
                    <a:gd name="connsiteY7" fmla="*/ 87809 h 454926"/>
                    <a:gd name="connsiteX8" fmla="*/ 339962 w 515902"/>
                    <a:gd name="connsiteY8" fmla="*/ 135434 h 454926"/>
                    <a:gd name="connsiteX9" fmla="*/ 451087 w 515902"/>
                    <a:gd name="connsiteY9" fmla="*/ 157659 h 454926"/>
                    <a:gd name="connsiteX10" fmla="*/ 514587 w 515902"/>
                    <a:gd name="connsiteY10" fmla="*/ 227509 h 454926"/>
                    <a:gd name="connsiteX11" fmla="*/ 511412 w 515902"/>
                    <a:gd name="connsiteY11" fmla="*/ 449759 h 454926"/>
                    <a:gd name="connsiteX12" fmla="*/ 9762 w 515902"/>
                    <a:gd name="connsiteY12" fmla="*/ 443409 h 454926"/>
                    <a:gd name="connsiteX0" fmla="*/ 9762 w 515902"/>
                    <a:gd name="connsiteY0" fmla="*/ 443409 h 454926"/>
                    <a:gd name="connsiteX1" fmla="*/ 6587 w 515902"/>
                    <a:gd name="connsiteY1" fmla="*/ 217984 h 454926"/>
                    <a:gd name="connsiteX2" fmla="*/ 76437 w 515902"/>
                    <a:gd name="connsiteY2" fmla="*/ 154484 h 454926"/>
                    <a:gd name="connsiteX3" fmla="*/ 178037 w 515902"/>
                    <a:gd name="connsiteY3" fmla="*/ 148134 h 454926"/>
                    <a:gd name="connsiteX4" fmla="*/ 193912 w 515902"/>
                    <a:gd name="connsiteY4" fmla="*/ 90984 h 454926"/>
                    <a:gd name="connsiteX5" fmla="*/ 206612 w 515902"/>
                    <a:gd name="connsiteY5" fmla="*/ 11609 h 454926"/>
                    <a:gd name="connsiteX6" fmla="*/ 317737 w 515902"/>
                    <a:gd name="connsiteY6" fmla="*/ 8434 h 454926"/>
                    <a:gd name="connsiteX7" fmla="*/ 317737 w 515902"/>
                    <a:gd name="connsiteY7" fmla="*/ 87809 h 454926"/>
                    <a:gd name="connsiteX8" fmla="*/ 339962 w 515902"/>
                    <a:gd name="connsiteY8" fmla="*/ 135434 h 454926"/>
                    <a:gd name="connsiteX9" fmla="*/ 451087 w 515902"/>
                    <a:gd name="connsiteY9" fmla="*/ 157659 h 454926"/>
                    <a:gd name="connsiteX10" fmla="*/ 514587 w 515902"/>
                    <a:gd name="connsiteY10" fmla="*/ 227509 h 454926"/>
                    <a:gd name="connsiteX11" fmla="*/ 511412 w 515902"/>
                    <a:gd name="connsiteY11" fmla="*/ 449759 h 454926"/>
                    <a:gd name="connsiteX12" fmla="*/ 9762 w 515902"/>
                    <a:gd name="connsiteY12" fmla="*/ 443409 h 454926"/>
                    <a:gd name="connsiteX0" fmla="*/ 9762 w 515902"/>
                    <a:gd name="connsiteY0" fmla="*/ 443409 h 454926"/>
                    <a:gd name="connsiteX1" fmla="*/ 6587 w 515902"/>
                    <a:gd name="connsiteY1" fmla="*/ 217984 h 454926"/>
                    <a:gd name="connsiteX2" fmla="*/ 76437 w 515902"/>
                    <a:gd name="connsiteY2" fmla="*/ 154484 h 454926"/>
                    <a:gd name="connsiteX3" fmla="*/ 193912 w 515902"/>
                    <a:gd name="connsiteY3" fmla="*/ 90984 h 454926"/>
                    <a:gd name="connsiteX4" fmla="*/ 206612 w 515902"/>
                    <a:gd name="connsiteY4" fmla="*/ 11609 h 454926"/>
                    <a:gd name="connsiteX5" fmla="*/ 317737 w 515902"/>
                    <a:gd name="connsiteY5" fmla="*/ 8434 h 454926"/>
                    <a:gd name="connsiteX6" fmla="*/ 317737 w 515902"/>
                    <a:gd name="connsiteY6" fmla="*/ 87809 h 454926"/>
                    <a:gd name="connsiteX7" fmla="*/ 339962 w 515902"/>
                    <a:gd name="connsiteY7" fmla="*/ 135434 h 454926"/>
                    <a:gd name="connsiteX8" fmla="*/ 451087 w 515902"/>
                    <a:gd name="connsiteY8" fmla="*/ 157659 h 454926"/>
                    <a:gd name="connsiteX9" fmla="*/ 514587 w 515902"/>
                    <a:gd name="connsiteY9" fmla="*/ 227509 h 454926"/>
                    <a:gd name="connsiteX10" fmla="*/ 511412 w 515902"/>
                    <a:gd name="connsiteY10" fmla="*/ 449759 h 454926"/>
                    <a:gd name="connsiteX11" fmla="*/ 9762 w 515902"/>
                    <a:gd name="connsiteY11" fmla="*/ 443409 h 454926"/>
                    <a:gd name="connsiteX0" fmla="*/ 9762 w 515902"/>
                    <a:gd name="connsiteY0" fmla="*/ 446099 h 457616"/>
                    <a:gd name="connsiteX1" fmla="*/ 6587 w 515902"/>
                    <a:gd name="connsiteY1" fmla="*/ 220674 h 457616"/>
                    <a:gd name="connsiteX2" fmla="*/ 76437 w 515902"/>
                    <a:gd name="connsiteY2" fmla="*/ 157174 h 457616"/>
                    <a:gd name="connsiteX3" fmla="*/ 190737 w 515902"/>
                    <a:gd name="connsiteY3" fmla="*/ 138124 h 457616"/>
                    <a:gd name="connsiteX4" fmla="*/ 206612 w 515902"/>
                    <a:gd name="connsiteY4" fmla="*/ 14299 h 457616"/>
                    <a:gd name="connsiteX5" fmla="*/ 317737 w 515902"/>
                    <a:gd name="connsiteY5" fmla="*/ 11124 h 457616"/>
                    <a:gd name="connsiteX6" fmla="*/ 317737 w 515902"/>
                    <a:gd name="connsiteY6" fmla="*/ 90499 h 457616"/>
                    <a:gd name="connsiteX7" fmla="*/ 339962 w 515902"/>
                    <a:gd name="connsiteY7" fmla="*/ 138124 h 457616"/>
                    <a:gd name="connsiteX8" fmla="*/ 451087 w 515902"/>
                    <a:gd name="connsiteY8" fmla="*/ 160349 h 457616"/>
                    <a:gd name="connsiteX9" fmla="*/ 514587 w 515902"/>
                    <a:gd name="connsiteY9" fmla="*/ 230199 h 457616"/>
                    <a:gd name="connsiteX10" fmla="*/ 511412 w 515902"/>
                    <a:gd name="connsiteY10" fmla="*/ 452449 h 457616"/>
                    <a:gd name="connsiteX11" fmla="*/ 9762 w 515902"/>
                    <a:gd name="connsiteY11" fmla="*/ 446099 h 457616"/>
                    <a:gd name="connsiteX0" fmla="*/ 9762 w 515902"/>
                    <a:gd name="connsiteY0" fmla="*/ 446099 h 457616"/>
                    <a:gd name="connsiteX1" fmla="*/ 6587 w 515902"/>
                    <a:gd name="connsiteY1" fmla="*/ 220674 h 457616"/>
                    <a:gd name="connsiteX2" fmla="*/ 76437 w 515902"/>
                    <a:gd name="connsiteY2" fmla="*/ 157174 h 457616"/>
                    <a:gd name="connsiteX3" fmla="*/ 190737 w 515902"/>
                    <a:gd name="connsiteY3" fmla="*/ 138124 h 457616"/>
                    <a:gd name="connsiteX4" fmla="*/ 206612 w 515902"/>
                    <a:gd name="connsiteY4" fmla="*/ 14299 h 457616"/>
                    <a:gd name="connsiteX5" fmla="*/ 317737 w 515902"/>
                    <a:gd name="connsiteY5" fmla="*/ 11124 h 457616"/>
                    <a:gd name="connsiteX6" fmla="*/ 317737 w 515902"/>
                    <a:gd name="connsiteY6" fmla="*/ 90499 h 457616"/>
                    <a:gd name="connsiteX7" fmla="*/ 451087 w 515902"/>
                    <a:gd name="connsiteY7" fmla="*/ 160349 h 457616"/>
                    <a:gd name="connsiteX8" fmla="*/ 514587 w 515902"/>
                    <a:gd name="connsiteY8" fmla="*/ 230199 h 457616"/>
                    <a:gd name="connsiteX9" fmla="*/ 511412 w 515902"/>
                    <a:gd name="connsiteY9" fmla="*/ 452449 h 457616"/>
                    <a:gd name="connsiteX10" fmla="*/ 9762 w 515902"/>
                    <a:gd name="connsiteY10" fmla="*/ 446099 h 457616"/>
                    <a:gd name="connsiteX0" fmla="*/ 9762 w 515902"/>
                    <a:gd name="connsiteY0" fmla="*/ 447482 h 458999"/>
                    <a:gd name="connsiteX1" fmla="*/ 6587 w 515902"/>
                    <a:gd name="connsiteY1" fmla="*/ 222057 h 458999"/>
                    <a:gd name="connsiteX2" fmla="*/ 76437 w 515902"/>
                    <a:gd name="connsiteY2" fmla="*/ 158557 h 458999"/>
                    <a:gd name="connsiteX3" fmla="*/ 190737 w 515902"/>
                    <a:gd name="connsiteY3" fmla="*/ 139507 h 458999"/>
                    <a:gd name="connsiteX4" fmla="*/ 206612 w 515902"/>
                    <a:gd name="connsiteY4" fmla="*/ 15682 h 458999"/>
                    <a:gd name="connsiteX5" fmla="*/ 317737 w 515902"/>
                    <a:gd name="connsiteY5" fmla="*/ 12507 h 458999"/>
                    <a:gd name="connsiteX6" fmla="*/ 330437 w 515902"/>
                    <a:gd name="connsiteY6" fmla="*/ 114107 h 458999"/>
                    <a:gd name="connsiteX7" fmla="*/ 451087 w 515902"/>
                    <a:gd name="connsiteY7" fmla="*/ 161732 h 458999"/>
                    <a:gd name="connsiteX8" fmla="*/ 514587 w 515902"/>
                    <a:gd name="connsiteY8" fmla="*/ 231582 h 458999"/>
                    <a:gd name="connsiteX9" fmla="*/ 511412 w 515902"/>
                    <a:gd name="connsiteY9" fmla="*/ 453832 h 458999"/>
                    <a:gd name="connsiteX10" fmla="*/ 9762 w 515902"/>
                    <a:gd name="connsiteY10" fmla="*/ 447482 h 458999"/>
                    <a:gd name="connsiteX0" fmla="*/ 9762 w 515902"/>
                    <a:gd name="connsiteY0" fmla="*/ 446348 h 457865"/>
                    <a:gd name="connsiteX1" fmla="*/ 6587 w 515902"/>
                    <a:gd name="connsiteY1" fmla="*/ 220923 h 457865"/>
                    <a:gd name="connsiteX2" fmla="*/ 76437 w 515902"/>
                    <a:gd name="connsiteY2" fmla="*/ 157423 h 457865"/>
                    <a:gd name="connsiteX3" fmla="*/ 200262 w 515902"/>
                    <a:gd name="connsiteY3" fmla="*/ 119323 h 457865"/>
                    <a:gd name="connsiteX4" fmla="*/ 206612 w 515902"/>
                    <a:gd name="connsiteY4" fmla="*/ 14548 h 457865"/>
                    <a:gd name="connsiteX5" fmla="*/ 317737 w 515902"/>
                    <a:gd name="connsiteY5" fmla="*/ 11373 h 457865"/>
                    <a:gd name="connsiteX6" fmla="*/ 330437 w 515902"/>
                    <a:gd name="connsiteY6" fmla="*/ 112973 h 457865"/>
                    <a:gd name="connsiteX7" fmla="*/ 451087 w 515902"/>
                    <a:gd name="connsiteY7" fmla="*/ 160598 h 457865"/>
                    <a:gd name="connsiteX8" fmla="*/ 514587 w 515902"/>
                    <a:gd name="connsiteY8" fmla="*/ 230448 h 457865"/>
                    <a:gd name="connsiteX9" fmla="*/ 511412 w 515902"/>
                    <a:gd name="connsiteY9" fmla="*/ 452698 h 457865"/>
                    <a:gd name="connsiteX10" fmla="*/ 9762 w 515902"/>
                    <a:gd name="connsiteY10" fmla="*/ 446348 h 457865"/>
                    <a:gd name="connsiteX0" fmla="*/ 8840 w 514980"/>
                    <a:gd name="connsiteY0" fmla="*/ 446348 h 457865"/>
                    <a:gd name="connsiteX1" fmla="*/ 5665 w 514980"/>
                    <a:gd name="connsiteY1" fmla="*/ 220923 h 457865"/>
                    <a:gd name="connsiteX2" fmla="*/ 62412 w 514980"/>
                    <a:gd name="connsiteY2" fmla="*/ 133367 h 457865"/>
                    <a:gd name="connsiteX3" fmla="*/ 199340 w 514980"/>
                    <a:gd name="connsiteY3" fmla="*/ 119323 h 457865"/>
                    <a:gd name="connsiteX4" fmla="*/ 205690 w 514980"/>
                    <a:gd name="connsiteY4" fmla="*/ 14548 h 457865"/>
                    <a:gd name="connsiteX5" fmla="*/ 316815 w 514980"/>
                    <a:gd name="connsiteY5" fmla="*/ 11373 h 457865"/>
                    <a:gd name="connsiteX6" fmla="*/ 329515 w 514980"/>
                    <a:gd name="connsiteY6" fmla="*/ 112973 h 457865"/>
                    <a:gd name="connsiteX7" fmla="*/ 450165 w 514980"/>
                    <a:gd name="connsiteY7" fmla="*/ 160598 h 457865"/>
                    <a:gd name="connsiteX8" fmla="*/ 513665 w 514980"/>
                    <a:gd name="connsiteY8" fmla="*/ 230448 h 457865"/>
                    <a:gd name="connsiteX9" fmla="*/ 510490 w 514980"/>
                    <a:gd name="connsiteY9" fmla="*/ 452698 h 457865"/>
                    <a:gd name="connsiteX10" fmla="*/ 8840 w 514980"/>
                    <a:gd name="connsiteY10" fmla="*/ 446348 h 457865"/>
                    <a:gd name="connsiteX0" fmla="*/ 8840 w 514980"/>
                    <a:gd name="connsiteY0" fmla="*/ 445015 h 456532"/>
                    <a:gd name="connsiteX1" fmla="*/ 5665 w 514980"/>
                    <a:gd name="connsiteY1" fmla="*/ 219590 h 456532"/>
                    <a:gd name="connsiteX2" fmla="*/ 62412 w 514980"/>
                    <a:gd name="connsiteY2" fmla="*/ 132034 h 456532"/>
                    <a:gd name="connsiteX3" fmla="*/ 186237 w 514980"/>
                    <a:gd name="connsiteY3" fmla="*/ 93934 h 456532"/>
                    <a:gd name="connsiteX4" fmla="*/ 205690 w 514980"/>
                    <a:gd name="connsiteY4" fmla="*/ 13215 h 456532"/>
                    <a:gd name="connsiteX5" fmla="*/ 316815 w 514980"/>
                    <a:gd name="connsiteY5" fmla="*/ 10040 h 456532"/>
                    <a:gd name="connsiteX6" fmla="*/ 329515 w 514980"/>
                    <a:gd name="connsiteY6" fmla="*/ 111640 h 456532"/>
                    <a:gd name="connsiteX7" fmla="*/ 450165 w 514980"/>
                    <a:gd name="connsiteY7" fmla="*/ 159265 h 456532"/>
                    <a:gd name="connsiteX8" fmla="*/ 513665 w 514980"/>
                    <a:gd name="connsiteY8" fmla="*/ 229115 h 456532"/>
                    <a:gd name="connsiteX9" fmla="*/ 510490 w 514980"/>
                    <a:gd name="connsiteY9" fmla="*/ 451365 h 456532"/>
                    <a:gd name="connsiteX10" fmla="*/ 8840 w 514980"/>
                    <a:gd name="connsiteY10" fmla="*/ 445015 h 456532"/>
                    <a:gd name="connsiteX0" fmla="*/ 8840 w 514980"/>
                    <a:gd name="connsiteY0" fmla="*/ 445015 h 456532"/>
                    <a:gd name="connsiteX1" fmla="*/ 5665 w 514980"/>
                    <a:gd name="connsiteY1" fmla="*/ 219590 h 456532"/>
                    <a:gd name="connsiteX2" fmla="*/ 62412 w 514980"/>
                    <a:gd name="connsiteY2" fmla="*/ 132034 h 456532"/>
                    <a:gd name="connsiteX3" fmla="*/ 186237 w 514980"/>
                    <a:gd name="connsiteY3" fmla="*/ 93934 h 456532"/>
                    <a:gd name="connsiteX4" fmla="*/ 205690 w 514980"/>
                    <a:gd name="connsiteY4" fmla="*/ 13215 h 456532"/>
                    <a:gd name="connsiteX5" fmla="*/ 316815 w 514980"/>
                    <a:gd name="connsiteY5" fmla="*/ 10040 h 456532"/>
                    <a:gd name="connsiteX6" fmla="*/ 329515 w 514980"/>
                    <a:gd name="connsiteY6" fmla="*/ 111640 h 456532"/>
                    <a:gd name="connsiteX7" fmla="*/ 461084 w 514980"/>
                    <a:gd name="connsiteY7" fmla="*/ 146143 h 456532"/>
                    <a:gd name="connsiteX8" fmla="*/ 513665 w 514980"/>
                    <a:gd name="connsiteY8" fmla="*/ 229115 h 456532"/>
                    <a:gd name="connsiteX9" fmla="*/ 510490 w 514980"/>
                    <a:gd name="connsiteY9" fmla="*/ 451365 h 456532"/>
                    <a:gd name="connsiteX10" fmla="*/ 8840 w 514980"/>
                    <a:gd name="connsiteY10" fmla="*/ 445015 h 456532"/>
                    <a:gd name="connsiteX0" fmla="*/ 8840 w 514980"/>
                    <a:gd name="connsiteY0" fmla="*/ 444105 h 455622"/>
                    <a:gd name="connsiteX1" fmla="*/ 5665 w 514980"/>
                    <a:gd name="connsiteY1" fmla="*/ 218680 h 455622"/>
                    <a:gd name="connsiteX2" fmla="*/ 62412 w 514980"/>
                    <a:gd name="connsiteY2" fmla="*/ 131124 h 455622"/>
                    <a:gd name="connsiteX3" fmla="*/ 186237 w 514980"/>
                    <a:gd name="connsiteY3" fmla="*/ 93024 h 455622"/>
                    <a:gd name="connsiteX4" fmla="*/ 205690 w 514980"/>
                    <a:gd name="connsiteY4" fmla="*/ 12305 h 455622"/>
                    <a:gd name="connsiteX5" fmla="*/ 316815 w 514980"/>
                    <a:gd name="connsiteY5" fmla="*/ 9130 h 455622"/>
                    <a:gd name="connsiteX6" fmla="*/ 351353 w 514980"/>
                    <a:gd name="connsiteY6" fmla="*/ 97608 h 455622"/>
                    <a:gd name="connsiteX7" fmla="*/ 461084 w 514980"/>
                    <a:gd name="connsiteY7" fmla="*/ 145233 h 455622"/>
                    <a:gd name="connsiteX8" fmla="*/ 513665 w 514980"/>
                    <a:gd name="connsiteY8" fmla="*/ 228205 h 455622"/>
                    <a:gd name="connsiteX9" fmla="*/ 510490 w 514980"/>
                    <a:gd name="connsiteY9" fmla="*/ 450455 h 455622"/>
                    <a:gd name="connsiteX10" fmla="*/ 8840 w 514980"/>
                    <a:gd name="connsiteY10" fmla="*/ 444105 h 455622"/>
                    <a:gd name="connsiteX0" fmla="*/ 8840 w 514980"/>
                    <a:gd name="connsiteY0" fmla="*/ 442755 h 454272"/>
                    <a:gd name="connsiteX1" fmla="*/ 5665 w 514980"/>
                    <a:gd name="connsiteY1" fmla="*/ 217330 h 454272"/>
                    <a:gd name="connsiteX2" fmla="*/ 62412 w 514980"/>
                    <a:gd name="connsiteY2" fmla="*/ 129774 h 454272"/>
                    <a:gd name="connsiteX3" fmla="*/ 186237 w 514980"/>
                    <a:gd name="connsiteY3" fmla="*/ 91674 h 454272"/>
                    <a:gd name="connsiteX4" fmla="*/ 205690 w 514980"/>
                    <a:gd name="connsiteY4" fmla="*/ 10955 h 454272"/>
                    <a:gd name="connsiteX5" fmla="*/ 325550 w 514980"/>
                    <a:gd name="connsiteY5" fmla="*/ 9967 h 454272"/>
                    <a:gd name="connsiteX6" fmla="*/ 351353 w 514980"/>
                    <a:gd name="connsiteY6" fmla="*/ 96258 h 454272"/>
                    <a:gd name="connsiteX7" fmla="*/ 461084 w 514980"/>
                    <a:gd name="connsiteY7" fmla="*/ 143883 h 454272"/>
                    <a:gd name="connsiteX8" fmla="*/ 513665 w 514980"/>
                    <a:gd name="connsiteY8" fmla="*/ 226855 h 454272"/>
                    <a:gd name="connsiteX9" fmla="*/ 510490 w 514980"/>
                    <a:gd name="connsiteY9" fmla="*/ 449105 h 454272"/>
                    <a:gd name="connsiteX10" fmla="*/ 8840 w 514980"/>
                    <a:gd name="connsiteY10" fmla="*/ 442755 h 454272"/>
                    <a:gd name="connsiteX0" fmla="*/ 8840 w 514980"/>
                    <a:gd name="connsiteY0" fmla="*/ 442755 h 454272"/>
                    <a:gd name="connsiteX1" fmla="*/ 5665 w 514980"/>
                    <a:gd name="connsiteY1" fmla="*/ 217330 h 454272"/>
                    <a:gd name="connsiteX2" fmla="*/ 62412 w 514980"/>
                    <a:gd name="connsiteY2" fmla="*/ 129774 h 454272"/>
                    <a:gd name="connsiteX3" fmla="*/ 186237 w 514980"/>
                    <a:gd name="connsiteY3" fmla="*/ 91674 h 454272"/>
                    <a:gd name="connsiteX4" fmla="*/ 205690 w 514980"/>
                    <a:gd name="connsiteY4" fmla="*/ 10955 h 454272"/>
                    <a:gd name="connsiteX5" fmla="*/ 325550 w 514980"/>
                    <a:gd name="connsiteY5" fmla="*/ 9967 h 454272"/>
                    <a:gd name="connsiteX6" fmla="*/ 351353 w 514980"/>
                    <a:gd name="connsiteY6" fmla="*/ 96258 h 454272"/>
                    <a:gd name="connsiteX7" fmla="*/ 461084 w 514980"/>
                    <a:gd name="connsiteY7" fmla="*/ 143883 h 454272"/>
                    <a:gd name="connsiteX8" fmla="*/ 513665 w 514980"/>
                    <a:gd name="connsiteY8" fmla="*/ 226855 h 454272"/>
                    <a:gd name="connsiteX9" fmla="*/ 510490 w 514980"/>
                    <a:gd name="connsiteY9" fmla="*/ 449105 h 454272"/>
                    <a:gd name="connsiteX10" fmla="*/ 8840 w 514980"/>
                    <a:gd name="connsiteY10" fmla="*/ 442755 h 454272"/>
                    <a:gd name="connsiteX0" fmla="*/ 8840 w 514980"/>
                    <a:gd name="connsiteY0" fmla="*/ 442755 h 454272"/>
                    <a:gd name="connsiteX1" fmla="*/ 5665 w 514980"/>
                    <a:gd name="connsiteY1" fmla="*/ 217330 h 454272"/>
                    <a:gd name="connsiteX2" fmla="*/ 62412 w 514980"/>
                    <a:gd name="connsiteY2" fmla="*/ 129774 h 454272"/>
                    <a:gd name="connsiteX3" fmla="*/ 186237 w 514980"/>
                    <a:gd name="connsiteY3" fmla="*/ 91674 h 454272"/>
                    <a:gd name="connsiteX4" fmla="*/ 205690 w 514980"/>
                    <a:gd name="connsiteY4" fmla="*/ 10955 h 454272"/>
                    <a:gd name="connsiteX5" fmla="*/ 325550 w 514980"/>
                    <a:gd name="connsiteY5" fmla="*/ 9967 h 454272"/>
                    <a:gd name="connsiteX6" fmla="*/ 351353 w 514980"/>
                    <a:gd name="connsiteY6" fmla="*/ 96258 h 454272"/>
                    <a:gd name="connsiteX7" fmla="*/ 461084 w 514980"/>
                    <a:gd name="connsiteY7" fmla="*/ 143883 h 454272"/>
                    <a:gd name="connsiteX8" fmla="*/ 513665 w 514980"/>
                    <a:gd name="connsiteY8" fmla="*/ 226855 h 454272"/>
                    <a:gd name="connsiteX9" fmla="*/ 510490 w 514980"/>
                    <a:gd name="connsiteY9" fmla="*/ 449105 h 454272"/>
                    <a:gd name="connsiteX10" fmla="*/ 8840 w 514980"/>
                    <a:gd name="connsiteY10" fmla="*/ 442755 h 454272"/>
                    <a:gd name="connsiteX0" fmla="*/ 8840 w 514980"/>
                    <a:gd name="connsiteY0" fmla="*/ 442755 h 454272"/>
                    <a:gd name="connsiteX1" fmla="*/ 5665 w 514980"/>
                    <a:gd name="connsiteY1" fmla="*/ 217330 h 454272"/>
                    <a:gd name="connsiteX2" fmla="*/ 62412 w 514980"/>
                    <a:gd name="connsiteY2" fmla="*/ 129774 h 454272"/>
                    <a:gd name="connsiteX3" fmla="*/ 186237 w 514980"/>
                    <a:gd name="connsiteY3" fmla="*/ 91674 h 454272"/>
                    <a:gd name="connsiteX4" fmla="*/ 205690 w 514980"/>
                    <a:gd name="connsiteY4" fmla="*/ 10955 h 454272"/>
                    <a:gd name="connsiteX5" fmla="*/ 325550 w 514980"/>
                    <a:gd name="connsiteY5" fmla="*/ 9967 h 454272"/>
                    <a:gd name="connsiteX6" fmla="*/ 351353 w 514980"/>
                    <a:gd name="connsiteY6" fmla="*/ 96258 h 454272"/>
                    <a:gd name="connsiteX7" fmla="*/ 461084 w 514980"/>
                    <a:gd name="connsiteY7" fmla="*/ 143883 h 454272"/>
                    <a:gd name="connsiteX8" fmla="*/ 513665 w 514980"/>
                    <a:gd name="connsiteY8" fmla="*/ 226855 h 454272"/>
                    <a:gd name="connsiteX9" fmla="*/ 510490 w 514980"/>
                    <a:gd name="connsiteY9" fmla="*/ 449105 h 454272"/>
                    <a:gd name="connsiteX10" fmla="*/ 8840 w 514980"/>
                    <a:gd name="connsiteY10" fmla="*/ 442755 h 454272"/>
                    <a:gd name="connsiteX0" fmla="*/ 8840 w 514980"/>
                    <a:gd name="connsiteY0" fmla="*/ 436996 h 448513"/>
                    <a:gd name="connsiteX1" fmla="*/ 5665 w 514980"/>
                    <a:gd name="connsiteY1" fmla="*/ 211571 h 448513"/>
                    <a:gd name="connsiteX2" fmla="*/ 62412 w 514980"/>
                    <a:gd name="connsiteY2" fmla="*/ 124015 h 448513"/>
                    <a:gd name="connsiteX3" fmla="*/ 186237 w 514980"/>
                    <a:gd name="connsiteY3" fmla="*/ 85915 h 448513"/>
                    <a:gd name="connsiteX4" fmla="*/ 205690 w 514980"/>
                    <a:gd name="connsiteY4" fmla="*/ 5196 h 448513"/>
                    <a:gd name="connsiteX5" fmla="*/ 325550 w 514980"/>
                    <a:gd name="connsiteY5" fmla="*/ 4208 h 448513"/>
                    <a:gd name="connsiteX6" fmla="*/ 351353 w 514980"/>
                    <a:gd name="connsiteY6" fmla="*/ 90499 h 448513"/>
                    <a:gd name="connsiteX7" fmla="*/ 461084 w 514980"/>
                    <a:gd name="connsiteY7" fmla="*/ 138124 h 448513"/>
                    <a:gd name="connsiteX8" fmla="*/ 513665 w 514980"/>
                    <a:gd name="connsiteY8" fmla="*/ 221096 h 448513"/>
                    <a:gd name="connsiteX9" fmla="*/ 510490 w 514980"/>
                    <a:gd name="connsiteY9" fmla="*/ 443346 h 448513"/>
                    <a:gd name="connsiteX10" fmla="*/ 8840 w 514980"/>
                    <a:gd name="connsiteY10" fmla="*/ 436996 h 448513"/>
                    <a:gd name="connsiteX0" fmla="*/ 8840 w 514980"/>
                    <a:gd name="connsiteY0" fmla="*/ 436996 h 448513"/>
                    <a:gd name="connsiteX1" fmla="*/ 5665 w 514980"/>
                    <a:gd name="connsiteY1" fmla="*/ 211571 h 448513"/>
                    <a:gd name="connsiteX2" fmla="*/ 62412 w 514980"/>
                    <a:gd name="connsiteY2" fmla="*/ 124015 h 448513"/>
                    <a:gd name="connsiteX3" fmla="*/ 186237 w 514980"/>
                    <a:gd name="connsiteY3" fmla="*/ 85915 h 448513"/>
                    <a:gd name="connsiteX4" fmla="*/ 205690 w 514980"/>
                    <a:gd name="connsiteY4" fmla="*/ 5196 h 448513"/>
                    <a:gd name="connsiteX5" fmla="*/ 325550 w 514980"/>
                    <a:gd name="connsiteY5" fmla="*/ 4208 h 448513"/>
                    <a:gd name="connsiteX6" fmla="*/ 351353 w 514980"/>
                    <a:gd name="connsiteY6" fmla="*/ 90499 h 448513"/>
                    <a:gd name="connsiteX7" fmla="*/ 461084 w 514980"/>
                    <a:gd name="connsiteY7" fmla="*/ 138124 h 448513"/>
                    <a:gd name="connsiteX8" fmla="*/ 513665 w 514980"/>
                    <a:gd name="connsiteY8" fmla="*/ 221096 h 448513"/>
                    <a:gd name="connsiteX9" fmla="*/ 510490 w 514980"/>
                    <a:gd name="connsiteY9" fmla="*/ 443346 h 448513"/>
                    <a:gd name="connsiteX10" fmla="*/ 8840 w 514980"/>
                    <a:gd name="connsiteY10" fmla="*/ 436996 h 448513"/>
                    <a:gd name="connsiteX0" fmla="*/ 8840 w 514980"/>
                    <a:gd name="connsiteY0" fmla="*/ 436996 h 448513"/>
                    <a:gd name="connsiteX1" fmla="*/ 5665 w 514980"/>
                    <a:gd name="connsiteY1" fmla="*/ 211571 h 448513"/>
                    <a:gd name="connsiteX2" fmla="*/ 62412 w 514980"/>
                    <a:gd name="connsiteY2" fmla="*/ 124015 h 448513"/>
                    <a:gd name="connsiteX3" fmla="*/ 186237 w 514980"/>
                    <a:gd name="connsiteY3" fmla="*/ 85915 h 448513"/>
                    <a:gd name="connsiteX4" fmla="*/ 205690 w 514980"/>
                    <a:gd name="connsiteY4" fmla="*/ 5196 h 448513"/>
                    <a:gd name="connsiteX5" fmla="*/ 325550 w 514980"/>
                    <a:gd name="connsiteY5" fmla="*/ 4208 h 448513"/>
                    <a:gd name="connsiteX6" fmla="*/ 351353 w 514980"/>
                    <a:gd name="connsiteY6" fmla="*/ 90499 h 448513"/>
                    <a:gd name="connsiteX7" fmla="*/ 461084 w 514980"/>
                    <a:gd name="connsiteY7" fmla="*/ 138124 h 448513"/>
                    <a:gd name="connsiteX8" fmla="*/ 513665 w 514980"/>
                    <a:gd name="connsiteY8" fmla="*/ 221096 h 448513"/>
                    <a:gd name="connsiteX9" fmla="*/ 510490 w 514980"/>
                    <a:gd name="connsiteY9" fmla="*/ 443346 h 448513"/>
                    <a:gd name="connsiteX10" fmla="*/ 8840 w 514980"/>
                    <a:gd name="connsiteY10" fmla="*/ 436996 h 448513"/>
                    <a:gd name="connsiteX0" fmla="*/ 8840 w 514980"/>
                    <a:gd name="connsiteY0" fmla="*/ 436996 h 448513"/>
                    <a:gd name="connsiteX1" fmla="*/ 5665 w 514980"/>
                    <a:gd name="connsiteY1" fmla="*/ 211571 h 448513"/>
                    <a:gd name="connsiteX2" fmla="*/ 62412 w 514980"/>
                    <a:gd name="connsiteY2" fmla="*/ 124015 h 448513"/>
                    <a:gd name="connsiteX3" fmla="*/ 168766 w 514980"/>
                    <a:gd name="connsiteY3" fmla="*/ 88102 h 448513"/>
                    <a:gd name="connsiteX4" fmla="*/ 205690 w 514980"/>
                    <a:gd name="connsiteY4" fmla="*/ 5196 h 448513"/>
                    <a:gd name="connsiteX5" fmla="*/ 325550 w 514980"/>
                    <a:gd name="connsiteY5" fmla="*/ 4208 h 448513"/>
                    <a:gd name="connsiteX6" fmla="*/ 351353 w 514980"/>
                    <a:gd name="connsiteY6" fmla="*/ 90499 h 448513"/>
                    <a:gd name="connsiteX7" fmla="*/ 461084 w 514980"/>
                    <a:gd name="connsiteY7" fmla="*/ 138124 h 448513"/>
                    <a:gd name="connsiteX8" fmla="*/ 513665 w 514980"/>
                    <a:gd name="connsiteY8" fmla="*/ 221096 h 448513"/>
                    <a:gd name="connsiteX9" fmla="*/ 510490 w 514980"/>
                    <a:gd name="connsiteY9" fmla="*/ 443346 h 448513"/>
                    <a:gd name="connsiteX10" fmla="*/ 8840 w 514980"/>
                    <a:gd name="connsiteY10" fmla="*/ 436996 h 448513"/>
                    <a:gd name="connsiteX0" fmla="*/ 8840 w 514980"/>
                    <a:gd name="connsiteY0" fmla="*/ 440628 h 452145"/>
                    <a:gd name="connsiteX1" fmla="*/ 5665 w 514980"/>
                    <a:gd name="connsiteY1" fmla="*/ 215203 h 452145"/>
                    <a:gd name="connsiteX2" fmla="*/ 62412 w 514980"/>
                    <a:gd name="connsiteY2" fmla="*/ 127647 h 452145"/>
                    <a:gd name="connsiteX3" fmla="*/ 168766 w 514980"/>
                    <a:gd name="connsiteY3" fmla="*/ 91734 h 452145"/>
                    <a:gd name="connsiteX4" fmla="*/ 179484 w 514980"/>
                    <a:gd name="connsiteY4" fmla="*/ 4454 h 452145"/>
                    <a:gd name="connsiteX5" fmla="*/ 325550 w 514980"/>
                    <a:gd name="connsiteY5" fmla="*/ 7840 h 452145"/>
                    <a:gd name="connsiteX6" fmla="*/ 351353 w 514980"/>
                    <a:gd name="connsiteY6" fmla="*/ 94131 h 452145"/>
                    <a:gd name="connsiteX7" fmla="*/ 461084 w 514980"/>
                    <a:gd name="connsiteY7" fmla="*/ 141756 h 452145"/>
                    <a:gd name="connsiteX8" fmla="*/ 513665 w 514980"/>
                    <a:gd name="connsiteY8" fmla="*/ 224728 h 452145"/>
                    <a:gd name="connsiteX9" fmla="*/ 510490 w 514980"/>
                    <a:gd name="connsiteY9" fmla="*/ 446978 h 452145"/>
                    <a:gd name="connsiteX10" fmla="*/ 8840 w 514980"/>
                    <a:gd name="connsiteY10" fmla="*/ 440628 h 452145"/>
                    <a:gd name="connsiteX0" fmla="*/ 8840 w 514980"/>
                    <a:gd name="connsiteY0" fmla="*/ 442422 h 453939"/>
                    <a:gd name="connsiteX1" fmla="*/ 5665 w 514980"/>
                    <a:gd name="connsiteY1" fmla="*/ 216997 h 453939"/>
                    <a:gd name="connsiteX2" fmla="*/ 62412 w 514980"/>
                    <a:gd name="connsiteY2" fmla="*/ 129441 h 453939"/>
                    <a:gd name="connsiteX3" fmla="*/ 168766 w 514980"/>
                    <a:gd name="connsiteY3" fmla="*/ 93528 h 453939"/>
                    <a:gd name="connsiteX4" fmla="*/ 179484 w 514980"/>
                    <a:gd name="connsiteY4" fmla="*/ 6248 h 453939"/>
                    <a:gd name="connsiteX5" fmla="*/ 351756 w 514980"/>
                    <a:gd name="connsiteY5" fmla="*/ 886 h 453939"/>
                    <a:gd name="connsiteX6" fmla="*/ 351353 w 514980"/>
                    <a:gd name="connsiteY6" fmla="*/ 95925 h 453939"/>
                    <a:gd name="connsiteX7" fmla="*/ 461084 w 514980"/>
                    <a:gd name="connsiteY7" fmla="*/ 143550 h 453939"/>
                    <a:gd name="connsiteX8" fmla="*/ 513665 w 514980"/>
                    <a:gd name="connsiteY8" fmla="*/ 226522 h 453939"/>
                    <a:gd name="connsiteX9" fmla="*/ 510490 w 514980"/>
                    <a:gd name="connsiteY9" fmla="*/ 448772 h 453939"/>
                    <a:gd name="connsiteX10" fmla="*/ 8840 w 514980"/>
                    <a:gd name="connsiteY10" fmla="*/ 442422 h 453939"/>
                    <a:gd name="connsiteX0" fmla="*/ 8840 w 514980"/>
                    <a:gd name="connsiteY0" fmla="*/ 442422 h 453939"/>
                    <a:gd name="connsiteX1" fmla="*/ 5665 w 514980"/>
                    <a:gd name="connsiteY1" fmla="*/ 216997 h 453939"/>
                    <a:gd name="connsiteX2" fmla="*/ 62412 w 514980"/>
                    <a:gd name="connsiteY2" fmla="*/ 129441 h 453939"/>
                    <a:gd name="connsiteX3" fmla="*/ 168766 w 514980"/>
                    <a:gd name="connsiteY3" fmla="*/ 93528 h 453939"/>
                    <a:gd name="connsiteX4" fmla="*/ 179484 w 514980"/>
                    <a:gd name="connsiteY4" fmla="*/ 6248 h 453939"/>
                    <a:gd name="connsiteX5" fmla="*/ 351756 w 514980"/>
                    <a:gd name="connsiteY5" fmla="*/ 886 h 453939"/>
                    <a:gd name="connsiteX6" fmla="*/ 366640 w 514980"/>
                    <a:gd name="connsiteY6" fmla="*/ 100299 h 453939"/>
                    <a:gd name="connsiteX7" fmla="*/ 461084 w 514980"/>
                    <a:gd name="connsiteY7" fmla="*/ 143550 h 453939"/>
                    <a:gd name="connsiteX8" fmla="*/ 513665 w 514980"/>
                    <a:gd name="connsiteY8" fmla="*/ 226522 h 453939"/>
                    <a:gd name="connsiteX9" fmla="*/ 510490 w 514980"/>
                    <a:gd name="connsiteY9" fmla="*/ 448772 h 453939"/>
                    <a:gd name="connsiteX10" fmla="*/ 8840 w 514980"/>
                    <a:gd name="connsiteY10" fmla="*/ 442422 h 453939"/>
                    <a:gd name="connsiteX0" fmla="*/ 8840 w 514980"/>
                    <a:gd name="connsiteY0" fmla="*/ 442422 h 450476"/>
                    <a:gd name="connsiteX1" fmla="*/ 5665 w 514980"/>
                    <a:gd name="connsiteY1" fmla="*/ 216997 h 450476"/>
                    <a:gd name="connsiteX2" fmla="*/ 62412 w 514980"/>
                    <a:gd name="connsiteY2" fmla="*/ 129441 h 450476"/>
                    <a:gd name="connsiteX3" fmla="*/ 168766 w 514980"/>
                    <a:gd name="connsiteY3" fmla="*/ 93528 h 450476"/>
                    <a:gd name="connsiteX4" fmla="*/ 179484 w 514980"/>
                    <a:gd name="connsiteY4" fmla="*/ 6248 h 450476"/>
                    <a:gd name="connsiteX5" fmla="*/ 351756 w 514980"/>
                    <a:gd name="connsiteY5" fmla="*/ 886 h 450476"/>
                    <a:gd name="connsiteX6" fmla="*/ 366640 w 514980"/>
                    <a:gd name="connsiteY6" fmla="*/ 100299 h 450476"/>
                    <a:gd name="connsiteX7" fmla="*/ 461084 w 514980"/>
                    <a:gd name="connsiteY7" fmla="*/ 143550 h 450476"/>
                    <a:gd name="connsiteX8" fmla="*/ 513665 w 514980"/>
                    <a:gd name="connsiteY8" fmla="*/ 226522 h 450476"/>
                    <a:gd name="connsiteX9" fmla="*/ 510490 w 514980"/>
                    <a:gd name="connsiteY9" fmla="*/ 448772 h 450476"/>
                    <a:gd name="connsiteX10" fmla="*/ 8840 w 514980"/>
                    <a:gd name="connsiteY10" fmla="*/ 442422 h 450476"/>
                    <a:gd name="connsiteX0" fmla="*/ 8840 w 514980"/>
                    <a:gd name="connsiteY0" fmla="*/ 442422 h 448772"/>
                    <a:gd name="connsiteX1" fmla="*/ 5665 w 514980"/>
                    <a:gd name="connsiteY1" fmla="*/ 216997 h 448772"/>
                    <a:gd name="connsiteX2" fmla="*/ 62412 w 514980"/>
                    <a:gd name="connsiteY2" fmla="*/ 129441 h 448772"/>
                    <a:gd name="connsiteX3" fmla="*/ 168766 w 514980"/>
                    <a:gd name="connsiteY3" fmla="*/ 93528 h 448772"/>
                    <a:gd name="connsiteX4" fmla="*/ 179484 w 514980"/>
                    <a:gd name="connsiteY4" fmla="*/ 6248 h 448772"/>
                    <a:gd name="connsiteX5" fmla="*/ 351756 w 514980"/>
                    <a:gd name="connsiteY5" fmla="*/ 886 h 448772"/>
                    <a:gd name="connsiteX6" fmla="*/ 366640 w 514980"/>
                    <a:gd name="connsiteY6" fmla="*/ 100299 h 448772"/>
                    <a:gd name="connsiteX7" fmla="*/ 461084 w 514980"/>
                    <a:gd name="connsiteY7" fmla="*/ 143550 h 448772"/>
                    <a:gd name="connsiteX8" fmla="*/ 513665 w 514980"/>
                    <a:gd name="connsiteY8" fmla="*/ 226522 h 448772"/>
                    <a:gd name="connsiteX9" fmla="*/ 510490 w 514980"/>
                    <a:gd name="connsiteY9" fmla="*/ 448772 h 448772"/>
                    <a:gd name="connsiteX10" fmla="*/ 8840 w 514980"/>
                    <a:gd name="connsiteY10" fmla="*/ 442422 h 448772"/>
                    <a:gd name="connsiteX0" fmla="*/ 8840 w 514980"/>
                    <a:gd name="connsiteY0" fmla="*/ 442422 h 448772"/>
                    <a:gd name="connsiteX1" fmla="*/ 5665 w 514980"/>
                    <a:gd name="connsiteY1" fmla="*/ 216997 h 448772"/>
                    <a:gd name="connsiteX2" fmla="*/ 62412 w 514980"/>
                    <a:gd name="connsiteY2" fmla="*/ 129441 h 448772"/>
                    <a:gd name="connsiteX3" fmla="*/ 168766 w 514980"/>
                    <a:gd name="connsiteY3" fmla="*/ 93528 h 448772"/>
                    <a:gd name="connsiteX4" fmla="*/ 179484 w 514980"/>
                    <a:gd name="connsiteY4" fmla="*/ 6248 h 448772"/>
                    <a:gd name="connsiteX5" fmla="*/ 351756 w 514980"/>
                    <a:gd name="connsiteY5" fmla="*/ 886 h 448772"/>
                    <a:gd name="connsiteX6" fmla="*/ 357905 w 514980"/>
                    <a:gd name="connsiteY6" fmla="*/ 98112 h 448772"/>
                    <a:gd name="connsiteX7" fmla="*/ 461084 w 514980"/>
                    <a:gd name="connsiteY7" fmla="*/ 143550 h 448772"/>
                    <a:gd name="connsiteX8" fmla="*/ 513665 w 514980"/>
                    <a:gd name="connsiteY8" fmla="*/ 226522 h 448772"/>
                    <a:gd name="connsiteX9" fmla="*/ 510490 w 514980"/>
                    <a:gd name="connsiteY9" fmla="*/ 448772 h 448772"/>
                    <a:gd name="connsiteX10" fmla="*/ 8840 w 514980"/>
                    <a:gd name="connsiteY10" fmla="*/ 442422 h 448772"/>
                    <a:gd name="connsiteX0" fmla="*/ 8840 w 514980"/>
                    <a:gd name="connsiteY0" fmla="*/ 442422 h 448772"/>
                    <a:gd name="connsiteX1" fmla="*/ 5665 w 514980"/>
                    <a:gd name="connsiteY1" fmla="*/ 216997 h 448772"/>
                    <a:gd name="connsiteX2" fmla="*/ 62412 w 514980"/>
                    <a:gd name="connsiteY2" fmla="*/ 129441 h 448772"/>
                    <a:gd name="connsiteX3" fmla="*/ 168766 w 514980"/>
                    <a:gd name="connsiteY3" fmla="*/ 93528 h 448772"/>
                    <a:gd name="connsiteX4" fmla="*/ 179484 w 514980"/>
                    <a:gd name="connsiteY4" fmla="*/ 6248 h 448772"/>
                    <a:gd name="connsiteX5" fmla="*/ 351756 w 514980"/>
                    <a:gd name="connsiteY5" fmla="*/ 886 h 448772"/>
                    <a:gd name="connsiteX6" fmla="*/ 357905 w 514980"/>
                    <a:gd name="connsiteY6" fmla="*/ 98112 h 448772"/>
                    <a:gd name="connsiteX7" fmla="*/ 454533 w 514980"/>
                    <a:gd name="connsiteY7" fmla="*/ 136989 h 448772"/>
                    <a:gd name="connsiteX8" fmla="*/ 513665 w 514980"/>
                    <a:gd name="connsiteY8" fmla="*/ 226522 h 448772"/>
                    <a:gd name="connsiteX9" fmla="*/ 510490 w 514980"/>
                    <a:gd name="connsiteY9" fmla="*/ 448772 h 448772"/>
                    <a:gd name="connsiteX10" fmla="*/ 8840 w 514980"/>
                    <a:gd name="connsiteY10" fmla="*/ 442422 h 448772"/>
                    <a:gd name="connsiteX0" fmla="*/ 8840 w 514980"/>
                    <a:gd name="connsiteY0" fmla="*/ 442422 h 448772"/>
                    <a:gd name="connsiteX1" fmla="*/ 5665 w 514980"/>
                    <a:gd name="connsiteY1" fmla="*/ 216997 h 448772"/>
                    <a:gd name="connsiteX2" fmla="*/ 62412 w 514980"/>
                    <a:gd name="connsiteY2" fmla="*/ 129441 h 448772"/>
                    <a:gd name="connsiteX3" fmla="*/ 168766 w 514980"/>
                    <a:gd name="connsiteY3" fmla="*/ 93528 h 448772"/>
                    <a:gd name="connsiteX4" fmla="*/ 179484 w 514980"/>
                    <a:gd name="connsiteY4" fmla="*/ 6248 h 448772"/>
                    <a:gd name="connsiteX5" fmla="*/ 351756 w 514980"/>
                    <a:gd name="connsiteY5" fmla="*/ 886 h 448772"/>
                    <a:gd name="connsiteX6" fmla="*/ 357905 w 514980"/>
                    <a:gd name="connsiteY6" fmla="*/ 98112 h 448772"/>
                    <a:gd name="connsiteX7" fmla="*/ 454533 w 514980"/>
                    <a:gd name="connsiteY7" fmla="*/ 136989 h 448772"/>
                    <a:gd name="connsiteX8" fmla="*/ 513665 w 514980"/>
                    <a:gd name="connsiteY8" fmla="*/ 226522 h 448772"/>
                    <a:gd name="connsiteX9" fmla="*/ 510490 w 514980"/>
                    <a:gd name="connsiteY9" fmla="*/ 448772 h 448772"/>
                    <a:gd name="connsiteX10" fmla="*/ 8840 w 514980"/>
                    <a:gd name="connsiteY10" fmla="*/ 442422 h 448772"/>
                    <a:gd name="connsiteX0" fmla="*/ 8840 w 514980"/>
                    <a:gd name="connsiteY0" fmla="*/ 442422 h 448772"/>
                    <a:gd name="connsiteX1" fmla="*/ 5665 w 514980"/>
                    <a:gd name="connsiteY1" fmla="*/ 216997 h 448772"/>
                    <a:gd name="connsiteX2" fmla="*/ 62412 w 514980"/>
                    <a:gd name="connsiteY2" fmla="*/ 129441 h 448772"/>
                    <a:gd name="connsiteX3" fmla="*/ 168766 w 514980"/>
                    <a:gd name="connsiteY3" fmla="*/ 93528 h 448772"/>
                    <a:gd name="connsiteX4" fmla="*/ 179484 w 514980"/>
                    <a:gd name="connsiteY4" fmla="*/ 6248 h 448772"/>
                    <a:gd name="connsiteX5" fmla="*/ 351756 w 514980"/>
                    <a:gd name="connsiteY5" fmla="*/ 886 h 448772"/>
                    <a:gd name="connsiteX6" fmla="*/ 357905 w 514980"/>
                    <a:gd name="connsiteY6" fmla="*/ 98112 h 448772"/>
                    <a:gd name="connsiteX7" fmla="*/ 454533 w 514980"/>
                    <a:gd name="connsiteY7" fmla="*/ 136989 h 448772"/>
                    <a:gd name="connsiteX8" fmla="*/ 513665 w 514980"/>
                    <a:gd name="connsiteY8" fmla="*/ 226522 h 448772"/>
                    <a:gd name="connsiteX9" fmla="*/ 510490 w 514980"/>
                    <a:gd name="connsiteY9" fmla="*/ 448772 h 448772"/>
                    <a:gd name="connsiteX10" fmla="*/ 8840 w 514980"/>
                    <a:gd name="connsiteY10" fmla="*/ 442422 h 448772"/>
                    <a:gd name="connsiteX0" fmla="*/ 8840 w 514980"/>
                    <a:gd name="connsiteY0" fmla="*/ 442422 h 448772"/>
                    <a:gd name="connsiteX1" fmla="*/ 5665 w 514980"/>
                    <a:gd name="connsiteY1" fmla="*/ 216997 h 448772"/>
                    <a:gd name="connsiteX2" fmla="*/ 62412 w 514980"/>
                    <a:gd name="connsiteY2" fmla="*/ 129441 h 448772"/>
                    <a:gd name="connsiteX3" fmla="*/ 168766 w 514980"/>
                    <a:gd name="connsiteY3" fmla="*/ 93528 h 448772"/>
                    <a:gd name="connsiteX4" fmla="*/ 179484 w 514980"/>
                    <a:gd name="connsiteY4" fmla="*/ 6248 h 448772"/>
                    <a:gd name="connsiteX5" fmla="*/ 351756 w 514980"/>
                    <a:gd name="connsiteY5" fmla="*/ 886 h 448772"/>
                    <a:gd name="connsiteX6" fmla="*/ 353538 w 514980"/>
                    <a:gd name="connsiteY6" fmla="*/ 98112 h 448772"/>
                    <a:gd name="connsiteX7" fmla="*/ 454533 w 514980"/>
                    <a:gd name="connsiteY7" fmla="*/ 136989 h 448772"/>
                    <a:gd name="connsiteX8" fmla="*/ 513665 w 514980"/>
                    <a:gd name="connsiteY8" fmla="*/ 226522 h 448772"/>
                    <a:gd name="connsiteX9" fmla="*/ 510490 w 514980"/>
                    <a:gd name="connsiteY9" fmla="*/ 448772 h 448772"/>
                    <a:gd name="connsiteX10" fmla="*/ 8840 w 514980"/>
                    <a:gd name="connsiteY10" fmla="*/ 442422 h 448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14980" h="448772">
                      <a:moveTo>
                        <a:pt x="8840" y="442422"/>
                      </a:moveTo>
                      <a:cubicBezTo>
                        <a:pt x="-1214" y="377864"/>
                        <a:pt x="-3264" y="269160"/>
                        <a:pt x="5665" y="216997"/>
                      </a:cubicBezTo>
                      <a:cubicBezTo>
                        <a:pt x="14594" y="164834"/>
                        <a:pt x="35229" y="150019"/>
                        <a:pt x="62412" y="129441"/>
                      </a:cubicBezTo>
                      <a:cubicBezTo>
                        <a:pt x="89595" y="108863"/>
                        <a:pt x="149254" y="114060"/>
                        <a:pt x="168766" y="93528"/>
                      </a:cubicBezTo>
                      <a:cubicBezTo>
                        <a:pt x="188278" y="72996"/>
                        <a:pt x="189023" y="43922"/>
                        <a:pt x="179484" y="6248"/>
                      </a:cubicBezTo>
                      <a:cubicBezTo>
                        <a:pt x="202703" y="-7370"/>
                        <a:pt x="323111" y="6352"/>
                        <a:pt x="351756" y="886"/>
                      </a:cubicBezTo>
                      <a:cubicBezTo>
                        <a:pt x="354195" y="39159"/>
                        <a:pt x="342961" y="75428"/>
                        <a:pt x="353538" y="98112"/>
                      </a:cubicBezTo>
                      <a:cubicBezTo>
                        <a:pt x="364115" y="120796"/>
                        <a:pt x="427845" y="115587"/>
                        <a:pt x="454533" y="136989"/>
                      </a:cubicBezTo>
                      <a:cubicBezTo>
                        <a:pt x="481221" y="158391"/>
                        <a:pt x="503611" y="177839"/>
                        <a:pt x="513665" y="226522"/>
                      </a:cubicBezTo>
                      <a:cubicBezTo>
                        <a:pt x="516840" y="276264"/>
                        <a:pt x="513665" y="323360"/>
                        <a:pt x="510490" y="448772"/>
                      </a:cubicBezTo>
                      <a:lnTo>
                        <a:pt x="8840" y="442422"/>
                      </a:lnTo>
                      <a:close/>
                    </a:path>
                  </a:pathLst>
                </a:custGeom>
                <a:grpFill/>
                <a:ln w="571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42" name="Oval 41">
                  <a:extLst>
                    <a:ext uri="{FF2B5EF4-FFF2-40B4-BE49-F238E27FC236}">
                      <a16:creationId xmlns:a16="http://schemas.microsoft.com/office/drawing/2014/main" id="{B767836A-0851-234B-AD07-62174F3AF5F6}"/>
                    </a:ext>
                  </a:extLst>
                </p:cNvPr>
                <p:cNvSpPr/>
                <p:nvPr/>
              </p:nvSpPr>
              <p:spPr>
                <a:xfrm>
                  <a:off x="1971467" y="3508300"/>
                  <a:ext cx="282088" cy="336550"/>
                </a:xfrm>
                <a:prstGeom prst="ellipse">
                  <a:avLst/>
                </a:prstGeom>
                <a:grpFill/>
                <a:ln w="571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grpSp>
          <p:grpSp>
            <p:nvGrpSpPr>
              <p:cNvPr id="39" name="Group 38">
                <a:extLst>
                  <a:ext uri="{FF2B5EF4-FFF2-40B4-BE49-F238E27FC236}">
                    <a16:creationId xmlns:a16="http://schemas.microsoft.com/office/drawing/2014/main" id="{E8B83BA6-FA66-C246-9966-90D3A282AC33}"/>
                  </a:ext>
                </a:extLst>
              </p:cNvPr>
              <p:cNvGrpSpPr/>
              <p:nvPr/>
            </p:nvGrpSpPr>
            <p:grpSpPr>
              <a:xfrm>
                <a:off x="1553120" y="3388644"/>
                <a:ext cx="633802" cy="938165"/>
                <a:chOff x="1806977" y="3500843"/>
                <a:chExt cx="539989" cy="738018"/>
              </a:xfrm>
            </p:grpSpPr>
            <p:sp>
              <p:nvSpPr>
                <p:cNvPr id="37" name="Freeform 36">
                  <a:extLst>
                    <a:ext uri="{FF2B5EF4-FFF2-40B4-BE49-F238E27FC236}">
                      <a16:creationId xmlns:a16="http://schemas.microsoft.com/office/drawing/2014/main" id="{F4304CED-EA5A-3E44-88D3-CBEEF31A12AD}"/>
                    </a:ext>
                  </a:extLst>
                </p:cNvPr>
                <p:cNvSpPr/>
                <p:nvPr/>
              </p:nvSpPr>
              <p:spPr>
                <a:xfrm>
                  <a:off x="1806977" y="3782373"/>
                  <a:ext cx="539989" cy="456488"/>
                </a:xfrm>
                <a:custGeom>
                  <a:avLst/>
                  <a:gdLst>
                    <a:gd name="connsiteX0" fmla="*/ 36807 w 576731"/>
                    <a:gd name="connsiteY0" fmla="*/ 449906 h 505924"/>
                    <a:gd name="connsiteX1" fmla="*/ 39982 w 576731"/>
                    <a:gd name="connsiteY1" fmla="*/ 214956 h 505924"/>
                    <a:gd name="connsiteX2" fmla="*/ 55857 w 576731"/>
                    <a:gd name="connsiteY2" fmla="*/ 176856 h 505924"/>
                    <a:gd name="connsiteX3" fmla="*/ 103482 w 576731"/>
                    <a:gd name="connsiteY3" fmla="*/ 160981 h 505924"/>
                    <a:gd name="connsiteX4" fmla="*/ 205082 w 576731"/>
                    <a:gd name="connsiteY4" fmla="*/ 154631 h 505924"/>
                    <a:gd name="connsiteX5" fmla="*/ 230482 w 576731"/>
                    <a:gd name="connsiteY5" fmla="*/ 151456 h 505924"/>
                    <a:gd name="connsiteX6" fmla="*/ 233657 w 576731"/>
                    <a:gd name="connsiteY6" fmla="*/ 18106 h 505924"/>
                    <a:gd name="connsiteX7" fmla="*/ 344782 w 576731"/>
                    <a:gd name="connsiteY7" fmla="*/ 14931 h 505924"/>
                    <a:gd name="connsiteX8" fmla="*/ 344782 w 576731"/>
                    <a:gd name="connsiteY8" fmla="*/ 145106 h 505924"/>
                    <a:gd name="connsiteX9" fmla="*/ 386057 w 576731"/>
                    <a:gd name="connsiteY9" fmla="*/ 151456 h 505924"/>
                    <a:gd name="connsiteX10" fmla="*/ 478132 w 576731"/>
                    <a:gd name="connsiteY10" fmla="*/ 164156 h 505924"/>
                    <a:gd name="connsiteX11" fmla="*/ 519407 w 576731"/>
                    <a:gd name="connsiteY11" fmla="*/ 189556 h 505924"/>
                    <a:gd name="connsiteX12" fmla="*/ 541632 w 576731"/>
                    <a:gd name="connsiteY12" fmla="*/ 234006 h 505924"/>
                    <a:gd name="connsiteX13" fmla="*/ 538457 w 576731"/>
                    <a:gd name="connsiteY13" fmla="*/ 488006 h 505924"/>
                    <a:gd name="connsiteX14" fmla="*/ 36807 w 576731"/>
                    <a:gd name="connsiteY14" fmla="*/ 449906 h 505924"/>
                    <a:gd name="connsiteX0" fmla="*/ 5769 w 545693"/>
                    <a:gd name="connsiteY0" fmla="*/ 449906 h 505924"/>
                    <a:gd name="connsiteX1" fmla="*/ 8944 w 545693"/>
                    <a:gd name="connsiteY1" fmla="*/ 214956 h 505924"/>
                    <a:gd name="connsiteX2" fmla="*/ 24819 w 545693"/>
                    <a:gd name="connsiteY2" fmla="*/ 176856 h 505924"/>
                    <a:gd name="connsiteX3" fmla="*/ 72444 w 545693"/>
                    <a:gd name="connsiteY3" fmla="*/ 160981 h 505924"/>
                    <a:gd name="connsiteX4" fmla="*/ 174044 w 545693"/>
                    <a:gd name="connsiteY4" fmla="*/ 154631 h 505924"/>
                    <a:gd name="connsiteX5" fmla="*/ 199444 w 545693"/>
                    <a:gd name="connsiteY5" fmla="*/ 151456 h 505924"/>
                    <a:gd name="connsiteX6" fmla="*/ 202619 w 545693"/>
                    <a:gd name="connsiteY6" fmla="*/ 18106 h 505924"/>
                    <a:gd name="connsiteX7" fmla="*/ 313744 w 545693"/>
                    <a:gd name="connsiteY7" fmla="*/ 14931 h 505924"/>
                    <a:gd name="connsiteX8" fmla="*/ 313744 w 545693"/>
                    <a:gd name="connsiteY8" fmla="*/ 145106 h 505924"/>
                    <a:gd name="connsiteX9" fmla="*/ 355019 w 545693"/>
                    <a:gd name="connsiteY9" fmla="*/ 151456 h 505924"/>
                    <a:gd name="connsiteX10" fmla="*/ 447094 w 545693"/>
                    <a:gd name="connsiteY10" fmla="*/ 164156 h 505924"/>
                    <a:gd name="connsiteX11" fmla="*/ 488369 w 545693"/>
                    <a:gd name="connsiteY11" fmla="*/ 189556 h 505924"/>
                    <a:gd name="connsiteX12" fmla="*/ 510594 w 545693"/>
                    <a:gd name="connsiteY12" fmla="*/ 234006 h 505924"/>
                    <a:gd name="connsiteX13" fmla="*/ 507419 w 545693"/>
                    <a:gd name="connsiteY13" fmla="*/ 488006 h 505924"/>
                    <a:gd name="connsiteX14" fmla="*/ 5769 w 545693"/>
                    <a:gd name="connsiteY14" fmla="*/ 449906 h 505924"/>
                    <a:gd name="connsiteX0" fmla="*/ 21286 w 561210"/>
                    <a:gd name="connsiteY0" fmla="*/ 449906 h 508025"/>
                    <a:gd name="connsiteX1" fmla="*/ 24461 w 561210"/>
                    <a:gd name="connsiteY1" fmla="*/ 214956 h 508025"/>
                    <a:gd name="connsiteX2" fmla="*/ 40336 w 561210"/>
                    <a:gd name="connsiteY2" fmla="*/ 176856 h 508025"/>
                    <a:gd name="connsiteX3" fmla="*/ 87961 w 561210"/>
                    <a:gd name="connsiteY3" fmla="*/ 160981 h 508025"/>
                    <a:gd name="connsiteX4" fmla="*/ 189561 w 561210"/>
                    <a:gd name="connsiteY4" fmla="*/ 154631 h 508025"/>
                    <a:gd name="connsiteX5" fmla="*/ 214961 w 561210"/>
                    <a:gd name="connsiteY5" fmla="*/ 151456 h 508025"/>
                    <a:gd name="connsiteX6" fmla="*/ 218136 w 561210"/>
                    <a:gd name="connsiteY6" fmla="*/ 18106 h 508025"/>
                    <a:gd name="connsiteX7" fmla="*/ 329261 w 561210"/>
                    <a:gd name="connsiteY7" fmla="*/ 14931 h 508025"/>
                    <a:gd name="connsiteX8" fmla="*/ 329261 w 561210"/>
                    <a:gd name="connsiteY8" fmla="*/ 145106 h 508025"/>
                    <a:gd name="connsiteX9" fmla="*/ 370536 w 561210"/>
                    <a:gd name="connsiteY9" fmla="*/ 151456 h 508025"/>
                    <a:gd name="connsiteX10" fmla="*/ 462611 w 561210"/>
                    <a:gd name="connsiteY10" fmla="*/ 164156 h 508025"/>
                    <a:gd name="connsiteX11" fmla="*/ 503886 w 561210"/>
                    <a:gd name="connsiteY11" fmla="*/ 189556 h 508025"/>
                    <a:gd name="connsiteX12" fmla="*/ 526111 w 561210"/>
                    <a:gd name="connsiteY12" fmla="*/ 234006 h 508025"/>
                    <a:gd name="connsiteX13" fmla="*/ 522936 w 561210"/>
                    <a:gd name="connsiteY13" fmla="*/ 488006 h 508025"/>
                    <a:gd name="connsiteX14" fmla="*/ 21286 w 561210"/>
                    <a:gd name="connsiteY14" fmla="*/ 449906 h 508025"/>
                    <a:gd name="connsiteX0" fmla="*/ 21286 w 561210"/>
                    <a:gd name="connsiteY0" fmla="*/ 449906 h 508025"/>
                    <a:gd name="connsiteX1" fmla="*/ 24461 w 561210"/>
                    <a:gd name="connsiteY1" fmla="*/ 214956 h 508025"/>
                    <a:gd name="connsiteX2" fmla="*/ 40336 w 561210"/>
                    <a:gd name="connsiteY2" fmla="*/ 176856 h 508025"/>
                    <a:gd name="connsiteX3" fmla="*/ 87961 w 561210"/>
                    <a:gd name="connsiteY3" fmla="*/ 160981 h 508025"/>
                    <a:gd name="connsiteX4" fmla="*/ 189561 w 561210"/>
                    <a:gd name="connsiteY4" fmla="*/ 154631 h 508025"/>
                    <a:gd name="connsiteX5" fmla="*/ 214961 w 561210"/>
                    <a:gd name="connsiteY5" fmla="*/ 151456 h 508025"/>
                    <a:gd name="connsiteX6" fmla="*/ 218136 w 561210"/>
                    <a:gd name="connsiteY6" fmla="*/ 18106 h 508025"/>
                    <a:gd name="connsiteX7" fmla="*/ 329261 w 561210"/>
                    <a:gd name="connsiteY7" fmla="*/ 14931 h 508025"/>
                    <a:gd name="connsiteX8" fmla="*/ 329261 w 561210"/>
                    <a:gd name="connsiteY8" fmla="*/ 145106 h 508025"/>
                    <a:gd name="connsiteX9" fmla="*/ 370536 w 561210"/>
                    <a:gd name="connsiteY9" fmla="*/ 151456 h 508025"/>
                    <a:gd name="connsiteX10" fmla="*/ 462611 w 561210"/>
                    <a:gd name="connsiteY10" fmla="*/ 164156 h 508025"/>
                    <a:gd name="connsiteX11" fmla="*/ 503886 w 561210"/>
                    <a:gd name="connsiteY11" fmla="*/ 189556 h 508025"/>
                    <a:gd name="connsiteX12" fmla="*/ 526111 w 561210"/>
                    <a:gd name="connsiteY12" fmla="*/ 234006 h 508025"/>
                    <a:gd name="connsiteX13" fmla="*/ 522936 w 561210"/>
                    <a:gd name="connsiteY13" fmla="*/ 488006 h 508025"/>
                    <a:gd name="connsiteX14" fmla="*/ 21286 w 561210"/>
                    <a:gd name="connsiteY14" fmla="*/ 449906 h 508025"/>
                    <a:gd name="connsiteX0" fmla="*/ 4360 w 544284"/>
                    <a:gd name="connsiteY0" fmla="*/ 449906 h 508025"/>
                    <a:gd name="connsiteX1" fmla="*/ 7535 w 544284"/>
                    <a:gd name="connsiteY1" fmla="*/ 214956 h 508025"/>
                    <a:gd name="connsiteX2" fmla="*/ 23410 w 544284"/>
                    <a:gd name="connsiteY2" fmla="*/ 176856 h 508025"/>
                    <a:gd name="connsiteX3" fmla="*/ 71035 w 544284"/>
                    <a:gd name="connsiteY3" fmla="*/ 160981 h 508025"/>
                    <a:gd name="connsiteX4" fmla="*/ 172635 w 544284"/>
                    <a:gd name="connsiteY4" fmla="*/ 154631 h 508025"/>
                    <a:gd name="connsiteX5" fmla="*/ 198035 w 544284"/>
                    <a:gd name="connsiteY5" fmla="*/ 151456 h 508025"/>
                    <a:gd name="connsiteX6" fmla="*/ 201210 w 544284"/>
                    <a:gd name="connsiteY6" fmla="*/ 18106 h 508025"/>
                    <a:gd name="connsiteX7" fmla="*/ 312335 w 544284"/>
                    <a:gd name="connsiteY7" fmla="*/ 14931 h 508025"/>
                    <a:gd name="connsiteX8" fmla="*/ 312335 w 544284"/>
                    <a:gd name="connsiteY8" fmla="*/ 145106 h 508025"/>
                    <a:gd name="connsiteX9" fmla="*/ 353610 w 544284"/>
                    <a:gd name="connsiteY9" fmla="*/ 151456 h 508025"/>
                    <a:gd name="connsiteX10" fmla="*/ 445685 w 544284"/>
                    <a:gd name="connsiteY10" fmla="*/ 164156 h 508025"/>
                    <a:gd name="connsiteX11" fmla="*/ 486960 w 544284"/>
                    <a:gd name="connsiteY11" fmla="*/ 189556 h 508025"/>
                    <a:gd name="connsiteX12" fmla="*/ 509185 w 544284"/>
                    <a:gd name="connsiteY12" fmla="*/ 234006 h 508025"/>
                    <a:gd name="connsiteX13" fmla="*/ 506010 w 544284"/>
                    <a:gd name="connsiteY13" fmla="*/ 488006 h 508025"/>
                    <a:gd name="connsiteX14" fmla="*/ 4360 w 544284"/>
                    <a:gd name="connsiteY14" fmla="*/ 449906 h 508025"/>
                    <a:gd name="connsiteX0" fmla="*/ 4360 w 544284"/>
                    <a:gd name="connsiteY0" fmla="*/ 449906 h 500804"/>
                    <a:gd name="connsiteX1" fmla="*/ 7535 w 544284"/>
                    <a:gd name="connsiteY1" fmla="*/ 214956 h 500804"/>
                    <a:gd name="connsiteX2" fmla="*/ 23410 w 544284"/>
                    <a:gd name="connsiteY2" fmla="*/ 176856 h 500804"/>
                    <a:gd name="connsiteX3" fmla="*/ 71035 w 544284"/>
                    <a:gd name="connsiteY3" fmla="*/ 160981 h 500804"/>
                    <a:gd name="connsiteX4" fmla="*/ 172635 w 544284"/>
                    <a:gd name="connsiteY4" fmla="*/ 154631 h 500804"/>
                    <a:gd name="connsiteX5" fmla="*/ 198035 w 544284"/>
                    <a:gd name="connsiteY5" fmla="*/ 151456 h 500804"/>
                    <a:gd name="connsiteX6" fmla="*/ 201210 w 544284"/>
                    <a:gd name="connsiteY6" fmla="*/ 18106 h 500804"/>
                    <a:gd name="connsiteX7" fmla="*/ 312335 w 544284"/>
                    <a:gd name="connsiteY7" fmla="*/ 14931 h 500804"/>
                    <a:gd name="connsiteX8" fmla="*/ 312335 w 544284"/>
                    <a:gd name="connsiteY8" fmla="*/ 145106 h 500804"/>
                    <a:gd name="connsiteX9" fmla="*/ 353610 w 544284"/>
                    <a:gd name="connsiteY9" fmla="*/ 151456 h 500804"/>
                    <a:gd name="connsiteX10" fmla="*/ 445685 w 544284"/>
                    <a:gd name="connsiteY10" fmla="*/ 164156 h 500804"/>
                    <a:gd name="connsiteX11" fmla="*/ 486960 w 544284"/>
                    <a:gd name="connsiteY11" fmla="*/ 189556 h 500804"/>
                    <a:gd name="connsiteX12" fmla="*/ 509185 w 544284"/>
                    <a:gd name="connsiteY12" fmla="*/ 234006 h 500804"/>
                    <a:gd name="connsiteX13" fmla="*/ 506010 w 544284"/>
                    <a:gd name="connsiteY13" fmla="*/ 488006 h 500804"/>
                    <a:gd name="connsiteX14" fmla="*/ 4360 w 544284"/>
                    <a:gd name="connsiteY14" fmla="*/ 449906 h 500804"/>
                    <a:gd name="connsiteX0" fmla="*/ 4360 w 544284"/>
                    <a:gd name="connsiteY0" fmla="*/ 449906 h 500804"/>
                    <a:gd name="connsiteX1" fmla="*/ 7535 w 544284"/>
                    <a:gd name="connsiteY1" fmla="*/ 214956 h 500804"/>
                    <a:gd name="connsiteX2" fmla="*/ 23410 w 544284"/>
                    <a:gd name="connsiteY2" fmla="*/ 176856 h 500804"/>
                    <a:gd name="connsiteX3" fmla="*/ 71035 w 544284"/>
                    <a:gd name="connsiteY3" fmla="*/ 160981 h 500804"/>
                    <a:gd name="connsiteX4" fmla="*/ 172635 w 544284"/>
                    <a:gd name="connsiteY4" fmla="*/ 154631 h 500804"/>
                    <a:gd name="connsiteX5" fmla="*/ 198035 w 544284"/>
                    <a:gd name="connsiteY5" fmla="*/ 151456 h 500804"/>
                    <a:gd name="connsiteX6" fmla="*/ 201210 w 544284"/>
                    <a:gd name="connsiteY6" fmla="*/ 18106 h 500804"/>
                    <a:gd name="connsiteX7" fmla="*/ 312335 w 544284"/>
                    <a:gd name="connsiteY7" fmla="*/ 14931 h 500804"/>
                    <a:gd name="connsiteX8" fmla="*/ 312335 w 544284"/>
                    <a:gd name="connsiteY8" fmla="*/ 145106 h 500804"/>
                    <a:gd name="connsiteX9" fmla="*/ 353610 w 544284"/>
                    <a:gd name="connsiteY9" fmla="*/ 151456 h 500804"/>
                    <a:gd name="connsiteX10" fmla="*/ 445685 w 544284"/>
                    <a:gd name="connsiteY10" fmla="*/ 164156 h 500804"/>
                    <a:gd name="connsiteX11" fmla="*/ 486960 w 544284"/>
                    <a:gd name="connsiteY11" fmla="*/ 189556 h 500804"/>
                    <a:gd name="connsiteX12" fmla="*/ 509185 w 544284"/>
                    <a:gd name="connsiteY12" fmla="*/ 234006 h 500804"/>
                    <a:gd name="connsiteX13" fmla="*/ 506010 w 544284"/>
                    <a:gd name="connsiteY13" fmla="*/ 488006 h 500804"/>
                    <a:gd name="connsiteX14" fmla="*/ 4360 w 544284"/>
                    <a:gd name="connsiteY14" fmla="*/ 449906 h 500804"/>
                    <a:gd name="connsiteX0" fmla="*/ 4360 w 519024"/>
                    <a:gd name="connsiteY0" fmla="*/ 449906 h 500804"/>
                    <a:gd name="connsiteX1" fmla="*/ 7535 w 519024"/>
                    <a:gd name="connsiteY1" fmla="*/ 214956 h 500804"/>
                    <a:gd name="connsiteX2" fmla="*/ 23410 w 519024"/>
                    <a:gd name="connsiteY2" fmla="*/ 176856 h 500804"/>
                    <a:gd name="connsiteX3" fmla="*/ 71035 w 519024"/>
                    <a:gd name="connsiteY3" fmla="*/ 160981 h 500804"/>
                    <a:gd name="connsiteX4" fmla="*/ 172635 w 519024"/>
                    <a:gd name="connsiteY4" fmla="*/ 154631 h 500804"/>
                    <a:gd name="connsiteX5" fmla="*/ 198035 w 519024"/>
                    <a:gd name="connsiteY5" fmla="*/ 151456 h 500804"/>
                    <a:gd name="connsiteX6" fmla="*/ 201210 w 519024"/>
                    <a:gd name="connsiteY6" fmla="*/ 18106 h 500804"/>
                    <a:gd name="connsiteX7" fmla="*/ 312335 w 519024"/>
                    <a:gd name="connsiteY7" fmla="*/ 14931 h 500804"/>
                    <a:gd name="connsiteX8" fmla="*/ 312335 w 519024"/>
                    <a:gd name="connsiteY8" fmla="*/ 145106 h 500804"/>
                    <a:gd name="connsiteX9" fmla="*/ 353610 w 519024"/>
                    <a:gd name="connsiteY9" fmla="*/ 151456 h 500804"/>
                    <a:gd name="connsiteX10" fmla="*/ 445685 w 519024"/>
                    <a:gd name="connsiteY10" fmla="*/ 164156 h 500804"/>
                    <a:gd name="connsiteX11" fmla="*/ 486960 w 519024"/>
                    <a:gd name="connsiteY11" fmla="*/ 189556 h 500804"/>
                    <a:gd name="connsiteX12" fmla="*/ 509185 w 519024"/>
                    <a:gd name="connsiteY12" fmla="*/ 234006 h 500804"/>
                    <a:gd name="connsiteX13" fmla="*/ 506010 w 519024"/>
                    <a:gd name="connsiteY13" fmla="*/ 488006 h 500804"/>
                    <a:gd name="connsiteX14" fmla="*/ 4360 w 519024"/>
                    <a:gd name="connsiteY14" fmla="*/ 449906 h 500804"/>
                    <a:gd name="connsiteX0" fmla="*/ 4360 w 519024"/>
                    <a:gd name="connsiteY0" fmla="*/ 449906 h 488006"/>
                    <a:gd name="connsiteX1" fmla="*/ 7535 w 519024"/>
                    <a:gd name="connsiteY1" fmla="*/ 214956 h 488006"/>
                    <a:gd name="connsiteX2" fmla="*/ 23410 w 519024"/>
                    <a:gd name="connsiteY2" fmla="*/ 176856 h 488006"/>
                    <a:gd name="connsiteX3" fmla="*/ 71035 w 519024"/>
                    <a:gd name="connsiteY3" fmla="*/ 160981 h 488006"/>
                    <a:gd name="connsiteX4" fmla="*/ 172635 w 519024"/>
                    <a:gd name="connsiteY4" fmla="*/ 154631 h 488006"/>
                    <a:gd name="connsiteX5" fmla="*/ 198035 w 519024"/>
                    <a:gd name="connsiteY5" fmla="*/ 151456 h 488006"/>
                    <a:gd name="connsiteX6" fmla="*/ 201210 w 519024"/>
                    <a:gd name="connsiteY6" fmla="*/ 18106 h 488006"/>
                    <a:gd name="connsiteX7" fmla="*/ 312335 w 519024"/>
                    <a:gd name="connsiteY7" fmla="*/ 14931 h 488006"/>
                    <a:gd name="connsiteX8" fmla="*/ 312335 w 519024"/>
                    <a:gd name="connsiteY8" fmla="*/ 145106 h 488006"/>
                    <a:gd name="connsiteX9" fmla="*/ 353610 w 519024"/>
                    <a:gd name="connsiteY9" fmla="*/ 151456 h 488006"/>
                    <a:gd name="connsiteX10" fmla="*/ 445685 w 519024"/>
                    <a:gd name="connsiteY10" fmla="*/ 164156 h 488006"/>
                    <a:gd name="connsiteX11" fmla="*/ 486960 w 519024"/>
                    <a:gd name="connsiteY11" fmla="*/ 189556 h 488006"/>
                    <a:gd name="connsiteX12" fmla="*/ 509185 w 519024"/>
                    <a:gd name="connsiteY12" fmla="*/ 234006 h 488006"/>
                    <a:gd name="connsiteX13" fmla="*/ 506010 w 519024"/>
                    <a:gd name="connsiteY13" fmla="*/ 488006 h 488006"/>
                    <a:gd name="connsiteX14" fmla="*/ 4360 w 519024"/>
                    <a:gd name="connsiteY14" fmla="*/ 449906 h 488006"/>
                    <a:gd name="connsiteX0" fmla="*/ 4360 w 523534"/>
                    <a:gd name="connsiteY0" fmla="*/ 449906 h 472131"/>
                    <a:gd name="connsiteX1" fmla="*/ 7535 w 523534"/>
                    <a:gd name="connsiteY1" fmla="*/ 214956 h 472131"/>
                    <a:gd name="connsiteX2" fmla="*/ 23410 w 523534"/>
                    <a:gd name="connsiteY2" fmla="*/ 176856 h 472131"/>
                    <a:gd name="connsiteX3" fmla="*/ 71035 w 523534"/>
                    <a:gd name="connsiteY3" fmla="*/ 160981 h 472131"/>
                    <a:gd name="connsiteX4" fmla="*/ 172635 w 523534"/>
                    <a:gd name="connsiteY4" fmla="*/ 154631 h 472131"/>
                    <a:gd name="connsiteX5" fmla="*/ 198035 w 523534"/>
                    <a:gd name="connsiteY5" fmla="*/ 151456 h 472131"/>
                    <a:gd name="connsiteX6" fmla="*/ 201210 w 523534"/>
                    <a:gd name="connsiteY6" fmla="*/ 18106 h 472131"/>
                    <a:gd name="connsiteX7" fmla="*/ 312335 w 523534"/>
                    <a:gd name="connsiteY7" fmla="*/ 14931 h 472131"/>
                    <a:gd name="connsiteX8" fmla="*/ 312335 w 523534"/>
                    <a:gd name="connsiteY8" fmla="*/ 145106 h 472131"/>
                    <a:gd name="connsiteX9" fmla="*/ 353610 w 523534"/>
                    <a:gd name="connsiteY9" fmla="*/ 151456 h 472131"/>
                    <a:gd name="connsiteX10" fmla="*/ 445685 w 523534"/>
                    <a:gd name="connsiteY10" fmla="*/ 164156 h 472131"/>
                    <a:gd name="connsiteX11" fmla="*/ 486960 w 523534"/>
                    <a:gd name="connsiteY11" fmla="*/ 189556 h 472131"/>
                    <a:gd name="connsiteX12" fmla="*/ 509185 w 523534"/>
                    <a:gd name="connsiteY12" fmla="*/ 234006 h 472131"/>
                    <a:gd name="connsiteX13" fmla="*/ 512360 w 523534"/>
                    <a:gd name="connsiteY13" fmla="*/ 472131 h 472131"/>
                    <a:gd name="connsiteX14" fmla="*/ 4360 w 523534"/>
                    <a:gd name="connsiteY14" fmla="*/ 449906 h 472131"/>
                    <a:gd name="connsiteX0" fmla="*/ 4360 w 513675"/>
                    <a:gd name="connsiteY0" fmla="*/ 449906 h 472131"/>
                    <a:gd name="connsiteX1" fmla="*/ 7535 w 513675"/>
                    <a:gd name="connsiteY1" fmla="*/ 214956 h 472131"/>
                    <a:gd name="connsiteX2" fmla="*/ 23410 w 513675"/>
                    <a:gd name="connsiteY2" fmla="*/ 176856 h 472131"/>
                    <a:gd name="connsiteX3" fmla="*/ 71035 w 513675"/>
                    <a:gd name="connsiteY3" fmla="*/ 160981 h 472131"/>
                    <a:gd name="connsiteX4" fmla="*/ 172635 w 513675"/>
                    <a:gd name="connsiteY4" fmla="*/ 154631 h 472131"/>
                    <a:gd name="connsiteX5" fmla="*/ 198035 w 513675"/>
                    <a:gd name="connsiteY5" fmla="*/ 151456 h 472131"/>
                    <a:gd name="connsiteX6" fmla="*/ 201210 w 513675"/>
                    <a:gd name="connsiteY6" fmla="*/ 18106 h 472131"/>
                    <a:gd name="connsiteX7" fmla="*/ 312335 w 513675"/>
                    <a:gd name="connsiteY7" fmla="*/ 14931 h 472131"/>
                    <a:gd name="connsiteX8" fmla="*/ 312335 w 513675"/>
                    <a:gd name="connsiteY8" fmla="*/ 145106 h 472131"/>
                    <a:gd name="connsiteX9" fmla="*/ 353610 w 513675"/>
                    <a:gd name="connsiteY9" fmla="*/ 151456 h 472131"/>
                    <a:gd name="connsiteX10" fmla="*/ 445685 w 513675"/>
                    <a:gd name="connsiteY10" fmla="*/ 164156 h 472131"/>
                    <a:gd name="connsiteX11" fmla="*/ 486960 w 513675"/>
                    <a:gd name="connsiteY11" fmla="*/ 189556 h 472131"/>
                    <a:gd name="connsiteX12" fmla="*/ 509185 w 513675"/>
                    <a:gd name="connsiteY12" fmla="*/ 234006 h 472131"/>
                    <a:gd name="connsiteX13" fmla="*/ 512360 w 513675"/>
                    <a:gd name="connsiteY13" fmla="*/ 472131 h 472131"/>
                    <a:gd name="connsiteX14" fmla="*/ 4360 w 513675"/>
                    <a:gd name="connsiteY14" fmla="*/ 449906 h 472131"/>
                    <a:gd name="connsiteX0" fmla="*/ 4360 w 513675"/>
                    <a:gd name="connsiteY0" fmla="*/ 446969 h 469194"/>
                    <a:gd name="connsiteX1" fmla="*/ 7535 w 513675"/>
                    <a:gd name="connsiteY1" fmla="*/ 212019 h 469194"/>
                    <a:gd name="connsiteX2" fmla="*/ 23410 w 513675"/>
                    <a:gd name="connsiteY2" fmla="*/ 173919 h 469194"/>
                    <a:gd name="connsiteX3" fmla="*/ 71035 w 513675"/>
                    <a:gd name="connsiteY3" fmla="*/ 158044 h 469194"/>
                    <a:gd name="connsiteX4" fmla="*/ 172635 w 513675"/>
                    <a:gd name="connsiteY4" fmla="*/ 151694 h 469194"/>
                    <a:gd name="connsiteX5" fmla="*/ 188510 w 513675"/>
                    <a:gd name="connsiteY5" fmla="*/ 94544 h 469194"/>
                    <a:gd name="connsiteX6" fmla="*/ 201210 w 513675"/>
                    <a:gd name="connsiteY6" fmla="*/ 15169 h 469194"/>
                    <a:gd name="connsiteX7" fmla="*/ 312335 w 513675"/>
                    <a:gd name="connsiteY7" fmla="*/ 11994 h 469194"/>
                    <a:gd name="connsiteX8" fmla="*/ 312335 w 513675"/>
                    <a:gd name="connsiteY8" fmla="*/ 142169 h 469194"/>
                    <a:gd name="connsiteX9" fmla="*/ 353610 w 513675"/>
                    <a:gd name="connsiteY9" fmla="*/ 148519 h 469194"/>
                    <a:gd name="connsiteX10" fmla="*/ 445685 w 513675"/>
                    <a:gd name="connsiteY10" fmla="*/ 161219 h 469194"/>
                    <a:gd name="connsiteX11" fmla="*/ 486960 w 513675"/>
                    <a:gd name="connsiteY11" fmla="*/ 186619 h 469194"/>
                    <a:gd name="connsiteX12" fmla="*/ 509185 w 513675"/>
                    <a:gd name="connsiteY12" fmla="*/ 231069 h 469194"/>
                    <a:gd name="connsiteX13" fmla="*/ 512360 w 513675"/>
                    <a:gd name="connsiteY13" fmla="*/ 469194 h 469194"/>
                    <a:gd name="connsiteX14" fmla="*/ 4360 w 513675"/>
                    <a:gd name="connsiteY14" fmla="*/ 446969 h 469194"/>
                    <a:gd name="connsiteX0" fmla="*/ 4360 w 513675"/>
                    <a:gd name="connsiteY0" fmla="*/ 443409 h 465634"/>
                    <a:gd name="connsiteX1" fmla="*/ 7535 w 513675"/>
                    <a:gd name="connsiteY1" fmla="*/ 208459 h 465634"/>
                    <a:gd name="connsiteX2" fmla="*/ 23410 w 513675"/>
                    <a:gd name="connsiteY2" fmla="*/ 170359 h 465634"/>
                    <a:gd name="connsiteX3" fmla="*/ 71035 w 513675"/>
                    <a:gd name="connsiteY3" fmla="*/ 154484 h 465634"/>
                    <a:gd name="connsiteX4" fmla="*/ 172635 w 513675"/>
                    <a:gd name="connsiteY4" fmla="*/ 148134 h 465634"/>
                    <a:gd name="connsiteX5" fmla="*/ 188510 w 513675"/>
                    <a:gd name="connsiteY5" fmla="*/ 90984 h 465634"/>
                    <a:gd name="connsiteX6" fmla="*/ 201210 w 513675"/>
                    <a:gd name="connsiteY6" fmla="*/ 11609 h 465634"/>
                    <a:gd name="connsiteX7" fmla="*/ 312335 w 513675"/>
                    <a:gd name="connsiteY7" fmla="*/ 8434 h 465634"/>
                    <a:gd name="connsiteX8" fmla="*/ 312335 w 513675"/>
                    <a:gd name="connsiteY8" fmla="*/ 87809 h 465634"/>
                    <a:gd name="connsiteX9" fmla="*/ 353610 w 513675"/>
                    <a:gd name="connsiteY9" fmla="*/ 144959 h 465634"/>
                    <a:gd name="connsiteX10" fmla="*/ 445685 w 513675"/>
                    <a:gd name="connsiteY10" fmla="*/ 157659 h 465634"/>
                    <a:gd name="connsiteX11" fmla="*/ 486960 w 513675"/>
                    <a:gd name="connsiteY11" fmla="*/ 183059 h 465634"/>
                    <a:gd name="connsiteX12" fmla="*/ 509185 w 513675"/>
                    <a:gd name="connsiteY12" fmla="*/ 227509 h 465634"/>
                    <a:gd name="connsiteX13" fmla="*/ 512360 w 513675"/>
                    <a:gd name="connsiteY13" fmla="*/ 465634 h 465634"/>
                    <a:gd name="connsiteX14" fmla="*/ 4360 w 513675"/>
                    <a:gd name="connsiteY14" fmla="*/ 443409 h 465634"/>
                    <a:gd name="connsiteX0" fmla="*/ 4360 w 513675"/>
                    <a:gd name="connsiteY0" fmla="*/ 443409 h 465634"/>
                    <a:gd name="connsiteX1" fmla="*/ 7535 w 513675"/>
                    <a:gd name="connsiteY1" fmla="*/ 208459 h 465634"/>
                    <a:gd name="connsiteX2" fmla="*/ 23410 w 513675"/>
                    <a:gd name="connsiteY2" fmla="*/ 170359 h 465634"/>
                    <a:gd name="connsiteX3" fmla="*/ 71035 w 513675"/>
                    <a:gd name="connsiteY3" fmla="*/ 154484 h 465634"/>
                    <a:gd name="connsiteX4" fmla="*/ 172635 w 513675"/>
                    <a:gd name="connsiteY4" fmla="*/ 148134 h 465634"/>
                    <a:gd name="connsiteX5" fmla="*/ 188510 w 513675"/>
                    <a:gd name="connsiteY5" fmla="*/ 90984 h 465634"/>
                    <a:gd name="connsiteX6" fmla="*/ 201210 w 513675"/>
                    <a:gd name="connsiteY6" fmla="*/ 11609 h 465634"/>
                    <a:gd name="connsiteX7" fmla="*/ 312335 w 513675"/>
                    <a:gd name="connsiteY7" fmla="*/ 8434 h 465634"/>
                    <a:gd name="connsiteX8" fmla="*/ 312335 w 513675"/>
                    <a:gd name="connsiteY8" fmla="*/ 87809 h 465634"/>
                    <a:gd name="connsiteX9" fmla="*/ 334560 w 513675"/>
                    <a:gd name="connsiteY9" fmla="*/ 135434 h 465634"/>
                    <a:gd name="connsiteX10" fmla="*/ 445685 w 513675"/>
                    <a:gd name="connsiteY10" fmla="*/ 157659 h 465634"/>
                    <a:gd name="connsiteX11" fmla="*/ 486960 w 513675"/>
                    <a:gd name="connsiteY11" fmla="*/ 183059 h 465634"/>
                    <a:gd name="connsiteX12" fmla="*/ 509185 w 513675"/>
                    <a:gd name="connsiteY12" fmla="*/ 227509 h 465634"/>
                    <a:gd name="connsiteX13" fmla="*/ 512360 w 513675"/>
                    <a:gd name="connsiteY13" fmla="*/ 465634 h 465634"/>
                    <a:gd name="connsiteX14" fmla="*/ 4360 w 513675"/>
                    <a:gd name="connsiteY14" fmla="*/ 443409 h 465634"/>
                    <a:gd name="connsiteX0" fmla="*/ 4360 w 510500"/>
                    <a:gd name="connsiteY0" fmla="*/ 443409 h 449759"/>
                    <a:gd name="connsiteX1" fmla="*/ 7535 w 510500"/>
                    <a:gd name="connsiteY1" fmla="*/ 208459 h 449759"/>
                    <a:gd name="connsiteX2" fmla="*/ 23410 w 510500"/>
                    <a:gd name="connsiteY2" fmla="*/ 170359 h 449759"/>
                    <a:gd name="connsiteX3" fmla="*/ 71035 w 510500"/>
                    <a:gd name="connsiteY3" fmla="*/ 154484 h 449759"/>
                    <a:gd name="connsiteX4" fmla="*/ 172635 w 510500"/>
                    <a:gd name="connsiteY4" fmla="*/ 148134 h 449759"/>
                    <a:gd name="connsiteX5" fmla="*/ 188510 w 510500"/>
                    <a:gd name="connsiteY5" fmla="*/ 90984 h 449759"/>
                    <a:gd name="connsiteX6" fmla="*/ 201210 w 510500"/>
                    <a:gd name="connsiteY6" fmla="*/ 11609 h 449759"/>
                    <a:gd name="connsiteX7" fmla="*/ 312335 w 510500"/>
                    <a:gd name="connsiteY7" fmla="*/ 8434 h 449759"/>
                    <a:gd name="connsiteX8" fmla="*/ 312335 w 510500"/>
                    <a:gd name="connsiteY8" fmla="*/ 87809 h 449759"/>
                    <a:gd name="connsiteX9" fmla="*/ 334560 w 510500"/>
                    <a:gd name="connsiteY9" fmla="*/ 135434 h 449759"/>
                    <a:gd name="connsiteX10" fmla="*/ 445685 w 510500"/>
                    <a:gd name="connsiteY10" fmla="*/ 157659 h 449759"/>
                    <a:gd name="connsiteX11" fmla="*/ 486960 w 510500"/>
                    <a:gd name="connsiteY11" fmla="*/ 183059 h 449759"/>
                    <a:gd name="connsiteX12" fmla="*/ 509185 w 510500"/>
                    <a:gd name="connsiteY12" fmla="*/ 227509 h 449759"/>
                    <a:gd name="connsiteX13" fmla="*/ 506010 w 510500"/>
                    <a:gd name="connsiteY13" fmla="*/ 449759 h 449759"/>
                    <a:gd name="connsiteX14" fmla="*/ 4360 w 510500"/>
                    <a:gd name="connsiteY14" fmla="*/ 443409 h 449759"/>
                    <a:gd name="connsiteX0" fmla="*/ 4360 w 510500"/>
                    <a:gd name="connsiteY0" fmla="*/ 443409 h 454926"/>
                    <a:gd name="connsiteX1" fmla="*/ 7535 w 510500"/>
                    <a:gd name="connsiteY1" fmla="*/ 208459 h 454926"/>
                    <a:gd name="connsiteX2" fmla="*/ 23410 w 510500"/>
                    <a:gd name="connsiteY2" fmla="*/ 170359 h 454926"/>
                    <a:gd name="connsiteX3" fmla="*/ 71035 w 510500"/>
                    <a:gd name="connsiteY3" fmla="*/ 154484 h 454926"/>
                    <a:gd name="connsiteX4" fmla="*/ 172635 w 510500"/>
                    <a:gd name="connsiteY4" fmla="*/ 148134 h 454926"/>
                    <a:gd name="connsiteX5" fmla="*/ 188510 w 510500"/>
                    <a:gd name="connsiteY5" fmla="*/ 90984 h 454926"/>
                    <a:gd name="connsiteX6" fmla="*/ 201210 w 510500"/>
                    <a:gd name="connsiteY6" fmla="*/ 11609 h 454926"/>
                    <a:gd name="connsiteX7" fmla="*/ 312335 w 510500"/>
                    <a:gd name="connsiteY7" fmla="*/ 8434 h 454926"/>
                    <a:gd name="connsiteX8" fmla="*/ 312335 w 510500"/>
                    <a:gd name="connsiteY8" fmla="*/ 87809 h 454926"/>
                    <a:gd name="connsiteX9" fmla="*/ 334560 w 510500"/>
                    <a:gd name="connsiteY9" fmla="*/ 135434 h 454926"/>
                    <a:gd name="connsiteX10" fmla="*/ 445685 w 510500"/>
                    <a:gd name="connsiteY10" fmla="*/ 157659 h 454926"/>
                    <a:gd name="connsiteX11" fmla="*/ 486960 w 510500"/>
                    <a:gd name="connsiteY11" fmla="*/ 183059 h 454926"/>
                    <a:gd name="connsiteX12" fmla="*/ 509185 w 510500"/>
                    <a:gd name="connsiteY12" fmla="*/ 227509 h 454926"/>
                    <a:gd name="connsiteX13" fmla="*/ 506010 w 510500"/>
                    <a:gd name="connsiteY13" fmla="*/ 449759 h 454926"/>
                    <a:gd name="connsiteX14" fmla="*/ 4360 w 510500"/>
                    <a:gd name="connsiteY14" fmla="*/ 443409 h 454926"/>
                    <a:gd name="connsiteX0" fmla="*/ 6473 w 512613"/>
                    <a:gd name="connsiteY0" fmla="*/ 443409 h 454926"/>
                    <a:gd name="connsiteX1" fmla="*/ 9648 w 512613"/>
                    <a:gd name="connsiteY1" fmla="*/ 208459 h 454926"/>
                    <a:gd name="connsiteX2" fmla="*/ 73148 w 512613"/>
                    <a:gd name="connsiteY2" fmla="*/ 154484 h 454926"/>
                    <a:gd name="connsiteX3" fmla="*/ 174748 w 512613"/>
                    <a:gd name="connsiteY3" fmla="*/ 148134 h 454926"/>
                    <a:gd name="connsiteX4" fmla="*/ 190623 w 512613"/>
                    <a:gd name="connsiteY4" fmla="*/ 90984 h 454926"/>
                    <a:gd name="connsiteX5" fmla="*/ 203323 w 512613"/>
                    <a:gd name="connsiteY5" fmla="*/ 11609 h 454926"/>
                    <a:gd name="connsiteX6" fmla="*/ 314448 w 512613"/>
                    <a:gd name="connsiteY6" fmla="*/ 8434 h 454926"/>
                    <a:gd name="connsiteX7" fmla="*/ 314448 w 512613"/>
                    <a:gd name="connsiteY7" fmla="*/ 87809 h 454926"/>
                    <a:gd name="connsiteX8" fmla="*/ 336673 w 512613"/>
                    <a:gd name="connsiteY8" fmla="*/ 135434 h 454926"/>
                    <a:gd name="connsiteX9" fmla="*/ 447798 w 512613"/>
                    <a:gd name="connsiteY9" fmla="*/ 157659 h 454926"/>
                    <a:gd name="connsiteX10" fmla="*/ 489073 w 512613"/>
                    <a:gd name="connsiteY10" fmla="*/ 183059 h 454926"/>
                    <a:gd name="connsiteX11" fmla="*/ 511298 w 512613"/>
                    <a:gd name="connsiteY11" fmla="*/ 227509 h 454926"/>
                    <a:gd name="connsiteX12" fmla="*/ 508123 w 512613"/>
                    <a:gd name="connsiteY12" fmla="*/ 449759 h 454926"/>
                    <a:gd name="connsiteX13" fmla="*/ 6473 w 512613"/>
                    <a:gd name="connsiteY13" fmla="*/ 443409 h 454926"/>
                    <a:gd name="connsiteX0" fmla="*/ 4049 w 510189"/>
                    <a:gd name="connsiteY0" fmla="*/ 443409 h 454926"/>
                    <a:gd name="connsiteX1" fmla="*/ 7224 w 510189"/>
                    <a:gd name="connsiteY1" fmla="*/ 208459 h 454926"/>
                    <a:gd name="connsiteX2" fmla="*/ 70724 w 510189"/>
                    <a:gd name="connsiteY2" fmla="*/ 154484 h 454926"/>
                    <a:gd name="connsiteX3" fmla="*/ 172324 w 510189"/>
                    <a:gd name="connsiteY3" fmla="*/ 148134 h 454926"/>
                    <a:gd name="connsiteX4" fmla="*/ 188199 w 510189"/>
                    <a:gd name="connsiteY4" fmla="*/ 90984 h 454926"/>
                    <a:gd name="connsiteX5" fmla="*/ 200899 w 510189"/>
                    <a:gd name="connsiteY5" fmla="*/ 11609 h 454926"/>
                    <a:gd name="connsiteX6" fmla="*/ 312024 w 510189"/>
                    <a:gd name="connsiteY6" fmla="*/ 8434 h 454926"/>
                    <a:gd name="connsiteX7" fmla="*/ 312024 w 510189"/>
                    <a:gd name="connsiteY7" fmla="*/ 87809 h 454926"/>
                    <a:gd name="connsiteX8" fmla="*/ 334249 w 510189"/>
                    <a:gd name="connsiteY8" fmla="*/ 135434 h 454926"/>
                    <a:gd name="connsiteX9" fmla="*/ 445374 w 510189"/>
                    <a:gd name="connsiteY9" fmla="*/ 157659 h 454926"/>
                    <a:gd name="connsiteX10" fmla="*/ 486649 w 510189"/>
                    <a:gd name="connsiteY10" fmla="*/ 183059 h 454926"/>
                    <a:gd name="connsiteX11" fmla="*/ 508874 w 510189"/>
                    <a:gd name="connsiteY11" fmla="*/ 227509 h 454926"/>
                    <a:gd name="connsiteX12" fmla="*/ 505699 w 510189"/>
                    <a:gd name="connsiteY12" fmla="*/ 449759 h 454926"/>
                    <a:gd name="connsiteX13" fmla="*/ 4049 w 510189"/>
                    <a:gd name="connsiteY13" fmla="*/ 443409 h 454926"/>
                    <a:gd name="connsiteX0" fmla="*/ 4049 w 510189"/>
                    <a:gd name="connsiteY0" fmla="*/ 443409 h 454926"/>
                    <a:gd name="connsiteX1" fmla="*/ 7224 w 510189"/>
                    <a:gd name="connsiteY1" fmla="*/ 208459 h 454926"/>
                    <a:gd name="connsiteX2" fmla="*/ 70724 w 510189"/>
                    <a:gd name="connsiteY2" fmla="*/ 154484 h 454926"/>
                    <a:gd name="connsiteX3" fmla="*/ 172324 w 510189"/>
                    <a:gd name="connsiteY3" fmla="*/ 148134 h 454926"/>
                    <a:gd name="connsiteX4" fmla="*/ 188199 w 510189"/>
                    <a:gd name="connsiteY4" fmla="*/ 90984 h 454926"/>
                    <a:gd name="connsiteX5" fmla="*/ 200899 w 510189"/>
                    <a:gd name="connsiteY5" fmla="*/ 11609 h 454926"/>
                    <a:gd name="connsiteX6" fmla="*/ 312024 w 510189"/>
                    <a:gd name="connsiteY6" fmla="*/ 8434 h 454926"/>
                    <a:gd name="connsiteX7" fmla="*/ 312024 w 510189"/>
                    <a:gd name="connsiteY7" fmla="*/ 87809 h 454926"/>
                    <a:gd name="connsiteX8" fmla="*/ 334249 w 510189"/>
                    <a:gd name="connsiteY8" fmla="*/ 135434 h 454926"/>
                    <a:gd name="connsiteX9" fmla="*/ 445374 w 510189"/>
                    <a:gd name="connsiteY9" fmla="*/ 157659 h 454926"/>
                    <a:gd name="connsiteX10" fmla="*/ 508874 w 510189"/>
                    <a:gd name="connsiteY10" fmla="*/ 227509 h 454926"/>
                    <a:gd name="connsiteX11" fmla="*/ 505699 w 510189"/>
                    <a:gd name="connsiteY11" fmla="*/ 449759 h 454926"/>
                    <a:gd name="connsiteX12" fmla="*/ 4049 w 510189"/>
                    <a:gd name="connsiteY12" fmla="*/ 443409 h 454926"/>
                    <a:gd name="connsiteX0" fmla="*/ 4049 w 510189"/>
                    <a:gd name="connsiteY0" fmla="*/ 443409 h 454926"/>
                    <a:gd name="connsiteX1" fmla="*/ 7224 w 510189"/>
                    <a:gd name="connsiteY1" fmla="*/ 208459 h 454926"/>
                    <a:gd name="connsiteX2" fmla="*/ 70724 w 510189"/>
                    <a:gd name="connsiteY2" fmla="*/ 154484 h 454926"/>
                    <a:gd name="connsiteX3" fmla="*/ 172324 w 510189"/>
                    <a:gd name="connsiteY3" fmla="*/ 148134 h 454926"/>
                    <a:gd name="connsiteX4" fmla="*/ 188199 w 510189"/>
                    <a:gd name="connsiteY4" fmla="*/ 90984 h 454926"/>
                    <a:gd name="connsiteX5" fmla="*/ 200899 w 510189"/>
                    <a:gd name="connsiteY5" fmla="*/ 11609 h 454926"/>
                    <a:gd name="connsiteX6" fmla="*/ 312024 w 510189"/>
                    <a:gd name="connsiteY6" fmla="*/ 8434 h 454926"/>
                    <a:gd name="connsiteX7" fmla="*/ 312024 w 510189"/>
                    <a:gd name="connsiteY7" fmla="*/ 87809 h 454926"/>
                    <a:gd name="connsiteX8" fmla="*/ 334249 w 510189"/>
                    <a:gd name="connsiteY8" fmla="*/ 135434 h 454926"/>
                    <a:gd name="connsiteX9" fmla="*/ 445374 w 510189"/>
                    <a:gd name="connsiteY9" fmla="*/ 157659 h 454926"/>
                    <a:gd name="connsiteX10" fmla="*/ 508874 w 510189"/>
                    <a:gd name="connsiteY10" fmla="*/ 227509 h 454926"/>
                    <a:gd name="connsiteX11" fmla="*/ 505699 w 510189"/>
                    <a:gd name="connsiteY11" fmla="*/ 449759 h 454926"/>
                    <a:gd name="connsiteX12" fmla="*/ 4049 w 510189"/>
                    <a:gd name="connsiteY12" fmla="*/ 443409 h 454926"/>
                    <a:gd name="connsiteX0" fmla="*/ 5987 w 512127"/>
                    <a:gd name="connsiteY0" fmla="*/ 443409 h 454926"/>
                    <a:gd name="connsiteX1" fmla="*/ 2812 w 512127"/>
                    <a:gd name="connsiteY1" fmla="*/ 217984 h 454926"/>
                    <a:gd name="connsiteX2" fmla="*/ 72662 w 512127"/>
                    <a:gd name="connsiteY2" fmla="*/ 154484 h 454926"/>
                    <a:gd name="connsiteX3" fmla="*/ 174262 w 512127"/>
                    <a:gd name="connsiteY3" fmla="*/ 148134 h 454926"/>
                    <a:gd name="connsiteX4" fmla="*/ 190137 w 512127"/>
                    <a:gd name="connsiteY4" fmla="*/ 90984 h 454926"/>
                    <a:gd name="connsiteX5" fmla="*/ 202837 w 512127"/>
                    <a:gd name="connsiteY5" fmla="*/ 11609 h 454926"/>
                    <a:gd name="connsiteX6" fmla="*/ 313962 w 512127"/>
                    <a:gd name="connsiteY6" fmla="*/ 8434 h 454926"/>
                    <a:gd name="connsiteX7" fmla="*/ 313962 w 512127"/>
                    <a:gd name="connsiteY7" fmla="*/ 87809 h 454926"/>
                    <a:gd name="connsiteX8" fmla="*/ 336187 w 512127"/>
                    <a:gd name="connsiteY8" fmla="*/ 135434 h 454926"/>
                    <a:gd name="connsiteX9" fmla="*/ 447312 w 512127"/>
                    <a:gd name="connsiteY9" fmla="*/ 157659 h 454926"/>
                    <a:gd name="connsiteX10" fmla="*/ 510812 w 512127"/>
                    <a:gd name="connsiteY10" fmla="*/ 227509 h 454926"/>
                    <a:gd name="connsiteX11" fmla="*/ 507637 w 512127"/>
                    <a:gd name="connsiteY11" fmla="*/ 449759 h 454926"/>
                    <a:gd name="connsiteX12" fmla="*/ 5987 w 512127"/>
                    <a:gd name="connsiteY12" fmla="*/ 443409 h 454926"/>
                    <a:gd name="connsiteX0" fmla="*/ 9762 w 515902"/>
                    <a:gd name="connsiteY0" fmla="*/ 443409 h 454926"/>
                    <a:gd name="connsiteX1" fmla="*/ 6587 w 515902"/>
                    <a:gd name="connsiteY1" fmla="*/ 217984 h 454926"/>
                    <a:gd name="connsiteX2" fmla="*/ 76437 w 515902"/>
                    <a:gd name="connsiteY2" fmla="*/ 154484 h 454926"/>
                    <a:gd name="connsiteX3" fmla="*/ 178037 w 515902"/>
                    <a:gd name="connsiteY3" fmla="*/ 148134 h 454926"/>
                    <a:gd name="connsiteX4" fmla="*/ 193912 w 515902"/>
                    <a:gd name="connsiteY4" fmla="*/ 90984 h 454926"/>
                    <a:gd name="connsiteX5" fmla="*/ 206612 w 515902"/>
                    <a:gd name="connsiteY5" fmla="*/ 11609 h 454926"/>
                    <a:gd name="connsiteX6" fmla="*/ 317737 w 515902"/>
                    <a:gd name="connsiteY6" fmla="*/ 8434 h 454926"/>
                    <a:gd name="connsiteX7" fmla="*/ 317737 w 515902"/>
                    <a:gd name="connsiteY7" fmla="*/ 87809 h 454926"/>
                    <a:gd name="connsiteX8" fmla="*/ 339962 w 515902"/>
                    <a:gd name="connsiteY8" fmla="*/ 135434 h 454926"/>
                    <a:gd name="connsiteX9" fmla="*/ 451087 w 515902"/>
                    <a:gd name="connsiteY9" fmla="*/ 157659 h 454926"/>
                    <a:gd name="connsiteX10" fmla="*/ 514587 w 515902"/>
                    <a:gd name="connsiteY10" fmla="*/ 227509 h 454926"/>
                    <a:gd name="connsiteX11" fmla="*/ 511412 w 515902"/>
                    <a:gd name="connsiteY11" fmla="*/ 449759 h 454926"/>
                    <a:gd name="connsiteX12" fmla="*/ 9762 w 515902"/>
                    <a:gd name="connsiteY12" fmla="*/ 443409 h 454926"/>
                    <a:gd name="connsiteX0" fmla="*/ 9762 w 515902"/>
                    <a:gd name="connsiteY0" fmla="*/ 443409 h 454926"/>
                    <a:gd name="connsiteX1" fmla="*/ 6587 w 515902"/>
                    <a:gd name="connsiteY1" fmla="*/ 217984 h 454926"/>
                    <a:gd name="connsiteX2" fmla="*/ 76437 w 515902"/>
                    <a:gd name="connsiteY2" fmla="*/ 154484 h 454926"/>
                    <a:gd name="connsiteX3" fmla="*/ 178037 w 515902"/>
                    <a:gd name="connsiteY3" fmla="*/ 148134 h 454926"/>
                    <a:gd name="connsiteX4" fmla="*/ 193912 w 515902"/>
                    <a:gd name="connsiteY4" fmla="*/ 90984 h 454926"/>
                    <a:gd name="connsiteX5" fmla="*/ 206612 w 515902"/>
                    <a:gd name="connsiteY5" fmla="*/ 11609 h 454926"/>
                    <a:gd name="connsiteX6" fmla="*/ 317737 w 515902"/>
                    <a:gd name="connsiteY6" fmla="*/ 8434 h 454926"/>
                    <a:gd name="connsiteX7" fmla="*/ 317737 w 515902"/>
                    <a:gd name="connsiteY7" fmla="*/ 87809 h 454926"/>
                    <a:gd name="connsiteX8" fmla="*/ 339962 w 515902"/>
                    <a:gd name="connsiteY8" fmla="*/ 135434 h 454926"/>
                    <a:gd name="connsiteX9" fmla="*/ 451087 w 515902"/>
                    <a:gd name="connsiteY9" fmla="*/ 157659 h 454926"/>
                    <a:gd name="connsiteX10" fmla="*/ 514587 w 515902"/>
                    <a:gd name="connsiteY10" fmla="*/ 227509 h 454926"/>
                    <a:gd name="connsiteX11" fmla="*/ 511412 w 515902"/>
                    <a:gd name="connsiteY11" fmla="*/ 449759 h 454926"/>
                    <a:gd name="connsiteX12" fmla="*/ 9762 w 515902"/>
                    <a:gd name="connsiteY12" fmla="*/ 443409 h 454926"/>
                    <a:gd name="connsiteX0" fmla="*/ 9762 w 515902"/>
                    <a:gd name="connsiteY0" fmla="*/ 443409 h 454926"/>
                    <a:gd name="connsiteX1" fmla="*/ 6587 w 515902"/>
                    <a:gd name="connsiteY1" fmla="*/ 217984 h 454926"/>
                    <a:gd name="connsiteX2" fmla="*/ 76437 w 515902"/>
                    <a:gd name="connsiteY2" fmla="*/ 154484 h 454926"/>
                    <a:gd name="connsiteX3" fmla="*/ 193912 w 515902"/>
                    <a:gd name="connsiteY3" fmla="*/ 90984 h 454926"/>
                    <a:gd name="connsiteX4" fmla="*/ 206612 w 515902"/>
                    <a:gd name="connsiteY4" fmla="*/ 11609 h 454926"/>
                    <a:gd name="connsiteX5" fmla="*/ 317737 w 515902"/>
                    <a:gd name="connsiteY5" fmla="*/ 8434 h 454926"/>
                    <a:gd name="connsiteX6" fmla="*/ 317737 w 515902"/>
                    <a:gd name="connsiteY6" fmla="*/ 87809 h 454926"/>
                    <a:gd name="connsiteX7" fmla="*/ 339962 w 515902"/>
                    <a:gd name="connsiteY7" fmla="*/ 135434 h 454926"/>
                    <a:gd name="connsiteX8" fmla="*/ 451087 w 515902"/>
                    <a:gd name="connsiteY8" fmla="*/ 157659 h 454926"/>
                    <a:gd name="connsiteX9" fmla="*/ 514587 w 515902"/>
                    <a:gd name="connsiteY9" fmla="*/ 227509 h 454926"/>
                    <a:gd name="connsiteX10" fmla="*/ 511412 w 515902"/>
                    <a:gd name="connsiteY10" fmla="*/ 449759 h 454926"/>
                    <a:gd name="connsiteX11" fmla="*/ 9762 w 515902"/>
                    <a:gd name="connsiteY11" fmla="*/ 443409 h 454926"/>
                    <a:gd name="connsiteX0" fmla="*/ 9762 w 515902"/>
                    <a:gd name="connsiteY0" fmla="*/ 446099 h 457616"/>
                    <a:gd name="connsiteX1" fmla="*/ 6587 w 515902"/>
                    <a:gd name="connsiteY1" fmla="*/ 220674 h 457616"/>
                    <a:gd name="connsiteX2" fmla="*/ 76437 w 515902"/>
                    <a:gd name="connsiteY2" fmla="*/ 157174 h 457616"/>
                    <a:gd name="connsiteX3" fmla="*/ 190737 w 515902"/>
                    <a:gd name="connsiteY3" fmla="*/ 138124 h 457616"/>
                    <a:gd name="connsiteX4" fmla="*/ 206612 w 515902"/>
                    <a:gd name="connsiteY4" fmla="*/ 14299 h 457616"/>
                    <a:gd name="connsiteX5" fmla="*/ 317737 w 515902"/>
                    <a:gd name="connsiteY5" fmla="*/ 11124 h 457616"/>
                    <a:gd name="connsiteX6" fmla="*/ 317737 w 515902"/>
                    <a:gd name="connsiteY6" fmla="*/ 90499 h 457616"/>
                    <a:gd name="connsiteX7" fmla="*/ 339962 w 515902"/>
                    <a:gd name="connsiteY7" fmla="*/ 138124 h 457616"/>
                    <a:gd name="connsiteX8" fmla="*/ 451087 w 515902"/>
                    <a:gd name="connsiteY8" fmla="*/ 160349 h 457616"/>
                    <a:gd name="connsiteX9" fmla="*/ 514587 w 515902"/>
                    <a:gd name="connsiteY9" fmla="*/ 230199 h 457616"/>
                    <a:gd name="connsiteX10" fmla="*/ 511412 w 515902"/>
                    <a:gd name="connsiteY10" fmla="*/ 452449 h 457616"/>
                    <a:gd name="connsiteX11" fmla="*/ 9762 w 515902"/>
                    <a:gd name="connsiteY11" fmla="*/ 446099 h 457616"/>
                    <a:gd name="connsiteX0" fmla="*/ 9762 w 515902"/>
                    <a:gd name="connsiteY0" fmla="*/ 446099 h 457616"/>
                    <a:gd name="connsiteX1" fmla="*/ 6587 w 515902"/>
                    <a:gd name="connsiteY1" fmla="*/ 220674 h 457616"/>
                    <a:gd name="connsiteX2" fmla="*/ 76437 w 515902"/>
                    <a:gd name="connsiteY2" fmla="*/ 157174 h 457616"/>
                    <a:gd name="connsiteX3" fmla="*/ 190737 w 515902"/>
                    <a:gd name="connsiteY3" fmla="*/ 138124 h 457616"/>
                    <a:gd name="connsiteX4" fmla="*/ 206612 w 515902"/>
                    <a:gd name="connsiteY4" fmla="*/ 14299 h 457616"/>
                    <a:gd name="connsiteX5" fmla="*/ 317737 w 515902"/>
                    <a:gd name="connsiteY5" fmla="*/ 11124 h 457616"/>
                    <a:gd name="connsiteX6" fmla="*/ 317737 w 515902"/>
                    <a:gd name="connsiteY6" fmla="*/ 90499 h 457616"/>
                    <a:gd name="connsiteX7" fmla="*/ 451087 w 515902"/>
                    <a:gd name="connsiteY7" fmla="*/ 160349 h 457616"/>
                    <a:gd name="connsiteX8" fmla="*/ 514587 w 515902"/>
                    <a:gd name="connsiteY8" fmla="*/ 230199 h 457616"/>
                    <a:gd name="connsiteX9" fmla="*/ 511412 w 515902"/>
                    <a:gd name="connsiteY9" fmla="*/ 452449 h 457616"/>
                    <a:gd name="connsiteX10" fmla="*/ 9762 w 515902"/>
                    <a:gd name="connsiteY10" fmla="*/ 446099 h 457616"/>
                    <a:gd name="connsiteX0" fmla="*/ 9762 w 515902"/>
                    <a:gd name="connsiteY0" fmla="*/ 447482 h 458999"/>
                    <a:gd name="connsiteX1" fmla="*/ 6587 w 515902"/>
                    <a:gd name="connsiteY1" fmla="*/ 222057 h 458999"/>
                    <a:gd name="connsiteX2" fmla="*/ 76437 w 515902"/>
                    <a:gd name="connsiteY2" fmla="*/ 158557 h 458999"/>
                    <a:gd name="connsiteX3" fmla="*/ 190737 w 515902"/>
                    <a:gd name="connsiteY3" fmla="*/ 139507 h 458999"/>
                    <a:gd name="connsiteX4" fmla="*/ 206612 w 515902"/>
                    <a:gd name="connsiteY4" fmla="*/ 15682 h 458999"/>
                    <a:gd name="connsiteX5" fmla="*/ 317737 w 515902"/>
                    <a:gd name="connsiteY5" fmla="*/ 12507 h 458999"/>
                    <a:gd name="connsiteX6" fmla="*/ 330437 w 515902"/>
                    <a:gd name="connsiteY6" fmla="*/ 114107 h 458999"/>
                    <a:gd name="connsiteX7" fmla="*/ 451087 w 515902"/>
                    <a:gd name="connsiteY7" fmla="*/ 161732 h 458999"/>
                    <a:gd name="connsiteX8" fmla="*/ 514587 w 515902"/>
                    <a:gd name="connsiteY8" fmla="*/ 231582 h 458999"/>
                    <a:gd name="connsiteX9" fmla="*/ 511412 w 515902"/>
                    <a:gd name="connsiteY9" fmla="*/ 453832 h 458999"/>
                    <a:gd name="connsiteX10" fmla="*/ 9762 w 515902"/>
                    <a:gd name="connsiteY10" fmla="*/ 447482 h 458999"/>
                    <a:gd name="connsiteX0" fmla="*/ 9762 w 515902"/>
                    <a:gd name="connsiteY0" fmla="*/ 446348 h 457865"/>
                    <a:gd name="connsiteX1" fmla="*/ 6587 w 515902"/>
                    <a:gd name="connsiteY1" fmla="*/ 220923 h 457865"/>
                    <a:gd name="connsiteX2" fmla="*/ 76437 w 515902"/>
                    <a:gd name="connsiteY2" fmla="*/ 157423 h 457865"/>
                    <a:gd name="connsiteX3" fmla="*/ 200262 w 515902"/>
                    <a:gd name="connsiteY3" fmla="*/ 119323 h 457865"/>
                    <a:gd name="connsiteX4" fmla="*/ 206612 w 515902"/>
                    <a:gd name="connsiteY4" fmla="*/ 14548 h 457865"/>
                    <a:gd name="connsiteX5" fmla="*/ 317737 w 515902"/>
                    <a:gd name="connsiteY5" fmla="*/ 11373 h 457865"/>
                    <a:gd name="connsiteX6" fmla="*/ 330437 w 515902"/>
                    <a:gd name="connsiteY6" fmla="*/ 112973 h 457865"/>
                    <a:gd name="connsiteX7" fmla="*/ 451087 w 515902"/>
                    <a:gd name="connsiteY7" fmla="*/ 160598 h 457865"/>
                    <a:gd name="connsiteX8" fmla="*/ 514587 w 515902"/>
                    <a:gd name="connsiteY8" fmla="*/ 230448 h 457865"/>
                    <a:gd name="connsiteX9" fmla="*/ 511412 w 515902"/>
                    <a:gd name="connsiteY9" fmla="*/ 452698 h 457865"/>
                    <a:gd name="connsiteX10" fmla="*/ 9762 w 515902"/>
                    <a:gd name="connsiteY10" fmla="*/ 446348 h 457865"/>
                    <a:gd name="connsiteX0" fmla="*/ 9762 w 515902"/>
                    <a:gd name="connsiteY0" fmla="*/ 446681 h 458198"/>
                    <a:gd name="connsiteX1" fmla="*/ 6587 w 515902"/>
                    <a:gd name="connsiteY1" fmla="*/ 221256 h 458198"/>
                    <a:gd name="connsiteX2" fmla="*/ 76437 w 515902"/>
                    <a:gd name="connsiteY2" fmla="*/ 157756 h 458198"/>
                    <a:gd name="connsiteX3" fmla="*/ 200262 w 515902"/>
                    <a:gd name="connsiteY3" fmla="*/ 119656 h 458198"/>
                    <a:gd name="connsiteX4" fmla="*/ 206612 w 515902"/>
                    <a:gd name="connsiteY4" fmla="*/ 14881 h 458198"/>
                    <a:gd name="connsiteX5" fmla="*/ 317737 w 515902"/>
                    <a:gd name="connsiteY5" fmla="*/ 11706 h 458198"/>
                    <a:gd name="connsiteX6" fmla="*/ 311502 w 515902"/>
                    <a:gd name="connsiteY6" fmla="*/ 118302 h 458198"/>
                    <a:gd name="connsiteX7" fmla="*/ 451087 w 515902"/>
                    <a:gd name="connsiteY7" fmla="*/ 160931 h 458198"/>
                    <a:gd name="connsiteX8" fmla="*/ 514587 w 515902"/>
                    <a:gd name="connsiteY8" fmla="*/ 230781 h 458198"/>
                    <a:gd name="connsiteX9" fmla="*/ 511412 w 515902"/>
                    <a:gd name="connsiteY9" fmla="*/ 453031 h 458198"/>
                    <a:gd name="connsiteX10" fmla="*/ 9762 w 515902"/>
                    <a:gd name="connsiteY10" fmla="*/ 446681 h 458198"/>
                    <a:gd name="connsiteX0" fmla="*/ 9762 w 515902"/>
                    <a:gd name="connsiteY0" fmla="*/ 446681 h 458198"/>
                    <a:gd name="connsiteX1" fmla="*/ 6587 w 515902"/>
                    <a:gd name="connsiteY1" fmla="*/ 221256 h 458198"/>
                    <a:gd name="connsiteX2" fmla="*/ 76437 w 515902"/>
                    <a:gd name="connsiteY2" fmla="*/ 157756 h 458198"/>
                    <a:gd name="connsiteX3" fmla="*/ 200262 w 515902"/>
                    <a:gd name="connsiteY3" fmla="*/ 119656 h 458198"/>
                    <a:gd name="connsiteX4" fmla="*/ 206612 w 515902"/>
                    <a:gd name="connsiteY4" fmla="*/ 14881 h 458198"/>
                    <a:gd name="connsiteX5" fmla="*/ 301506 w 515902"/>
                    <a:gd name="connsiteY5" fmla="*/ 11706 h 458198"/>
                    <a:gd name="connsiteX6" fmla="*/ 311502 w 515902"/>
                    <a:gd name="connsiteY6" fmla="*/ 118302 h 458198"/>
                    <a:gd name="connsiteX7" fmla="*/ 451087 w 515902"/>
                    <a:gd name="connsiteY7" fmla="*/ 160931 h 458198"/>
                    <a:gd name="connsiteX8" fmla="*/ 514587 w 515902"/>
                    <a:gd name="connsiteY8" fmla="*/ 230781 h 458198"/>
                    <a:gd name="connsiteX9" fmla="*/ 511412 w 515902"/>
                    <a:gd name="connsiteY9" fmla="*/ 453031 h 458198"/>
                    <a:gd name="connsiteX10" fmla="*/ 9762 w 515902"/>
                    <a:gd name="connsiteY10" fmla="*/ 446681 h 458198"/>
                    <a:gd name="connsiteX0" fmla="*/ 9762 w 515902"/>
                    <a:gd name="connsiteY0" fmla="*/ 446681 h 458198"/>
                    <a:gd name="connsiteX1" fmla="*/ 6587 w 515902"/>
                    <a:gd name="connsiteY1" fmla="*/ 221256 h 458198"/>
                    <a:gd name="connsiteX2" fmla="*/ 76437 w 515902"/>
                    <a:gd name="connsiteY2" fmla="*/ 157756 h 458198"/>
                    <a:gd name="connsiteX3" fmla="*/ 200262 w 515902"/>
                    <a:gd name="connsiteY3" fmla="*/ 119656 h 458198"/>
                    <a:gd name="connsiteX4" fmla="*/ 206612 w 515902"/>
                    <a:gd name="connsiteY4" fmla="*/ 14881 h 458198"/>
                    <a:gd name="connsiteX5" fmla="*/ 301506 w 515902"/>
                    <a:gd name="connsiteY5" fmla="*/ 11706 h 458198"/>
                    <a:gd name="connsiteX6" fmla="*/ 311502 w 515902"/>
                    <a:gd name="connsiteY6" fmla="*/ 118302 h 458198"/>
                    <a:gd name="connsiteX7" fmla="*/ 442972 w 515902"/>
                    <a:gd name="connsiteY7" fmla="*/ 180912 h 458198"/>
                    <a:gd name="connsiteX8" fmla="*/ 514587 w 515902"/>
                    <a:gd name="connsiteY8" fmla="*/ 230781 h 458198"/>
                    <a:gd name="connsiteX9" fmla="*/ 511412 w 515902"/>
                    <a:gd name="connsiteY9" fmla="*/ 453031 h 458198"/>
                    <a:gd name="connsiteX10" fmla="*/ 9762 w 515902"/>
                    <a:gd name="connsiteY10" fmla="*/ 446681 h 458198"/>
                    <a:gd name="connsiteX0" fmla="*/ 9762 w 511905"/>
                    <a:gd name="connsiteY0" fmla="*/ 446681 h 458198"/>
                    <a:gd name="connsiteX1" fmla="*/ 6587 w 511905"/>
                    <a:gd name="connsiteY1" fmla="*/ 221256 h 458198"/>
                    <a:gd name="connsiteX2" fmla="*/ 76437 w 511905"/>
                    <a:gd name="connsiteY2" fmla="*/ 157756 h 458198"/>
                    <a:gd name="connsiteX3" fmla="*/ 200262 w 511905"/>
                    <a:gd name="connsiteY3" fmla="*/ 119656 h 458198"/>
                    <a:gd name="connsiteX4" fmla="*/ 206612 w 511905"/>
                    <a:gd name="connsiteY4" fmla="*/ 14881 h 458198"/>
                    <a:gd name="connsiteX5" fmla="*/ 301506 w 511905"/>
                    <a:gd name="connsiteY5" fmla="*/ 11706 h 458198"/>
                    <a:gd name="connsiteX6" fmla="*/ 311502 w 511905"/>
                    <a:gd name="connsiteY6" fmla="*/ 118302 h 458198"/>
                    <a:gd name="connsiteX7" fmla="*/ 442972 w 511905"/>
                    <a:gd name="connsiteY7" fmla="*/ 180912 h 458198"/>
                    <a:gd name="connsiteX8" fmla="*/ 498357 w 511905"/>
                    <a:gd name="connsiteY8" fmla="*/ 250762 h 458198"/>
                    <a:gd name="connsiteX9" fmla="*/ 511412 w 511905"/>
                    <a:gd name="connsiteY9" fmla="*/ 453031 h 458198"/>
                    <a:gd name="connsiteX10" fmla="*/ 9762 w 511905"/>
                    <a:gd name="connsiteY10" fmla="*/ 446681 h 458198"/>
                    <a:gd name="connsiteX0" fmla="*/ 9762 w 511905"/>
                    <a:gd name="connsiteY0" fmla="*/ 446681 h 458198"/>
                    <a:gd name="connsiteX1" fmla="*/ 6587 w 511905"/>
                    <a:gd name="connsiteY1" fmla="*/ 221256 h 458198"/>
                    <a:gd name="connsiteX2" fmla="*/ 76437 w 511905"/>
                    <a:gd name="connsiteY2" fmla="*/ 157756 h 458198"/>
                    <a:gd name="connsiteX3" fmla="*/ 200262 w 511905"/>
                    <a:gd name="connsiteY3" fmla="*/ 119656 h 458198"/>
                    <a:gd name="connsiteX4" fmla="*/ 206612 w 511905"/>
                    <a:gd name="connsiteY4" fmla="*/ 14881 h 458198"/>
                    <a:gd name="connsiteX5" fmla="*/ 301506 w 511905"/>
                    <a:gd name="connsiteY5" fmla="*/ 11706 h 458198"/>
                    <a:gd name="connsiteX6" fmla="*/ 311502 w 511905"/>
                    <a:gd name="connsiteY6" fmla="*/ 118302 h 458198"/>
                    <a:gd name="connsiteX7" fmla="*/ 437562 w 511905"/>
                    <a:gd name="connsiteY7" fmla="*/ 198396 h 458198"/>
                    <a:gd name="connsiteX8" fmla="*/ 498357 w 511905"/>
                    <a:gd name="connsiteY8" fmla="*/ 250762 h 458198"/>
                    <a:gd name="connsiteX9" fmla="*/ 511412 w 511905"/>
                    <a:gd name="connsiteY9" fmla="*/ 453031 h 458198"/>
                    <a:gd name="connsiteX10" fmla="*/ 9762 w 511905"/>
                    <a:gd name="connsiteY10" fmla="*/ 446681 h 458198"/>
                    <a:gd name="connsiteX0" fmla="*/ 9762 w 511905"/>
                    <a:gd name="connsiteY0" fmla="*/ 446681 h 458198"/>
                    <a:gd name="connsiteX1" fmla="*/ 6587 w 511905"/>
                    <a:gd name="connsiteY1" fmla="*/ 221256 h 458198"/>
                    <a:gd name="connsiteX2" fmla="*/ 76437 w 511905"/>
                    <a:gd name="connsiteY2" fmla="*/ 157756 h 458198"/>
                    <a:gd name="connsiteX3" fmla="*/ 200262 w 511905"/>
                    <a:gd name="connsiteY3" fmla="*/ 119656 h 458198"/>
                    <a:gd name="connsiteX4" fmla="*/ 206612 w 511905"/>
                    <a:gd name="connsiteY4" fmla="*/ 14881 h 458198"/>
                    <a:gd name="connsiteX5" fmla="*/ 301506 w 511905"/>
                    <a:gd name="connsiteY5" fmla="*/ 11706 h 458198"/>
                    <a:gd name="connsiteX6" fmla="*/ 311502 w 511905"/>
                    <a:gd name="connsiteY6" fmla="*/ 118302 h 458198"/>
                    <a:gd name="connsiteX7" fmla="*/ 451087 w 511905"/>
                    <a:gd name="connsiteY7" fmla="*/ 188406 h 458198"/>
                    <a:gd name="connsiteX8" fmla="*/ 498357 w 511905"/>
                    <a:gd name="connsiteY8" fmla="*/ 250762 h 458198"/>
                    <a:gd name="connsiteX9" fmla="*/ 511412 w 511905"/>
                    <a:gd name="connsiteY9" fmla="*/ 453031 h 458198"/>
                    <a:gd name="connsiteX10" fmla="*/ 9762 w 511905"/>
                    <a:gd name="connsiteY10" fmla="*/ 446681 h 458198"/>
                    <a:gd name="connsiteX0" fmla="*/ 9762 w 511905"/>
                    <a:gd name="connsiteY0" fmla="*/ 447695 h 459212"/>
                    <a:gd name="connsiteX1" fmla="*/ 6587 w 511905"/>
                    <a:gd name="connsiteY1" fmla="*/ 222270 h 459212"/>
                    <a:gd name="connsiteX2" fmla="*/ 76437 w 511905"/>
                    <a:gd name="connsiteY2" fmla="*/ 158770 h 459212"/>
                    <a:gd name="connsiteX3" fmla="*/ 200262 w 511905"/>
                    <a:gd name="connsiteY3" fmla="*/ 120670 h 459212"/>
                    <a:gd name="connsiteX4" fmla="*/ 206612 w 511905"/>
                    <a:gd name="connsiteY4" fmla="*/ 15895 h 459212"/>
                    <a:gd name="connsiteX5" fmla="*/ 301506 w 511905"/>
                    <a:gd name="connsiteY5" fmla="*/ 12720 h 459212"/>
                    <a:gd name="connsiteX6" fmla="*/ 311502 w 511905"/>
                    <a:gd name="connsiteY6" fmla="*/ 134302 h 459212"/>
                    <a:gd name="connsiteX7" fmla="*/ 451087 w 511905"/>
                    <a:gd name="connsiteY7" fmla="*/ 189420 h 459212"/>
                    <a:gd name="connsiteX8" fmla="*/ 498357 w 511905"/>
                    <a:gd name="connsiteY8" fmla="*/ 251776 h 459212"/>
                    <a:gd name="connsiteX9" fmla="*/ 511412 w 511905"/>
                    <a:gd name="connsiteY9" fmla="*/ 454045 h 459212"/>
                    <a:gd name="connsiteX10" fmla="*/ 9762 w 511905"/>
                    <a:gd name="connsiteY10" fmla="*/ 447695 h 459212"/>
                    <a:gd name="connsiteX0" fmla="*/ 4227 w 522600"/>
                    <a:gd name="connsiteY0" fmla="*/ 455188 h 463021"/>
                    <a:gd name="connsiteX1" fmla="*/ 17282 w 522600"/>
                    <a:gd name="connsiteY1" fmla="*/ 222270 h 463021"/>
                    <a:gd name="connsiteX2" fmla="*/ 87132 w 522600"/>
                    <a:gd name="connsiteY2" fmla="*/ 158770 h 463021"/>
                    <a:gd name="connsiteX3" fmla="*/ 210957 w 522600"/>
                    <a:gd name="connsiteY3" fmla="*/ 120670 h 463021"/>
                    <a:gd name="connsiteX4" fmla="*/ 217307 w 522600"/>
                    <a:gd name="connsiteY4" fmla="*/ 15895 h 463021"/>
                    <a:gd name="connsiteX5" fmla="*/ 312201 w 522600"/>
                    <a:gd name="connsiteY5" fmla="*/ 12720 h 463021"/>
                    <a:gd name="connsiteX6" fmla="*/ 322197 w 522600"/>
                    <a:gd name="connsiteY6" fmla="*/ 134302 h 463021"/>
                    <a:gd name="connsiteX7" fmla="*/ 461782 w 522600"/>
                    <a:gd name="connsiteY7" fmla="*/ 189420 h 463021"/>
                    <a:gd name="connsiteX8" fmla="*/ 509052 w 522600"/>
                    <a:gd name="connsiteY8" fmla="*/ 251776 h 463021"/>
                    <a:gd name="connsiteX9" fmla="*/ 522107 w 522600"/>
                    <a:gd name="connsiteY9" fmla="*/ 454045 h 463021"/>
                    <a:gd name="connsiteX10" fmla="*/ 4227 w 522600"/>
                    <a:gd name="connsiteY10" fmla="*/ 455188 h 463021"/>
                    <a:gd name="connsiteX0" fmla="*/ 4227 w 522600"/>
                    <a:gd name="connsiteY0" fmla="*/ 455188 h 457596"/>
                    <a:gd name="connsiteX1" fmla="*/ 17282 w 522600"/>
                    <a:gd name="connsiteY1" fmla="*/ 222270 h 457596"/>
                    <a:gd name="connsiteX2" fmla="*/ 87132 w 522600"/>
                    <a:gd name="connsiteY2" fmla="*/ 158770 h 457596"/>
                    <a:gd name="connsiteX3" fmla="*/ 210957 w 522600"/>
                    <a:gd name="connsiteY3" fmla="*/ 120670 h 457596"/>
                    <a:gd name="connsiteX4" fmla="*/ 217307 w 522600"/>
                    <a:gd name="connsiteY4" fmla="*/ 15895 h 457596"/>
                    <a:gd name="connsiteX5" fmla="*/ 312201 w 522600"/>
                    <a:gd name="connsiteY5" fmla="*/ 12720 h 457596"/>
                    <a:gd name="connsiteX6" fmla="*/ 322197 w 522600"/>
                    <a:gd name="connsiteY6" fmla="*/ 134302 h 457596"/>
                    <a:gd name="connsiteX7" fmla="*/ 461782 w 522600"/>
                    <a:gd name="connsiteY7" fmla="*/ 189420 h 457596"/>
                    <a:gd name="connsiteX8" fmla="*/ 509052 w 522600"/>
                    <a:gd name="connsiteY8" fmla="*/ 251776 h 457596"/>
                    <a:gd name="connsiteX9" fmla="*/ 522107 w 522600"/>
                    <a:gd name="connsiteY9" fmla="*/ 454045 h 457596"/>
                    <a:gd name="connsiteX10" fmla="*/ 4227 w 522600"/>
                    <a:gd name="connsiteY10" fmla="*/ 455188 h 457596"/>
                    <a:gd name="connsiteX0" fmla="*/ 12757 w 531130"/>
                    <a:gd name="connsiteY0" fmla="*/ 455188 h 457596"/>
                    <a:gd name="connsiteX1" fmla="*/ 6876 w 531130"/>
                    <a:gd name="connsiteY1" fmla="*/ 237256 h 457596"/>
                    <a:gd name="connsiteX2" fmla="*/ 95662 w 531130"/>
                    <a:gd name="connsiteY2" fmla="*/ 158770 h 457596"/>
                    <a:gd name="connsiteX3" fmla="*/ 219487 w 531130"/>
                    <a:gd name="connsiteY3" fmla="*/ 120670 h 457596"/>
                    <a:gd name="connsiteX4" fmla="*/ 225837 w 531130"/>
                    <a:gd name="connsiteY4" fmla="*/ 15895 h 457596"/>
                    <a:gd name="connsiteX5" fmla="*/ 320731 w 531130"/>
                    <a:gd name="connsiteY5" fmla="*/ 12720 h 457596"/>
                    <a:gd name="connsiteX6" fmla="*/ 330727 w 531130"/>
                    <a:gd name="connsiteY6" fmla="*/ 134302 h 457596"/>
                    <a:gd name="connsiteX7" fmla="*/ 470312 w 531130"/>
                    <a:gd name="connsiteY7" fmla="*/ 189420 h 457596"/>
                    <a:gd name="connsiteX8" fmla="*/ 517582 w 531130"/>
                    <a:gd name="connsiteY8" fmla="*/ 251776 h 457596"/>
                    <a:gd name="connsiteX9" fmla="*/ 530637 w 531130"/>
                    <a:gd name="connsiteY9" fmla="*/ 454045 h 457596"/>
                    <a:gd name="connsiteX10" fmla="*/ 12757 w 531130"/>
                    <a:gd name="connsiteY10" fmla="*/ 455188 h 457596"/>
                    <a:gd name="connsiteX0" fmla="*/ 7226 w 536419"/>
                    <a:gd name="connsiteY0" fmla="*/ 447695 h 456315"/>
                    <a:gd name="connsiteX1" fmla="*/ 12165 w 536419"/>
                    <a:gd name="connsiteY1" fmla="*/ 237256 h 456315"/>
                    <a:gd name="connsiteX2" fmla="*/ 100951 w 536419"/>
                    <a:gd name="connsiteY2" fmla="*/ 158770 h 456315"/>
                    <a:gd name="connsiteX3" fmla="*/ 224776 w 536419"/>
                    <a:gd name="connsiteY3" fmla="*/ 120670 h 456315"/>
                    <a:gd name="connsiteX4" fmla="*/ 231126 w 536419"/>
                    <a:gd name="connsiteY4" fmla="*/ 15895 h 456315"/>
                    <a:gd name="connsiteX5" fmla="*/ 326020 w 536419"/>
                    <a:gd name="connsiteY5" fmla="*/ 12720 h 456315"/>
                    <a:gd name="connsiteX6" fmla="*/ 336016 w 536419"/>
                    <a:gd name="connsiteY6" fmla="*/ 134302 h 456315"/>
                    <a:gd name="connsiteX7" fmla="*/ 475601 w 536419"/>
                    <a:gd name="connsiteY7" fmla="*/ 189420 h 456315"/>
                    <a:gd name="connsiteX8" fmla="*/ 522871 w 536419"/>
                    <a:gd name="connsiteY8" fmla="*/ 251776 h 456315"/>
                    <a:gd name="connsiteX9" fmla="*/ 535926 w 536419"/>
                    <a:gd name="connsiteY9" fmla="*/ 454045 h 456315"/>
                    <a:gd name="connsiteX10" fmla="*/ 7226 w 536419"/>
                    <a:gd name="connsiteY10" fmla="*/ 447695 h 456315"/>
                    <a:gd name="connsiteX0" fmla="*/ 7226 w 528834"/>
                    <a:gd name="connsiteY0" fmla="*/ 447695 h 456315"/>
                    <a:gd name="connsiteX1" fmla="*/ 12165 w 528834"/>
                    <a:gd name="connsiteY1" fmla="*/ 237256 h 456315"/>
                    <a:gd name="connsiteX2" fmla="*/ 100951 w 528834"/>
                    <a:gd name="connsiteY2" fmla="*/ 158770 h 456315"/>
                    <a:gd name="connsiteX3" fmla="*/ 224776 w 528834"/>
                    <a:gd name="connsiteY3" fmla="*/ 120670 h 456315"/>
                    <a:gd name="connsiteX4" fmla="*/ 231126 w 528834"/>
                    <a:gd name="connsiteY4" fmla="*/ 15895 h 456315"/>
                    <a:gd name="connsiteX5" fmla="*/ 326020 w 528834"/>
                    <a:gd name="connsiteY5" fmla="*/ 12720 h 456315"/>
                    <a:gd name="connsiteX6" fmla="*/ 336016 w 528834"/>
                    <a:gd name="connsiteY6" fmla="*/ 134302 h 456315"/>
                    <a:gd name="connsiteX7" fmla="*/ 475601 w 528834"/>
                    <a:gd name="connsiteY7" fmla="*/ 189420 h 456315"/>
                    <a:gd name="connsiteX8" fmla="*/ 522871 w 528834"/>
                    <a:gd name="connsiteY8" fmla="*/ 251776 h 456315"/>
                    <a:gd name="connsiteX9" fmla="*/ 527811 w 528834"/>
                    <a:gd name="connsiteY9" fmla="*/ 454045 h 456315"/>
                    <a:gd name="connsiteX10" fmla="*/ 7226 w 528834"/>
                    <a:gd name="connsiteY10" fmla="*/ 447695 h 456315"/>
                    <a:gd name="connsiteX0" fmla="*/ 7226 w 528834"/>
                    <a:gd name="connsiteY0" fmla="*/ 447695 h 456315"/>
                    <a:gd name="connsiteX1" fmla="*/ 12165 w 528834"/>
                    <a:gd name="connsiteY1" fmla="*/ 237256 h 456315"/>
                    <a:gd name="connsiteX2" fmla="*/ 100951 w 528834"/>
                    <a:gd name="connsiteY2" fmla="*/ 158770 h 456315"/>
                    <a:gd name="connsiteX3" fmla="*/ 224776 w 528834"/>
                    <a:gd name="connsiteY3" fmla="*/ 120670 h 456315"/>
                    <a:gd name="connsiteX4" fmla="*/ 231126 w 528834"/>
                    <a:gd name="connsiteY4" fmla="*/ 15895 h 456315"/>
                    <a:gd name="connsiteX5" fmla="*/ 326020 w 528834"/>
                    <a:gd name="connsiteY5" fmla="*/ 12720 h 456315"/>
                    <a:gd name="connsiteX6" fmla="*/ 336016 w 528834"/>
                    <a:gd name="connsiteY6" fmla="*/ 134302 h 456315"/>
                    <a:gd name="connsiteX7" fmla="*/ 462076 w 528834"/>
                    <a:gd name="connsiteY7" fmla="*/ 184425 h 456315"/>
                    <a:gd name="connsiteX8" fmla="*/ 522871 w 528834"/>
                    <a:gd name="connsiteY8" fmla="*/ 251776 h 456315"/>
                    <a:gd name="connsiteX9" fmla="*/ 527811 w 528834"/>
                    <a:gd name="connsiteY9" fmla="*/ 454045 h 456315"/>
                    <a:gd name="connsiteX10" fmla="*/ 7226 w 528834"/>
                    <a:gd name="connsiteY10" fmla="*/ 447695 h 456315"/>
                    <a:gd name="connsiteX0" fmla="*/ 8515 w 530123"/>
                    <a:gd name="connsiteY0" fmla="*/ 447695 h 456315"/>
                    <a:gd name="connsiteX1" fmla="*/ 10749 w 530123"/>
                    <a:gd name="connsiteY1" fmla="*/ 244749 h 456315"/>
                    <a:gd name="connsiteX2" fmla="*/ 102240 w 530123"/>
                    <a:gd name="connsiteY2" fmla="*/ 158770 h 456315"/>
                    <a:gd name="connsiteX3" fmla="*/ 226065 w 530123"/>
                    <a:gd name="connsiteY3" fmla="*/ 120670 h 456315"/>
                    <a:gd name="connsiteX4" fmla="*/ 232415 w 530123"/>
                    <a:gd name="connsiteY4" fmla="*/ 15895 h 456315"/>
                    <a:gd name="connsiteX5" fmla="*/ 327309 w 530123"/>
                    <a:gd name="connsiteY5" fmla="*/ 12720 h 456315"/>
                    <a:gd name="connsiteX6" fmla="*/ 337305 w 530123"/>
                    <a:gd name="connsiteY6" fmla="*/ 134302 h 456315"/>
                    <a:gd name="connsiteX7" fmla="*/ 463365 w 530123"/>
                    <a:gd name="connsiteY7" fmla="*/ 184425 h 456315"/>
                    <a:gd name="connsiteX8" fmla="*/ 524160 w 530123"/>
                    <a:gd name="connsiteY8" fmla="*/ 251776 h 456315"/>
                    <a:gd name="connsiteX9" fmla="*/ 529100 w 530123"/>
                    <a:gd name="connsiteY9" fmla="*/ 454045 h 456315"/>
                    <a:gd name="connsiteX10" fmla="*/ 8515 w 530123"/>
                    <a:gd name="connsiteY10" fmla="*/ 447695 h 456315"/>
                    <a:gd name="connsiteX0" fmla="*/ 7671 w 529279"/>
                    <a:gd name="connsiteY0" fmla="*/ 447695 h 456315"/>
                    <a:gd name="connsiteX1" fmla="*/ 9905 w 529279"/>
                    <a:gd name="connsiteY1" fmla="*/ 244749 h 456315"/>
                    <a:gd name="connsiteX2" fmla="*/ 87870 w 529279"/>
                    <a:gd name="connsiteY2" fmla="*/ 166263 h 456315"/>
                    <a:gd name="connsiteX3" fmla="*/ 225221 w 529279"/>
                    <a:gd name="connsiteY3" fmla="*/ 120670 h 456315"/>
                    <a:gd name="connsiteX4" fmla="*/ 231571 w 529279"/>
                    <a:gd name="connsiteY4" fmla="*/ 15895 h 456315"/>
                    <a:gd name="connsiteX5" fmla="*/ 326465 w 529279"/>
                    <a:gd name="connsiteY5" fmla="*/ 12720 h 456315"/>
                    <a:gd name="connsiteX6" fmla="*/ 336461 w 529279"/>
                    <a:gd name="connsiteY6" fmla="*/ 134302 h 456315"/>
                    <a:gd name="connsiteX7" fmla="*/ 462521 w 529279"/>
                    <a:gd name="connsiteY7" fmla="*/ 184425 h 456315"/>
                    <a:gd name="connsiteX8" fmla="*/ 523316 w 529279"/>
                    <a:gd name="connsiteY8" fmla="*/ 251776 h 456315"/>
                    <a:gd name="connsiteX9" fmla="*/ 528256 w 529279"/>
                    <a:gd name="connsiteY9" fmla="*/ 454045 h 456315"/>
                    <a:gd name="connsiteX10" fmla="*/ 7671 w 529279"/>
                    <a:gd name="connsiteY10" fmla="*/ 447695 h 456315"/>
                    <a:gd name="connsiteX0" fmla="*/ 7671 w 529279"/>
                    <a:gd name="connsiteY0" fmla="*/ 447558 h 456178"/>
                    <a:gd name="connsiteX1" fmla="*/ 9905 w 529279"/>
                    <a:gd name="connsiteY1" fmla="*/ 244612 h 456178"/>
                    <a:gd name="connsiteX2" fmla="*/ 87870 w 529279"/>
                    <a:gd name="connsiteY2" fmla="*/ 166126 h 456178"/>
                    <a:gd name="connsiteX3" fmla="*/ 206285 w 529279"/>
                    <a:gd name="connsiteY3" fmla="*/ 118035 h 456178"/>
                    <a:gd name="connsiteX4" fmla="*/ 231571 w 529279"/>
                    <a:gd name="connsiteY4" fmla="*/ 15758 h 456178"/>
                    <a:gd name="connsiteX5" fmla="*/ 326465 w 529279"/>
                    <a:gd name="connsiteY5" fmla="*/ 12583 h 456178"/>
                    <a:gd name="connsiteX6" fmla="*/ 336461 w 529279"/>
                    <a:gd name="connsiteY6" fmla="*/ 134165 h 456178"/>
                    <a:gd name="connsiteX7" fmla="*/ 462521 w 529279"/>
                    <a:gd name="connsiteY7" fmla="*/ 184288 h 456178"/>
                    <a:gd name="connsiteX8" fmla="*/ 523316 w 529279"/>
                    <a:gd name="connsiteY8" fmla="*/ 251639 h 456178"/>
                    <a:gd name="connsiteX9" fmla="*/ 528256 w 529279"/>
                    <a:gd name="connsiteY9" fmla="*/ 453908 h 456178"/>
                    <a:gd name="connsiteX10" fmla="*/ 7671 w 529279"/>
                    <a:gd name="connsiteY10" fmla="*/ 447558 h 456178"/>
                    <a:gd name="connsiteX0" fmla="*/ 14544 w 536152"/>
                    <a:gd name="connsiteY0" fmla="*/ 447558 h 456178"/>
                    <a:gd name="connsiteX1" fmla="*/ 5958 w 536152"/>
                    <a:gd name="connsiteY1" fmla="*/ 247109 h 456178"/>
                    <a:gd name="connsiteX2" fmla="*/ 94743 w 536152"/>
                    <a:gd name="connsiteY2" fmla="*/ 166126 h 456178"/>
                    <a:gd name="connsiteX3" fmla="*/ 213158 w 536152"/>
                    <a:gd name="connsiteY3" fmla="*/ 118035 h 456178"/>
                    <a:gd name="connsiteX4" fmla="*/ 238444 w 536152"/>
                    <a:gd name="connsiteY4" fmla="*/ 15758 h 456178"/>
                    <a:gd name="connsiteX5" fmla="*/ 333338 w 536152"/>
                    <a:gd name="connsiteY5" fmla="*/ 12583 h 456178"/>
                    <a:gd name="connsiteX6" fmla="*/ 343334 w 536152"/>
                    <a:gd name="connsiteY6" fmla="*/ 134165 h 456178"/>
                    <a:gd name="connsiteX7" fmla="*/ 469394 w 536152"/>
                    <a:gd name="connsiteY7" fmla="*/ 184288 h 456178"/>
                    <a:gd name="connsiteX8" fmla="*/ 530189 w 536152"/>
                    <a:gd name="connsiteY8" fmla="*/ 251639 h 456178"/>
                    <a:gd name="connsiteX9" fmla="*/ 535129 w 536152"/>
                    <a:gd name="connsiteY9" fmla="*/ 453908 h 456178"/>
                    <a:gd name="connsiteX10" fmla="*/ 14544 w 536152"/>
                    <a:gd name="connsiteY10" fmla="*/ 447558 h 456178"/>
                    <a:gd name="connsiteX0" fmla="*/ 7226 w 542359"/>
                    <a:gd name="connsiteY0" fmla="*/ 450055 h 456488"/>
                    <a:gd name="connsiteX1" fmla="*/ 12165 w 542359"/>
                    <a:gd name="connsiteY1" fmla="*/ 247109 h 456488"/>
                    <a:gd name="connsiteX2" fmla="*/ 100950 w 542359"/>
                    <a:gd name="connsiteY2" fmla="*/ 166126 h 456488"/>
                    <a:gd name="connsiteX3" fmla="*/ 219365 w 542359"/>
                    <a:gd name="connsiteY3" fmla="*/ 118035 h 456488"/>
                    <a:gd name="connsiteX4" fmla="*/ 244651 w 542359"/>
                    <a:gd name="connsiteY4" fmla="*/ 15758 h 456488"/>
                    <a:gd name="connsiteX5" fmla="*/ 339545 w 542359"/>
                    <a:gd name="connsiteY5" fmla="*/ 12583 h 456488"/>
                    <a:gd name="connsiteX6" fmla="*/ 349541 w 542359"/>
                    <a:gd name="connsiteY6" fmla="*/ 134165 h 456488"/>
                    <a:gd name="connsiteX7" fmla="*/ 475601 w 542359"/>
                    <a:gd name="connsiteY7" fmla="*/ 184288 h 456488"/>
                    <a:gd name="connsiteX8" fmla="*/ 536396 w 542359"/>
                    <a:gd name="connsiteY8" fmla="*/ 251639 h 456488"/>
                    <a:gd name="connsiteX9" fmla="*/ 541336 w 542359"/>
                    <a:gd name="connsiteY9" fmla="*/ 453908 h 456488"/>
                    <a:gd name="connsiteX10" fmla="*/ 7226 w 542359"/>
                    <a:gd name="connsiteY10" fmla="*/ 450055 h 456488"/>
                    <a:gd name="connsiteX0" fmla="*/ 7226 w 542359"/>
                    <a:gd name="connsiteY0" fmla="*/ 450055 h 456488"/>
                    <a:gd name="connsiteX1" fmla="*/ 12165 w 542359"/>
                    <a:gd name="connsiteY1" fmla="*/ 247109 h 456488"/>
                    <a:gd name="connsiteX2" fmla="*/ 100950 w 542359"/>
                    <a:gd name="connsiteY2" fmla="*/ 166126 h 456488"/>
                    <a:gd name="connsiteX3" fmla="*/ 219365 w 542359"/>
                    <a:gd name="connsiteY3" fmla="*/ 118035 h 456488"/>
                    <a:gd name="connsiteX4" fmla="*/ 244651 w 542359"/>
                    <a:gd name="connsiteY4" fmla="*/ 15758 h 456488"/>
                    <a:gd name="connsiteX5" fmla="*/ 331430 w 542359"/>
                    <a:gd name="connsiteY5" fmla="*/ 12583 h 456488"/>
                    <a:gd name="connsiteX6" fmla="*/ 349541 w 542359"/>
                    <a:gd name="connsiteY6" fmla="*/ 134165 h 456488"/>
                    <a:gd name="connsiteX7" fmla="*/ 475601 w 542359"/>
                    <a:gd name="connsiteY7" fmla="*/ 184288 h 456488"/>
                    <a:gd name="connsiteX8" fmla="*/ 536396 w 542359"/>
                    <a:gd name="connsiteY8" fmla="*/ 251639 h 456488"/>
                    <a:gd name="connsiteX9" fmla="*/ 541336 w 542359"/>
                    <a:gd name="connsiteY9" fmla="*/ 453908 h 456488"/>
                    <a:gd name="connsiteX10" fmla="*/ 7226 w 542359"/>
                    <a:gd name="connsiteY10" fmla="*/ 450055 h 456488"/>
                    <a:gd name="connsiteX0" fmla="*/ 7226 w 542359"/>
                    <a:gd name="connsiteY0" fmla="*/ 450055 h 456488"/>
                    <a:gd name="connsiteX1" fmla="*/ 12165 w 542359"/>
                    <a:gd name="connsiteY1" fmla="*/ 247109 h 456488"/>
                    <a:gd name="connsiteX2" fmla="*/ 100950 w 542359"/>
                    <a:gd name="connsiteY2" fmla="*/ 166126 h 456488"/>
                    <a:gd name="connsiteX3" fmla="*/ 219365 w 542359"/>
                    <a:gd name="connsiteY3" fmla="*/ 118035 h 456488"/>
                    <a:gd name="connsiteX4" fmla="*/ 244651 w 542359"/>
                    <a:gd name="connsiteY4" fmla="*/ 15758 h 456488"/>
                    <a:gd name="connsiteX5" fmla="*/ 331430 w 542359"/>
                    <a:gd name="connsiteY5" fmla="*/ 12583 h 456488"/>
                    <a:gd name="connsiteX6" fmla="*/ 349541 w 542359"/>
                    <a:gd name="connsiteY6" fmla="*/ 134165 h 456488"/>
                    <a:gd name="connsiteX7" fmla="*/ 483716 w 542359"/>
                    <a:gd name="connsiteY7" fmla="*/ 179293 h 456488"/>
                    <a:gd name="connsiteX8" fmla="*/ 536396 w 542359"/>
                    <a:gd name="connsiteY8" fmla="*/ 251639 h 456488"/>
                    <a:gd name="connsiteX9" fmla="*/ 541336 w 542359"/>
                    <a:gd name="connsiteY9" fmla="*/ 453908 h 456488"/>
                    <a:gd name="connsiteX10" fmla="*/ 7226 w 542359"/>
                    <a:gd name="connsiteY10" fmla="*/ 450055 h 456488"/>
                    <a:gd name="connsiteX0" fmla="*/ 6630 w 541763"/>
                    <a:gd name="connsiteY0" fmla="*/ 450055 h 456488"/>
                    <a:gd name="connsiteX1" fmla="*/ 11569 w 541763"/>
                    <a:gd name="connsiteY1" fmla="*/ 247109 h 456488"/>
                    <a:gd name="connsiteX2" fmla="*/ 89534 w 541763"/>
                    <a:gd name="connsiteY2" fmla="*/ 166126 h 456488"/>
                    <a:gd name="connsiteX3" fmla="*/ 218769 w 541763"/>
                    <a:gd name="connsiteY3" fmla="*/ 118035 h 456488"/>
                    <a:gd name="connsiteX4" fmla="*/ 244055 w 541763"/>
                    <a:gd name="connsiteY4" fmla="*/ 15758 h 456488"/>
                    <a:gd name="connsiteX5" fmla="*/ 330834 w 541763"/>
                    <a:gd name="connsiteY5" fmla="*/ 12583 h 456488"/>
                    <a:gd name="connsiteX6" fmla="*/ 348945 w 541763"/>
                    <a:gd name="connsiteY6" fmla="*/ 134165 h 456488"/>
                    <a:gd name="connsiteX7" fmla="*/ 483120 w 541763"/>
                    <a:gd name="connsiteY7" fmla="*/ 179293 h 456488"/>
                    <a:gd name="connsiteX8" fmla="*/ 535800 w 541763"/>
                    <a:gd name="connsiteY8" fmla="*/ 251639 h 456488"/>
                    <a:gd name="connsiteX9" fmla="*/ 540740 w 541763"/>
                    <a:gd name="connsiteY9" fmla="*/ 453908 h 456488"/>
                    <a:gd name="connsiteX10" fmla="*/ 6630 w 541763"/>
                    <a:gd name="connsiteY10" fmla="*/ 450055 h 456488"/>
                    <a:gd name="connsiteX0" fmla="*/ 4856 w 539989"/>
                    <a:gd name="connsiteY0" fmla="*/ 450055 h 456488"/>
                    <a:gd name="connsiteX1" fmla="*/ 15205 w 539989"/>
                    <a:gd name="connsiteY1" fmla="*/ 227128 h 456488"/>
                    <a:gd name="connsiteX2" fmla="*/ 87760 w 539989"/>
                    <a:gd name="connsiteY2" fmla="*/ 166126 h 456488"/>
                    <a:gd name="connsiteX3" fmla="*/ 216995 w 539989"/>
                    <a:gd name="connsiteY3" fmla="*/ 118035 h 456488"/>
                    <a:gd name="connsiteX4" fmla="*/ 242281 w 539989"/>
                    <a:gd name="connsiteY4" fmla="*/ 15758 h 456488"/>
                    <a:gd name="connsiteX5" fmla="*/ 329060 w 539989"/>
                    <a:gd name="connsiteY5" fmla="*/ 12583 h 456488"/>
                    <a:gd name="connsiteX6" fmla="*/ 347171 w 539989"/>
                    <a:gd name="connsiteY6" fmla="*/ 134165 h 456488"/>
                    <a:gd name="connsiteX7" fmla="*/ 481346 w 539989"/>
                    <a:gd name="connsiteY7" fmla="*/ 179293 h 456488"/>
                    <a:gd name="connsiteX8" fmla="*/ 534026 w 539989"/>
                    <a:gd name="connsiteY8" fmla="*/ 251639 h 456488"/>
                    <a:gd name="connsiteX9" fmla="*/ 538966 w 539989"/>
                    <a:gd name="connsiteY9" fmla="*/ 453908 h 456488"/>
                    <a:gd name="connsiteX10" fmla="*/ 4856 w 539989"/>
                    <a:gd name="connsiteY10" fmla="*/ 450055 h 4564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39989" h="456488">
                      <a:moveTo>
                        <a:pt x="4856" y="450055"/>
                      </a:moveTo>
                      <a:cubicBezTo>
                        <a:pt x="-5198" y="385497"/>
                        <a:pt x="1388" y="274449"/>
                        <a:pt x="15205" y="227128"/>
                      </a:cubicBezTo>
                      <a:cubicBezTo>
                        <a:pt x="29022" y="179807"/>
                        <a:pt x="54128" y="184308"/>
                        <a:pt x="87760" y="166126"/>
                      </a:cubicBezTo>
                      <a:cubicBezTo>
                        <a:pt x="121392" y="147944"/>
                        <a:pt x="191242" y="143096"/>
                        <a:pt x="216995" y="118035"/>
                      </a:cubicBezTo>
                      <a:cubicBezTo>
                        <a:pt x="242748" y="92974"/>
                        <a:pt x="223604" y="33333"/>
                        <a:pt x="242281" y="15758"/>
                      </a:cubicBezTo>
                      <a:cubicBezTo>
                        <a:pt x="260958" y="-1817"/>
                        <a:pt x="311578" y="-7151"/>
                        <a:pt x="329060" y="12583"/>
                      </a:cubicBezTo>
                      <a:cubicBezTo>
                        <a:pt x="346542" y="32317"/>
                        <a:pt x="321790" y="106380"/>
                        <a:pt x="347171" y="134165"/>
                      </a:cubicBezTo>
                      <a:cubicBezTo>
                        <a:pt x="372552" y="161950"/>
                        <a:pt x="450204" y="159714"/>
                        <a:pt x="481346" y="179293"/>
                      </a:cubicBezTo>
                      <a:cubicBezTo>
                        <a:pt x="512489" y="198872"/>
                        <a:pt x="523972" y="202956"/>
                        <a:pt x="534026" y="251639"/>
                      </a:cubicBezTo>
                      <a:cubicBezTo>
                        <a:pt x="537201" y="301381"/>
                        <a:pt x="542141" y="328496"/>
                        <a:pt x="538966" y="453908"/>
                      </a:cubicBezTo>
                      <a:cubicBezTo>
                        <a:pt x="307191" y="461845"/>
                        <a:pt x="250800" y="448827"/>
                        <a:pt x="4856" y="450055"/>
                      </a:cubicBezTo>
                      <a:close/>
                    </a:path>
                  </a:pathLst>
                </a:custGeom>
                <a:solidFill>
                  <a:schemeClr val="bg1"/>
                </a:solidFill>
                <a:ln w="57150">
                  <a:solidFill>
                    <a:schemeClr val="tx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36" name="Oval 35">
                  <a:extLst>
                    <a:ext uri="{FF2B5EF4-FFF2-40B4-BE49-F238E27FC236}">
                      <a16:creationId xmlns:a16="http://schemas.microsoft.com/office/drawing/2014/main" id="{F50645E9-7267-4647-A0F6-877381093788}"/>
                    </a:ext>
                  </a:extLst>
                </p:cNvPr>
                <p:cNvSpPr/>
                <p:nvPr/>
              </p:nvSpPr>
              <p:spPr>
                <a:xfrm>
                  <a:off x="1964431" y="3500843"/>
                  <a:ext cx="259337" cy="299858"/>
                </a:xfrm>
                <a:prstGeom prst="ellipse">
                  <a:avLst/>
                </a:prstGeom>
                <a:solidFill>
                  <a:schemeClr val="bg1"/>
                </a:solidFill>
                <a:ln w="57150">
                  <a:solidFill>
                    <a:schemeClr val="tx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grpSp>
        </p:grpSp>
        <p:grpSp>
          <p:nvGrpSpPr>
            <p:cNvPr id="51" name="Group 50">
              <a:extLst>
                <a:ext uri="{FF2B5EF4-FFF2-40B4-BE49-F238E27FC236}">
                  <a16:creationId xmlns:a16="http://schemas.microsoft.com/office/drawing/2014/main" id="{FF4D242D-8212-AF46-9E0C-B30A8880AEC4}"/>
                </a:ext>
              </a:extLst>
            </p:cNvPr>
            <p:cNvGrpSpPr/>
            <p:nvPr/>
          </p:nvGrpSpPr>
          <p:grpSpPr>
            <a:xfrm>
              <a:off x="2495712" y="4589934"/>
              <a:ext cx="1256698" cy="510604"/>
              <a:chOff x="2495712" y="4589934"/>
              <a:chExt cx="1256698" cy="510604"/>
            </a:xfrm>
            <a:solidFill>
              <a:schemeClr val="tx1">
                <a:lumMod val="50000"/>
              </a:schemeClr>
            </a:solidFill>
          </p:grpSpPr>
          <p:sp>
            <p:nvSpPr>
              <p:cNvPr id="46" name="Rounded Rectangle 45">
                <a:extLst>
                  <a:ext uri="{FF2B5EF4-FFF2-40B4-BE49-F238E27FC236}">
                    <a16:creationId xmlns:a16="http://schemas.microsoft.com/office/drawing/2014/main" id="{946F7071-F3A7-AE41-9136-64A554DE38A6}"/>
                  </a:ext>
                </a:extLst>
              </p:cNvPr>
              <p:cNvSpPr/>
              <p:nvPr/>
            </p:nvSpPr>
            <p:spPr>
              <a:xfrm>
                <a:off x="2495712" y="4589934"/>
                <a:ext cx="1256697" cy="251941"/>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47" name="Rectangle 46">
                <a:extLst>
                  <a:ext uri="{FF2B5EF4-FFF2-40B4-BE49-F238E27FC236}">
                    <a16:creationId xmlns:a16="http://schemas.microsoft.com/office/drawing/2014/main" id="{20532C01-FF29-E348-AEB6-C6EDDB64F9B0}"/>
                  </a:ext>
                </a:extLst>
              </p:cNvPr>
              <p:cNvSpPr/>
              <p:nvPr/>
            </p:nvSpPr>
            <p:spPr>
              <a:xfrm>
                <a:off x="2498725" y="4797790"/>
                <a:ext cx="1253685" cy="13315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49" name="Rectangle 48">
                <a:extLst>
                  <a:ext uri="{FF2B5EF4-FFF2-40B4-BE49-F238E27FC236}">
                    <a16:creationId xmlns:a16="http://schemas.microsoft.com/office/drawing/2014/main" id="{F024B4F1-A32A-B044-A568-341C7C30A730}"/>
                  </a:ext>
                </a:extLst>
              </p:cNvPr>
              <p:cNvSpPr/>
              <p:nvPr/>
            </p:nvSpPr>
            <p:spPr>
              <a:xfrm>
                <a:off x="2546350" y="4923041"/>
                <a:ext cx="109152" cy="17749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50" name="Rectangle 49">
                <a:extLst>
                  <a:ext uri="{FF2B5EF4-FFF2-40B4-BE49-F238E27FC236}">
                    <a16:creationId xmlns:a16="http://schemas.microsoft.com/office/drawing/2014/main" id="{20F607EE-83FA-D146-968B-6569F514EE9E}"/>
                  </a:ext>
                </a:extLst>
              </p:cNvPr>
              <p:cNvSpPr/>
              <p:nvPr/>
            </p:nvSpPr>
            <p:spPr>
              <a:xfrm>
                <a:off x="3610945" y="4923041"/>
                <a:ext cx="109152" cy="17749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grpSp>
        <p:sp>
          <p:nvSpPr>
            <p:cNvPr id="48" name="Trapezoid 47">
              <a:extLst>
                <a:ext uri="{FF2B5EF4-FFF2-40B4-BE49-F238E27FC236}">
                  <a16:creationId xmlns:a16="http://schemas.microsoft.com/office/drawing/2014/main" id="{B0E20367-6679-2348-9C29-2BA936CC7D4C}"/>
                </a:ext>
              </a:extLst>
            </p:cNvPr>
            <p:cNvSpPr/>
            <p:nvPr/>
          </p:nvSpPr>
          <p:spPr>
            <a:xfrm>
              <a:off x="2655502" y="4181475"/>
              <a:ext cx="958850" cy="363303"/>
            </a:xfrm>
            <a:prstGeom prst="trapezoid">
              <a:avLst/>
            </a:prstGeom>
            <a:solidFill>
              <a:schemeClr val="tx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grpSp>
      <p:grpSp>
        <p:nvGrpSpPr>
          <p:cNvPr id="53" name="Group 52">
            <a:extLst>
              <a:ext uri="{FF2B5EF4-FFF2-40B4-BE49-F238E27FC236}">
                <a16:creationId xmlns:a16="http://schemas.microsoft.com/office/drawing/2014/main" id="{F6DDA63E-7DA9-3D48-9CCE-671BC25C7B55}"/>
              </a:ext>
            </a:extLst>
          </p:cNvPr>
          <p:cNvGrpSpPr/>
          <p:nvPr/>
        </p:nvGrpSpPr>
        <p:grpSpPr>
          <a:xfrm>
            <a:off x="8191117" y="3230929"/>
            <a:ext cx="1025213" cy="1261037"/>
            <a:chOff x="2441771" y="3385414"/>
            <a:chExt cx="1325481" cy="1781019"/>
          </a:xfrm>
        </p:grpSpPr>
        <p:pic>
          <p:nvPicPr>
            <p:cNvPr id="54" name="Picture 53">
              <a:extLst>
                <a:ext uri="{FF2B5EF4-FFF2-40B4-BE49-F238E27FC236}">
                  <a16:creationId xmlns:a16="http://schemas.microsoft.com/office/drawing/2014/main" id="{E0FEF3A8-D24C-0D40-9E7F-2A4A4C814450}"/>
                </a:ext>
              </a:extLst>
            </p:cNvPr>
            <p:cNvPicPr>
              <a:picLocks noChangeAspect="1"/>
            </p:cNvPicPr>
            <p:nvPr/>
          </p:nvPicPr>
          <p:blipFill rotWithShape="1">
            <a:blip r:embed="rId2"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a:xfrm>
              <a:off x="2441771" y="3385414"/>
              <a:ext cx="1325481" cy="1781019"/>
            </a:xfrm>
            <a:prstGeom prst="rect">
              <a:avLst/>
            </a:prstGeom>
          </p:spPr>
        </p:pic>
        <p:sp>
          <p:nvSpPr>
            <p:cNvPr id="55" name="Rounded Rectangle 54">
              <a:extLst>
                <a:ext uri="{FF2B5EF4-FFF2-40B4-BE49-F238E27FC236}">
                  <a16:creationId xmlns:a16="http://schemas.microsoft.com/office/drawing/2014/main" id="{7980EDA8-A602-2D48-B5B4-78702B6F6A28}"/>
                </a:ext>
              </a:extLst>
            </p:cNvPr>
            <p:cNvSpPr/>
            <p:nvPr/>
          </p:nvSpPr>
          <p:spPr>
            <a:xfrm>
              <a:off x="2655502" y="3670300"/>
              <a:ext cx="958850" cy="436656"/>
            </a:xfrm>
            <a:prstGeom prst="roundRect">
              <a:avLst/>
            </a:prstGeom>
            <a:solidFill>
              <a:schemeClr val="tx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grpSp>
          <p:nvGrpSpPr>
            <p:cNvPr id="56" name="Group 55">
              <a:extLst>
                <a:ext uri="{FF2B5EF4-FFF2-40B4-BE49-F238E27FC236}">
                  <a16:creationId xmlns:a16="http://schemas.microsoft.com/office/drawing/2014/main" id="{C1607DF6-5FFB-9346-9063-E891855D650A}"/>
                </a:ext>
              </a:extLst>
            </p:cNvPr>
            <p:cNvGrpSpPr/>
            <p:nvPr/>
          </p:nvGrpSpPr>
          <p:grpSpPr>
            <a:xfrm>
              <a:off x="2776471" y="3456093"/>
              <a:ext cx="748710" cy="1056883"/>
              <a:chOff x="1496718" y="3334932"/>
              <a:chExt cx="748710" cy="1056883"/>
            </a:xfrm>
          </p:grpSpPr>
          <p:grpSp>
            <p:nvGrpSpPr>
              <p:cNvPr id="63" name="Group 62">
                <a:extLst>
                  <a:ext uri="{FF2B5EF4-FFF2-40B4-BE49-F238E27FC236}">
                    <a16:creationId xmlns:a16="http://schemas.microsoft.com/office/drawing/2014/main" id="{16F212F2-0B03-DC45-8C8B-B258F3AD3C5F}"/>
                  </a:ext>
                </a:extLst>
              </p:cNvPr>
              <p:cNvGrpSpPr/>
              <p:nvPr/>
            </p:nvGrpSpPr>
            <p:grpSpPr>
              <a:xfrm>
                <a:off x="1496718" y="3334932"/>
                <a:ext cx="748710" cy="1056883"/>
                <a:chOff x="1843570" y="3508300"/>
                <a:chExt cx="514980" cy="727982"/>
              </a:xfrm>
              <a:solidFill>
                <a:schemeClr val="bg1"/>
              </a:solidFill>
            </p:grpSpPr>
            <p:sp>
              <p:nvSpPr>
                <p:cNvPr id="67" name="Freeform 66">
                  <a:extLst>
                    <a:ext uri="{FF2B5EF4-FFF2-40B4-BE49-F238E27FC236}">
                      <a16:creationId xmlns:a16="http://schemas.microsoft.com/office/drawing/2014/main" id="{203D3397-0EC0-C54A-BB97-A989505C84DD}"/>
                    </a:ext>
                  </a:extLst>
                </p:cNvPr>
                <p:cNvSpPr/>
                <p:nvPr/>
              </p:nvSpPr>
              <p:spPr>
                <a:xfrm>
                  <a:off x="1843570" y="3787509"/>
                  <a:ext cx="514980" cy="448773"/>
                </a:xfrm>
                <a:custGeom>
                  <a:avLst/>
                  <a:gdLst>
                    <a:gd name="connsiteX0" fmla="*/ 36807 w 576731"/>
                    <a:gd name="connsiteY0" fmla="*/ 449906 h 505924"/>
                    <a:gd name="connsiteX1" fmla="*/ 39982 w 576731"/>
                    <a:gd name="connsiteY1" fmla="*/ 214956 h 505924"/>
                    <a:gd name="connsiteX2" fmla="*/ 55857 w 576731"/>
                    <a:gd name="connsiteY2" fmla="*/ 176856 h 505924"/>
                    <a:gd name="connsiteX3" fmla="*/ 103482 w 576731"/>
                    <a:gd name="connsiteY3" fmla="*/ 160981 h 505924"/>
                    <a:gd name="connsiteX4" fmla="*/ 205082 w 576731"/>
                    <a:gd name="connsiteY4" fmla="*/ 154631 h 505924"/>
                    <a:gd name="connsiteX5" fmla="*/ 230482 w 576731"/>
                    <a:gd name="connsiteY5" fmla="*/ 151456 h 505924"/>
                    <a:gd name="connsiteX6" fmla="*/ 233657 w 576731"/>
                    <a:gd name="connsiteY6" fmla="*/ 18106 h 505924"/>
                    <a:gd name="connsiteX7" fmla="*/ 344782 w 576731"/>
                    <a:gd name="connsiteY7" fmla="*/ 14931 h 505924"/>
                    <a:gd name="connsiteX8" fmla="*/ 344782 w 576731"/>
                    <a:gd name="connsiteY8" fmla="*/ 145106 h 505924"/>
                    <a:gd name="connsiteX9" fmla="*/ 386057 w 576731"/>
                    <a:gd name="connsiteY9" fmla="*/ 151456 h 505924"/>
                    <a:gd name="connsiteX10" fmla="*/ 478132 w 576731"/>
                    <a:gd name="connsiteY10" fmla="*/ 164156 h 505924"/>
                    <a:gd name="connsiteX11" fmla="*/ 519407 w 576731"/>
                    <a:gd name="connsiteY11" fmla="*/ 189556 h 505924"/>
                    <a:gd name="connsiteX12" fmla="*/ 541632 w 576731"/>
                    <a:gd name="connsiteY12" fmla="*/ 234006 h 505924"/>
                    <a:gd name="connsiteX13" fmla="*/ 538457 w 576731"/>
                    <a:gd name="connsiteY13" fmla="*/ 488006 h 505924"/>
                    <a:gd name="connsiteX14" fmla="*/ 36807 w 576731"/>
                    <a:gd name="connsiteY14" fmla="*/ 449906 h 505924"/>
                    <a:gd name="connsiteX0" fmla="*/ 5769 w 545693"/>
                    <a:gd name="connsiteY0" fmla="*/ 449906 h 505924"/>
                    <a:gd name="connsiteX1" fmla="*/ 8944 w 545693"/>
                    <a:gd name="connsiteY1" fmla="*/ 214956 h 505924"/>
                    <a:gd name="connsiteX2" fmla="*/ 24819 w 545693"/>
                    <a:gd name="connsiteY2" fmla="*/ 176856 h 505924"/>
                    <a:gd name="connsiteX3" fmla="*/ 72444 w 545693"/>
                    <a:gd name="connsiteY3" fmla="*/ 160981 h 505924"/>
                    <a:gd name="connsiteX4" fmla="*/ 174044 w 545693"/>
                    <a:gd name="connsiteY4" fmla="*/ 154631 h 505924"/>
                    <a:gd name="connsiteX5" fmla="*/ 199444 w 545693"/>
                    <a:gd name="connsiteY5" fmla="*/ 151456 h 505924"/>
                    <a:gd name="connsiteX6" fmla="*/ 202619 w 545693"/>
                    <a:gd name="connsiteY6" fmla="*/ 18106 h 505924"/>
                    <a:gd name="connsiteX7" fmla="*/ 313744 w 545693"/>
                    <a:gd name="connsiteY7" fmla="*/ 14931 h 505924"/>
                    <a:gd name="connsiteX8" fmla="*/ 313744 w 545693"/>
                    <a:gd name="connsiteY8" fmla="*/ 145106 h 505924"/>
                    <a:gd name="connsiteX9" fmla="*/ 355019 w 545693"/>
                    <a:gd name="connsiteY9" fmla="*/ 151456 h 505924"/>
                    <a:gd name="connsiteX10" fmla="*/ 447094 w 545693"/>
                    <a:gd name="connsiteY10" fmla="*/ 164156 h 505924"/>
                    <a:gd name="connsiteX11" fmla="*/ 488369 w 545693"/>
                    <a:gd name="connsiteY11" fmla="*/ 189556 h 505924"/>
                    <a:gd name="connsiteX12" fmla="*/ 510594 w 545693"/>
                    <a:gd name="connsiteY12" fmla="*/ 234006 h 505924"/>
                    <a:gd name="connsiteX13" fmla="*/ 507419 w 545693"/>
                    <a:gd name="connsiteY13" fmla="*/ 488006 h 505924"/>
                    <a:gd name="connsiteX14" fmla="*/ 5769 w 545693"/>
                    <a:gd name="connsiteY14" fmla="*/ 449906 h 505924"/>
                    <a:gd name="connsiteX0" fmla="*/ 21286 w 561210"/>
                    <a:gd name="connsiteY0" fmla="*/ 449906 h 508025"/>
                    <a:gd name="connsiteX1" fmla="*/ 24461 w 561210"/>
                    <a:gd name="connsiteY1" fmla="*/ 214956 h 508025"/>
                    <a:gd name="connsiteX2" fmla="*/ 40336 w 561210"/>
                    <a:gd name="connsiteY2" fmla="*/ 176856 h 508025"/>
                    <a:gd name="connsiteX3" fmla="*/ 87961 w 561210"/>
                    <a:gd name="connsiteY3" fmla="*/ 160981 h 508025"/>
                    <a:gd name="connsiteX4" fmla="*/ 189561 w 561210"/>
                    <a:gd name="connsiteY4" fmla="*/ 154631 h 508025"/>
                    <a:gd name="connsiteX5" fmla="*/ 214961 w 561210"/>
                    <a:gd name="connsiteY5" fmla="*/ 151456 h 508025"/>
                    <a:gd name="connsiteX6" fmla="*/ 218136 w 561210"/>
                    <a:gd name="connsiteY6" fmla="*/ 18106 h 508025"/>
                    <a:gd name="connsiteX7" fmla="*/ 329261 w 561210"/>
                    <a:gd name="connsiteY7" fmla="*/ 14931 h 508025"/>
                    <a:gd name="connsiteX8" fmla="*/ 329261 w 561210"/>
                    <a:gd name="connsiteY8" fmla="*/ 145106 h 508025"/>
                    <a:gd name="connsiteX9" fmla="*/ 370536 w 561210"/>
                    <a:gd name="connsiteY9" fmla="*/ 151456 h 508025"/>
                    <a:gd name="connsiteX10" fmla="*/ 462611 w 561210"/>
                    <a:gd name="connsiteY10" fmla="*/ 164156 h 508025"/>
                    <a:gd name="connsiteX11" fmla="*/ 503886 w 561210"/>
                    <a:gd name="connsiteY11" fmla="*/ 189556 h 508025"/>
                    <a:gd name="connsiteX12" fmla="*/ 526111 w 561210"/>
                    <a:gd name="connsiteY12" fmla="*/ 234006 h 508025"/>
                    <a:gd name="connsiteX13" fmla="*/ 522936 w 561210"/>
                    <a:gd name="connsiteY13" fmla="*/ 488006 h 508025"/>
                    <a:gd name="connsiteX14" fmla="*/ 21286 w 561210"/>
                    <a:gd name="connsiteY14" fmla="*/ 449906 h 508025"/>
                    <a:gd name="connsiteX0" fmla="*/ 21286 w 561210"/>
                    <a:gd name="connsiteY0" fmla="*/ 449906 h 508025"/>
                    <a:gd name="connsiteX1" fmla="*/ 24461 w 561210"/>
                    <a:gd name="connsiteY1" fmla="*/ 214956 h 508025"/>
                    <a:gd name="connsiteX2" fmla="*/ 40336 w 561210"/>
                    <a:gd name="connsiteY2" fmla="*/ 176856 h 508025"/>
                    <a:gd name="connsiteX3" fmla="*/ 87961 w 561210"/>
                    <a:gd name="connsiteY3" fmla="*/ 160981 h 508025"/>
                    <a:gd name="connsiteX4" fmla="*/ 189561 w 561210"/>
                    <a:gd name="connsiteY4" fmla="*/ 154631 h 508025"/>
                    <a:gd name="connsiteX5" fmla="*/ 214961 w 561210"/>
                    <a:gd name="connsiteY5" fmla="*/ 151456 h 508025"/>
                    <a:gd name="connsiteX6" fmla="*/ 218136 w 561210"/>
                    <a:gd name="connsiteY6" fmla="*/ 18106 h 508025"/>
                    <a:gd name="connsiteX7" fmla="*/ 329261 w 561210"/>
                    <a:gd name="connsiteY7" fmla="*/ 14931 h 508025"/>
                    <a:gd name="connsiteX8" fmla="*/ 329261 w 561210"/>
                    <a:gd name="connsiteY8" fmla="*/ 145106 h 508025"/>
                    <a:gd name="connsiteX9" fmla="*/ 370536 w 561210"/>
                    <a:gd name="connsiteY9" fmla="*/ 151456 h 508025"/>
                    <a:gd name="connsiteX10" fmla="*/ 462611 w 561210"/>
                    <a:gd name="connsiteY10" fmla="*/ 164156 h 508025"/>
                    <a:gd name="connsiteX11" fmla="*/ 503886 w 561210"/>
                    <a:gd name="connsiteY11" fmla="*/ 189556 h 508025"/>
                    <a:gd name="connsiteX12" fmla="*/ 526111 w 561210"/>
                    <a:gd name="connsiteY12" fmla="*/ 234006 h 508025"/>
                    <a:gd name="connsiteX13" fmla="*/ 522936 w 561210"/>
                    <a:gd name="connsiteY13" fmla="*/ 488006 h 508025"/>
                    <a:gd name="connsiteX14" fmla="*/ 21286 w 561210"/>
                    <a:gd name="connsiteY14" fmla="*/ 449906 h 508025"/>
                    <a:gd name="connsiteX0" fmla="*/ 4360 w 544284"/>
                    <a:gd name="connsiteY0" fmla="*/ 449906 h 508025"/>
                    <a:gd name="connsiteX1" fmla="*/ 7535 w 544284"/>
                    <a:gd name="connsiteY1" fmla="*/ 214956 h 508025"/>
                    <a:gd name="connsiteX2" fmla="*/ 23410 w 544284"/>
                    <a:gd name="connsiteY2" fmla="*/ 176856 h 508025"/>
                    <a:gd name="connsiteX3" fmla="*/ 71035 w 544284"/>
                    <a:gd name="connsiteY3" fmla="*/ 160981 h 508025"/>
                    <a:gd name="connsiteX4" fmla="*/ 172635 w 544284"/>
                    <a:gd name="connsiteY4" fmla="*/ 154631 h 508025"/>
                    <a:gd name="connsiteX5" fmla="*/ 198035 w 544284"/>
                    <a:gd name="connsiteY5" fmla="*/ 151456 h 508025"/>
                    <a:gd name="connsiteX6" fmla="*/ 201210 w 544284"/>
                    <a:gd name="connsiteY6" fmla="*/ 18106 h 508025"/>
                    <a:gd name="connsiteX7" fmla="*/ 312335 w 544284"/>
                    <a:gd name="connsiteY7" fmla="*/ 14931 h 508025"/>
                    <a:gd name="connsiteX8" fmla="*/ 312335 w 544284"/>
                    <a:gd name="connsiteY8" fmla="*/ 145106 h 508025"/>
                    <a:gd name="connsiteX9" fmla="*/ 353610 w 544284"/>
                    <a:gd name="connsiteY9" fmla="*/ 151456 h 508025"/>
                    <a:gd name="connsiteX10" fmla="*/ 445685 w 544284"/>
                    <a:gd name="connsiteY10" fmla="*/ 164156 h 508025"/>
                    <a:gd name="connsiteX11" fmla="*/ 486960 w 544284"/>
                    <a:gd name="connsiteY11" fmla="*/ 189556 h 508025"/>
                    <a:gd name="connsiteX12" fmla="*/ 509185 w 544284"/>
                    <a:gd name="connsiteY12" fmla="*/ 234006 h 508025"/>
                    <a:gd name="connsiteX13" fmla="*/ 506010 w 544284"/>
                    <a:gd name="connsiteY13" fmla="*/ 488006 h 508025"/>
                    <a:gd name="connsiteX14" fmla="*/ 4360 w 544284"/>
                    <a:gd name="connsiteY14" fmla="*/ 449906 h 508025"/>
                    <a:gd name="connsiteX0" fmla="*/ 4360 w 544284"/>
                    <a:gd name="connsiteY0" fmla="*/ 449906 h 500804"/>
                    <a:gd name="connsiteX1" fmla="*/ 7535 w 544284"/>
                    <a:gd name="connsiteY1" fmla="*/ 214956 h 500804"/>
                    <a:gd name="connsiteX2" fmla="*/ 23410 w 544284"/>
                    <a:gd name="connsiteY2" fmla="*/ 176856 h 500804"/>
                    <a:gd name="connsiteX3" fmla="*/ 71035 w 544284"/>
                    <a:gd name="connsiteY3" fmla="*/ 160981 h 500804"/>
                    <a:gd name="connsiteX4" fmla="*/ 172635 w 544284"/>
                    <a:gd name="connsiteY4" fmla="*/ 154631 h 500804"/>
                    <a:gd name="connsiteX5" fmla="*/ 198035 w 544284"/>
                    <a:gd name="connsiteY5" fmla="*/ 151456 h 500804"/>
                    <a:gd name="connsiteX6" fmla="*/ 201210 w 544284"/>
                    <a:gd name="connsiteY6" fmla="*/ 18106 h 500804"/>
                    <a:gd name="connsiteX7" fmla="*/ 312335 w 544284"/>
                    <a:gd name="connsiteY7" fmla="*/ 14931 h 500804"/>
                    <a:gd name="connsiteX8" fmla="*/ 312335 w 544284"/>
                    <a:gd name="connsiteY8" fmla="*/ 145106 h 500804"/>
                    <a:gd name="connsiteX9" fmla="*/ 353610 w 544284"/>
                    <a:gd name="connsiteY9" fmla="*/ 151456 h 500804"/>
                    <a:gd name="connsiteX10" fmla="*/ 445685 w 544284"/>
                    <a:gd name="connsiteY10" fmla="*/ 164156 h 500804"/>
                    <a:gd name="connsiteX11" fmla="*/ 486960 w 544284"/>
                    <a:gd name="connsiteY11" fmla="*/ 189556 h 500804"/>
                    <a:gd name="connsiteX12" fmla="*/ 509185 w 544284"/>
                    <a:gd name="connsiteY12" fmla="*/ 234006 h 500804"/>
                    <a:gd name="connsiteX13" fmla="*/ 506010 w 544284"/>
                    <a:gd name="connsiteY13" fmla="*/ 488006 h 500804"/>
                    <a:gd name="connsiteX14" fmla="*/ 4360 w 544284"/>
                    <a:gd name="connsiteY14" fmla="*/ 449906 h 500804"/>
                    <a:gd name="connsiteX0" fmla="*/ 4360 w 544284"/>
                    <a:gd name="connsiteY0" fmla="*/ 449906 h 500804"/>
                    <a:gd name="connsiteX1" fmla="*/ 7535 w 544284"/>
                    <a:gd name="connsiteY1" fmla="*/ 214956 h 500804"/>
                    <a:gd name="connsiteX2" fmla="*/ 23410 w 544284"/>
                    <a:gd name="connsiteY2" fmla="*/ 176856 h 500804"/>
                    <a:gd name="connsiteX3" fmla="*/ 71035 w 544284"/>
                    <a:gd name="connsiteY3" fmla="*/ 160981 h 500804"/>
                    <a:gd name="connsiteX4" fmla="*/ 172635 w 544284"/>
                    <a:gd name="connsiteY4" fmla="*/ 154631 h 500804"/>
                    <a:gd name="connsiteX5" fmla="*/ 198035 w 544284"/>
                    <a:gd name="connsiteY5" fmla="*/ 151456 h 500804"/>
                    <a:gd name="connsiteX6" fmla="*/ 201210 w 544284"/>
                    <a:gd name="connsiteY6" fmla="*/ 18106 h 500804"/>
                    <a:gd name="connsiteX7" fmla="*/ 312335 w 544284"/>
                    <a:gd name="connsiteY7" fmla="*/ 14931 h 500804"/>
                    <a:gd name="connsiteX8" fmla="*/ 312335 w 544284"/>
                    <a:gd name="connsiteY8" fmla="*/ 145106 h 500804"/>
                    <a:gd name="connsiteX9" fmla="*/ 353610 w 544284"/>
                    <a:gd name="connsiteY9" fmla="*/ 151456 h 500804"/>
                    <a:gd name="connsiteX10" fmla="*/ 445685 w 544284"/>
                    <a:gd name="connsiteY10" fmla="*/ 164156 h 500804"/>
                    <a:gd name="connsiteX11" fmla="*/ 486960 w 544284"/>
                    <a:gd name="connsiteY11" fmla="*/ 189556 h 500804"/>
                    <a:gd name="connsiteX12" fmla="*/ 509185 w 544284"/>
                    <a:gd name="connsiteY12" fmla="*/ 234006 h 500804"/>
                    <a:gd name="connsiteX13" fmla="*/ 506010 w 544284"/>
                    <a:gd name="connsiteY13" fmla="*/ 488006 h 500804"/>
                    <a:gd name="connsiteX14" fmla="*/ 4360 w 544284"/>
                    <a:gd name="connsiteY14" fmla="*/ 449906 h 500804"/>
                    <a:gd name="connsiteX0" fmla="*/ 4360 w 519024"/>
                    <a:gd name="connsiteY0" fmla="*/ 449906 h 500804"/>
                    <a:gd name="connsiteX1" fmla="*/ 7535 w 519024"/>
                    <a:gd name="connsiteY1" fmla="*/ 214956 h 500804"/>
                    <a:gd name="connsiteX2" fmla="*/ 23410 w 519024"/>
                    <a:gd name="connsiteY2" fmla="*/ 176856 h 500804"/>
                    <a:gd name="connsiteX3" fmla="*/ 71035 w 519024"/>
                    <a:gd name="connsiteY3" fmla="*/ 160981 h 500804"/>
                    <a:gd name="connsiteX4" fmla="*/ 172635 w 519024"/>
                    <a:gd name="connsiteY4" fmla="*/ 154631 h 500804"/>
                    <a:gd name="connsiteX5" fmla="*/ 198035 w 519024"/>
                    <a:gd name="connsiteY5" fmla="*/ 151456 h 500804"/>
                    <a:gd name="connsiteX6" fmla="*/ 201210 w 519024"/>
                    <a:gd name="connsiteY6" fmla="*/ 18106 h 500804"/>
                    <a:gd name="connsiteX7" fmla="*/ 312335 w 519024"/>
                    <a:gd name="connsiteY7" fmla="*/ 14931 h 500804"/>
                    <a:gd name="connsiteX8" fmla="*/ 312335 w 519024"/>
                    <a:gd name="connsiteY8" fmla="*/ 145106 h 500804"/>
                    <a:gd name="connsiteX9" fmla="*/ 353610 w 519024"/>
                    <a:gd name="connsiteY9" fmla="*/ 151456 h 500804"/>
                    <a:gd name="connsiteX10" fmla="*/ 445685 w 519024"/>
                    <a:gd name="connsiteY10" fmla="*/ 164156 h 500804"/>
                    <a:gd name="connsiteX11" fmla="*/ 486960 w 519024"/>
                    <a:gd name="connsiteY11" fmla="*/ 189556 h 500804"/>
                    <a:gd name="connsiteX12" fmla="*/ 509185 w 519024"/>
                    <a:gd name="connsiteY12" fmla="*/ 234006 h 500804"/>
                    <a:gd name="connsiteX13" fmla="*/ 506010 w 519024"/>
                    <a:gd name="connsiteY13" fmla="*/ 488006 h 500804"/>
                    <a:gd name="connsiteX14" fmla="*/ 4360 w 519024"/>
                    <a:gd name="connsiteY14" fmla="*/ 449906 h 500804"/>
                    <a:gd name="connsiteX0" fmla="*/ 4360 w 519024"/>
                    <a:gd name="connsiteY0" fmla="*/ 449906 h 488006"/>
                    <a:gd name="connsiteX1" fmla="*/ 7535 w 519024"/>
                    <a:gd name="connsiteY1" fmla="*/ 214956 h 488006"/>
                    <a:gd name="connsiteX2" fmla="*/ 23410 w 519024"/>
                    <a:gd name="connsiteY2" fmla="*/ 176856 h 488006"/>
                    <a:gd name="connsiteX3" fmla="*/ 71035 w 519024"/>
                    <a:gd name="connsiteY3" fmla="*/ 160981 h 488006"/>
                    <a:gd name="connsiteX4" fmla="*/ 172635 w 519024"/>
                    <a:gd name="connsiteY4" fmla="*/ 154631 h 488006"/>
                    <a:gd name="connsiteX5" fmla="*/ 198035 w 519024"/>
                    <a:gd name="connsiteY5" fmla="*/ 151456 h 488006"/>
                    <a:gd name="connsiteX6" fmla="*/ 201210 w 519024"/>
                    <a:gd name="connsiteY6" fmla="*/ 18106 h 488006"/>
                    <a:gd name="connsiteX7" fmla="*/ 312335 w 519024"/>
                    <a:gd name="connsiteY7" fmla="*/ 14931 h 488006"/>
                    <a:gd name="connsiteX8" fmla="*/ 312335 w 519024"/>
                    <a:gd name="connsiteY8" fmla="*/ 145106 h 488006"/>
                    <a:gd name="connsiteX9" fmla="*/ 353610 w 519024"/>
                    <a:gd name="connsiteY9" fmla="*/ 151456 h 488006"/>
                    <a:gd name="connsiteX10" fmla="*/ 445685 w 519024"/>
                    <a:gd name="connsiteY10" fmla="*/ 164156 h 488006"/>
                    <a:gd name="connsiteX11" fmla="*/ 486960 w 519024"/>
                    <a:gd name="connsiteY11" fmla="*/ 189556 h 488006"/>
                    <a:gd name="connsiteX12" fmla="*/ 509185 w 519024"/>
                    <a:gd name="connsiteY12" fmla="*/ 234006 h 488006"/>
                    <a:gd name="connsiteX13" fmla="*/ 506010 w 519024"/>
                    <a:gd name="connsiteY13" fmla="*/ 488006 h 488006"/>
                    <a:gd name="connsiteX14" fmla="*/ 4360 w 519024"/>
                    <a:gd name="connsiteY14" fmla="*/ 449906 h 488006"/>
                    <a:gd name="connsiteX0" fmla="*/ 4360 w 523534"/>
                    <a:gd name="connsiteY0" fmla="*/ 449906 h 472131"/>
                    <a:gd name="connsiteX1" fmla="*/ 7535 w 523534"/>
                    <a:gd name="connsiteY1" fmla="*/ 214956 h 472131"/>
                    <a:gd name="connsiteX2" fmla="*/ 23410 w 523534"/>
                    <a:gd name="connsiteY2" fmla="*/ 176856 h 472131"/>
                    <a:gd name="connsiteX3" fmla="*/ 71035 w 523534"/>
                    <a:gd name="connsiteY3" fmla="*/ 160981 h 472131"/>
                    <a:gd name="connsiteX4" fmla="*/ 172635 w 523534"/>
                    <a:gd name="connsiteY4" fmla="*/ 154631 h 472131"/>
                    <a:gd name="connsiteX5" fmla="*/ 198035 w 523534"/>
                    <a:gd name="connsiteY5" fmla="*/ 151456 h 472131"/>
                    <a:gd name="connsiteX6" fmla="*/ 201210 w 523534"/>
                    <a:gd name="connsiteY6" fmla="*/ 18106 h 472131"/>
                    <a:gd name="connsiteX7" fmla="*/ 312335 w 523534"/>
                    <a:gd name="connsiteY7" fmla="*/ 14931 h 472131"/>
                    <a:gd name="connsiteX8" fmla="*/ 312335 w 523534"/>
                    <a:gd name="connsiteY8" fmla="*/ 145106 h 472131"/>
                    <a:gd name="connsiteX9" fmla="*/ 353610 w 523534"/>
                    <a:gd name="connsiteY9" fmla="*/ 151456 h 472131"/>
                    <a:gd name="connsiteX10" fmla="*/ 445685 w 523534"/>
                    <a:gd name="connsiteY10" fmla="*/ 164156 h 472131"/>
                    <a:gd name="connsiteX11" fmla="*/ 486960 w 523534"/>
                    <a:gd name="connsiteY11" fmla="*/ 189556 h 472131"/>
                    <a:gd name="connsiteX12" fmla="*/ 509185 w 523534"/>
                    <a:gd name="connsiteY12" fmla="*/ 234006 h 472131"/>
                    <a:gd name="connsiteX13" fmla="*/ 512360 w 523534"/>
                    <a:gd name="connsiteY13" fmla="*/ 472131 h 472131"/>
                    <a:gd name="connsiteX14" fmla="*/ 4360 w 523534"/>
                    <a:gd name="connsiteY14" fmla="*/ 449906 h 472131"/>
                    <a:gd name="connsiteX0" fmla="*/ 4360 w 513675"/>
                    <a:gd name="connsiteY0" fmla="*/ 449906 h 472131"/>
                    <a:gd name="connsiteX1" fmla="*/ 7535 w 513675"/>
                    <a:gd name="connsiteY1" fmla="*/ 214956 h 472131"/>
                    <a:gd name="connsiteX2" fmla="*/ 23410 w 513675"/>
                    <a:gd name="connsiteY2" fmla="*/ 176856 h 472131"/>
                    <a:gd name="connsiteX3" fmla="*/ 71035 w 513675"/>
                    <a:gd name="connsiteY3" fmla="*/ 160981 h 472131"/>
                    <a:gd name="connsiteX4" fmla="*/ 172635 w 513675"/>
                    <a:gd name="connsiteY4" fmla="*/ 154631 h 472131"/>
                    <a:gd name="connsiteX5" fmla="*/ 198035 w 513675"/>
                    <a:gd name="connsiteY5" fmla="*/ 151456 h 472131"/>
                    <a:gd name="connsiteX6" fmla="*/ 201210 w 513675"/>
                    <a:gd name="connsiteY6" fmla="*/ 18106 h 472131"/>
                    <a:gd name="connsiteX7" fmla="*/ 312335 w 513675"/>
                    <a:gd name="connsiteY7" fmla="*/ 14931 h 472131"/>
                    <a:gd name="connsiteX8" fmla="*/ 312335 w 513675"/>
                    <a:gd name="connsiteY8" fmla="*/ 145106 h 472131"/>
                    <a:gd name="connsiteX9" fmla="*/ 353610 w 513675"/>
                    <a:gd name="connsiteY9" fmla="*/ 151456 h 472131"/>
                    <a:gd name="connsiteX10" fmla="*/ 445685 w 513675"/>
                    <a:gd name="connsiteY10" fmla="*/ 164156 h 472131"/>
                    <a:gd name="connsiteX11" fmla="*/ 486960 w 513675"/>
                    <a:gd name="connsiteY11" fmla="*/ 189556 h 472131"/>
                    <a:gd name="connsiteX12" fmla="*/ 509185 w 513675"/>
                    <a:gd name="connsiteY12" fmla="*/ 234006 h 472131"/>
                    <a:gd name="connsiteX13" fmla="*/ 512360 w 513675"/>
                    <a:gd name="connsiteY13" fmla="*/ 472131 h 472131"/>
                    <a:gd name="connsiteX14" fmla="*/ 4360 w 513675"/>
                    <a:gd name="connsiteY14" fmla="*/ 449906 h 472131"/>
                    <a:gd name="connsiteX0" fmla="*/ 4360 w 513675"/>
                    <a:gd name="connsiteY0" fmla="*/ 446969 h 469194"/>
                    <a:gd name="connsiteX1" fmla="*/ 7535 w 513675"/>
                    <a:gd name="connsiteY1" fmla="*/ 212019 h 469194"/>
                    <a:gd name="connsiteX2" fmla="*/ 23410 w 513675"/>
                    <a:gd name="connsiteY2" fmla="*/ 173919 h 469194"/>
                    <a:gd name="connsiteX3" fmla="*/ 71035 w 513675"/>
                    <a:gd name="connsiteY3" fmla="*/ 158044 h 469194"/>
                    <a:gd name="connsiteX4" fmla="*/ 172635 w 513675"/>
                    <a:gd name="connsiteY4" fmla="*/ 151694 h 469194"/>
                    <a:gd name="connsiteX5" fmla="*/ 188510 w 513675"/>
                    <a:gd name="connsiteY5" fmla="*/ 94544 h 469194"/>
                    <a:gd name="connsiteX6" fmla="*/ 201210 w 513675"/>
                    <a:gd name="connsiteY6" fmla="*/ 15169 h 469194"/>
                    <a:gd name="connsiteX7" fmla="*/ 312335 w 513675"/>
                    <a:gd name="connsiteY7" fmla="*/ 11994 h 469194"/>
                    <a:gd name="connsiteX8" fmla="*/ 312335 w 513675"/>
                    <a:gd name="connsiteY8" fmla="*/ 142169 h 469194"/>
                    <a:gd name="connsiteX9" fmla="*/ 353610 w 513675"/>
                    <a:gd name="connsiteY9" fmla="*/ 148519 h 469194"/>
                    <a:gd name="connsiteX10" fmla="*/ 445685 w 513675"/>
                    <a:gd name="connsiteY10" fmla="*/ 161219 h 469194"/>
                    <a:gd name="connsiteX11" fmla="*/ 486960 w 513675"/>
                    <a:gd name="connsiteY11" fmla="*/ 186619 h 469194"/>
                    <a:gd name="connsiteX12" fmla="*/ 509185 w 513675"/>
                    <a:gd name="connsiteY12" fmla="*/ 231069 h 469194"/>
                    <a:gd name="connsiteX13" fmla="*/ 512360 w 513675"/>
                    <a:gd name="connsiteY13" fmla="*/ 469194 h 469194"/>
                    <a:gd name="connsiteX14" fmla="*/ 4360 w 513675"/>
                    <a:gd name="connsiteY14" fmla="*/ 446969 h 469194"/>
                    <a:gd name="connsiteX0" fmla="*/ 4360 w 513675"/>
                    <a:gd name="connsiteY0" fmla="*/ 443409 h 465634"/>
                    <a:gd name="connsiteX1" fmla="*/ 7535 w 513675"/>
                    <a:gd name="connsiteY1" fmla="*/ 208459 h 465634"/>
                    <a:gd name="connsiteX2" fmla="*/ 23410 w 513675"/>
                    <a:gd name="connsiteY2" fmla="*/ 170359 h 465634"/>
                    <a:gd name="connsiteX3" fmla="*/ 71035 w 513675"/>
                    <a:gd name="connsiteY3" fmla="*/ 154484 h 465634"/>
                    <a:gd name="connsiteX4" fmla="*/ 172635 w 513675"/>
                    <a:gd name="connsiteY4" fmla="*/ 148134 h 465634"/>
                    <a:gd name="connsiteX5" fmla="*/ 188510 w 513675"/>
                    <a:gd name="connsiteY5" fmla="*/ 90984 h 465634"/>
                    <a:gd name="connsiteX6" fmla="*/ 201210 w 513675"/>
                    <a:gd name="connsiteY6" fmla="*/ 11609 h 465634"/>
                    <a:gd name="connsiteX7" fmla="*/ 312335 w 513675"/>
                    <a:gd name="connsiteY7" fmla="*/ 8434 h 465634"/>
                    <a:gd name="connsiteX8" fmla="*/ 312335 w 513675"/>
                    <a:gd name="connsiteY8" fmla="*/ 87809 h 465634"/>
                    <a:gd name="connsiteX9" fmla="*/ 353610 w 513675"/>
                    <a:gd name="connsiteY9" fmla="*/ 144959 h 465634"/>
                    <a:gd name="connsiteX10" fmla="*/ 445685 w 513675"/>
                    <a:gd name="connsiteY10" fmla="*/ 157659 h 465634"/>
                    <a:gd name="connsiteX11" fmla="*/ 486960 w 513675"/>
                    <a:gd name="connsiteY11" fmla="*/ 183059 h 465634"/>
                    <a:gd name="connsiteX12" fmla="*/ 509185 w 513675"/>
                    <a:gd name="connsiteY12" fmla="*/ 227509 h 465634"/>
                    <a:gd name="connsiteX13" fmla="*/ 512360 w 513675"/>
                    <a:gd name="connsiteY13" fmla="*/ 465634 h 465634"/>
                    <a:gd name="connsiteX14" fmla="*/ 4360 w 513675"/>
                    <a:gd name="connsiteY14" fmla="*/ 443409 h 465634"/>
                    <a:gd name="connsiteX0" fmla="*/ 4360 w 513675"/>
                    <a:gd name="connsiteY0" fmla="*/ 443409 h 465634"/>
                    <a:gd name="connsiteX1" fmla="*/ 7535 w 513675"/>
                    <a:gd name="connsiteY1" fmla="*/ 208459 h 465634"/>
                    <a:gd name="connsiteX2" fmla="*/ 23410 w 513675"/>
                    <a:gd name="connsiteY2" fmla="*/ 170359 h 465634"/>
                    <a:gd name="connsiteX3" fmla="*/ 71035 w 513675"/>
                    <a:gd name="connsiteY3" fmla="*/ 154484 h 465634"/>
                    <a:gd name="connsiteX4" fmla="*/ 172635 w 513675"/>
                    <a:gd name="connsiteY4" fmla="*/ 148134 h 465634"/>
                    <a:gd name="connsiteX5" fmla="*/ 188510 w 513675"/>
                    <a:gd name="connsiteY5" fmla="*/ 90984 h 465634"/>
                    <a:gd name="connsiteX6" fmla="*/ 201210 w 513675"/>
                    <a:gd name="connsiteY6" fmla="*/ 11609 h 465634"/>
                    <a:gd name="connsiteX7" fmla="*/ 312335 w 513675"/>
                    <a:gd name="connsiteY7" fmla="*/ 8434 h 465634"/>
                    <a:gd name="connsiteX8" fmla="*/ 312335 w 513675"/>
                    <a:gd name="connsiteY8" fmla="*/ 87809 h 465634"/>
                    <a:gd name="connsiteX9" fmla="*/ 334560 w 513675"/>
                    <a:gd name="connsiteY9" fmla="*/ 135434 h 465634"/>
                    <a:gd name="connsiteX10" fmla="*/ 445685 w 513675"/>
                    <a:gd name="connsiteY10" fmla="*/ 157659 h 465634"/>
                    <a:gd name="connsiteX11" fmla="*/ 486960 w 513675"/>
                    <a:gd name="connsiteY11" fmla="*/ 183059 h 465634"/>
                    <a:gd name="connsiteX12" fmla="*/ 509185 w 513675"/>
                    <a:gd name="connsiteY12" fmla="*/ 227509 h 465634"/>
                    <a:gd name="connsiteX13" fmla="*/ 512360 w 513675"/>
                    <a:gd name="connsiteY13" fmla="*/ 465634 h 465634"/>
                    <a:gd name="connsiteX14" fmla="*/ 4360 w 513675"/>
                    <a:gd name="connsiteY14" fmla="*/ 443409 h 465634"/>
                    <a:gd name="connsiteX0" fmla="*/ 4360 w 510500"/>
                    <a:gd name="connsiteY0" fmla="*/ 443409 h 449759"/>
                    <a:gd name="connsiteX1" fmla="*/ 7535 w 510500"/>
                    <a:gd name="connsiteY1" fmla="*/ 208459 h 449759"/>
                    <a:gd name="connsiteX2" fmla="*/ 23410 w 510500"/>
                    <a:gd name="connsiteY2" fmla="*/ 170359 h 449759"/>
                    <a:gd name="connsiteX3" fmla="*/ 71035 w 510500"/>
                    <a:gd name="connsiteY3" fmla="*/ 154484 h 449759"/>
                    <a:gd name="connsiteX4" fmla="*/ 172635 w 510500"/>
                    <a:gd name="connsiteY4" fmla="*/ 148134 h 449759"/>
                    <a:gd name="connsiteX5" fmla="*/ 188510 w 510500"/>
                    <a:gd name="connsiteY5" fmla="*/ 90984 h 449759"/>
                    <a:gd name="connsiteX6" fmla="*/ 201210 w 510500"/>
                    <a:gd name="connsiteY6" fmla="*/ 11609 h 449759"/>
                    <a:gd name="connsiteX7" fmla="*/ 312335 w 510500"/>
                    <a:gd name="connsiteY7" fmla="*/ 8434 h 449759"/>
                    <a:gd name="connsiteX8" fmla="*/ 312335 w 510500"/>
                    <a:gd name="connsiteY8" fmla="*/ 87809 h 449759"/>
                    <a:gd name="connsiteX9" fmla="*/ 334560 w 510500"/>
                    <a:gd name="connsiteY9" fmla="*/ 135434 h 449759"/>
                    <a:gd name="connsiteX10" fmla="*/ 445685 w 510500"/>
                    <a:gd name="connsiteY10" fmla="*/ 157659 h 449759"/>
                    <a:gd name="connsiteX11" fmla="*/ 486960 w 510500"/>
                    <a:gd name="connsiteY11" fmla="*/ 183059 h 449759"/>
                    <a:gd name="connsiteX12" fmla="*/ 509185 w 510500"/>
                    <a:gd name="connsiteY12" fmla="*/ 227509 h 449759"/>
                    <a:gd name="connsiteX13" fmla="*/ 506010 w 510500"/>
                    <a:gd name="connsiteY13" fmla="*/ 449759 h 449759"/>
                    <a:gd name="connsiteX14" fmla="*/ 4360 w 510500"/>
                    <a:gd name="connsiteY14" fmla="*/ 443409 h 449759"/>
                    <a:gd name="connsiteX0" fmla="*/ 4360 w 510500"/>
                    <a:gd name="connsiteY0" fmla="*/ 443409 h 454926"/>
                    <a:gd name="connsiteX1" fmla="*/ 7535 w 510500"/>
                    <a:gd name="connsiteY1" fmla="*/ 208459 h 454926"/>
                    <a:gd name="connsiteX2" fmla="*/ 23410 w 510500"/>
                    <a:gd name="connsiteY2" fmla="*/ 170359 h 454926"/>
                    <a:gd name="connsiteX3" fmla="*/ 71035 w 510500"/>
                    <a:gd name="connsiteY3" fmla="*/ 154484 h 454926"/>
                    <a:gd name="connsiteX4" fmla="*/ 172635 w 510500"/>
                    <a:gd name="connsiteY4" fmla="*/ 148134 h 454926"/>
                    <a:gd name="connsiteX5" fmla="*/ 188510 w 510500"/>
                    <a:gd name="connsiteY5" fmla="*/ 90984 h 454926"/>
                    <a:gd name="connsiteX6" fmla="*/ 201210 w 510500"/>
                    <a:gd name="connsiteY6" fmla="*/ 11609 h 454926"/>
                    <a:gd name="connsiteX7" fmla="*/ 312335 w 510500"/>
                    <a:gd name="connsiteY7" fmla="*/ 8434 h 454926"/>
                    <a:gd name="connsiteX8" fmla="*/ 312335 w 510500"/>
                    <a:gd name="connsiteY8" fmla="*/ 87809 h 454926"/>
                    <a:gd name="connsiteX9" fmla="*/ 334560 w 510500"/>
                    <a:gd name="connsiteY9" fmla="*/ 135434 h 454926"/>
                    <a:gd name="connsiteX10" fmla="*/ 445685 w 510500"/>
                    <a:gd name="connsiteY10" fmla="*/ 157659 h 454926"/>
                    <a:gd name="connsiteX11" fmla="*/ 486960 w 510500"/>
                    <a:gd name="connsiteY11" fmla="*/ 183059 h 454926"/>
                    <a:gd name="connsiteX12" fmla="*/ 509185 w 510500"/>
                    <a:gd name="connsiteY12" fmla="*/ 227509 h 454926"/>
                    <a:gd name="connsiteX13" fmla="*/ 506010 w 510500"/>
                    <a:gd name="connsiteY13" fmla="*/ 449759 h 454926"/>
                    <a:gd name="connsiteX14" fmla="*/ 4360 w 510500"/>
                    <a:gd name="connsiteY14" fmla="*/ 443409 h 454926"/>
                    <a:gd name="connsiteX0" fmla="*/ 6473 w 512613"/>
                    <a:gd name="connsiteY0" fmla="*/ 443409 h 454926"/>
                    <a:gd name="connsiteX1" fmla="*/ 9648 w 512613"/>
                    <a:gd name="connsiteY1" fmla="*/ 208459 h 454926"/>
                    <a:gd name="connsiteX2" fmla="*/ 73148 w 512613"/>
                    <a:gd name="connsiteY2" fmla="*/ 154484 h 454926"/>
                    <a:gd name="connsiteX3" fmla="*/ 174748 w 512613"/>
                    <a:gd name="connsiteY3" fmla="*/ 148134 h 454926"/>
                    <a:gd name="connsiteX4" fmla="*/ 190623 w 512613"/>
                    <a:gd name="connsiteY4" fmla="*/ 90984 h 454926"/>
                    <a:gd name="connsiteX5" fmla="*/ 203323 w 512613"/>
                    <a:gd name="connsiteY5" fmla="*/ 11609 h 454926"/>
                    <a:gd name="connsiteX6" fmla="*/ 314448 w 512613"/>
                    <a:gd name="connsiteY6" fmla="*/ 8434 h 454926"/>
                    <a:gd name="connsiteX7" fmla="*/ 314448 w 512613"/>
                    <a:gd name="connsiteY7" fmla="*/ 87809 h 454926"/>
                    <a:gd name="connsiteX8" fmla="*/ 336673 w 512613"/>
                    <a:gd name="connsiteY8" fmla="*/ 135434 h 454926"/>
                    <a:gd name="connsiteX9" fmla="*/ 447798 w 512613"/>
                    <a:gd name="connsiteY9" fmla="*/ 157659 h 454926"/>
                    <a:gd name="connsiteX10" fmla="*/ 489073 w 512613"/>
                    <a:gd name="connsiteY10" fmla="*/ 183059 h 454926"/>
                    <a:gd name="connsiteX11" fmla="*/ 511298 w 512613"/>
                    <a:gd name="connsiteY11" fmla="*/ 227509 h 454926"/>
                    <a:gd name="connsiteX12" fmla="*/ 508123 w 512613"/>
                    <a:gd name="connsiteY12" fmla="*/ 449759 h 454926"/>
                    <a:gd name="connsiteX13" fmla="*/ 6473 w 512613"/>
                    <a:gd name="connsiteY13" fmla="*/ 443409 h 454926"/>
                    <a:gd name="connsiteX0" fmla="*/ 4049 w 510189"/>
                    <a:gd name="connsiteY0" fmla="*/ 443409 h 454926"/>
                    <a:gd name="connsiteX1" fmla="*/ 7224 w 510189"/>
                    <a:gd name="connsiteY1" fmla="*/ 208459 h 454926"/>
                    <a:gd name="connsiteX2" fmla="*/ 70724 w 510189"/>
                    <a:gd name="connsiteY2" fmla="*/ 154484 h 454926"/>
                    <a:gd name="connsiteX3" fmla="*/ 172324 w 510189"/>
                    <a:gd name="connsiteY3" fmla="*/ 148134 h 454926"/>
                    <a:gd name="connsiteX4" fmla="*/ 188199 w 510189"/>
                    <a:gd name="connsiteY4" fmla="*/ 90984 h 454926"/>
                    <a:gd name="connsiteX5" fmla="*/ 200899 w 510189"/>
                    <a:gd name="connsiteY5" fmla="*/ 11609 h 454926"/>
                    <a:gd name="connsiteX6" fmla="*/ 312024 w 510189"/>
                    <a:gd name="connsiteY6" fmla="*/ 8434 h 454926"/>
                    <a:gd name="connsiteX7" fmla="*/ 312024 w 510189"/>
                    <a:gd name="connsiteY7" fmla="*/ 87809 h 454926"/>
                    <a:gd name="connsiteX8" fmla="*/ 334249 w 510189"/>
                    <a:gd name="connsiteY8" fmla="*/ 135434 h 454926"/>
                    <a:gd name="connsiteX9" fmla="*/ 445374 w 510189"/>
                    <a:gd name="connsiteY9" fmla="*/ 157659 h 454926"/>
                    <a:gd name="connsiteX10" fmla="*/ 486649 w 510189"/>
                    <a:gd name="connsiteY10" fmla="*/ 183059 h 454926"/>
                    <a:gd name="connsiteX11" fmla="*/ 508874 w 510189"/>
                    <a:gd name="connsiteY11" fmla="*/ 227509 h 454926"/>
                    <a:gd name="connsiteX12" fmla="*/ 505699 w 510189"/>
                    <a:gd name="connsiteY12" fmla="*/ 449759 h 454926"/>
                    <a:gd name="connsiteX13" fmla="*/ 4049 w 510189"/>
                    <a:gd name="connsiteY13" fmla="*/ 443409 h 454926"/>
                    <a:gd name="connsiteX0" fmla="*/ 4049 w 510189"/>
                    <a:gd name="connsiteY0" fmla="*/ 443409 h 454926"/>
                    <a:gd name="connsiteX1" fmla="*/ 7224 w 510189"/>
                    <a:gd name="connsiteY1" fmla="*/ 208459 h 454926"/>
                    <a:gd name="connsiteX2" fmla="*/ 70724 w 510189"/>
                    <a:gd name="connsiteY2" fmla="*/ 154484 h 454926"/>
                    <a:gd name="connsiteX3" fmla="*/ 172324 w 510189"/>
                    <a:gd name="connsiteY3" fmla="*/ 148134 h 454926"/>
                    <a:gd name="connsiteX4" fmla="*/ 188199 w 510189"/>
                    <a:gd name="connsiteY4" fmla="*/ 90984 h 454926"/>
                    <a:gd name="connsiteX5" fmla="*/ 200899 w 510189"/>
                    <a:gd name="connsiteY5" fmla="*/ 11609 h 454926"/>
                    <a:gd name="connsiteX6" fmla="*/ 312024 w 510189"/>
                    <a:gd name="connsiteY6" fmla="*/ 8434 h 454926"/>
                    <a:gd name="connsiteX7" fmla="*/ 312024 w 510189"/>
                    <a:gd name="connsiteY7" fmla="*/ 87809 h 454926"/>
                    <a:gd name="connsiteX8" fmla="*/ 334249 w 510189"/>
                    <a:gd name="connsiteY8" fmla="*/ 135434 h 454926"/>
                    <a:gd name="connsiteX9" fmla="*/ 445374 w 510189"/>
                    <a:gd name="connsiteY9" fmla="*/ 157659 h 454926"/>
                    <a:gd name="connsiteX10" fmla="*/ 508874 w 510189"/>
                    <a:gd name="connsiteY10" fmla="*/ 227509 h 454926"/>
                    <a:gd name="connsiteX11" fmla="*/ 505699 w 510189"/>
                    <a:gd name="connsiteY11" fmla="*/ 449759 h 454926"/>
                    <a:gd name="connsiteX12" fmla="*/ 4049 w 510189"/>
                    <a:gd name="connsiteY12" fmla="*/ 443409 h 454926"/>
                    <a:gd name="connsiteX0" fmla="*/ 4049 w 510189"/>
                    <a:gd name="connsiteY0" fmla="*/ 443409 h 454926"/>
                    <a:gd name="connsiteX1" fmla="*/ 7224 w 510189"/>
                    <a:gd name="connsiteY1" fmla="*/ 208459 h 454926"/>
                    <a:gd name="connsiteX2" fmla="*/ 70724 w 510189"/>
                    <a:gd name="connsiteY2" fmla="*/ 154484 h 454926"/>
                    <a:gd name="connsiteX3" fmla="*/ 172324 w 510189"/>
                    <a:gd name="connsiteY3" fmla="*/ 148134 h 454926"/>
                    <a:gd name="connsiteX4" fmla="*/ 188199 w 510189"/>
                    <a:gd name="connsiteY4" fmla="*/ 90984 h 454926"/>
                    <a:gd name="connsiteX5" fmla="*/ 200899 w 510189"/>
                    <a:gd name="connsiteY5" fmla="*/ 11609 h 454926"/>
                    <a:gd name="connsiteX6" fmla="*/ 312024 w 510189"/>
                    <a:gd name="connsiteY6" fmla="*/ 8434 h 454926"/>
                    <a:gd name="connsiteX7" fmla="*/ 312024 w 510189"/>
                    <a:gd name="connsiteY7" fmla="*/ 87809 h 454926"/>
                    <a:gd name="connsiteX8" fmla="*/ 334249 w 510189"/>
                    <a:gd name="connsiteY8" fmla="*/ 135434 h 454926"/>
                    <a:gd name="connsiteX9" fmla="*/ 445374 w 510189"/>
                    <a:gd name="connsiteY9" fmla="*/ 157659 h 454926"/>
                    <a:gd name="connsiteX10" fmla="*/ 508874 w 510189"/>
                    <a:gd name="connsiteY10" fmla="*/ 227509 h 454926"/>
                    <a:gd name="connsiteX11" fmla="*/ 505699 w 510189"/>
                    <a:gd name="connsiteY11" fmla="*/ 449759 h 454926"/>
                    <a:gd name="connsiteX12" fmla="*/ 4049 w 510189"/>
                    <a:gd name="connsiteY12" fmla="*/ 443409 h 454926"/>
                    <a:gd name="connsiteX0" fmla="*/ 5987 w 512127"/>
                    <a:gd name="connsiteY0" fmla="*/ 443409 h 454926"/>
                    <a:gd name="connsiteX1" fmla="*/ 2812 w 512127"/>
                    <a:gd name="connsiteY1" fmla="*/ 217984 h 454926"/>
                    <a:gd name="connsiteX2" fmla="*/ 72662 w 512127"/>
                    <a:gd name="connsiteY2" fmla="*/ 154484 h 454926"/>
                    <a:gd name="connsiteX3" fmla="*/ 174262 w 512127"/>
                    <a:gd name="connsiteY3" fmla="*/ 148134 h 454926"/>
                    <a:gd name="connsiteX4" fmla="*/ 190137 w 512127"/>
                    <a:gd name="connsiteY4" fmla="*/ 90984 h 454926"/>
                    <a:gd name="connsiteX5" fmla="*/ 202837 w 512127"/>
                    <a:gd name="connsiteY5" fmla="*/ 11609 h 454926"/>
                    <a:gd name="connsiteX6" fmla="*/ 313962 w 512127"/>
                    <a:gd name="connsiteY6" fmla="*/ 8434 h 454926"/>
                    <a:gd name="connsiteX7" fmla="*/ 313962 w 512127"/>
                    <a:gd name="connsiteY7" fmla="*/ 87809 h 454926"/>
                    <a:gd name="connsiteX8" fmla="*/ 336187 w 512127"/>
                    <a:gd name="connsiteY8" fmla="*/ 135434 h 454926"/>
                    <a:gd name="connsiteX9" fmla="*/ 447312 w 512127"/>
                    <a:gd name="connsiteY9" fmla="*/ 157659 h 454926"/>
                    <a:gd name="connsiteX10" fmla="*/ 510812 w 512127"/>
                    <a:gd name="connsiteY10" fmla="*/ 227509 h 454926"/>
                    <a:gd name="connsiteX11" fmla="*/ 507637 w 512127"/>
                    <a:gd name="connsiteY11" fmla="*/ 449759 h 454926"/>
                    <a:gd name="connsiteX12" fmla="*/ 5987 w 512127"/>
                    <a:gd name="connsiteY12" fmla="*/ 443409 h 454926"/>
                    <a:gd name="connsiteX0" fmla="*/ 9762 w 515902"/>
                    <a:gd name="connsiteY0" fmla="*/ 443409 h 454926"/>
                    <a:gd name="connsiteX1" fmla="*/ 6587 w 515902"/>
                    <a:gd name="connsiteY1" fmla="*/ 217984 h 454926"/>
                    <a:gd name="connsiteX2" fmla="*/ 76437 w 515902"/>
                    <a:gd name="connsiteY2" fmla="*/ 154484 h 454926"/>
                    <a:gd name="connsiteX3" fmla="*/ 178037 w 515902"/>
                    <a:gd name="connsiteY3" fmla="*/ 148134 h 454926"/>
                    <a:gd name="connsiteX4" fmla="*/ 193912 w 515902"/>
                    <a:gd name="connsiteY4" fmla="*/ 90984 h 454926"/>
                    <a:gd name="connsiteX5" fmla="*/ 206612 w 515902"/>
                    <a:gd name="connsiteY5" fmla="*/ 11609 h 454926"/>
                    <a:gd name="connsiteX6" fmla="*/ 317737 w 515902"/>
                    <a:gd name="connsiteY6" fmla="*/ 8434 h 454926"/>
                    <a:gd name="connsiteX7" fmla="*/ 317737 w 515902"/>
                    <a:gd name="connsiteY7" fmla="*/ 87809 h 454926"/>
                    <a:gd name="connsiteX8" fmla="*/ 339962 w 515902"/>
                    <a:gd name="connsiteY8" fmla="*/ 135434 h 454926"/>
                    <a:gd name="connsiteX9" fmla="*/ 451087 w 515902"/>
                    <a:gd name="connsiteY9" fmla="*/ 157659 h 454926"/>
                    <a:gd name="connsiteX10" fmla="*/ 514587 w 515902"/>
                    <a:gd name="connsiteY10" fmla="*/ 227509 h 454926"/>
                    <a:gd name="connsiteX11" fmla="*/ 511412 w 515902"/>
                    <a:gd name="connsiteY11" fmla="*/ 449759 h 454926"/>
                    <a:gd name="connsiteX12" fmla="*/ 9762 w 515902"/>
                    <a:gd name="connsiteY12" fmla="*/ 443409 h 454926"/>
                    <a:gd name="connsiteX0" fmla="*/ 9762 w 515902"/>
                    <a:gd name="connsiteY0" fmla="*/ 443409 h 454926"/>
                    <a:gd name="connsiteX1" fmla="*/ 6587 w 515902"/>
                    <a:gd name="connsiteY1" fmla="*/ 217984 h 454926"/>
                    <a:gd name="connsiteX2" fmla="*/ 76437 w 515902"/>
                    <a:gd name="connsiteY2" fmla="*/ 154484 h 454926"/>
                    <a:gd name="connsiteX3" fmla="*/ 178037 w 515902"/>
                    <a:gd name="connsiteY3" fmla="*/ 148134 h 454926"/>
                    <a:gd name="connsiteX4" fmla="*/ 193912 w 515902"/>
                    <a:gd name="connsiteY4" fmla="*/ 90984 h 454926"/>
                    <a:gd name="connsiteX5" fmla="*/ 206612 w 515902"/>
                    <a:gd name="connsiteY5" fmla="*/ 11609 h 454926"/>
                    <a:gd name="connsiteX6" fmla="*/ 317737 w 515902"/>
                    <a:gd name="connsiteY6" fmla="*/ 8434 h 454926"/>
                    <a:gd name="connsiteX7" fmla="*/ 317737 w 515902"/>
                    <a:gd name="connsiteY7" fmla="*/ 87809 h 454926"/>
                    <a:gd name="connsiteX8" fmla="*/ 339962 w 515902"/>
                    <a:gd name="connsiteY8" fmla="*/ 135434 h 454926"/>
                    <a:gd name="connsiteX9" fmla="*/ 451087 w 515902"/>
                    <a:gd name="connsiteY9" fmla="*/ 157659 h 454926"/>
                    <a:gd name="connsiteX10" fmla="*/ 514587 w 515902"/>
                    <a:gd name="connsiteY10" fmla="*/ 227509 h 454926"/>
                    <a:gd name="connsiteX11" fmla="*/ 511412 w 515902"/>
                    <a:gd name="connsiteY11" fmla="*/ 449759 h 454926"/>
                    <a:gd name="connsiteX12" fmla="*/ 9762 w 515902"/>
                    <a:gd name="connsiteY12" fmla="*/ 443409 h 454926"/>
                    <a:gd name="connsiteX0" fmla="*/ 9762 w 515902"/>
                    <a:gd name="connsiteY0" fmla="*/ 443409 h 454926"/>
                    <a:gd name="connsiteX1" fmla="*/ 6587 w 515902"/>
                    <a:gd name="connsiteY1" fmla="*/ 217984 h 454926"/>
                    <a:gd name="connsiteX2" fmla="*/ 76437 w 515902"/>
                    <a:gd name="connsiteY2" fmla="*/ 154484 h 454926"/>
                    <a:gd name="connsiteX3" fmla="*/ 193912 w 515902"/>
                    <a:gd name="connsiteY3" fmla="*/ 90984 h 454926"/>
                    <a:gd name="connsiteX4" fmla="*/ 206612 w 515902"/>
                    <a:gd name="connsiteY4" fmla="*/ 11609 h 454926"/>
                    <a:gd name="connsiteX5" fmla="*/ 317737 w 515902"/>
                    <a:gd name="connsiteY5" fmla="*/ 8434 h 454926"/>
                    <a:gd name="connsiteX6" fmla="*/ 317737 w 515902"/>
                    <a:gd name="connsiteY6" fmla="*/ 87809 h 454926"/>
                    <a:gd name="connsiteX7" fmla="*/ 339962 w 515902"/>
                    <a:gd name="connsiteY7" fmla="*/ 135434 h 454926"/>
                    <a:gd name="connsiteX8" fmla="*/ 451087 w 515902"/>
                    <a:gd name="connsiteY8" fmla="*/ 157659 h 454926"/>
                    <a:gd name="connsiteX9" fmla="*/ 514587 w 515902"/>
                    <a:gd name="connsiteY9" fmla="*/ 227509 h 454926"/>
                    <a:gd name="connsiteX10" fmla="*/ 511412 w 515902"/>
                    <a:gd name="connsiteY10" fmla="*/ 449759 h 454926"/>
                    <a:gd name="connsiteX11" fmla="*/ 9762 w 515902"/>
                    <a:gd name="connsiteY11" fmla="*/ 443409 h 454926"/>
                    <a:gd name="connsiteX0" fmla="*/ 9762 w 515902"/>
                    <a:gd name="connsiteY0" fmla="*/ 446099 h 457616"/>
                    <a:gd name="connsiteX1" fmla="*/ 6587 w 515902"/>
                    <a:gd name="connsiteY1" fmla="*/ 220674 h 457616"/>
                    <a:gd name="connsiteX2" fmla="*/ 76437 w 515902"/>
                    <a:gd name="connsiteY2" fmla="*/ 157174 h 457616"/>
                    <a:gd name="connsiteX3" fmla="*/ 190737 w 515902"/>
                    <a:gd name="connsiteY3" fmla="*/ 138124 h 457616"/>
                    <a:gd name="connsiteX4" fmla="*/ 206612 w 515902"/>
                    <a:gd name="connsiteY4" fmla="*/ 14299 h 457616"/>
                    <a:gd name="connsiteX5" fmla="*/ 317737 w 515902"/>
                    <a:gd name="connsiteY5" fmla="*/ 11124 h 457616"/>
                    <a:gd name="connsiteX6" fmla="*/ 317737 w 515902"/>
                    <a:gd name="connsiteY6" fmla="*/ 90499 h 457616"/>
                    <a:gd name="connsiteX7" fmla="*/ 339962 w 515902"/>
                    <a:gd name="connsiteY7" fmla="*/ 138124 h 457616"/>
                    <a:gd name="connsiteX8" fmla="*/ 451087 w 515902"/>
                    <a:gd name="connsiteY8" fmla="*/ 160349 h 457616"/>
                    <a:gd name="connsiteX9" fmla="*/ 514587 w 515902"/>
                    <a:gd name="connsiteY9" fmla="*/ 230199 h 457616"/>
                    <a:gd name="connsiteX10" fmla="*/ 511412 w 515902"/>
                    <a:gd name="connsiteY10" fmla="*/ 452449 h 457616"/>
                    <a:gd name="connsiteX11" fmla="*/ 9762 w 515902"/>
                    <a:gd name="connsiteY11" fmla="*/ 446099 h 457616"/>
                    <a:gd name="connsiteX0" fmla="*/ 9762 w 515902"/>
                    <a:gd name="connsiteY0" fmla="*/ 446099 h 457616"/>
                    <a:gd name="connsiteX1" fmla="*/ 6587 w 515902"/>
                    <a:gd name="connsiteY1" fmla="*/ 220674 h 457616"/>
                    <a:gd name="connsiteX2" fmla="*/ 76437 w 515902"/>
                    <a:gd name="connsiteY2" fmla="*/ 157174 h 457616"/>
                    <a:gd name="connsiteX3" fmla="*/ 190737 w 515902"/>
                    <a:gd name="connsiteY3" fmla="*/ 138124 h 457616"/>
                    <a:gd name="connsiteX4" fmla="*/ 206612 w 515902"/>
                    <a:gd name="connsiteY4" fmla="*/ 14299 h 457616"/>
                    <a:gd name="connsiteX5" fmla="*/ 317737 w 515902"/>
                    <a:gd name="connsiteY5" fmla="*/ 11124 h 457616"/>
                    <a:gd name="connsiteX6" fmla="*/ 317737 w 515902"/>
                    <a:gd name="connsiteY6" fmla="*/ 90499 h 457616"/>
                    <a:gd name="connsiteX7" fmla="*/ 451087 w 515902"/>
                    <a:gd name="connsiteY7" fmla="*/ 160349 h 457616"/>
                    <a:gd name="connsiteX8" fmla="*/ 514587 w 515902"/>
                    <a:gd name="connsiteY8" fmla="*/ 230199 h 457616"/>
                    <a:gd name="connsiteX9" fmla="*/ 511412 w 515902"/>
                    <a:gd name="connsiteY9" fmla="*/ 452449 h 457616"/>
                    <a:gd name="connsiteX10" fmla="*/ 9762 w 515902"/>
                    <a:gd name="connsiteY10" fmla="*/ 446099 h 457616"/>
                    <a:gd name="connsiteX0" fmla="*/ 9762 w 515902"/>
                    <a:gd name="connsiteY0" fmla="*/ 447482 h 458999"/>
                    <a:gd name="connsiteX1" fmla="*/ 6587 w 515902"/>
                    <a:gd name="connsiteY1" fmla="*/ 222057 h 458999"/>
                    <a:gd name="connsiteX2" fmla="*/ 76437 w 515902"/>
                    <a:gd name="connsiteY2" fmla="*/ 158557 h 458999"/>
                    <a:gd name="connsiteX3" fmla="*/ 190737 w 515902"/>
                    <a:gd name="connsiteY3" fmla="*/ 139507 h 458999"/>
                    <a:gd name="connsiteX4" fmla="*/ 206612 w 515902"/>
                    <a:gd name="connsiteY4" fmla="*/ 15682 h 458999"/>
                    <a:gd name="connsiteX5" fmla="*/ 317737 w 515902"/>
                    <a:gd name="connsiteY5" fmla="*/ 12507 h 458999"/>
                    <a:gd name="connsiteX6" fmla="*/ 330437 w 515902"/>
                    <a:gd name="connsiteY6" fmla="*/ 114107 h 458999"/>
                    <a:gd name="connsiteX7" fmla="*/ 451087 w 515902"/>
                    <a:gd name="connsiteY7" fmla="*/ 161732 h 458999"/>
                    <a:gd name="connsiteX8" fmla="*/ 514587 w 515902"/>
                    <a:gd name="connsiteY8" fmla="*/ 231582 h 458999"/>
                    <a:gd name="connsiteX9" fmla="*/ 511412 w 515902"/>
                    <a:gd name="connsiteY9" fmla="*/ 453832 h 458999"/>
                    <a:gd name="connsiteX10" fmla="*/ 9762 w 515902"/>
                    <a:gd name="connsiteY10" fmla="*/ 447482 h 458999"/>
                    <a:gd name="connsiteX0" fmla="*/ 9762 w 515902"/>
                    <a:gd name="connsiteY0" fmla="*/ 446348 h 457865"/>
                    <a:gd name="connsiteX1" fmla="*/ 6587 w 515902"/>
                    <a:gd name="connsiteY1" fmla="*/ 220923 h 457865"/>
                    <a:gd name="connsiteX2" fmla="*/ 76437 w 515902"/>
                    <a:gd name="connsiteY2" fmla="*/ 157423 h 457865"/>
                    <a:gd name="connsiteX3" fmla="*/ 200262 w 515902"/>
                    <a:gd name="connsiteY3" fmla="*/ 119323 h 457865"/>
                    <a:gd name="connsiteX4" fmla="*/ 206612 w 515902"/>
                    <a:gd name="connsiteY4" fmla="*/ 14548 h 457865"/>
                    <a:gd name="connsiteX5" fmla="*/ 317737 w 515902"/>
                    <a:gd name="connsiteY5" fmla="*/ 11373 h 457865"/>
                    <a:gd name="connsiteX6" fmla="*/ 330437 w 515902"/>
                    <a:gd name="connsiteY6" fmla="*/ 112973 h 457865"/>
                    <a:gd name="connsiteX7" fmla="*/ 451087 w 515902"/>
                    <a:gd name="connsiteY7" fmla="*/ 160598 h 457865"/>
                    <a:gd name="connsiteX8" fmla="*/ 514587 w 515902"/>
                    <a:gd name="connsiteY8" fmla="*/ 230448 h 457865"/>
                    <a:gd name="connsiteX9" fmla="*/ 511412 w 515902"/>
                    <a:gd name="connsiteY9" fmla="*/ 452698 h 457865"/>
                    <a:gd name="connsiteX10" fmla="*/ 9762 w 515902"/>
                    <a:gd name="connsiteY10" fmla="*/ 446348 h 457865"/>
                    <a:gd name="connsiteX0" fmla="*/ 8840 w 514980"/>
                    <a:gd name="connsiteY0" fmla="*/ 446348 h 457865"/>
                    <a:gd name="connsiteX1" fmla="*/ 5665 w 514980"/>
                    <a:gd name="connsiteY1" fmla="*/ 220923 h 457865"/>
                    <a:gd name="connsiteX2" fmla="*/ 62412 w 514980"/>
                    <a:gd name="connsiteY2" fmla="*/ 133367 h 457865"/>
                    <a:gd name="connsiteX3" fmla="*/ 199340 w 514980"/>
                    <a:gd name="connsiteY3" fmla="*/ 119323 h 457865"/>
                    <a:gd name="connsiteX4" fmla="*/ 205690 w 514980"/>
                    <a:gd name="connsiteY4" fmla="*/ 14548 h 457865"/>
                    <a:gd name="connsiteX5" fmla="*/ 316815 w 514980"/>
                    <a:gd name="connsiteY5" fmla="*/ 11373 h 457865"/>
                    <a:gd name="connsiteX6" fmla="*/ 329515 w 514980"/>
                    <a:gd name="connsiteY6" fmla="*/ 112973 h 457865"/>
                    <a:gd name="connsiteX7" fmla="*/ 450165 w 514980"/>
                    <a:gd name="connsiteY7" fmla="*/ 160598 h 457865"/>
                    <a:gd name="connsiteX8" fmla="*/ 513665 w 514980"/>
                    <a:gd name="connsiteY8" fmla="*/ 230448 h 457865"/>
                    <a:gd name="connsiteX9" fmla="*/ 510490 w 514980"/>
                    <a:gd name="connsiteY9" fmla="*/ 452698 h 457865"/>
                    <a:gd name="connsiteX10" fmla="*/ 8840 w 514980"/>
                    <a:gd name="connsiteY10" fmla="*/ 446348 h 457865"/>
                    <a:gd name="connsiteX0" fmla="*/ 8840 w 514980"/>
                    <a:gd name="connsiteY0" fmla="*/ 445015 h 456532"/>
                    <a:gd name="connsiteX1" fmla="*/ 5665 w 514980"/>
                    <a:gd name="connsiteY1" fmla="*/ 219590 h 456532"/>
                    <a:gd name="connsiteX2" fmla="*/ 62412 w 514980"/>
                    <a:gd name="connsiteY2" fmla="*/ 132034 h 456532"/>
                    <a:gd name="connsiteX3" fmla="*/ 186237 w 514980"/>
                    <a:gd name="connsiteY3" fmla="*/ 93934 h 456532"/>
                    <a:gd name="connsiteX4" fmla="*/ 205690 w 514980"/>
                    <a:gd name="connsiteY4" fmla="*/ 13215 h 456532"/>
                    <a:gd name="connsiteX5" fmla="*/ 316815 w 514980"/>
                    <a:gd name="connsiteY5" fmla="*/ 10040 h 456532"/>
                    <a:gd name="connsiteX6" fmla="*/ 329515 w 514980"/>
                    <a:gd name="connsiteY6" fmla="*/ 111640 h 456532"/>
                    <a:gd name="connsiteX7" fmla="*/ 450165 w 514980"/>
                    <a:gd name="connsiteY7" fmla="*/ 159265 h 456532"/>
                    <a:gd name="connsiteX8" fmla="*/ 513665 w 514980"/>
                    <a:gd name="connsiteY8" fmla="*/ 229115 h 456532"/>
                    <a:gd name="connsiteX9" fmla="*/ 510490 w 514980"/>
                    <a:gd name="connsiteY9" fmla="*/ 451365 h 456532"/>
                    <a:gd name="connsiteX10" fmla="*/ 8840 w 514980"/>
                    <a:gd name="connsiteY10" fmla="*/ 445015 h 456532"/>
                    <a:gd name="connsiteX0" fmla="*/ 8840 w 514980"/>
                    <a:gd name="connsiteY0" fmla="*/ 445015 h 456532"/>
                    <a:gd name="connsiteX1" fmla="*/ 5665 w 514980"/>
                    <a:gd name="connsiteY1" fmla="*/ 219590 h 456532"/>
                    <a:gd name="connsiteX2" fmla="*/ 62412 w 514980"/>
                    <a:gd name="connsiteY2" fmla="*/ 132034 h 456532"/>
                    <a:gd name="connsiteX3" fmla="*/ 186237 w 514980"/>
                    <a:gd name="connsiteY3" fmla="*/ 93934 h 456532"/>
                    <a:gd name="connsiteX4" fmla="*/ 205690 w 514980"/>
                    <a:gd name="connsiteY4" fmla="*/ 13215 h 456532"/>
                    <a:gd name="connsiteX5" fmla="*/ 316815 w 514980"/>
                    <a:gd name="connsiteY5" fmla="*/ 10040 h 456532"/>
                    <a:gd name="connsiteX6" fmla="*/ 329515 w 514980"/>
                    <a:gd name="connsiteY6" fmla="*/ 111640 h 456532"/>
                    <a:gd name="connsiteX7" fmla="*/ 461084 w 514980"/>
                    <a:gd name="connsiteY7" fmla="*/ 146143 h 456532"/>
                    <a:gd name="connsiteX8" fmla="*/ 513665 w 514980"/>
                    <a:gd name="connsiteY8" fmla="*/ 229115 h 456532"/>
                    <a:gd name="connsiteX9" fmla="*/ 510490 w 514980"/>
                    <a:gd name="connsiteY9" fmla="*/ 451365 h 456532"/>
                    <a:gd name="connsiteX10" fmla="*/ 8840 w 514980"/>
                    <a:gd name="connsiteY10" fmla="*/ 445015 h 456532"/>
                    <a:gd name="connsiteX0" fmla="*/ 8840 w 514980"/>
                    <a:gd name="connsiteY0" fmla="*/ 444105 h 455622"/>
                    <a:gd name="connsiteX1" fmla="*/ 5665 w 514980"/>
                    <a:gd name="connsiteY1" fmla="*/ 218680 h 455622"/>
                    <a:gd name="connsiteX2" fmla="*/ 62412 w 514980"/>
                    <a:gd name="connsiteY2" fmla="*/ 131124 h 455622"/>
                    <a:gd name="connsiteX3" fmla="*/ 186237 w 514980"/>
                    <a:gd name="connsiteY3" fmla="*/ 93024 h 455622"/>
                    <a:gd name="connsiteX4" fmla="*/ 205690 w 514980"/>
                    <a:gd name="connsiteY4" fmla="*/ 12305 h 455622"/>
                    <a:gd name="connsiteX5" fmla="*/ 316815 w 514980"/>
                    <a:gd name="connsiteY5" fmla="*/ 9130 h 455622"/>
                    <a:gd name="connsiteX6" fmla="*/ 351353 w 514980"/>
                    <a:gd name="connsiteY6" fmla="*/ 97608 h 455622"/>
                    <a:gd name="connsiteX7" fmla="*/ 461084 w 514980"/>
                    <a:gd name="connsiteY7" fmla="*/ 145233 h 455622"/>
                    <a:gd name="connsiteX8" fmla="*/ 513665 w 514980"/>
                    <a:gd name="connsiteY8" fmla="*/ 228205 h 455622"/>
                    <a:gd name="connsiteX9" fmla="*/ 510490 w 514980"/>
                    <a:gd name="connsiteY9" fmla="*/ 450455 h 455622"/>
                    <a:gd name="connsiteX10" fmla="*/ 8840 w 514980"/>
                    <a:gd name="connsiteY10" fmla="*/ 444105 h 455622"/>
                    <a:gd name="connsiteX0" fmla="*/ 8840 w 514980"/>
                    <a:gd name="connsiteY0" fmla="*/ 442755 h 454272"/>
                    <a:gd name="connsiteX1" fmla="*/ 5665 w 514980"/>
                    <a:gd name="connsiteY1" fmla="*/ 217330 h 454272"/>
                    <a:gd name="connsiteX2" fmla="*/ 62412 w 514980"/>
                    <a:gd name="connsiteY2" fmla="*/ 129774 h 454272"/>
                    <a:gd name="connsiteX3" fmla="*/ 186237 w 514980"/>
                    <a:gd name="connsiteY3" fmla="*/ 91674 h 454272"/>
                    <a:gd name="connsiteX4" fmla="*/ 205690 w 514980"/>
                    <a:gd name="connsiteY4" fmla="*/ 10955 h 454272"/>
                    <a:gd name="connsiteX5" fmla="*/ 325550 w 514980"/>
                    <a:gd name="connsiteY5" fmla="*/ 9967 h 454272"/>
                    <a:gd name="connsiteX6" fmla="*/ 351353 w 514980"/>
                    <a:gd name="connsiteY6" fmla="*/ 96258 h 454272"/>
                    <a:gd name="connsiteX7" fmla="*/ 461084 w 514980"/>
                    <a:gd name="connsiteY7" fmla="*/ 143883 h 454272"/>
                    <a:gd name="connsiteX8" fmla="*/ 513665 w 514980"/>
                    <a:gd name="connsiteY8" fmla="*/ 226855 h 454272"/>
                    <a:gd name="connsiteX9" fmla="*/ 510490 w 514980"/>
                    <a:gd name="connsiteY9" fmla="*/ 449105 h 454272"/>
                    <a:gd name="connsiteX10" fmla="*/ 8840 w 514980"/>
                    <a:gd name="connsiteY10" fmla="*/ 442755 h 454272"/>
                    <a:gd name="connsiteX0" fmla="*/ 8840 w 514980"/>
                    <a:gd name="connsiteY0" fmla="*/ 442755 h 454272"/>
                    <a:gd name="connsiteX1" fmla="*/ 5665 w 514980"/>
                    <a:gd name="connsiteY1" fmla="*/ 217330 h 454272"/>
                    <a:gd name="connsiteX2" fmla="*/ 62412 w 514980"/>
                    <a:gd name="connsiteY2" fmla="*/ 129774 h 454272"/>
                    <a:gd name="connsiteX3" fmla="*/ 186237 w 514980"/>
                    <a:gd name="connsiteY3" fmla="*/ 91674 h 454272"/>
                    <a:gd name="connsiteX4" fmla="*/ 205690 w 514980"/>
                    <a:gd name="connsiteY4" fmla="*/ 10955 h 454272"/>
                    <a:gd name="connsiteX5" fmla="*/ 325550 w 514980"/>
                    <a:gd name="connsiteY5" fmla="*/ 9967 h 454272"/>
                    <a:gd name="connsiteX6" fmla="*/ 351353 w 514980"/>
                    <a:gd name="connsiteY6" fmla="*/ 96258 h 454272"/>
                    <a:gd name="connsiteX7" fmla="*/ 461084 w 514980"/>
                    <a:gd name="connsiteY7" fmla="*/ 143883 h 454272"/>
                    <a:gd name="connsiteX8" fmla="*/ 513665 w 514980"/>
                    <a:gd name="connsiteY8" fmla="*/ 226855 h 454272"/>
                    <a:gd name="connsiteX9" fmla="*/ 510490 w 514980"/>
                    <a:gd name="connsiteY9" fmla="*/ 449105 h 454272"/>
                    <a:gd name="connsiteX10" fmla="*/ 8840 w 514980"/>
                    <a:gd name="connsiteY10" fmla="*/ 442755 h 454272"/>
                    <a:gd name="connsiteX0" fmla="*/ 8840 w 514980"/>
                    <a:gd name="connsiteY0" fmla="*/ 442755 h 454272"/>
                    <a:gd name="connsiteX1" fmla="*/ 5665 w 514980"/>
                    <a:gd name="connsiteY1" fmla="*/ 217330 h 454272"/>
                    <a:gd name="connsiteX2" fmla="*/ 62412 w 514980"/>
                    <a:gd name="connsiteY2" fmla="*/ 129774 h 454272"/>
                    <a:gd name="connsiteX3" fmla="*/ 186237 w 514980"/>
                    <a:gd name="connsiteY3" fmla="*/ 91674 h 454272"/>
                    <a:gd name="connsiteX4" fmla="*/ 205690 w 514980"/>
                    <a:gd name="connsiteY4" fmla="*/ 10955 h 454272"/>
                    <a:gd name="connsiteX5" fmla="*/ 325550 w 514980"/>
                    <a:gd name="connsiteY5" fmla="*/ 9967 h 454272"/>
                    <a:gd name="connsiteX6" fmla="*/ 351353 w 514980"/>
                    <a:gd name="connsiteY6" fmla="*/ 96258 h 454272"/>
                    <a:gd name="connsiteX7" fmla="*/ 461084 w 514980"/>
                    <a:gd name="connsiteY7" fmla="*/ 143883 h 454272"/>
                    <a:gd name="connsiteX8" fmla="*/ 513665 w 514980"/>
                    <a:gd name="connsiteY8" fmla="*/ 226855 h 454272"/>
                    <a:gd name="connsiteX9" fmla="*/ 510490 w 514980"/>
                    <a:gd name="connsiteY9" fmla="*/ 449105 h 454272"/>
                    <a:gd name="connsiteX10" fmla="*/ 8840 w 514980"/>
                    <a:gd name="connsiteY10" fmla="*/ 442755 h 454272"/>
                    <a:gd name="connsiteX0" fmla="*/ 8840 w 514980"/>
                    <a:gd name="connsiteY0" fmla="*/ 442755 h 454272"/>
                    <a:gd name="connsiteX1" fmla="*/ 5665 w 514980"/>
                    <a:gd name="connsiteY1" fmla="*/ 217330 h 454272"/>
                    <a:gd name="connsiteX2" fmla="*/ 62412 w 514980"/>
                    <a:gd name="connsiteY2" fmla="*/ 129774 h 454272"/>
                    <a:gd name="connsiteX3" fmla="*/ 186237 w 514980"/>
                    <a:gd name="connsiteY3" fmla="*/ 91674 h 454272"/>
                    <a:gd name="connsiteX4" fmla="*/ 205690 w 514980"/>
                    <a:gd name="connsiteY4" fmla="*/ 10955 h 454272"/>
                    <a:gd name="connsiteX5" fmla="*/ 325550 w 514980"/>
                    <a:gd name="connsiteY5" fmla="*/ 9967 h 454272"/>
                    <a:gd name="connsiteX6" fmla="*/ 351353 w 514980"/>
                    <a:gd name="connsiteY6" fmla="*/ 96258 h 454272"/>
                    <a:gd name="connsiteX7" fmla="*/ 461084 w 514980"/>
                    <a:gd name="connsiteY7" fmla="*/ 143883 h 454272"/>
                    <a:gd name="connsiteX8" fmla="*/ 513665 w 514980"/>
                    <a:gd name="connsiteY8" fmla="*/ 226855 h 454272"/>
                    <a:gd name="connsiteX9" fmla="*/ 510490 w 514980"/>
                    <a:gd name="connsiteY9" fmla="*/ 449105 h 454272"/>
                    <a:gd name="connsiteX10" fmla="*/ 8840 w 514980"/>
                    <a:gd name="connsiteY10" fmla="*/ 442755 h 454272"/>
                    <a:gd name="connsiteX0" fmla="*/ 8840 w 514980"/>
                    <a:gd name="connsiteY0" fmla="*/ 436996 h 448513"/>
                    <a:gd name="connsiteX1" fmla="*/ 5665 w 514980"/>
                    <a:gd name="connsiteY1" fmla="*/ 211571 h 448513"/>
                    <a:gd name="connsiteX2" fmla="*/ 62412 w 514980"/>
                    <a:gd name="connsiteY2" fmla="*/ 124015 h 448513"/>
                    <a:gd name="connsiteX3" fmla="*/ 186237 w 514980"/>
                    <a:gd name="connsiteY3" fmla="*/ 85915 h 448513"/>
                    <a:gd name="connsiteX4" fmla="*/ 205690 w 514980"/>
                    <a:gd name="connsiteY4" fmla="*/ 5196 h 448513"/>
                    <a:gd name="connsiteX5" fmla="*/ 325550 w 514980"/>
                    <a:gd name="connsiteY5" fmla="*/ 4208 h 448513"/>
                    <a:gd name="connsiteX6" fmla="*/ 351353 w 514980"/>
                    <a:gd name="connsiteY6" fmla="*/ 90499 h 448513"/>
                    <a:gd name="connsiteX7" fmla="*/ 461084 w 514980"/>
                    <a:gd name="connsiteY7" fmla="*/ 138124 h 448513"/>
                    <a:gd name="connsiteX8" fmla="*/ 513665 w 514980"/>
                    <a:gd name="connsiteY8" fmla="*/ 221096 h 448513"/>
                    <a:gd name="connsiteX9" fmla="*/ 510490 w 514980"/>
                    <a:gd name="connsiteY9" fmla="*/ 443346 h 448513"/>
                    <a:gd name="connsiteX10" fmla="*/ 8840 w 514980"/>
                    <a:gd name="connsiteY10" fmla="*/ 436996 h 448513"/>
                    <a:gd name="connsiteX0" fmla="*/ 8840 w 514980"/>
                    <a:gd name="connsiteY0" fmla="*/ 436996 h 448513"/>
                    <a:gd name="connsiteX1" fmla="*/ 5665 w 514980"/>
                    <a:gd name="connsiteY1" fmla="*/ 211571 h 448513"/>
                    <a:gd name="connsiteX2" fmla="*/ 62412 w 514980"/>
                    <a:gd name="connsiteY2" fmla="*/ 124015 h 448513"/>
                    <a:gd name="connsiteX3" fmla="*/ 186237 w 514980"/>
                    <a:gd name="connsiteY3" fmla="*/ 85915 h 448513"/>
                    <a:gd name="connsiteX4" fmla="*/ 205690 w 514980"/>
                    <a:gd name="connsiteY4" fmla="*/ 5196 h 448513"/>
                    <a:gd name="connsiteX5" fmla="*/ 325550 w 514980"/>
                    <a:gd name="connsiteY5" fmla="*/ 4208 h 448513"/>
                    <a:gd name="connsiteX6" fmla="*/ 351353 w 514980"/>
                    <a:gd name="connsiteY6" fmla="*/ 90499 h 448513"/>
                    <a:gd name="connsiteX7" fmla="*/ 461084 w 514980"/>
                    <a:gd name="connsiteY7" fmla="*/ 138124 h 448513"/>
                    <a:gd name="connsiteX8" fmla="*/ 513665 w 514980"/>
                    <a:gd name="connsiteY8" fmla="*/ 221096 h 448513"/>
                    <a:gd name="connsiteX9" fmla="*/ 510490 w 514980"/>
                    <a:gd name="connsiteY9" fmla="*/ 443346 h 448513"/>
                    <a:gd name="connsiteX10" fmla="*/ 8840 w 514980"/>
                    <a:gd name="connsiteY10" fmla="*/ 436996 h 448513"/>
                    <a:gd name="connsiteX0" fmla="*/ 8840 w 514980"/>
                    <a:gd name="connsiteY0" fmla="*/ 436996 h 448513"/>
                    <a:gd name="connsiteX1" fmla="*/ 5665 w 514980"/>
                    <a:gd name="connsiteY1" fmla="*/ 211571 h 448513"/>
                    <a:gd name="connsiteX2" fmla="*/ 62412 w 514980"/>
                    <a:gd name="connsiteY2" fmla="*/ 124015 h 448513"/>
                    <a:gd name="connsiteX3" fmla="*/ 186237 w 514980"/>
                    <a:gd name="connsiteY3" fmla="*/ 85915 h 448513"/>
                    <a:gd name="connsiteX4" fmla="*/ 205690 w 514980"/>
                    <a:gd name="connsiteY4" fmla="*/ 5196 h 448513"/>
                    <a:gd name="connsiteX5" fmla="*/ 325550 w 514980"/>
                    <a:gd name="connsiteY5" fmla="*/ 4208 h 448513"/>
                    <a:gd name="connsiteX6" fmla="*/ 351353 w 514980"/>
                    <a:gd name="connsiteY6" fmla="*/ 90499 h 448513"/>
                    <a:gd name="connsiteX7" fmla="*/ 461084 w 514980"/>
                    <a:gd name="connsiteY7" fmla="*/ 138124 h 448513"/>
                    <a:gd name="connsiteX8" fmla="*/ 513665 w 514980"/>
                    <a:gd name="connsiteY8" fmla="*/ 221096 h 448513"/>
                    <a:gd name="connsiteX9" fmla="*/ 510490 w 514980"/>
                    <a:gd name="connsiteY9" fmla="*/ 443346 h 448513"/>
                    <a:gd name="connsiteX10" fmla="*/ 8840 w 514980"/>
                    <a:gd name="connsiteY10" fmla="*/ 436996 h 448513"/>
                    <a:gd name="connsiteX0" fmla="*/ 8840 w 514980"/>
                    <a:gd name="connsiteY0" fmla="*/ 436996 h 448513"/>
                    <a:gd name="connsiteX1" fmla="*/ 5665 w 514980"/>
                    <a:gd name="connsiteY1" fmla="*/ 211571 h 448513"/>
                    <a:gd name="connsiteX2" fmla="*/ 62412 w 514980"/>
                    <a:gd name="connsiteY2" fmla="*/ 124015 h 448513"/>
                    <a:gd name="connsiteX3" fmla="*/ 168766 w 514980"/>
                    <a:gd name="connsiteY3" fmla="*/ 88102 h 448513"/>
                    <a:gd name="connsiteX4" fmla="*/ 205690 w 514980"/>
                    <a:gd name="connsiteY4" fmla="*/ 5196 h 448513"/>
                    <a:gd name="connsiteX5" fmla="*/ 325550 w 514980"/>
                    <a:gd name="connsiteY5" fmla="*/ 4208 h 448513"/>
                    <a:gd name="connsiteX6" fmla="*/ 351353 w 514980"/>
                    <a:gd name="connsiteY6" fmla="*/ 90499 h 448513"/>
                    <a:gd name="connsiteX7" fmla="*/ 461084 w 514980"/>
                    <a:gd name="connsiteY7" fmla="*/ 138124 h 448513"/>
                    <a:gd name="connsiteX8" fmla="*/ 513665 w 514980"/>
                    <a:gd name="connsiteY8" fmla="*/ 221096 h 448513"/>
                    <a:gd name="connsiteX9" fmla="*/ 510490 w 514980"/>
                    <a:gd name="connsiteY9" fmla="*/ 443346 h 448513"/>
                    <a:gd name="connsiteX10" fmla="*/ 8840 w 514980"/>
                    <a:gd name="connsiteY10" fmla="*/ 436996 h 448513"/>
                    <a:gd name="connsiteX0" fmla="*/ 8840 w 514980"/>
                    <a:gd name="connsiteY0" fmla="*/ 440628 h 452145"/>
                    <a:gd name="connsiteX1" fmla="*/ 5665 w 514980"/>
                    <a:gd name="connsiteY1" fmla="*/ 215203 h 452145"/>
                    <a:gd name="connsiteX2" fmla="*/ 62412 w 514980"/>
                    <a:gd name="connsiteY2" fmla="*/ 127647 h 452145"/>
                    <a:gd name="connsiteX3" fmla="*/ 168766 w 514980"/>
                    <a:gd name="connsiteY3" fmla="*/ 91734 h 452145"/>
                    <a:gd name="connsiteX4" fmla="*/ 179484 w 514980"/>
                    <a:gd name="connsiteY4" fmla="*/ 4454 h 452145"/>
                    <a:gd name="connsiteX5" fmla="*/ 325550 w 514980"/>
                    <a:gd name="connsiteY5" fmla="*/ 7840 h 452145"/>
                    <a:gd name="connsiteX6" fmla="*/ 351353 w 514980"/>
                    <a:gd name="connsiteY6" fmla="*/ 94131 h 452145"/>
                    <a:gd name="connsiteX7" fmla="*/ 461084 w 514980"/>
                    <a:gd name="connsiteY7" fmla="*/ 141756 h 452145"/>
                    <a:gd name="connsiteX8" fmla="*/ 513665 w 514980"/>
                    <a:gd name="connsiteY8" fmla="*/ 224728 h 452145"/>
                    <a:gd name="connsiteX9" fmla="*/ 510490 w 514980"/>
                    <a:gd name="connsiteY9" fmla="*/ 446978 h 452145"/>
                    <a:gd name="connsiteX10" fmla="*/ 8840 w 514980"/>
                    <a:gd name="connsiteY10" fmla="*/ 440628 h 452145"/>
                    <a:gd name="connsiteX0" fmla="*/ 8840 w 514980"/>
                    <a:gd name="connsiteY0" fmla="*/ 442422 h 453939"/>
                    <a:gd name="connsiteX1" fmla="*/ 5665 w 514980"/>
                    <a:gd name="connsiteY1" fmla="*/ 216997 h 453939"/>
                    <a:gd name="connsiteX2" fmla="*/ 62412 w 514980"/>
                    <a:gd name="connsiteY2" fmla="*/ 129441 h 453939"/>
                    <a:gd name="connsiteX3" fmla="*/ 168766 w 514980"/>
                    <a:gd name="connsiteY3" fmla="*/ 93528 h 453939"/>
                    <a:gd name="connsiteX4" fmla="*/ 179484 w 514980"/>
                    <a:gd name="connsiteY4" fmla="*/ 6248 h 453939"/>
                    <a:gd name="connsiteX5" fmla="*/ 351756 w 514980"/>
                    <a:gd name="connsiteY5" fmla="*/ 886 h 453939"/>
                    <a:gd name="connsiteX6" fmla="*/ 351353 w 514980"/>
                    <a:gd name="connsiteY6" fmla="*/ 95925 h 453939"/>
                    <a:gd name="connsiteX7" fmla="*/ 461084 w 514980"/>
                    <a:gd name="connsiteY7" fmla="*/ 143550 h 453939"/>
                    <a:gd name="connsiteX8" fmla="*/ 513665 w 514980"/>
                    <a:gd name="connsiteY8" fmla="*/ 226522 h 453939"/>
                    <a:gd name="connsiteX9" fmla="*/ 510490 w 514980"/>
                    <a:gd name="connsiteY9" fmla="*/ 448772 h 453939"/>
                    <a:gd name="connsiteX10" fmla="*/ 8840 w 514980"/>
                    <a:gd name="connsiteY10" fmla="*/ 442422 h 453939"/>
                    <a:gd name="connsiteX0" fmla="*/ 8840 w 514980"/>
                    <a:gd name="connsiteY0" fmla="*/ 442422 h 453939"/>
                    <a:gd name="connsiteX1" fmla="*/ 5665 w 514980"/>
                    <a:gd name="connsiteY1" fmla="*/ 216997 h 453939"/>
                    <a:gd name="connsiteX2" fmla="*/ 62412 w 514980"/>
                    <a:gd name="connsiteY2" fmla="*/ 129441 h 453939"/>
                    <a:gd name="connsiteX3" fmla="*/ 168766 w 514980"/>
                    <a:gd name="connsiteY3" fmla="*/ 93528 h 453939"/>
                    <a:gd name="connsiteX4" fmla="*/ 179484 w 514980"/>
                    <a:gd name="connsiteY4" fmla="*/ 6248 h 453939"/>
                    <a:gd name="connsiteX5" fmla="*/ 351756 w 514980"/>
                    <a:gd name="connsiteY5" fmla="*/ 886 h 453939"/>
                    <a:gd name="connsiteX6" fmla="*/ 366640 w 514980"/>
                    <a:gd name="connsiteY6" fmla="*/ 100299 h 453939"/>
                    <a:gd name="connsiteX7" fmla="*/ 461084 w 514980"/>
                    <a:gd name="connsiteY7" fmla="*/ 143550 h 453939"/>
                    <a:gd name="connsiteX8" fmla="*/ 513665 w 514980"/>
                    <a:gd name="connsiteY8" fmla="*/ 226522 h 453939"/>
                    <a:gd name="connsiteX9" fmla="*/ 510490 w 514980"/>
                    <a:gd name="connsiteY9" fmla="*/ 448772 h 453939"/>
                    <a:gd name="connsiteX10" fmla="*/ 8840 w 514980"/>
                    <a:gd name="connsiteY10" fmla="*/ 442422 h 453939"/>
                    <a:gd name="connsiteX0" fmla="*/ 8840 w 514980"/>
                    <a:gd name="connsiteY0" fmla="*/ 442422 h 450476"/>
                    <a:gd name="connsiteX1" fmla="*/ 5665 w 514980"/>
                    <a:gd name="connsiteY1" fmla="*/ 216997 h 450476"/>
                    <a:gd name="connsiteX2" fmla="*/ 62412 w 514980"/>
                    <a:gd name="connsiteY2" fmla="*/ 129441 h 450476"/>
                    <a:gd name="connsiteX3" fmla="*/ 168766 w 514980"/>
                    <a:gd name="connsiteY3" fmla="*/ 93528 h 450476"/>
                    <a:gd name="connsiteX4" fmla="*/ 179484 w 514980"/>
                    <a:gd name="connsiteY4" fmla="*/ 6248 h 450476"/>
                    <a:gd name="connsiteX5" fmla="*/ 351756 w 514980"/>
                    <a:gd name="connsiteY5" fmla="*/ 886 h 450476"/>
                    <a:gd name="connsiteX6" fmla="*/ 366640 w 514980"/>
                    <a:gd name="connsiteY6" fmla="*/ 100299 h 450476"/>
                    <a:gd name="connsiteX7" fmla="*/ 461084 w 514980"/>
                    <a:gd name="connsiteY7" fmla="*/ 143550 h 450476"/>
                    <a:gd name="connsiteX8" fmla="*/ 513665 w 514980"/>
                    <a:gd name="connsiteY8" fmla="*/ 226522 h 450476"/>
                    <a:gd name="connsiteX9" fmla="*/ 510490 w 514980"/>
                    <a:gd name="connsiteY9" fmla="*/ 448772 h 450476"/>
                    <a:gd name="connsiteX10" fmla="*/ 8840 w 514980"/>
                    <a:gd name="connsiteY10" fmla="*/ 442422 h 450476"/>
                    <a:gd name="connsiteX0" fmla="*/ 8840 w 514980"/>
                    <a:gd name="connsiteY0" fmla="*/ 442422 h 448772"/>
                    <a:gd name="connsiteX1" fmla="*/ 5665 w 514980"/>
                    <a:gd name="connsiteY1" fmla="*/ 216997 h 448772"/>
                    <a:gd name="connsiteX2" fmla="*/ 62412 w 514980"/>
                    <a:gd name="connsiteY2" fmla="*/ 129441 h 448772"/>
                    <a:gd name="connsiteX3" fmla="*/ 168766 w 514980"/>
                    <a:gd name="connsiteY3" fmla="*/ 93528 h 448772"/>
                    <a:gd name="connsiteX4" fmla="*/ 179484 w 514980"/>
                    <a:gd name="connsiteY4" fmla="*/ 6248 h 448772"/>
                    <a:gd name="connsiteX5" fmla="*/ 351756 w 514980"/>
                    <a:gd name="connsiteY5" fmla="*/ 886 h 448772"/>
                    <a:gd name="connsiteX6" fmla="*/ 366640 w 514980"/>
                    <a:gd name="connsiteY6" fmla="*/ 100299 h 448772"/>
                    <a:gd name="connsiteX7" fmla="*/ 461084 w 514980"/>
                    <a:gd name="connsiteY7" fmla="*/ 143550 h 448772"/>
                    <a:gd name="connsiteX8" fmla="*/ 513665 w 514980"/>
                    <a:gd name="connsiteY8" fmla="*/ 226522 h 448772"/>
                    <a:gd name="connsiteX9" fmla="*/ 510490 w 514980"/>
                    <a:gd name="connsiteY9" fmla="*/ 448772 h 448772"/>
                    <a:gd name="connsiteX10" fmla="*/ 8840 w 514980"/>
                    <a:gd name="connsiteY10" fmla="*/ 442422 h 448772"/>
                    <a:gd name="connsiteX0" fmla="*/ 8840 w 514980"/>
                    <a:gd name="connsiteY0" fmla="*/ 442422 h 448772"/>
                    <a:gd name="connsiteX1" fmla="*/ 5665 w 514980"/>
                    <a:gd name="connsiteY1" fmla="*/ 216997 h 448772"/>
                    <a:gd name="connsiteX2" fmla="*/ 62412 w 514980"/>
                    <a:gd name="connsiteY2" fmla="*/ 129441 h 448772"/>
                    <a:gd name="connsiteX3" fmla="*/ 168766 w 514980"/>
                    <a:gd name="connsiteY3" fmla="*/ 93528 h 448772"/>
                    <a:gd name="connsiteX4" fmla="*/ 179484 w 514980"/>
                    <a:gd name="connsiteY4" fmla="*/ 6248 h 448772"/>
                    <a:gd name="connsiteX5" fmla="*/ 351756 w 514980"/>
                    <a:gd name="connsiteY5" fmla="*/ 886 h 448772"/>
                    <a:gd name="connsiteX6" fmla="*/ 357905 w 514980"/>
                    <a:gd name="connsiteY6" fmla="*/ 98112 h 448772"/>
                    <a:gd name="connsiteX7" fmla="*/ 461084 w 514980"/>
                    <a:gd name="connsiteY7" fmla="*/ 143550 h 448772"/>
                    <a:gd name="connsiteX8" fmla="*/ 513665 w 514980"/>
                    <a:gd name="connsiteY8" fmla="*/ 226522 h 448772"/>
                    <a:gd name="connsiteX9" fmla="*/ 510490 w 514980"/>
                    <a:gd name="connsiteY9" fmla="*/ 448772 h 448772"/>
                    <a:gd name="connsiteX10" fmla="*/ 8840 w 514980"/>
                    <a:gd name="connsiteY10" fmla="*/ 442422 h 448772"/>
                    <a:gd name="connsiteX0" fmla="*/ 8840 w 514980"/>
                    <a:gd name="connsiteY0" fmla="*/ 442422 h 448772"/>
                    <a:gd name="connsiteX1" fmla="*/ 5665 w 514980"/>
                    <a:gd name="connsiteY1" fmla="*/ 216997 h 448772"/>
                    <a:gd name="connsiteX2" fmla="*/ 62412 w 514980"/>
                    <a:gd name="connsiteY2" fmla="*/ 129441 h 448772"/>
                    <a:gd name="connsiteX3" fmla="*/ 168766 w 514980"/>
                    <a:gd name="connsiteY3" fmla="*/ 93528 h 448772"/>
                    <a:gd name="connsiteX4" fmla="*/ 179484 w 514980"/>
                    <a:gd name="connsiteY4" fmla="*/ 6248 h 448772"/>
                    <a:gd name="connsiteX5" fmla="*/ 351756 w 514980"/>
                    <a:gd name="connsiteY5" fmla="*/ 886 h 448772"/>
                    <a:gd name="connsiteX6" fmla="*/ 357905 w 514980"/>
                    <a:gd name="connsiteY6" fmla="*/ 98112 h 448772"/>
                    <a:gd name="connsiteX7" fmla="*/ 454533 w 514980"/>
                    <a:gd name="connsiteY7" fmla="*/ 136989 h 448772"/>
                    <a:gd name="connsiteX8" fmla="*/ 513665 w 514980"/>
                    <a:gd name="connsiteY8" fmla="*/ 226522 h 448772"/>
                    <a:gd name="connsiteX9" fmla="*/ 510490 w 514980"/>
                    <a:gd name="connsiteY9" fmla="*/ 448772 h 448772"/>
                    <a:gd name="connsiteX10" fmla="*/ 8840 w 514980"/>
                    <a:gd name="connsiteY10" fmla="*/ 442422 h 448772"/>
                    <a:gd name="connsiteX0" fmla="*/ 8840 w 514980"/>
                    <a:gd name="connsiteY0" fmla="*/ 442422 h 448772"/>
                    <a:gd name="connsiteX1" fmla="*/ 5665 w 514980"/>
                    <a:gd name="connsiteY1" fmla="*/ 216997 h 448772"/>
                    <a:gd name="connsiteX2" fmla="*/ 62412 w 514980"/>
                    <a:gd name="connsiteY2" fmla="*/ 129441 h 448772"/>
                    <a:gd name="connsiteX3" fmla="*/ 168766 w 514980"/>
                    <a:gd name="connsiteY3" fmla="*/ 93528 h 448772"/>
                    <a:gd name="connsiteX4" fmla="*/ 179484 w 514980"/>
                    <a:gd name="connsiteY4" fmla="*/ 6248 h 448772"/>
                    <a:gd name="connsiteX5" fmla="*/ 351756 w 514980"/>
                    <a:gd name="connsiteY5" fmla="*/ 886 h 448772"/>
                    <a:gd name="connsiteX6" fmla="*/ 357905 w 514980"/>
                    <a:gd name="connsiteY6" fmla="*/ 98112 h 448772"/>
                    <a:gd name="connsiteX7" fmla="*/ 454533 w 514980"/>
                    <a:gd name="connsiteY7" fmla="*/ 136989 h 448772"/>
                    <a:gd name="connsiteX8" fmla="*/ 513665 w 514980"/>
                    <a:gd name="connsiteY8" fmla="*/ 226522 h 448772"/>
                    <a:gd name="connsiteX9" fmla="*/ 510490 w 514980"/>
                    <a:gd name="connsiteY9" fmla="*/ 448772 h 448772"/>
                    <a:gd name="connsiteX10" fmla="*/ 8840 w 514980"/>
                    <a:gd name="connsiteY10" fmla="*/ 442422 h 448772"/>
                    <a:gd name="connsiteX0" fmla="*/ 8840 w 514980"/>
                    <a:gd name="connsiteY0" fmla="*/ 442422 h 448772"/>
                    <a:gd name="connsiteX1" fmla="*/ 5665 w 514980"/>
                    <a:gd name="connsiteY1" fmla="*/ 216997 h 448772"/>
                    <a:gd name="connsiteX2" fmla="*/ 62412 w 514980"/>
                    <a:gd name="connsiteY2" fmla="*/ 129441 h 448772"/>
                    <a:gd name="connsiteX3" fmla="*/ 168766 w 514980"/>
                    <a:gd name="connsiteY3" fmla="*/ 93528 h 448772"/>
                    <a:gd name="connsiteX4" fmla="*/ 179484 w 514980"/>
                    <a:gd name="connsiteY4" fmla="*/ 6248 h 448772"/>
                    <a:gd name="connsiteX5" fmla="*/ 351756 w 514980"/>
                    <a:gd name="connsiteY5" fmla="*/ 886 h 448772"/>
                    <a:gd name="connsiteX6" fmla="*/ 357905 w 514980"/>
                    <a:gd name="connsiteY6" fmla="*/ 98112 h 448772"/>
                    <a:gd name="connsiteX7" fmla="*/ 454533 w 514980"/>
                    <a:gd name="connsiteY7" fmla="*/ 136989 h 448772"/>
                    <a:gd name="connsiteX8" fmla="*/ 513665 w 514980"/>
                    <a:gd name="connsiteY8" fmla="*/ 226522 h 448772"/>
                    <a:gd name="connsiteX9" fmla="*/ 510490 w 514980"/>
                    <a:gd name="connsiteY9" fmla="*/ 448772 h 448772"/>
                    <a:gd name="connsiteX10" fmla="*/ 8840 w 514980"/>
                    <a:gd name="connsiteY10" fmla="*/ 442422 h 448772"/>
                    <a:gd name="connsiteX0" fmla="*/ 8840 w 514980"/>
                    <a:gd name="connsiteY0" fmla="*/ 442422 h 448772"/>
                    <a:gd name="connsiteX1" fmla="*/ 5665 w 514980"/>
                    <a:gd name="connsiteY1" fmla="*/ 216997 h 448772"/>
                    <a:gd name="connsiteX2" fmla="*/ 62412 w 514980"/>
                    <a:gd name="connsiteY2" fmla="*/ 129441 h 448772"/>
                    <a:gd name="connsiteX3" fmla="*/ 168766 w 514980"/>
                    <a:gd name="connsiteY3" fmla="*/ 93528 h 448772"/>
                    <a:gd name="connsiteX4" fmla="*/ 179484 w 514980"/>
                    <a:gd name="connsiteY4" fmla="*/ 6248 h 448772"/>
                    <a:gd name="connsiteX5" fmla="*/ 351756 w 514980"/>
                    <a:gd name="connsiteY5" fmla="*/ 886 h 448772"/>
                    <a:gd name="connsiteX6" fmla="*/ 353538 w 514980"/>
                    <a:gd name="connsiteY6" fmla="*/ 98112 h 448772"/>
                    <a:gd name="connsiteX7" fmla="*/ 454533 w 514980"/>
                    <a:gd name="connsiteY7" fmla="*/ 136989 h 448772"/>
                    <a:gd name="connsiteX8" fmla="*/ 513665 w 514980"/>
                    <a:gd name="connsiteY8" fmla="*/ 226522 h 448772"/>
                    <a:gd name="connsiteX9" fmla="*/ 510490 w 514980"/>
                    <a:gd name="connsiteY9" fmla="*/ 448772 h 448772"/>
                    <a:gd name="connsiteX10" fmla="*/ 8840 w 514980"/>
                    <a:gd name="connsiteY10" fmla="*/ 442422 h 448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14980" h="448772">
                      <a:moveTo>
                        <a:pt x="8840" y="442422"/>
                      </a:moveTo>
                      <a:cubicBezTo>
                        <a:pt x="-1214" y="377864"/>
                        <a:pt x="-3264" y="269160"/>
                        <a:pt x="5665" y="216997"/>
                      </a:cubicBezTo>
                      <a:cubicBezTo>
                        <a:pt x="14594" y="164834"/>
                        <a:pt x="35229" y="150019"/>
                        <a:pt x="62412" y="129441"/>
                      </a:cubicBezTo>
                      <a:cubicBezTo>
                        <a:pt x="89595" y="108863"/>
                        <a:pt x="149254" y="114060"/>
                        <a:pt x="168766" y="93528"/>
                      </a:cubicBezTo>
                      <a:cubicBezTo>
                        <a:pt x="188278" y="72996"/>
                        <a:pt x="189023" y="43922"/>
                        <a:pt x="179484" y="6248"/>
                      </a:cubicBezTo>
                      <a:cubicBezTo>
                        <a:pt x="202703" y="-7370"/>
                        <a:pt x="323111" y="6352"/>
                        <a:pt x="351756" y="886"/>
                      </a:cubicBezTo>
                      <a:cubicBezTo>
                        <a:pt x="354195" y="39159"/>
                        <a:pt x="342961" y="75428"/>
                        <a:pt x="353538" y="98112"/>
                      </a:cubicBezTo>
                      <a:cubicBezTo>
                        <a:pt x="364115" y="120796"/>
                        <a:pt x="427845" y="115587"/>
                        <a:pt x="454533" y="136989"/>
                      </a:cubicBezTo>
                      <a:cubicBezTo>
                        <a:pt x="481221" y="158391"/>
                        <a:pt x="503611" y="177839"/>
                        <a:pt x="513665" y="226522"/>
                      </a:cubicBezTo>
                      <a:cubicBezTo>
                        <a:pt x="516840" y="276264"/>
                        <a:pt x="513665" y="323360"/>
                        <a:pt x="510490" y="448772"/>
                      </a:cubicBezTo>
                      <a:lnTo>
                        <a:pt x="8840" y="442422"/>
                      </a:lnTo>
                      <a:close/>
                    </a:path>
                  </a:pathLst>
                </a:custGeom>
                <a:grpFill/>
                <a:ln w="571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68" name="Oval 67">
                  <a:extLst>
                    <a:ext uri="{FF2B5EF4-FFF2-40B4-BE49-F238E27FC236}">
                      <a16:creationId xmlns:a16="http://schemas.microsoft.com/office/drawing/2014/main" id="{89E9AF08-D7C3-DC44-AB6A-4556B4EE9346}"/>
                    </a:ext>
                  </a:extLst>
                </p:cNvPr>
                <p:cNvSpPr/>
                <p:nvPr/>
              </p:nvSpPr>
              <p:spPr>
                <a:xfrm>
                  <a:off x="1971467" y="3508300"/>
                  <a:ext cx="282088" cy="336550"/>
                </a:xfrm>
                <a:prstGeom prst="ellipse">
                  <a:avLst/>
                </a:prstGeom>
                <a:grpFill/>
                <a:ln w="571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grpSp>
          <p:grpSp>
            <p:nvGrpSpPr>
              <p:cNvPr id="64" name="Group 63">
                <a:extLst>
                  <a:ext uri="{FF2B5EF4-FFF2-40B4-BE49-F238E27FC236}">
                    <a16:creationId xmlns:a16="http://schemas.microsoft.com/office/drawing/2014/main" id="{58F18BA7-74B9-334E-871F-0511E2ED162B}"/>
                  </a:ext>
                </a:extLst>
              </p:cNvPr>
              <p:cNvGrpSpPr/>
              <p:nvPr/>
            </p:nvGrpSpPr>
            <p:grpSpPr>
              <a:xfrm>
                <a:off x="1553120" y="3388644"/>
                <a:ext cx="633802" cy="938165"/>
                <a:chOff x="1806977" y="3500843"/>
                <a:chExt cx="539989" cy="738018"/>
              </a:xfrm>
            </p:grpSpPr>
            <p:sp>
              <p:nvSpPr>
                <p:cNvPr id="65" name="Freeform 64">
                  <a:extLst>
                    <a:ext uri="{FF2B5EF4-FFF2-40B4-BE49-F238E27FC236}">
                      <a16:creationId xmlns:a16="http://schemas.microsoft.com/office/drawing/2014/main" id="{28A447CB-19E2-1546-A6F2-6B13AEEF4ED4}"/>
                    </a:ext>
                  </a:extLst>
                </p:cNvPr>
                <p:cNvSpPr/>
                <p:nvPr/>
              </p:nvSpPr>
              <p:spPr>
                <a:xfrm>
                  <a:off x="1806977" y="3782373"/>
                  <a:ext cx="539989" cy="456488"/>
                </a:xfrm>
                <a:custGeom>
                  <a:avLst/>
                  <a:gdLst>
                    <a:gd name="connsiteX0" fmla="*/ 36807 w 576731"/>
                    <a:gd name="connsiteY0" fmla="*/ 449906 h 505924"/>
                    <a:gd name="connsiteX1" fmla="*/ 39982 w 576731"/>
                    <a:gd name="connsiteY1" fmla="*/ 214956 h 505924"/>
                    <a:gd name="connsiteX2" fmla="*/ 55857 w 576731"/>
                    <a:gd name="connsiteY2" fmla="*/ 176856 h 505924"/>
                    <a:gd name="connsiteX3" fmla="*/ 103482 w 576731"/>
                    <a:gd name="connsiteY3" fmla="*/ 160981 h 505924"/>
                    <a:gd name="connsiteX4" fmla="*/ 205082 w 576731"/>
                    <a:gd name="connsiteY4" fmla="*/ 154631 h 505924"/>
                    <a:gd name="connsiteX5" fmla="*/ 230482 w 576731"/>
                    <a:gd name="connsiteY5" fmla="*/ 151456 h 505924"/>
                    <a:gd name="connsiteX6" fmla="*/ 233657 w 576731"/>
                    <a:gd name="connsiteY6" fmla="*/ 18106 h 505924"/>
                    <a:gd name="connsiteX7" fmla="*/ 344782 w 576731"/>
                    <a:gd name="connsiteY7" fmla="*/ 14931 h 505924"/>
                    <a:gd name="connsiteX8" fmla="*/ 344782 w 576731"/>
                    <a:gd name="connsiteY8" fmla="*/ 145106 h 505924"/>
                    <a:gd name="connsiteX9" fmla="*/ 386057 w 576731"/>
                    <a:gd name="connsiteY9" fmla="*/ 151456 h 505924"/>
                    <a:gd name="connsiteX10" fmla="*/ 478132 w 576731"/>
                    <a:gd name="connsiteY10" fmla="*/ 164156 h 505924"/>
                    <a:gd name="connsiteX11" fmla="*/ 519407 w 576731"/>
                    <a:gd name="connsiteY11" fmla="*/ 189556 h 505924"/>
                    <a:gd name="connsiteX12" fmla="*/ 541632 w 576731"/>
                    <a:gd name="connsiteY12" fmla="*/ 234006 h 505924"/>
                    <a:gd name="connsiteX13" fmla="*/ 538457 w 576731"/>
                    <a:gd name="connsiteY13" fmla="*/ 488006 h 505924"/>
                    <a:gd name="connsiteX14" fmla="*/ 36807 w 576731"/>
                    <a:gd name="connsiteY14" fmla="*/ 449906 h 505924"/>
                    <a:gd name="connsiteX0" fmla="*/ 5769 w 545693"/>
                    <a:gd name="connsiteY0" fmla="*/ 449906 h 505924"/>
                    <a:gd name="connsiteX1" fmla="*/ 8944 w 545693"/>
                    <a:gd name="connsiteY1" fmla="*/ 214956 h 505924"/>
                    <a:gd name="connsiteX2" fmla="*/ 24819 w 545693"/>
                    <a:gd name="connsiteY2" fmla="*/ 176856 h 505924"/>
                    <a:gd name="connsiteX3" fmla="*/ 72444 w 545693"/>
                    <a:gd name="connsiteY3" fmla="*/ 160981 h 505924"/>
                    <a:gd name="connsiteX4" fmla="*/ 174044 w 545693"/>
                    <a:gd name="connsiteY4" fmla="*/ 154631 h 505924"/>
                    <a:gd name="connsiteX5" fmla="*/ 199444 w 545693"/>
                    <a:gd name="connsiteY5" fmla="*/ 151456 h 505924"/>
                    <a:gd name="connsiteX6" fmla="*/ 202619 w 545693"/>
                    <a:gd name="connsiteY6" fmla="*/ 18106 h 505924"/>
                    <a:gd name="connsiteX7" fmla="*/ 313744 w 545693"/>
                    <a:gd name="connsiteY7" fmla="*/ 14931 h 505924"/>
                    <a:gd name="connsiteX8" fmla="*/ 313744 w 545693"/>
                    <a:gd name="connsiteY8" fmla="*/ 145106 h 505924"/>
                    <a:gd name="connsiteX9" fmla="*/ 355019 w 545693"/>
                    <a:gd name="connsiteY9" fmla="*/ 151456 h 505924"/>
                    <a:gd name="connsiteX10" fmla="*/ 447094 w 545693"/>
                    <a:gd name="connsiteY10" fmla="*/ 164156 h 505924"/>
                    <a:gd name="connsiteX11" fmla="*/ 488369 w 545693"/>
                    <a:gd name="connsiteY11" fmla="*/ 189556 h 505924"/>
                    <a:gd name="connsiteX12" fmla="*/ 510594 w 545693"/>
                    <a:gd name="connsiteY12" fmla="*/ 234006 h 505924"/>
                    <a:gd name="connsiteX13" fmla="*/ 507419 w 545693"/>
                    <a:gd name="connsiteY13" fmla="*/ 488006 h 505924"/>
                    <a:gd name="connsiteX14" fmla="*/ 5769 w 545693"/>
                    <a:gd name="connsiteY14" fmla="*/ 449906 h 505924"/>
                    <a:gd name="connsiteX0" fmla="*/ 21286 w 561210"/>
                    <a:gd name="connsiteY0" fmla="*/ 449906 h 508025"/>
                    <a:gd name="connsiteX1" fmla="*/ 24461 w 561210"/>
                    <a:gd name="connsiteY1" fmla="*/ 214956 h 508025"/>
                    <a:gd name="connsiteX2" fmla="*/ 40336 w 561210"/>
                    <a:gd name="connsiteY2" fmla="*/ 176856 h 508025"/>
                    <a:gd name="connsiteX3" fmla="*/ 87961 w 561210"/>
                    <a:gd name="connsiteY3" fmla="*/ 160981 h 508025"/>
                    <a:gd name="connsiteX4" fmla="*/ 189561 w 561210"/>
                    <a:gd name="connsiteY4" fmla="*/ 154631 h 508025"/>
                    <a:gd name="connsiteX5" fmla="*/ 214961 w 561210"/>
                    <a:gd name="connsiteY5" fmla="*/ 151456 h 508025"/>
                    <a:gd name="connsiteX6" fmla="*/ 218136 w 561210"/>
                    <a:gd name="connsiteY6" fmla="*/ 18106 h 508025"/>
                    <a:gd name="connsiteX7" fmla="*/ 329261 w 561210"/>
                    <a:gd name="connsiteY7" fmla="*/ 14931 h 508025"/>
                    <a:gd name="connsiteX8" fmla="*/ 329261 w 561210"/>
                    <a:gd name="connsiteY8" fmla="*/ 145106 h 508025"/>
                    <a:gd name="connsiteX9" fmla="*/ 370536 w 561210"/>
                    <a:gd name="connsiteY9" fmla="*/ 151456 h 508025"/>
                    <a:gd name="connsiteX10" fmla="*/ 462611 w 561210"/>
                    <a:gd name="connsiteY10" fmla="*/ 164156 h 508025"/>
                    <a:gd name="connsiteX11" fmla="*/ 503886 w 561210"/>
                    <a:gd name="connsiteY11" fmla="*/ 189556 h 508025"/>
                    <a:gd name="connsiteX12" fmla="*/ 526111 w 561210"/>
                    <a:gd name="connsiteY12" fmla="*/ 234006 h 508025"/>
                    <a:gd name="connsiteX13" fmla="*/ 522936 w 561210"/>
                    <a:gd name="connsiteY13" fmla="*/ 488006 h 508025"/>
                    <a:gd name="connsiteX14" fmla="*/ 21286 w 561210"/>
                    <a:gd name="connsiteY14" fmla="*/ 449906 h 508025"/>
                    <a:gd name="connsiteX0" fmla="*/ 21286 w 561210"/>
                    <a:gd name="connsiteY0" fmla="*/ 449906 h 508025"/>
                    <a:gd name="connsiteX1" fmla="*/ 24461 w 561210"/>
                    <a:gd name="connsiteY1" fmla="*/ 214956 h 508025"/>
                    <a:gd name="connsiteX2" fmla="*/ 40336 w 561210"/>
                    <a:gd name="connsiteY2" fmla="*/ 176856 h 508025"/>
                    <a:gd name="connsiteX3" fmla="*/ 87961 w 561210"/>
                    <a:gd name="connsiteY3" fmla="*/ 160981 h 508025"/>
                    <a:gd name="connsiteX4" fmla="*/ 189561 w 561210"/>
                    <a:gd name="connsiteY4" fmla="*/ 154631 h 508025"/>
                    <a:gd name="connsiteX5" fmla="*/ 214961 w 561210"/>
                    <a:gd name="connsiteY5" fmla="*/ 151456 h 508025"/>
                    <a:gd name="connsiteX6" fmla="*/ 218136 w 561210"/>
                    <a:gd name="connsiteY6" fmla="*/ 18106 h 508025"/>
                    <a:gd name="connsiteX7" fmla="*/ 329261 w 561210"/>
                    <a:gd name="connsiteY7" fmla="*/ 14931 h 508025"/>
                    <a:gd name="connsiteX8" fmla="*/ 329261 w 561210"/>
                    <a:gd name="connsiteY8" fmla="*/ 145106 h 508025"/>
                    <a:gd name="connsiteX9" fmla="*/ 370536 w 561210"/>
                    <a:gd name="connsiteY9" fmla="*/ 151456 h 508025"/>
                    <a:gd name="connsiteX10" fmla="*/ 462611 w 561210"/>
                    <a:gd name="connsiteY10" fmla="*/ 164156 h 508025"/>
                    <a:gd name="connsiteX11" fmla="*/ 503886 w 561210"/>
                    <a:gd name="connsiteY11" fmla="*/ 189556 h 508025"/>
                    <a:gd name="connsiteX12" fmla="*/ 526111 w 561210"/>
                    <a:gd name="connsiteY12" fmla="*/ 234006 h 508025"/>
                    <a:gd name="connsiteX13" fmla="*/ 522936 w 561210"/>
                    <a:gd name="connsiteY13" fmla="*/ 488006 h 508025"/>
                    <a:gd name="connsiteX14" fmla="*/ 21286 w 561210"/>
                    <a:gd name="connsiteY14" fmla="*/ 449906 h 508025"/>
                    <a:gd name="connsiteX0" fmla="*/ 4360 w 544284"/>
                    <a:gd name="connsiteY0" fmla="*/ 449906 h 508025"/>
                    <a:gd name="connsiteX1" fmla="*/ 7535 w 544284"/>
                    <a:gd name="connsiteY1" fmla="*/ 214956 h 508025"/>
                    <a:gd name="connsiteX2" fmla="*/ 23410 w 544284"/>
                    <a:gd name="connsiteY2" fmla="*/ 176856 h 508025"/>
                    <a:gd name="connsiteX3" fmla="*/ 71035 w 544284"/>
                    <a:gd name="connsiteY3" fmla="*/ 160981 h 508025"/>
                    <a:gd name="connsiteX4" fmla="*/ 172635 w 544284"/>
                    <a:gd name="connsiteY4" fmla="*/ 154631 h 508025"/>
                    <a:gd name="connsiteX5" fmla="*/ 198035 w 544284"/>
                    <a:gd name="connsiteY5" fmla="*/ 151456 h 508025"/>
                    <a:gd name="connsiteX6" fmla="*/ 201210 w 544284"/>
                    <a:gd name="connsiteY6" fmla="*/ 18106 h 508025"/>
                    <a:gd name="connsiteX7" fmla="*/ 312335 w 544284"/>
                    <a:gd name="connsiteY7" fmla="*/ 14931 h 508025"/>
                    <a:gd name="connsiteX8" fmla="*/ 312335 w 544284"/>
                    <a:gd name="connsiteY8" fmla="*/ 145106 h 508025"/>
                    <a:gd name="connsiteX9" fmla="*/ 353610 w 544284"/>
                    <a:gd name="connsiteY9" fmla="*/ 151456 h 508025"/>
                    <a:gd name="connsiteX10" fmla="*/ 445685 w 544284"/>
                    <a:gd name="connsiteY10" fmla="*/ 164156 h 508025"/>
                    <a:gd name="connsiteX11" fmla="*/ 486960 w 544284"/>
                    <a:gd name="connsiteY11" fmla="*/ 189556 h 508025"/>
                    <a:gd name="connsiteX12" fmla="*/ 509185 w 544284"/>
                    <a:gd name="connsiteY12" fmla="*/ 234006 h 508025"/>
                    <a:gd name="connsiteX13" fmla="*/ 506010 w 544284"/>
                    <a:gd name="connsiteY13" fmla="*/ 488006 h 508025"/>
                    <a:gd name="connsiteX14" fmla="*/ 4360 w 544284"/>
                    <a:gd name="connsiteY14" fmla="*/ 449906 h 508025"/>
                    <a:gd name="connsiteX0" fmla="*/ 4360 w 544284"/>
                    <a:gd name="connsiteY0" fmla="*/ 449906 h 500804"/>
                    <a:gd name="connsiteX1" fmla="*/ 7535 w 544284"/>
                    <a:gd name="connsiteY1" fmla="*/ 214956 h 500804"/>
                    <a:gd name="connsiteX2" fmla="*/ 23410 w 544284"/>
                    <a:gd name="connsiteY2" fmla="*/ 176856 h 500804"/>
                    <a:gd name="connsiteX3" fmla="*/ 71035 w 544284"/>
                    <a:gd name="connsiteY3" fmla="*/ 160981 h 500804"/>
                    <a:gd name="connsiteX4" fmla="*/ 172635 w 544284"/>
                    <a:gd name="connsiteY4" fmla="*/ 154631 h 500804"/>
                    <a:gd name="connsiteX5" fmla="*/ 198035 w 544284"/>
                    <a:gd name="connsiteY5" fmla="*/ 151456 h 500804"/>
                    <a:gd name="connsiteX6" fmla="*/ 201210 w 544284"/>
                    <a:gd name="connsiteY6" fmla="*/ 18106 h 500804"/>
                    <a:gd name="connsiteX7" fmla="*/ 312335 w 544284"/>
                    <a:gd name="connsiteY7" fmla="*/ 14931 h 500804"/>
                    <a:gd name="connsiteX8" fmla="*/ 312335 w 544284"/>
                    <a:gd name="connsiteY8" fmla="*/ 145106 h 500804"/>
                    <a:gd name="connsiteX9" fmla="*/ 353610 w 544284"/>
                    <a:gd name="connsiteY9" fmla="*/ 151456 h 500804"/>
                    <a:gd name="connsiteX10" fmla="*/ 445685 w 544284"/>
                    <a:gd name="connsiteY10" fmla="*/ 164156 h 500804"/>
                    <a:gd name="connsiteX11" fmla="*/ 486960 w 544284"/>
                    <a:gd name="connsiteY11" fmla="*/ 189556 h 500804"/>
                    <a:gd name="connsiteX12" fmla="*/ 509185 w 544284"/>
                    <a:gd name="connsiteY12" fmla="*/ 234006 h 500804"/>
                    <a:gd name="connsiteX13" fmla="*/ 506010 w 544284"/>
                    <a:gd name="connsiteY13" fmla="*/ 488006 h 500804"/>
                    <a:gd name="connsiteX14" fmla="*/ 4360 w 544284"/>
                    <a:gd name="connsiteY14" fmla="*/ 449906 h 500804"/>
                    <a:gd name="connsiteX0" fmla="*/ 4360 w 544284"/>
                    <a:gd name="connsiteY0" fmla="*/ 449906 h 500804"/>
                    <a:gd name="connsiteX1" fmla="*/ 7535 w 544284"/>
                    <a:gd name="connsiteY1" fmla="*/ 214956 h 500804"/>
                    <a:gd name="connsiteX2" fmla="*/ 23410 w 544284"/>
                    <a:gd name="connsiteY2" fmla="*/ 176856 h 500804"/>
                    <a:gd name="connsiteX3" fmla="*/ 71035 w 544284"/>
                    <a:gd name="connsiteY3" fmla="*/ 160981 h 500804"/>
                    <a:gd name="connsiteX4" fmla="*/ 172635 w 544284"/>
                    <a:gd name="connsiteY4" fmla="*/ 154631 h 500804"/>
                    <a:gd name="connsiteX5" fmla="*/ 198035 w 544284"/>
                    <a:gd name="connsiteY5" fmla="*/ 151456 h 500804"/>
                    <a:gd name="connsiteX6" fmla="*/ 201210 w 544284"/>
                    <a:gd name="connsiteY6" fmla="*/ 18106 h 500804"/>
                    <a:gd name="connsiteX7" fmla="*/ 312335 w 544284"/>
                    <a:gd name="connsiteY7" fmla="*/ 14931 h 500804"/>
                    <a:gd name="connsiteX8" fmla="*/ 312335 w 544284"/>
                    <a:gd name="connsiteY8" fmla="*/ 145106 h 500804"/>
                    <a:gd name="connsiteX9" fmla="*/ 353610 w 544284"/>
                    <a:gd name="connsiteY9" fmla="*/ 151456 h 500804"/>
                    <a:gd name="connsiteX10" fmla="*/ 445685 w 544284"/>
                    <a:gd name="connsiteY10" fmla="*/ 164156 h 500804"/>
                    <a:gd name="connsiteX11" fmla="*/ 486960 w 544284"/>
                    <a:gd name="connsiteY11" fmla="*/ 189556 h 500804"/>
                    <a:gd name="connsiteX12" fmla="*/ 509185 w 544284"/>
                    <a:gd name="connsiteY12" fmla="*/ 234006 h 500804"/>
                    <a:gd name="connsiteX13" fmla="*/ 506010 w 544284"/>
                    <a:gd name="connsiteY13" fmla="*/ 488006 h 500804"/>
                    <a:gd name="connsiteX14" fmla="*/ 4360 w 544284"/>
                    <a:gd name="connsiteY14" fmla="*/ 449906 h 500804"/>
                    <a:gd name="connsiteX0" fmla="*/ 4360 w 519024"/>
                    <a:gd name="connsiteY0" fmla="*/ 449906 h 500804"/>
                    <a:gd name="connsiteX1" fmla="*/ 7535 w 519024"/>
                    <a:gd name="connsiteY1" fmla="*/ 214956 h 500804"/>
                    <a:gd name="connsiteX2" fmla="*/ 23410 w 519024"/>
                    <a:gd name="connsiteY2" fmla="*/ 176856 h 500804"/>
                    <a:gd name="connsiteX3" fmla="*/ 71035 w 519024"/>
                    <a:gd name="connsiteY3" fmla="*/ 160981 h 500804"/>
                    <a:gd name="connsiteX4" fmla="*/ 172635 w 519024"/>
                    <a:gd name="connsiteY4" fmla="*/ 154631 h 500804"/>
                    <a:gd name="connsiteX5" fmla="*/ 198035 w 519024"/>
                    <a:gd name="connsiteY5" fmla="*/ 151456 h 500804"/>
                    <a:gd name="connsiteX6" fmla="*/ 201210 w 519024"/>
                    <a:gd name="connsiteY6" fmla="*/ 18106 h 500804"/>
                    <a:gd name="connsiteX7" fmla="*/ 312335 w 519024"/>
                    <a:gd name="connsiteY7" fmla="*/ 14931 h 500804"/>
                    <a:gd name="connsiteX8" fmla="*/ 312335 w 519024"/>
                    <a:gd name="connsiteY8" fmla="*/ 145106 h 500804"/>
                    <a:gd name="connsiteX9" fmla="*/ 353610 w 519024"/>
                    <a:gd name="connsiteY9" fmla="*/ 151456 h 500804"/>
                    <a:gd name="connsiteX10" fmla="*/ 445685 w 519024"/>
                    <a:gd name="connsiteY10" fmla="*/ 164156 h 500804"/>
                    <a:gd name="connsiteX11" fmla="*/ 486960 w 519024"/>
                    <a:gd name="connsiteY11" fmla="*/ 189556 h 500804"/>
                    <a:gd name="connsiteX12" fmla="*/ 509185 w 519024"/>
                    <a:gd name="connsiteY12" fmla="*/ 234006 h 500804"/>
                    <a:gd name="connsiteX13" fmla="*/ 506010 w 519024"/>
                    <a:gd name="connsiteY13" fmla="*/ 488006 h 500804"/>
                    <a:gd name="connsiteX14" fmla="*/ 4360 w 519024"/>
                    <a:gd name="connsiteY14" fmla="*/ 449906 h 500804"/>
                    <a:gd name="connsiteX0" fmla="*/ 4360 w 519024"/>
                    <a:gd name="connsiteY0" fmla="*/ 449906 h 488006"/>
                    <a:gd name="connsiteX1" fmla="*/ 7535 w 519024"/>
                    <a:gd name="connsiteY1" fmla="*/ 214956 h 488006"/>
                    <a:gd name="connsiteX2" fmla="*/ 23410 w 519024"/>
                    <a:gd name="connsiteY2" fmla="*/ 176856 h 488006"/>
                    <a:gd name="connsiteX3" fmla="*/ 71035 w 519024"/>
                    <a:gd name="connsiteY3" fmla="*/ 160981 h 488006"/>
                    <a:gd name="connsiteX4" fmla="*/ 172635 w 519024"/>
                    <a:gd name="connsiteY4" fmla="*/ 154631 h 488006"/>
                    <a:gd name="connsiteX5" fmla="*/ 198035 w 519024"/>
                    <a:gd name="connsiteY5" fmla="*/ 151456 h 488006"/>
                    <a:gd name="connsiteX6" fmla="*/ 201210 w 519024"/>
                    <a:gd name="connsiteY6" fmla="*/ 18106 h 488006"/>
                    <a:gd name="connsiteX7" fmla="*/ 312335 w 519024"/>
                    <a:gd name="connsiteY7" fmla="*/ 14931 h 488006"/>
                    <a:gd name="connsiteX8" fmla="*/ 312335 w 519024"/>
                    <a:gd name="connsiteY8" fmla="*/ 145106 h 488006"/>
                    <a:gd name="connsiteX9" fmla="*/ 353610 w 519024"/>
                    <a:gd name="connsiteY9" fmla="*/ 151456 h 488006"/>
                    <a:gd name="connsiteX10" fmla="*/ 445685 w 519024"/>
                    <a:gd name="connsiteY10" fmla="*/ 164156 h 488006"/>
                    <a:gd name="connsiteX11" fmla="*/ 486960 w 519024"/>
                    <a:gd name="connsiteY11" fmla="*/ 189556 h 488006"/>
                    <a:gd name="connsiteX12" fmla="*/ 509185 w 519024"/>
                    <a:gd name="connsiteY12" fmla="*/ 234006 h 488006"/>
                    <a:gd name="connsiteX13" fmla="*/ 506010 w 519024"/>
                    <a:gd name="connsiteY13" fmla="*/ 488006 h 488006"/>
                    <a:gd name="connsiteX14" fmla="*/ 4360 w 519024"/>
                    <a:gd name="connsiteY14" fmla="*/ 449906 h 488006"/>
                    <a:gd name="connsiteX0" fmla="*/ 4360 w 523534"/>
                    <a:gd name="connsiteY0" fmla="*/ 449906 h 472131"/>
                    <a:gd name="connsiteX1" fmla="*/ 7535 w 523534"/>
                    <a:gd name="connsiteY1" fmla="*/ 214956 h 472131"/>
                    <a:gd name="connsiteX2" fmla="*/ 23410 w 523534"/>
                    <a:gd name="connsiteY2" fmla="*/ 176856 h 472131"/>
                    <a:gd name="connsiteX3" fmla="*/ 71035 w 523534"/>
                    <a:gd name="connsiteY3" fmla="*/ 160981 h 472131"/>
                    <a:gd name="connsiteX4" fmla="*/ 172635 w 523534"/>
                    <a:gd name="connsiteY4" fmla="*/ 154631 h 472131"/>
                    <a:gd name="connsiteX5" fmla="*/ 198035 w 523534"/>
                    <a:gd name="connsiteY5" fmla="*/ 151456 h 472131"/>
                    <a:gd name="connsiteX6" fmla="*/ 201210 w 523534"/>
                    <a:gd name="connsiteY6" fmla="*/ 18106 h 472131"/>
                    <a:gd name="connsiteX7" fmla="*/ 312335 w 523534"/>
                    <a:gd name="connsiteY7" fmla="*/ 14931 h 472131"/>
                    <a:gd name="connsiteX8" fmla="*/ 312335 w 523534"/>
                    <a:gd name="connsiteY8" fmla="*/ 145106 h 472131"/>
                    <a:gd name="connsiteX9" fmla="*/ 353610 w 523534"/>
                    <a:gd name="connsiteY9" fmla="*/ 151456 h 472131"/>
                    <a:gd name="connsiteX10" fmla="*/ 445685 w 523534"/>
                    <a:gd name="connsiteY10" fmla="*/ 164156 h 472131"/>
                    <a:gd name="connsiteX11" fmla="*/ 486960 w 523534"/>
                    <a:gd name="connsiteY11" fmla="*/ 189556 h 472131"/>
                    <a:gd name="connsiteX12" fmla="*/ 509185 w 523534"/>
                    <a:gd name="connsiteY12" fmla="*/ 234006 h 472131"/>
                    <a:gd name="connsiteX13" fmla="*/ 512360 w 523534"/>
                    <a:gd name="connsiteY13" fmla="*/ 472131 h 472131"/>
                    <a:gd name="connsiteX14" fmla="*/ 4360 w 523534"/>
                    <a:gd name="connsiteY14" fmla="*/ 449906 h 472131"/>
                    <a:gd name="connsiteX0" fmla="*/ 4360 w 513675"/>
                    <a:gd name="connsiteY0" fmla="*/ 449906 h 472131"/>
                    <a:gd name="connsiteX1" fmla="*/ 7535 w 513675"/>
                    <a:gd name="connsiteY1" fmla="*/ 214956 h 472131"/>
                    <a:gd name="connsiteX2" fmla="*/ 23410 w 513675"/>
                    <a:gd name="connsiteY2" fmla="*/ 176856 h 472131"/>
                    <a:gd name="connsiteX3" fmla="*/ 71035 w 513675"/>
                    <a:gd name="connsiteY3" fmla="*/ 160981 h 472131"/>
                    <a:gd name="connsiteX4" fmla="*/ 172635 w 513675"/>
                    <a:gd name="connsiteY4" fmla="*/ 154631 h 472131"/>
                    <a:gd name="connsiteX5" fmla="*/ 198035 w 513675"/>
                    <a:gd name="connsiteY5" fmla="*/ 151456 h 472131"/>
                    <a:gd name="connsiteX6" fmla="*/ 201210 w 513675"/>
                    <a:gd name="connsiteY6" fmla="*/ 18106 h 472131"/>
                    <a:gd name="connsiteX7" fmla="*/ 312335 w 513675"/>
                    <a:gd name="connsiteY7" fmla="*/ 14931 h 472131"/>
                    <a:gd name="connsiteX8" fmla="*/ 312335 w 513675"/>
                    <a:gd name="connsiteY8" fmla="*/ 145106 h 472131"/>
                    <a:gd name="connsiteX9" fmla="*/ 353610 w 513675"/>
                    <a:gd name="connsiteY9" fmla="*/ 151456 h 472131"/>
                    <a:gd name="connsiteX10" fmla="*/ 445685 w 513675"/>
                    <a:gd name="connsiteY10" fmla="*/ 164156 h 472131"/>
                    <a:gd name="connsiteX11" fmla="*/ 486960 w 513675"/>
                    <a:gd name="connsiteY11" fmla="*/ 189556 h 472131"/>
                    <a:gd name="connsiteX12" fmla="*/ 509185 w 513675"/>
                    <a:gd name="connsiteY12" fmla="*/ 234006 h 472131"/>
                    <a:gd name="connsiteX13" fmla="*/ 512360 w 513675"/>
                    <a:gd name="connsiteY13" fmla="*/ 472131 h 472131"/>
                    <a:gd name="connsiteX14" fmla="*/ 4360 w 513675"/>
                    <a:gd name="connsiteY14" fmla="*/ 449906 h 472131"/>
                    <a:gd name="connsiteX0" fmla="*/ 4360 w 513675"/>
                    <a:gd name="connsiteY0" fmla="*/ 446969 h 469194"/>
                    <a:gd name="connsiteX1" fmla="*/ 7535 w 513675"/>
                    <a:gd name="connsiteY1" fmla="*/ 212019 h 469194"/>
                    <a:gd name="connsiteX2" fmla="*/ 23410 w 513675"/>
                    <a:gd name="connsiteY2" fmla="*/ 173919 h 469194"/>
                    <a:gd name="connsiteX3" fmla="*/ 71035 w 513675"/>
                    <a:gd name="connsiteY3" fmla="*/ 158044 h 469194"/>
                    <a:gd name="connsiteX4" fmla="*/ 172635 w 513675"/>
                    <a:gd name="connsiteY4" fmla="*/ 151694 h 469194"/>
                    <a:gd name="connsiteX5" fmla="*/ 188510 w 513675"/>
                    <a:gd name="connsiteY5" fmla="*/ 94544 h 469194"/>
                    <a:gd name="connsiteX6" fmla="*/ 201210 w 513675"/>
                    <a:gd name="connsiteY6" fmla="*/ 15169 h 469194"/>
                    <a:gd name="connsiteX7" fmla="*/ 312335 w 513675"/>
                    <a:gd name="connsiteY7" fmla="*/ 11994 h 469194"/>
                    <a:gd name="connsiteX8" fmla="*/ 312335 w 513675"/>
                    <a:gd name="connsiteY8" fmla="*/ 142169 h 469194"/>
                    <a:gd name="connsiteX9" fmla="*/ 353610 w 513675"/>
                    <a:gd name="connsiteY9" fmla="*/ 148519 h 469194"/>
                    <a:gd name="connsiteX10" fmla="*/ 445685 w 513675"/>
                    <a:gd name="connsiteY10" fmla="*/ 161219 h 469194"/>
                    <a:gd name="connsiteX11" fmla="*/ 486960 w 513675"/>
                    <a:gd name="connsiteY11" fmla="*/ 186619 h 469194"/>
                    <a:gd name="connsiteX12" fmla="*/ 509185 w 513675"/>
                    <a:gd name="connsiteY12" fmla="*/ 231069 h 469194"/>
                    <a:gd name="connsiteX13" fmla="*/ 512360 w 513675"/>
                    <a:gd name="connsiteY13" fmla="*/ 469194 h 469194"/>
                    <a:gd name="connsiteX14" fmla="*/ 4360 w 513675"/>
                    <a:gd name="connsiteY14" fmla="*/ 446969 h 469194"/>
                    <a:gd name="connsiteX0" fmla="*/ 4360 w 513675"/>
                    <a:gd name="connsiteY0" fmla="*/ 443409 h 465634"/>
                    <a:gd name="connsiteX1" fmla="*/ 7535 w 513675"/>
                    <a:gd name="connsiteY1" fmla="*/ 208459 h 465634"/>
                    <a:gd name="connsiteX2" fmla="*/ 23410 w 513675"/>
                    <a:gd name="connsiteY2" fmla="*/ 170359 h 465634"/>
                    <a:gd name="connsiteX3" fmla="*/ 71035 w 513675"/>
                    <a:gd name="connsiteY3" fmla="*/ 154484 h 465634"/>
                    <a:gd name="connsiteX4" fmla="*/ 172635 w 513675"/>
                    <a:gd name="connsiteY4" fmla="*/ 148134 h 465634"/>
                    <a:gd name="connsiteX5" fmla="*/ 188510 w 513675"/>
                    <a:gd name="connsiteY5" fmla="*/ 90984 h 465634"/>
                    <a:gd name="connsiteX6" fmla="*/ 201210 w 513675"/>
                    <a:gd name="connsiteY6" fmla="*/ 11609 h 465634"/>
                    <a:gd name="connsiteX7" fmla="*/ 312335 w 513675"/>
                    <a:gd name="connsiteY7" fmla="*/ 8434 h 465634"/>
                    <a:gd name="connsiteX8" fmla="*/ 312335 w 513675"/>
                    <a:gd name="connsiteY8" fmla="*/ 87809 h 465634"/>
                    <a:gd name="connsiteX9" fmla="*/ 353610 w 513675"/>
                    <a:gd name="connsiteY9" fmla="*/ 144959 h 465634"/>
                    <a:gd name="connsiteX10" fmla="*/ 445685 w 513675"/>
                    <a:gd name="connsiteY10" fmla="*/ 157659 h 465634"/>
                    <a:gd name="connsiteX11" fmla="*/ 486960 w 513675"/>
                    <a:gd name="connsiteY11" fmla="*/ 183059 h 465634"/>
                    <a:gd name="connsiteX12" fmla="*/ 509185 w 513675"/>
                    <a:gd name="connsiteY12" fmla="*/ 227509 h 465634"/>
                    <a:gd name="connsiteX13" fmla="*/ 512360 w 513675"/>
                    <a:gd name="connsiteY13" fmla="*/ 465634 h 465634"/>
                    <a:gd name="connsiteX14" fmla="*/ 4360 w 513675"/>
                    <a:gd name="connsiteY14" fmla="*/ 443409 h 465634"/>
                    <a:gd name="connsiteX0" fmla="*/ 4360 w 513675"/>
                    <a:gd name="connsiteY0" fmla="*/ 443409 h 465634"/>
                    <a:gd name="connsiteX1" fmla="*/ 7535 w 513675"/>
                    <a:gd name="connsiteY1" fmla="*/ 208459 h 465634"/>
                    <a:gd name="connsiteX2" fmla="*/ 23410 w 513675"/>
                    <a:gd name="connsiteY2" fmla="*/ 170359 h 465634"/>
                    <a:gd name="connsiteX3" fmla="*/ 71035 w 513675"/>
                    <a:gd name="connsiteY3" fmla="*/ 154484 h 465634"/>
                    <a:gd name="connsiteX4" fmla="*/ 172635 w 513675"/>
                    <a:gd name="connsiteY4" fmla="*/ 148134 h 465634"/>
                    <a:gd name="connsiteX5" fmla="*/ 188510 w 513675"/>
                    <a:gd name="connsiteY5" fmla="*/ 90984 h 465634"/>
                    <a:gd name="connsiteX6" fmla="*/ 201210 w 513675"/>
                    <a:gd name="connsiteY6" fmla="*/ 11609 h 465634"/>
                    <a:gd name="connsiteX7" fmla="*/ 312335 w 513675"/>
                    <a:gd name="connsiteY7" fmla="*/ 8434 h 465634"/>
                    <a:gd name="connsiteX8" fmla="*/ 312335 w 513675"/>
                    <a:gd name="connsiteY8" fmla="*/ 87809 h 465634"/>
                    <a:gd name="connsiteX9" fmla="*/ 334560 w 513675"/>
                    <a:gd name="connsiteY9" fmla="*/ 135434 h 465634"/>
                    <a:gd name="connsiteX10" fmla="*/ 445685 w 513675"/>
                    <a:gd name="connsiteY10" fmla="*/ 157659 h 465634"/>
                    <a:gd name="connsiteX11" fmla="*/ 486960 w 513675"/>
                    <a:gd name="connsiteY11" fmla="*/ 183059 h 465634"/>
                    <a:gd name="connsiteX12" fmla="*/ 509185 w 513675"/>
                    <a:gd name="connsiteY12" fmla="*/ 227509 h 465634"/>
                    <a:gd name="connsiteX13" fmla="*/ 512360 w 513675"/>
                    <a:gd name="connsiteY13" fmla="*/ 465634 h 465634"/>
                    <a:gd name="connsiteX14" fmla="*/ 4360 w 513675"/>
                    <a:gd name="connsiteY14" fmla="*/ 443409 h 465634"/>
                    <a:gd name="connsiteX0" fmla="*/ 4360 w 510500"/>
                    <a:gd name="connsiteY0" fmla="*/ 443409 h 449759"/>
                    <a:gd name="connsiteX1" fmla="*/ 7535 w 510500"/>
                    <a:gd name="connsiteY1" fmla="*/ 208459 h 449759"/>
                    <a:gd name="connsiteX2" fmla="*/ 23410 w 510500"/>
                    <a:gd name="connsiteY2" fmla="*/ 170359 h 449759"/>
                    <a:gd name="connsiteX3" fmla="*/ 71035 w 510500"/>
                    <a:gd name="connsiteY3" fmla="*/ 154484 h 449759"/>
                    <a:gd name="connsiteX4" fmla="*/ 172635 w 510500"/>
                    <a:gd name="connsiteY4" fmla="*/ 148134 h 449759"/>
                    <a:gd name="connsiteX5" fmla="*/ 188510 w 510500"/>
                    <a:gd name="connsiteY5" fmla="*/ 90984 h 449759"/>
                    <a:gd name="connsiteX6" fmla="*/ 201210 w 510500"/>
                    <a:gd name="connsiteY6" fmla="*/ 11609 h 449759"/>
                    <a:gd name="connsiteX7" fmla="*/ 312335 w 510500"/>
                    <a:gd name="connsiteY7" fmla="*/ 8434 h 449759"/>
                    <a:gd name="connsiteX8" fmla="*/ 312335 w 510500"/>
                    <a:gd name="connsiteY8" fmla="*/ 87809 h 449759"/>
                    <a:gd name="connsiteX9" fmla="*/ 334560 w 510500"/>
                    <a:gd name="connsiteY9" fmla="*/ 135434 h 449759"/>
                    <a:gd name="connsiteX10" fmla="*/ 445685 w 510500"/>
                    <a:gd name="connsiteY10" fmla="*/ 157659 h 449759"/>
                    <a:gd name="connsiteX11" fmla="*/ 486960 w 510500"/>
                    <a:gd name="connsiteY11" fmla="*/ 183059 h 449759"/>
                    <a:gd name="connsiteX12" fmla="*/ 509185 w 510500"/>
                    <a:gd name="connsiteY12" fmla="*/ 227509 h 449759"/>
                    <a:gd name="connsiteX13" fmla="*/ 506010 w 510500"/>
                    <a:gd name="connsiteY13" fmla="*/ 449759 h 449759"/>
                    <a:gd name="connsiteX14" fmla="*/ 4360 w 510500"/>
                    <a:gd name="connsiteY14" fmla="*/ 443409 h 449759"/>
                    <a:gd name="connsiteX0" fmla="*/ 4360 w 510500"/>
                    <a:gd name="connsiteY0" fmla="*/ 443409 h 454926"/>
                    <a:gd name="connsiteX1" fmla="*/ 7535 w 510500"/>
                    <a:gd name="connsiteY1" fmla="*/ 208459 h 454926"/>
                    <a:gd name="connsiteX2" fmla="*/ 23410 w 510500"/>
                    <a:gd name="connsiteY2" fmla="*/ 170359 h 454926"/>
                    <a:gd name="connsiteX3" fmla="*/ 71035 w 510500"/>
                    <a:gd name="connsiteY3" fmla="*/ 154484 h 454926"/>
                    <a:gd name="connsiteX4" fmla="*/ 172635 w 510500"/>
                    <a:gd name="connsiteY4" fmla="*/ 148134 h 454926"/>
                    <a:gd name="connsiteX5" fmla="*/ 188510 w 510500"/>
                    <a:gd name="connsiteY5" fmla="*/ 90984 h 454926"/>
                    <a:gd name="connsiteX6" fmla="*/ 201210 w 510500"/>
                    <a:gd name="connsiteY6" fmla="*/ 11609 h 454926"/>
                    <a:gd name="connsiteX7" fmla="*/ 312335 w 510500"/>
                    <a:gd name="connsiteY7" fmla="*/ 8434 h 454926"/>
                    <a:gd name="connsiteX8" fmla="*/ 312335 w 510500"/>
                    <a:gd name="connsiteY8" fmla="*/ 87809 h 454926"/>
                    <a:gd name="connsiteX9" fmla="*/ 334560 w 510500"/>
                    <a:gd name="connsiteY9" fmla="*/ 135434 h 454926"/>
                    <a:gd name="connsiteX10" fmla="*/ 445685 w 510500"/>
                    <a:gd name="connsiteY10" fmla="*/ 157659 h 454926"/>
                    <a:gd name="connsiteX11" fmla="*/ 486960 w 510500"/>
                    <a:gd name="connsiteY11" fmla="*/ 183059 h 454926"/>
                    <a:gd name="connsiteX12" fmla="*/ 509185 w 510500"/>
                    <a:gd name="connsiteY12" fmla="*/ 227509 h 454926"/>
                    <a:gd name="connsiteX13" fmla="*/ 506010 w 510500"/>
                    <a:gd name="connsiteY13" fmla="*/ 449759 h 454926"/>
                    <a:gd name="connsiteX14" fmla="*/ 4360 w 510500"/>
                    <a:gd name="connsiteY14" fmla="*/ 443409 h 454926"/>
                    <a:gd name="connsiteX0" fmla="*/ 6473 w 512613"/>
                    <a:gd name="connsiteY0" fmla="*/ 443409 h 454926"/>
                    <a:gd name="connsiteX1" fmla="*/ 9648 w 512613"/>
                    <a:gd name="connsiteY1" fmla="*/ 208459 h 454926"/>
                    <a:gd name="connsiteX2" fmla="*/ 73148 w 512613"/>
                    <a:gd name="connsiteY2" fmla="*/ 154484 h 454926"/>
                    <a:gd name="connsiteX3" fmla="*/ 174748 w 512613"/>
                    <a:gd name="connsiteY3" fmla="*/ 148134 h 454926"/>
                    <a:gd name="connsiteX4" fmla="*/ 190623 w 512613"/>
                    <a:gd name="connsiteY4" fmla="*/ 90984 h 454926"/>
                    <a:gd name="connsiteX5" fmla="*/ 203323 w 512613"/>
                    <a:gd name="connsiteY5" fmla="*/ 11609 h 454926"/>
                    <a:gd name="connsiteX6" fmla="*/ 314448 w 512613"/>
                    <a:gd name="connsiteY6" fmla="*/ 8434 h 454926"/>
                    <a:gd name="connsiteX7" fmla="*/ 314448 w 512613"/>
                    <a:gd name="connsiteY7" fmla="*/ 87809 h 454926"/>
                    <a:gd name="connsiteX8" fmla="*/ 336673 w 512613"/>
                    <a:gd name="connsiteY8" fmla="*/ 135434 h 454926"/>
                    <a:gd name="connsiteX9" fmla="*/ 447798 w 512613"/>
                    <a:gd name="connsiteY9" fmla="*/ 157659 h 454926"/>
                    <a:gd name="connsiteX10" fmla="*/ 489073 w 512613"/>
                    <a:gd name="connsiteY10" fmla="*/ 183059 h 454926"/>
                    <a:gd name="connsiteX11" fmla="*/ 511298 w 512613"/>
                    <a:gd name="connsiteY11" fmla="*/ 227509 h 454926"/>
                    <a:gd name="connsiteX12" fmla="*/ 508123 w 512613"/>
                    <a:gd name="connsiteY12" fmla="*/ 449759 h 454926"/>
                    <a:gd name="connsiteX13" fmla="*/ 6473 w 512613"/>
                    <a:gd name="connsiteY13" fmla="*/ 443409 h 454926"/>
                    <a:gd name="connsiteX0" fmla="*/ 4049 w 510189"/>
                    <a:gd name="connsiteY0" fmla="*/ 443409 h 454926"/>
                    <a:gd name="connsiteX1" fmla="*/ 7224 w 510189"/>
                    <a:gd name="connsiteY1" fmla="*/ 208459 h 454926"/>
                    <a:gd name="connsiteX2" fmla="*/ 70724 w 510189"/>
                    <a:gd name="connsiteY2" fmla="*/ 154484 h 454926"/>
                    <a:gd name="connsiteX3" fmla="*/ 172324 w 510189"/>
                    <a:gd name="connsiteY3" fmla="*/ 148134 h 454926"/>
                    <a:gd name="connsiteX4" fmla="*/ 188199 w 510189"/>
                    <a:gd name="connsiteY4" fmla="*/ 90984 h 454926"/>
                    <a:gd name="connsiteX5" fmla="*/ 200899 w 510189"/>
                    <a:gd name="connsiteY5" fmla="*/ 11609 h 454926"/>
                    <a:gd name="connsiteX6" fmla="*/ 312024 w 510189"/>
                    <a:gd name="connsiteY6" fmla="*/ 8434 h 454926"/>
                    <a:gd name="connsiteX7" fmla="*/ 312024 w 510189"/>
                    <a:gd name="connsiteY7" fmla="*/ 87809 h 454926"/>
                    <a:gd name="connsiteX8" fmla="*/ 334249 w 510189"/>
                    <a:gd name="connsiteY8" fmla="*/ 135434 h 454926"/>
                    <a:gd name="connsiteX9" fmla="*/ 445374 w 510189"/>
                    <a:gd name="connsiteY9" fmla="*/ 157659 h 454926"/>
                    <a:gd name="connsiteX10" fmla="*/ 486649 w 510189"/>
                    <a:gd name="connsiteY10" fmla="*/ 183059 h 454926"/>
                    <a:gd name="connsiteX11" fmla="*/ 508874 w 510189"/>
                    <a:gd name="connsiteY11" fmla="*/ 227509 h 454926"/>
                    <a:gd name="connsiteX12" fmla="*/ 505699 w 510189"/>
                    <a:gd name="connsiteY12" fmla="*/ 449759 h 454926"/>
                    <a:gd name="connsiteX13" fmla="*/ 4049 w 510189"/>
                    <a:gd name="connsiteY13" fmla="*/ 443409 h 454926"/>
                    <a:gd name="connsiteX0" fmla="*/ 4049 w 510189"/>
                    <a:gd name="connsiteY0" fmla="*/ 443409 h 454926"/>
                    <a:gd name="connsiteX1" fmla="*/ 7224 w 510189"/>
                    <a:gd name="connsiteY1" fmla="*/ 208459 h 454926"/>
                    <a:gd name="connsiteX2" fmla="*/ 70724 w 510189"/>
                    <a:gd name="connsiteY2" fmla="*/ 154484 h 454926"/>
                    <a:gd name="connsiteX3" fmla="*/ 172324 w 510189"/>
                    <a:gd name="connsiteY3" fmla="*/ 148134 h 454926"/>
                    <a:gd name="connsiteX4" fmla="*/ 188199 w 510189"/>
                    <a:gd name="connsiteY4" fmla="*/ 90984 h 454926"/>
                    <a:gd name="connsiteX5" fmla="*/ 200899 w 510189"/>
                    <a:gd name="connsiteY5" fmla="*/ 11609 h 454926"/>
                    <a:gd name="connsiteX6" fmla="*/ 312024 w 510189"/>
                    <a:gd name="connsiteY6" fmla="*/ 8434 h 454926"/>
                    <a:gd name="connsiteX7" fmla="*/ 312024 w 510189"/>
                    <a:gd name="connsiteY7" fmla="*/ 87809 h 454926"/>
                    <a:gd name="connsiteX8" fmla="*/ 334249 w 510189"/>
                    <a:gd name="connsiteY8" fmla="*/ 135434 h 454926"/>
                    <a:gd name="connsiteX9" fmla="*/ 445374 w 510189"/>
                    <a:gd name="connsiteY9" fmla="*/ 157659 h 454926"/>
                    <a:gd name="connsiteX10" fmla="*/ 508874 w 510189"/>
                    <a:gd name="connsiteY10" fmla="*/ 227509 h 454926"/>
                    <a:gd name="connsiteX11" fmla="*/ 505699 w 510189"/>
                    <a:gd name="connsiteY11" fmla="*/ 449759 h 454926"/>
                    <a:gd name="connsiteX12" fmla="*/ 4049 w 510189"/>
                    <a:gd name="connsiteY12" fmla="*/ 443409 h 454926"/>
                    <a:gd name="connsiteX0" fmla="*/ 4049 w 510189"/>
                    <a:gd name="connsiteY0" fmla="*/ 443409 h 454926"/>
                    <a:gd name="connsiteX1" fmla="*/ 7224 w 510189"/>
                    <a:gd name="connsiteY1" fmla="*/ 208459 h 454926"/>
                    <a:gd name="connsiteX2" fmla="*/ 70724 w 510189"/>
                    <a:gd name="connsiteY2" fmla="*/ 154484 h 454926"/>
                    <a:gd name="connsiteX3" fmla="*/ 172324 w 510189"/>
                    <a:gd name="connsiteY3" fmla="*/ 148134 h 454926"/>
                    <a:gd name="connsiteX4" fmla="*/ 188199 w 510189"/>
                    <a:gd name="connsiteY4" fmla="*/ 90984 h 454926"/>
                    <a:gd name="connsiteX5" fmla="*/ 200899 w 510189"/>
                    <a:gd name="connsiteY5" fmla="*/ 11609 h 454926"/>
                    <a:gd name="connsiteX6" fmla="*/ 312024 w 510189"/>
                    <a:gd name="connsiteY6" fmla="*/ 8434 h 454926"/>
                    <a:gd name="connsiteX7" fmla="*/ 312024 w 510189"/>
                    <a:gd name="connsiteY7" fmla="*/ 87809 h 454926"/>
                    <a:gd name="connsiteX8" fmla="*/ 334249 w 510189"/>
                    <a:gd name="connsiteY8" fmla="*/ 135434 h 454926"/>
                    <a:gd name="connsiteX9" fmla="*/ 445374 w 510189"/>
                    <a:gd name="connsiteY9" fmla="*/ 157659 h 454926"/>
                    <a:gd name="connsiteX10" fmla="*/ 508874 w 510189"/>
                    <a:gd name="connsiteY10" fmla="*/ 227509 h 454926"/>
                    <a:gd name="connsiteX11" fmla="*/ 505699 w 510189"/>
                    <a:gd name="connsiteY11" fmla="*/ 449759 h 454926"/>
                    <a:gd name="connsiteX12" fmla="*/ 4049 w 510189"/>
                    <a:gd name="connsiteY12" fmla="*/ 443409 h 454926"/>
                    <a:gd name="connsiteX0" fmla="*/ 5987 w 512127"/>
                    <a:gd name="connsiteY0" fmla="*/ 443409 h 454926"/>
                    <a:gd name="connsiteX1" fmla="*/ 2812 w 512127"/>
                    <a:gd name="connsiteY1" fmla="*/ 217984 h 454926"/>
                    <a:gd name="connsiteX2" fmla="*/ 72662 w 512127"/>
                    <a:gd name="connsiteY2" fmla="*/ 154484 h 454926"/>
                    <a:gd name="connsiteX3" fmla="*/ 174262 w 512127"/>
                    <a:gd name="connsiteY3" fmla="*/ 148134 h 454926"/>
                    <a:gd name="connsiteX4" fmla="*/ 190137 w 512127"/>
                    <a:gd name="connsiteY4" fmla="*/ 90984 h 454926"/>
                    <a:gd name="connsiteX5" fmla="*/ 202837 w 512127"/>
                    <a:gd name="connsiteY5" fmla="*/ 11609 h 454926"/>
                    <a:gd name="connsiteX6" fmla="*/ 313962 w 512127"/>
                    <a:gd name="connsiteY6" fmla="*/ 8434 h 454926"/>
                    <a:gd name="connsiteX7" fmla="*/ 313962 w 512127"/>
                    <a:gd name="connsiteY7" fmla="*/ 87809 h 454926"/>
                    <a:gd name="connsiteX8" fmla="*/ 336187 w 512127"/>
                    <a:gd name="connsiteY8" fmla="*/ 135434 h 454926"/>
                    <a:gd name="connsiteX9" fmla="*/ 447312 w 512127"/>
                    <a:gd name="connsiteY9" fmla="*/ 157659 h 454926"/>
                    <a:gd name="connsiteX10" fmla="*/ 510812 w 512127"/>
                    <a:gd name="connsiteY10" fmla="*/ 227509 h 454926"/>
                    <a:gd name="connsiteX11" fmla="*/ 507637 w 512127"/>
                    <a:gd name="connsiteY11" fmla="*/ 449759 h 454926"/>
                    <a:gd name="connsiteX12" fmla="*/ 5987 w 512127"/>
                    <a:gd name="connsiteY12" fmla="*/ 443409 h 454926"/>
                    <a:gd name="connsiteX0" fmla="*/ 9762 w 515902"/>
                    <a:gd name="connsiteY0" fmla="*/ 443409 h 454926"/>
                    <a:gd name="connsiteX1" fmla="*/ 6587 w 515902"/>
                    <a:gd name="connsiteY1" fmla="*/ 217984 h 454926"/>
                    <a:gd name="connsiteX2" fmla="*/ 76437 w 515902"/>
                    <a:gd name="connsiteY2" fmla="*/ 154484 h 454926"/>
                    <a:gd name="connsiteX3" fmla="*/ 178037 w 515902"/>
                    <a:gd name="connsiteY3" fmla="*/ 148134 h 454926"/>
                    <a:gd name="connsiteX4" fmla="*/ 193912 w 515902"/>
                    <a:gd name="connsiteY4" fmla="*/ 90984 h 454926"/>
                    <a:gd name="connsiteX5" fmla="*/ 206612 w 515902"/>
                    <a:gd name="connsiteY5" fmla="*/ 11609 h 454926"/>
                    <a:gd name="connsiteX6" fmla="*/ 317737 w 515902"/>
                    <a:gd name="connsiteY6" fmla="*/ 8434 h 454926"/>
                    <a:gd name="connsiteX7" fmla="*/ 317737 w 515902"/>
                    <a:gd name="connsiteY7" fmla="*/ 87809 h 454926"/>
                    <a:gd name="connsiteX8" fmla="*/ 339962 w 515902"/>
                    <a:gd name="connsiteY8" fmla="*/ 135434 h 454926"/>
                    <a:gd name="connsiteX9" fmla="*/ 451087 w 515902"/>
                    <a:gd name="connsiteY9" fmla="*/ 157659 h 454926"/>
                    <a:gd name="connsiteX10" fmla="*/ 514587 w 515902"/>
                    <a:gd name="connsiteY10" fmla="*/ 227509 h 454926"/>
                    <a:gd name="connsiteX11" fmla="*/ 511412 w 515902"/>
                    <a:gd name="connsiteY11" fmla="*/ 449759 h 454926"/>
                    <a:gd name="connsiteX12" fmla="*/ 9762 w 515902"/>
                    <a:gd name="connsiteY12" fmla="*/ 443409 h 454926"/>
                    <a:gd name="connsiteX0" fmla="*/ 9762 w 515902"/>
                    <a:gd name="connsiteY0" fmla="*/ 443409 h 454926"/>
                    <a:gd name="connsiteX1" fmla="*/ 6587 w 515902"/>
                    <a:gd name="connsiteY1" fmla="*/ 217984 h 454926"/>
                    <a:gd name="connsiteX2" fmla="*/ 76437 w 515902"/>
                    <a:gd name="connsiteY2" fmla="*/ 154484 h 454926"/>
                    <a:gd name="connsiteX3" fmla="*/ 178037 w 515902"/>
                    <a:gd name="connsiteY3" fmla="*/ 148134 h 454926"/>
                    <a:gd name="connsiteX4" fmla="*/ 193912 w 515902"/>
                    <a:gd name="connsiteY4" fmla="*/ 90984 h 454926"/>
                    <a:gd name="connsiteX5" fmla="*/ 206612 w 515902"/>
                    <a:gd name="connsiteY5" fmla="*/ 11609 h 454926"/>
                    <a:gd name="connsiteX6" fmla="*/ 317737 w 515902"/>
                    <a:gd name="connsiteY6" fmla="*/ 8434 h 454926"/>
                    <a:gd name="connsiteX7" fmla="*/ 317737 w 515902"/>
                    <a:gd name="connsiteY7" fmla="*/ 87809 h 454926"/>
                    <a:gd name="connsiteX8" fmla="*/ 339962 w 515902"/>
                    <a:gd name="connsiteY8" fmla="*/ 135434 h 454926"/>
                    <a:gd name="connsiteX9" fmla="*/ 451087 w 515902"/>
                    <a:gd name="connsiteY9" fmla="*/ 157659 h 454926"/>
                    <a:gd name="connsiteX10" fmla="*/ 514587 w 515902"/>
                    <a:gd name="connsiteY10" fmla="*/ 227509 h 454926"/>
                    <a:gd name="connsiteX11" fmla="*/ 511412 w 515902"/>
                    <a:gd name="connsiteY11" fmla="*/ 449759 h 454926"/>
                    <a:gd name="connsiteX12" fmla="*/ 9762 w 515902"/>
                    <a:gd name="connsiteY12" fmla="*/ 443409 h 454926"/>
                    <a:gd name="connsiteX0" fmla="*/ 9762 w 515902"/>
                    <a:gd name="connsiteY0" fmla="*/ 443409 h 454926"/>
                    <a:gd name="connsiteX1" fmla="*/ 6587 w 515902"/>
                    <a:gd name="connsiteY1" fmla="*/ 217984 h 454926"/>
                    <a:gd name="connsiteX2" fmla="*/ 76437 w 515902"/>
                    <a:gd name="connsiteY2" fmla="*/ 154484 h 454926"/>
                    <a:gd name="connsiteX3" fmla="*/ 193912 w 515902"/>
                    <a:gd name="connsiteY3" fmla="*/ 90984 h 454926"/>
                    <a:gd name="connsiteX4" fmla="*/ 206612 w 515902"/>
                    <a:gd name="connsiteY4" fmla="*/ 11609 h 454926"/>
                    <a:gd name="connsiteX5" fmla="*/ 317737 w 515902"/>
                    <a:gd name="connsiteY5" fmla="*/ 8434 h 454926"/>
                    <a:gd name="connsiteX6" fmla="*/ 317737 w 515902"/>
                    <a:gd name="connsiteY6" fmla="*/ 87809 h 454926"/>
                    <a:gd name="connsiteX7" fmla="*/ 339962 w 515902"/>
                    <a:gd name="connsiteY7" fmla="*/ 135434 h 454926"/>
                    <a:gd name="connsiteX8" fmla="*/ 451087 w 515902"/>
                    <a:gd name="connsiteY8" fmla="*/ 157659 h 454926"/>
                    <a:gd name="connsiteX9" fmla="*/ 514587 w 515902"/>
                    <a:gd name="connsiteY9" fmla="*/ 227509 h 454926"/>
                    <a:gd name="connsiteX10" fmla="*/ 511412 w 515902"/>
                    <a:gd name="connsiteY10" fmla="*/ 449759 h 454926"/>
                    <a:gd name="connsiteX11" fmla="*/ 9762 w 515902"/>
                    <a:gd name="connsiteY11" fmla="*/ 443409 h 454926"/>
                    <a:gd name="connsiteX0" fmla="*/ 9762 w 515902"/>
                    <a:gd name="connsiteY0" fmla="*/ 446099 h 457616"/>
                    <a:gd name="connsiteX1" fmla="*/ 6587 w 515902"/>
                    <a:gd name="connsiteY1" fmla="*/ 220674 h 457616"/>
                    <a:gd name="connsiteX2" fmla="*/ 76437 w 515902"/>
                    <a:gd name="connsiteY2" fmla="*/ 157174 h 457616"/>
                    <a:gd name="connsiteX3" fmla="*/ 190737 w 515902"/>
                    <a:gd name="connsiteY3" fmla="*/ 138124 h 457616"/>
                    <a:gd name="connsiteX4" fmla="*/ 206612 w 515902"/>
                    <a:gd name="connsiteY4" fmla="*/ 14299 h 457616"/>
                    <a:gd name="connsiteX5" fmla="*/ 317737 w 515902"/>
                    <a:gd name="connsiteY5" fmla="*/ 11124 h 457616"/>
                    <a:gd name="connsiteX6" fmla="*/ 317737 w 515902"/>
                    <a:gd name="connsiteY6" fmla="*/ 90499 h 457616"/>
                    <a:gd name="connsiteX7" fmla="*/ 339962 w 515902"/>
                    <a:gd name="connsiteY7" fmla="*/ 138124 h 457616"/>
                    <a:gd name="connsiteX8" fmla="*/ 451087 w 515902"/>
                    <a:gd name="connsiteY8" fmla="*/ 160349 h 457616"/>
                    <a:gd name="connsiteX9" fmla="*/ 514587 w 515902"/>
                    <a:gd name="connsiteY9" fmla="*/ 230199 h 457616"/>
                    <a:gd name="connsiteX10" fmla="*/ 511412 w 515902"/>
                    <a:gd name="connsiteY10" fmla="*/ 452449 h 457616"/>
                    <a:gd name="connsiteX11" fmla="*/ 9762 w 515902"/>
                    <a:gd name="connsiteY11" fmla="*/ 446099 h 457616"/>
                    <a:gd name="connsiteX0" fmla="*/ 9762 w 515902"/>
                    <a:gd name="connsiteY0" fmla="*/ 446099 h 457616"/>
                    <a:gd name="connsiteX1" fmla="*/ 6587 w 515902"/>
                    <a:gd name="connsiteY1" fmla="*/ 220674 h 457616"/>
                    <a:gd name="connsiteX2" fmla="*/ 76437 w 515902"/>
                    <a:gd name="connsiteY2" fmla="*/ 157174 h 457616"/>
                    <a:gd name="connsiteX3" fmla="*/ 190737 w 515902"/>
                    <a:gd name="connsiteY3" fmla="*/ 138124 h 457616"/>
                    <a:gd name="connsiteX4" fmla="*/ 206612 w 515902"/>
                    <a:gd name="connsiteY4" fmla="*/ 14299 h 457616"/>
                    <a:gd name="connsiteX5" fmla="*/ 317737 w 515902"/>
                    <a:gd name="connsiteY5" fmla="*/ 11124 h 457616"/>
                    <a:gd name="connsiteX6" fmla="*/ 317737 w 515902"/>
                    <a:gd name="connsiteY6" fmla="*/ 90499 h 457616"/>
                    <a:gd name="connsiteX7" fmla="*/ 451087 w 515902"/>
                    <a:gd name="connsiteY7" fmla="*/ 160349 h 457616"/>
                    <a:gd name="connsiteX8" fmla="*/ 514587 w 515902"/>
                    <a:gd name="connsiteY8" fmla="*/ 230199 h 457616"/>
                    <a:gd name="connsiteX9" fmla="*/ 511412 w 515902"/>
                    <a:gd name="connsiteY9" fmla="*/ 452449 h 457616"/>
                    <a:gd name="connsiteX10" fmla="*/ 9762 w 515902"/>
                    <a:gd name="connsiteY10" fmla="*/ 446099 h 457616"/>
                    <a:gd name="connsiteX0" fmla="*/ 9762 w 515902"/>
                    <a:gd name="connsiteY0" fmla="*/ 447482 h 458999"/>
                    <a:gd name="connsiteX1" fmla="*/ 6587 w 515902"/>
                    <a:gd name="connsiteY1" fmla="*/ 222057 h 458999"/>
                    <a:gd name="connsiteX2" fmla="*/ 76437 w 515902"/>
                    <a:gd name="connsiteY2" fmla="*/ 158557 h 458999"/>
                    <a:gd name="connsiteX3" fmla="*/ 190737 w 515902"/>
                    <a:gd name="connsiteY3" fmla="*/ 139507 h 458999"/>
                    <a:gd name="connsiteX4" fmla="*/ 206612 w 515902"/>
                    <a:gd name="connsiteY4" fmla="*/ 15682 h 458999"/>
                    <a:gd name="connsiteX5" fmla="*/ 317737 w 515902"/>
                    <a:gd name="connsiteY5" fmla="*/ 12507 h 458999"/>
                    <a:gd name="connsiteX6" fmla="*/ 330437 w 515902"/>
                    <a:gd name="connsiteY6" fmla="*/ 114107 h 458999"/>
                    <a:gd name="connsiteX7" fmla="*/ 451087 w 515902"/>
                    <a:gd name="connsiteY7" fmla="*/ 161732 h 458999"/>
                    <a:gd name="connsiteX8" fmla="*/ 514587 w 515902"/>
                    <a:gd name="connsiteY8" fmla="*/ 231582 h 458999"/>
                    <a:gd name="connsiteX9" fmla="*/ 511412 w 515902"/>
                    <a:gd name="connsiteY9" fmla="*/ 453832 h 458999"/>
                    <a:gd name="connsiteX10" fmla="*/ 9762 w 515902"/>
                    <a:gd name="connsiteY10" fmla="*/ 447482 h 458999"/>
                    <a:gd name="connsiteX0" fmla="*/ 9762 w 515902"/>
                    <a:gd name="connsiteY0" fmla="*/ 446348 h 457865"/>
                    <a:gd name="connsiteX1" fmla="*/ 6587 w 515902"/>
                    <a:gd name="connsiteY1" fmla="*/ 220923 h 457865"/>
                    <a:gd name="connsiteX2" fmla="*/ 76437 w 515902"/>
                    <a:gd name="connsiteY2" fmla="*/ 157423 h 457865"/>
                    <a:gd name="connsiteX3" fmla="*/ 200262 w 515902"/>
                    <a:gd name="connsiteY3" fmla="*/ 119323 h 457865"/>
                    <a:gd name="connsiteX4" fmla="*/ 206612 w 515902"/>
                    <a:gd name="connsiteY4" fmla="*/ 14548 h 457865"/>
                    <a:gd name="connsiteX5" fmla="*/ 317737 w 515902"/>
                    <a:gd name="connsiteY5" fmla="*/ 11373 h 457865"/>
                    <a:gd name="connsiteX6" fmla="*/ 330437 w 515902"/>
                    <a:gd name="connsiteY6" fmla="*/ 112973 h 457865"/>
                    <a:gd name="connsiteX7" fmla="*/ 451087 w 515902"/>
                    <a:gd name="connsiteY7" fmla="*/ 160598 h 457865"/>
                    <a:gd name="connsiteX8" fmla="*/ 514587 w 515902"/>
                    <a:gd name="connsiteY8" fmla="*/ 230448 h 457865"/>
                    <a:gd name="connsiteX9" fmla="*/ 511412 w 515902"/>
                    <a:gd name="connsiteY9" fmla="*/ 452698 h 457865"/>
                    <a:gd name="connsiteX10" fmla="*/ 9762 w 515902"/>
                    <a:gd name="connsiteY10" fmla="*/ 446348 h 457865"/>
                    <a:gd name="connsiteX0" fmla="*/ 9762 w 515902"/>
                    <a:gd name="connsiteY0" fmla="*/ 446681 h 458198"/>
                    <a:gd name="connsiteX1" fmla="*/ 6587 w 515902"/>
                    <a:gd name="connsiteY1" fmla="*/ 221256 h 458198"/>
                    <a:gd name="connsiteX2" fmla="*/ 76437 w 515902"/>
                    <a:gd name="connsiteY2" fmla="*/ 157756 h 458198"/>
                    <a:gd name="connsiteX3" fmla="*/ 200262 w 515902"/>
                    <a:gd name="connsiteY3" fmla="*/ 119656 h 458198"/>
                    <a:gd name="connsiteX4" fmla="*/ 206612 w 515902"/>
                    <a:gd name="connsiteY4" fmla="*/ 14881 h 458198"/>
                    <a:gd name="connsiteX5" fmla="*/ 317737 w 515902"/>
                    <a:gd name="connsiteY5" fmla="*/ 11706 h 458198"/>
                    <a:gd name="connsiteX6" fmla="*/ 311502 w 515902"/>
                    <a:gd name="connsiteY6" fmla="*/ 118302 h 458198"/>
                    <a:gd name="connsiteX7" fmla="*/ 451087 w 515902"/>
                    <a:gd name="connsiteY7" fmla="*/ 160931 h 458198"/>
                    <a:gd name="connsiteX8" fmla="*/ 514587 w 515902"/>
                    <a:gd name="connsiteY8" fmla="*/ 230781 h 458198"/>
                    <a:gd name="connsiteX9" fmla="*/ 511412 w 515902"/>
                    <a:gd name="connsiteY9" fmla="*/ 453031 h 458198"/>
                    <a:gd name="connsiteX10" fmla="*/ 9762 w 515902"/>
                    <a:gd name="connsiteY10" fmla="*/ 446681 h 458198"/>
                    <a:gd name="connsiteX0" fmla="*/ 9762 w 515902"/>
                    <a:gd name="connsiteY0" fmla="*/ 446681 h 458198"/>
                    <a:gd name="connsiteX1" fmla="*/ 6587 w 515902"/>
                    <a:gd name="connsiteY1" fmla="*/ 221256 h 458198"/>
                    <a:gd name="connsiteX2" fmla="*/ 76437 w 515902"/>
                    <a:gd name="connsiteY2" fmla="*/ 157756 h 458198"/>
                    <a:gd name="connsiteX3" fmla="*/ 200262 w 515902"/>
                    <a:gd name="connsiteY3" fmla="*/ 119656 h 458198"/>
                    <a:gd name="connsiteX4" fmla="*/ 206612 w 515902"/>
                    <a:gd name="connsiteY4" fmla="*/ 14881 h 458198"/>
                    <a:gd name="connsiteX5" fmla="*/ 301506 w 515902"/>
                    <a:gd name="connsiteY5" fmla="*/ 11706 h 458198"/>
                    <a:gd name="connsiteX6" fmla="*/ 311502 w 515902"/>
                    <a:gd name="connsiteY6" fmla="*/ 118302 h 458198"/>
                    <a:gd name="connsiteX7" fmla="*/ 451087 w 515902"/>
                    <a:gd name="connsiteY7" fmla="*/ 160931 h 458198"/>
                    <a:gd name="connsiteX8" fmla="*/ 514587 w 515902"/>
                    <a:gd name="connsiteY8" fmla="*/ 230781 h 458198"/>
                    <a:gd name="connsiteX9" fmla="*/ 511412 w 515902"/>
                    <a:gd name="connsiteY9" fmla="*/ 453031 h 458198"/>
                    <a:gd name="connsiteX10" fmla="*/ 9762 w 515902"/>
                    <a:gd name="connsiteY10" fmla="*/ 446681 h 458198"/>
                    <a:gd name="connsiteX0" fmla="*/ 9762 w 515902"/>
                    <a:gd name="connsiteY0" fmla="*/ 446681 h 458198"/>
                    <a:gd name="connsiteX1" fmla="*/ 6587 w 515902"/>
                    <a:gd name="connsiteY1" fmla="*/ 221256 h 458198"/>
                    <a:gd name="connsiteX2" fmla="*/ 76437 w 515902"/>
                    <a:gd name="connsiteY2" fmla="*/ 157756 h 458198"/>
                    <a:gd name="connsiteX3" fmla="*/ 200262 w 515902"/>
                    <a:gd name="connsiteY3" fmla="*/ 119656 h 458198"/>
                    <a:gd name="connsiteX4" fmla="*/ 206612 w 515902"/>
                    <a:gd name="connsiteY4" fmla="*/ 14881 h 458198"/>
                    <a:gd name="connsiteX5" fmla="*/ 301506 w 515902"/>
                    <a:gd name="connsiteY5" fmla="*/ 11706 h 458198"/>
                    <a:gd name="connsiteX6" fmla="*/ 311502 w 515902"/>
                    <a:gd name="connsiteY6" fmla="*/ 118302 h 458198"/>
                    <a:gd name="connsiteX7" fmla="*/ 442972 w 515902"/>
                    <a:gd name="connsiteY7" fmla="*/ 180912 h 458198"/>
                    <a:gd name="connsiteX8" fmla="*/ 514587 w 515902"/>
                    <a:gd name="connsiteY8" fmla="*/ 230781 h 458198"/>
                    <a:gd name="connsiteX9" fmla="*/ 511412 w 515902"/>
                    <a:gd name="connsiteY9" fmla="*/ 453031 h 458198"/>
                    <a:gd name="connsiteX10" fmla="*/ 9762 w 515902"/>
                    <a:gd name="connsiteY10" fmla="*/ 446681 h 458198"/>
                    <a:gd name="connsiteX0" fmla="*/ 9762 w 511905"/>
                    <a:gd name="connsiteY0" fmla="*/ 446681 h 458198"/>
                    <a:gd name="connsiteX1" fmla="*/ 6587 w 511905"/>
                    <a:gd name="connsiteY1" fmla="*/ 221256 h 458198"/>
                    <a:gd name="connsiteX2" fmla="*/ 76437 w 511905"/>
                    <a:gd name="connsiteY2" fmla="*/ 157756 h 458198"/>
                    <a:gd name="connsiteX3" fmla="*/ 200262 w 511905"/>
                    <a:gd name="connsiteY3" fmla="*/ 119656 h 458198"/>
                    <a:gd name="connsiteX4" fmla="*/ 206612 w 511905"/>
                    <a:gd name="connsiteY4" fmla="*/ 14881 h 458198"/>
                    <a:gd name="connsiteX5" fmla="*/ 301506 w 511905"/>
                    <a:gd name="connsiteY5" fmla="*/ 11706 h 458198"/>
                    <a:gd name="connsiteX6" fmla="*/ 311502 w 511905"/>
                    <a:gd name="connsiteY6" fmla="*/ 118302 h 458198"/>
                    <a:gd name="connsiteX7" fmla="*/ 442972 w 511905"/>
                    <a:gd name="connsiteY7" fmla="*/ 180912 h 458198"/>
                    <a:gd name="connsiteX8" fmla="*/ 498357 w 511905"/>
                    <a:gd name="connsiteY8" fmla="*/ 250762 h 458198"/>
                    <a:gd name="connsiteX9" fmla="*/ 511412 w 511905"/>
                    <a:gd name="connsiteY9" fmla="*/ 453031 h 458198"/>
                    <a:gd name="connsiteX10" fmla="*/ 9762 w 511905"/>
                    <a:gd name="connsiteY10" fmla="*/ 446681 h 458198"/>
                    <a:gd name="connsiteX0" fmla="*/ 9762 w 511905"/>
                    <a:gd name="connsiteY0" fmla="*/ 446681 h 458198"/>
                    <a:gd name="connsiteX1" fmla="*/ 6587 w 511905"/>
                    <a:gd name="connsiteY1" fmla="*/ 221256 h 458198"/>
                    <a:gd name="connsiteX2" fmla="*/ 76437 w 511905"/>
                    <a:gd name="connsiteY2" fmla="*/ 157756 h 458198"/>
                    <a:gd name="connsiteX3" fmla="*/ 200262 w 511905"/>
                    <a:gd name="connsiteY3" fmla="*/ 119656 h 458198"/>
                    <a:gd name="connsiteX4" fmla="*/ 206612 w 511905"/>
                    <a:gd name="connsiteY4" fmla="*/ 14881 h 458198"/>
                    <a:gd name="connsiteX5" fmla="*/ 301506 w 511905"/>
                    <a:gd name="connsiteY5" fmla="*/ 11706 h 458198"/>
                    <a:gd name="connsiteX6" fmla="*/ 311502 w 511905"/>
                    <a:gd name="connsiteY6" fmla="*/ 118302 h 458198"/>
                    <a:gd name="connsiteX7" fmla="*/ 437562 w 511905"/>
                    <a:gd name="connsiteY7" fmla="*/ 198396 h 458198"/>
                    <a:gd name="connsiteX8" fmla="*/ 498357 w 511905"/>
                    <a:gd name="connsiteY8" fmla="*/ 250762 h 458198"/>
                    <a:gd name="connsiteX9" fmla="*/ 511412 w 511905"/>
                    <a:gd name="connsiteY9" fmla="*/ 453031 h 458198"/>
                    <a:gd name="connsiteX10" fmla="*/ 9762 w 511905"/>
                    <a:gd name="connsiteY10" fmla="*/ 446681 h 458198"/>
                    <a:gd name="connsiteX0" fmla="*/ 9762 w 511905"/>
                    <a:gd name="connsiteY0" fmla="*/ 446681 h 458198"/>
                    <a:gd name="connsiteX1" fmla="*/ 6587 w 511905"/>
                    <a:gd name="connsiteY1" fmla="*/ 221256 h 458198"/>
                    <a:gd name="connsiteX2" fmla="*/ 76437 w 511905"/>
                    <a:gd name="connsiteY2" fmla="*/ 157756 h 458198"/>
                    <a:gd name="connsiteX3" fmla="*/ 200262 w 511905"/>
                    <a:gd name="connsiteY3" fmla="*/ 119656 h 458198"/>
                    <a:gd name="connsiteX4" fmla="*/ 206612 w 511905"/>
                    <a:gd name="connsiteY4" fmla="*/ 14881 h 458198"/>
                    <a:gd name="connsiteX5" fmla="*/ 301506 w 511905"/>
                    <a:gd name="connsiteY5" fmla="*/ 11706 h 458198"/>
                    <a:gd name="connsiteX6" fmla="*/ 311502 w 511905"/>
                    <a:gd name="connsiteY6" fmla="*/ 118302 h 458198"/>
                    <a:gd name="connsiteX7" fmla="*/ 451087 w 511905"/>
                    <a:gd name="connsiteY7" fmla="*/ 188406 h 458198"/>
                    <a:gd name="connsiteX8" fmla="*/ 498357 w 511905"/>
                    <a:gd name="connsiteY8" fmla="*/ 250762 h 458198"/>
                    <a:gd name="connsiteX9" fmla="*/ 511412 w 511905"/>
                    <a:gd name="connsiteY9" fmla="*/ 453031 h 458198"/>
                    <a:gd name="connsiteX10" fmla="*/ 9762 w 511905"/>
                    <a:gd name="connsiteY10" fmla="*/ 446681 h 458198"/>
                    <a:gd name="connsiteX0" fmla="*/ 9762 w 511905"/>
                    <a:gd name="connsiteY0" fmla="*/ 447695 h 459212"/>
                    <a:gd name="connsiteX1" fmla="*/ 6587 w 511905"/>
                    <a:gd name="connsiteY1" fmla="*/ 222270 h 459212"/>
                    <a:gd name="connsiteX2" fmla="*/ 76437 w 511905"/>
                    <a:gd name="connsiteY2" fmla="*/ 158770 h 459212"/>
                    <a:gd name="connsiteX3" fmla="*/ 200262 w 511905"/>
                    <a:gd name="connsiteY3" fmla="*/ 120670 h 459212"/>
                    <a:gd name="connsiteX4" fmla="*/ 206612 w 511905"/>
                    <a:gd name="connsiteY4" fmla="*/ 15895 h 459212"/>
                    <a:gd name="connsiteX5" fmla="*/ 301506 w 511905"/>
                    <a:gd name="connsiteY5" fmla="*/ 12720 h 459212"/>
                    <a:gd name="connsiteX6" fmla="*/ 311502 w 511905"/>
                    <a:gd name="connsiteY6" fmla="*/ 134302 h 459212"/>
                    <a:gd name="connsiteX7" fmla="*/ 451087 w 511905"/>
                    <a:gd name="connsiteY7" fmla="*/ 189420 h 459212"/>
                    <a:gd name="connsiteX8" fmla="*/ 498357 w 511905"/>
                    <a:gd name="connsiteY8" fmla="*/ 251776 h 459212"/>
                    <a:gd name="connsiteX9" fmla="*/ 511412 w 511905"/>
                    <a:gd name="connsiteY9" fmla="*/ 454045 h 459212"/>
                    <a:gd name="connsiteX10" fmla="*/ 9762 w 511905"/>
                    <a:gd name="connsiteY10" fmla="*/ 447695 h 459212"/>
                    <a:gd name="connsiteX0" fmla="*/ 4227 w 522600"/>
                    <a:gd name="connsiteY0" fmla="*/ 455188 h 463021"/>
                    <a:gd name="connsiteX1" fmla="*/ 17282 w 522600"/>
                    <a:gd name="connsiteY1" fmla="*/ 222270 h 463021"/>
                    <a:gd name="connsiteX2" fmla="*/ 87132 w 522600"/>
                    <a:gd name="connsiteY2" fmla="*/ 158770 h 463021"/>
                    <a:gd name="connsiteX3" fmla="*/ 210957 w 522600"/>
                    <a:gd name="connsiteY3" fmla="*/ 120670 h 463021"/>
                    <a:gd name="connsiteX4" fmla="*/ 217307 w 522600"/>
                    <a:gd name="connsiteY4" fmla="*/ 15895 h 463021"/>
                    <a:gd name="connsiteX5" fmla="*/ 312201 w 522600"/>
                    <a:gd name="connsiteY5" fmla="*/ 12720 h 463021"/>
                    <a:gd name="connsiteX6" fmla="*/ 322197 w 522600"/>
                    <a:gd name="connsiteY6" fmla="*/ 134302 h 463021"/>
                    <a:gd name="connsiteX7" fmla="*/ 461782 w 522600"/>
                    <a:gd name="connsiteY7" fmla="*/ 189420 h 463021"/>
                    <a:gd name="connsiteX8" fmla="*/ 509052 w 522600"/>
                    <a:gd name="connsiteY8" fmla="*/ 251776 h 463021"/>
                    <a:gd name="connsiteX9" fmla="*/ 522107 w 522600"/>
                    <a:gd name="connsiteY9" fmla="*/ 454045 h 463021"/>
                    <a:gd name="connsiteX10" fmla="*/ 4227 w 522600"/>
                    <a:gd name="connsiteY10" fmla="*/ 455188 h 463021"/>
                    <a:gd name="connsiteX0" fmla="*/ 4227 w 522600"/>
                    <a:gd name="connsiteY0" fmla="*/ 455188 h 457596"/>
                    <a:gd name="connsiteX1" fmla="*/ 17282 w 522600"/>
                    <a:gd name="connsiteY1" fmla="*/ 222270 h 457596"/>
                    <a:gd name="connsiteX2" fmla="*/ 87132 w 522600"/>
                    <a:gd name="connsiteY2" fmla="*/ 158770 h 457596"/>
                    <a:gd name="connsiteX3" fmla="*/ 210957 w 522600"/>
                    <a:gd name="connsiteY3" fmla="*/ 120670 h 457596"/>
                    <a:gd name="connsiteX4" fmla="*/ 217307 w 522600"/>
                    <a:gd name="connsiteY4" fmla="*/ 15895 h 457596"/>
                    <a:gd name="connsiteX5" fmla="*/ 312201 w 522600"/>
                    <a:gd name="connsiteY5" fmla="*/ 12720 h 457596"/>
                    <a:gd name="connsiteX6" fmla="*/ 322197 w 522600"/>
                    <a:gd name="connsiteY6" fmla="*/ 134302 h 457596"/>
                    <a:gd name="connsiteX7" fmla="*/ 461782 w 522600"/>
                    <a:gd name="connsiteY7" fmla="*/ 189420 h 457596"/>
                    <a:gd name="connsiteX8" fmla="*/ 509052 w 522600"/>
                    <a:gd name="connsiteY8" fmla="*/ 251776 h 457596"/>
                    <a:gd name="connsiteX9" fmla="*/ 522107 w 522600"/>
                    <a:gd name="connsiteY9" fmla="*/ 454045 h 457596"/>
                    <a:gd name="connsiteX10" fmla="*/ 4227 w 522600"/>
                    <a:gd name="connsiteY10" fmla="*/ 455188 h 457596"/>
                    <a:gd name="connsiteX0" fmla="*/ 12757 w 531130"/>
                    <a:gd name="connsiteY0" fmla="*/ 455188 h 457596"/>
                    <a:gd name="connsiteX1" fmla="*/ 6876 w 531130"/>
                    <a:gd name="connsiteY1" fmla="*/ 237256 h 457596"/>
                    <a:gd name="connsiteX2" fmla="*/ 95662 w 531130"/>
                    <a:gd name="connsiteY2" fmla="*/ 158770 h 457596"/>
                    <a:gd name="connsiteX3" fmla="*/ 219487 w 531130"/>
                    <a:gd name="connsiteY3" fmla="*/ 120670 h 457596"/>
                    <a:gd name="connsiteX4" fmla="*/ 225837 w 531130"/>
                    <a:gd name="connsiteY4" fmla="*/ 15895 h 457596"/>
                    <a:gd name="connsiteX5" fmla="*/ 320731 w 531130"/>
                    <a:gd name="connsiteY5" fmla="*/ 12720 h 457596"/>
                    <a:gd name="connsiteX6" fmla="*/ 330727 w 531130"/>
                    <a:gd name="connsiteY6" fmla="*/ 134302 h 457596"/>
                    <a:gd name="connsiteX7" fmla="*/ 470312 w 531130"/>
                    <a:gd name="connsiteY7" fmla="*/ 189420 h 457596"/>
                    <a:gd name="connsiteX8" fmla="*/ 517582 w 531130"/>
                    <a:gd name="connsiteY8" fmla="*/ 251776 h 457596"/>
                    <a:gd name="connsiteX9" fmla="*/ 530637 w 531130"/>
                    <a:gd name="connsiteY9" fmla="*/ 454045 h 457596"/>
                    <a:gd name="connsiteX10" fmla="*/ 12757 w 531130"/>
                    <a:gd name="connsiteY10" fmla="*/ 455188 h 457596"/>
                    <a:gd name="connsiteX0" fmla="*/ 7226 w 536419"/>
                    <a:gd name="connsiteY0" fmla="*/ 447695 h 456315"/>
                    <a:gd name="connsiteX1" fmla="*/ 12165 w 536419"/>
                    <a:gd name="connsiteY1" fmla="*/ 237256 h 456315"/>
                    <a:gd name="connsiteX2" fmla="*/ 100951 w 536419"/>
                    <a:gd name="connsiteY2" fmla="*/ 158770 h 456315"/>
                    <a:gd name="connsiteX3" fmla="*/ 224776 w 536419"/>
                    <a:gd name="connsiteY3" fmla="*/ 120670 h 456315"/>
                    <a:gd name="connsiteX4" fmla="*/ 231126 w 536419"/>
                    <a:gd name="connsiteY4" fmla="*/ 15895 h 456315"/>
                    <a:gd name="connsiteX5" fmla="*/ 326020 w 536419"/>
                    <a:gd name="connsiteY5" fmla="*/ 12720 h 456315"/>
                    <a:gd name="connsiteX6" fmla="*/ 336016 w 536419"/>
                    <a:gd name="connsiteY6" fmla="*/ 134302 h 456315"/>
                    <a:gd name="connsiteX7" fmla="*/ 475601 w 536419"/>
                    <a:gd name="connsiteY7" fmla="*/ 189420 h 456315"/>
                    <a:gd name="connsiteX8" fmla="*/ 522871 w 536419"/>
                    <a:gd name="connsiteY8" fmla="*/ 251776 h 456315"/>
                    <a:gd name="connsiteX9" fmla="*/ 535926 w 536419"/>
                    <a:gd name="connsiteY9" fmla="*/ 454045 h 456315"/>
                    <a:gd name="connsiteX10" fmla="*/ 7226 w 536419"/>
                    <a:gd name="connsiteY10" fmla="*/ 447695 h 456315"/>
                    <a:gd name="connsiteX0" fmla="*/ 7226 w 528834"/>
                    <a:gd name="connsiteY0" fmla="*/ 447695 h 456315"/>
                    <a:gd name="connsiteX1" fmla="*/ 12165 w 528834"/>
                    <a:gd name="connsiteY1" fmla="*/ 237256 h 456315"/>
                    <a:gd name="connsiteX2" fmla="*/ 100951 w 528834"/>
                    <a:gd name="connsiteY2" fmla="*/ 158770 h 456315"/>
                    <a:gd name="connsiteX3" fmla="*/ 224776 w 528834"/>
                    <a:gd name="connsiteY3" fmla="*/ 120670 h 456315"/>
                    <a:gd name="connsiteX4" fmla="*/ 231126 w 528834"/>
                    <a:gd name="connsiteY4" fmla="*/ 15895 h 456315"/>
                    <a:gd name="connsiteX5" fmla="*/ 326020 w 528834"/>
                    <a:gd name="connsiteY5" fmla="*/ 12720 h 456315"/>
                    <a:gd name="connsiteX6" fmla="*/ 336016 w 528834"/>
                    <a:gd name="connsiteY6" fmla="*/ 134302 h 456315"/>
                    <a:gd name="connsiteX7" fmla="*/ 475601 w 528834"/>
                    <a:gd name="connsiteY7" fmla="*/ 189420 h 456315"/>
                    <a:gd name="connsiteX8" fmla="*/ 522871 w 528834"/>
                    <a:gd name="connsiteY8" fmla="*/ 251776 h 456315"/>
                    <a:gd name="connsiteX9" fmla="*/ 527811 w 528834"/>
                    <a:gd name="connsiteY9" fmla="*/ 454045 h 456315"/>
                    <a:gd name="connsiteX10" fmla="*/ 7226 w 528834"/>
                    <a:gd name="connsiteY10" fmla="*/ 447695 h 456315"/>
                    <a:gd name="connsiteX0" fmla="*/ 7226 w 528834"/>
                    <a:gd name="connsiteY0" fmla="*/ 447695 h 456315"/>
                    <a:gd name="connsiteX1" fmla="*/ 12165 w 528834"/>
                    <a:gd name="connsiteY1" fmla="*/ 237256 h 456315"/>
                    <a:gd name="connsiteX2" fmla="*/ 100951 w 528834"/>
                    <a:gd name="connsiteY2" fmla="*/ 158770 h 456315"/>
                    <a:gd name="connsiteX3" fmla="*/ 224776 w 528834"/>
                    <a:gd name="connsiteY3" fmla="*/ 120670 h 456315"/>
                    <a:gd name="connsiteX4" fmla="*/ 231126 w 528834"/>
                    <a:gd name="connsiteY4" fmla="*/ 15895 h 456315"/>
                    <a:gd name="connsiteX5" fmla="*/ 326020 w 528834"/>
                    <a:gd name="connsiteY5" fmla="*/ 12720 h 456315"/>
                    <a:gd name="connsiteX6" fmla="*/ 336016 w 528834"/>
                    <a:gd name="connsiteY6" fmla="*/ 134302 h 456315"/>
                    <a:gd name="connsiteX7" fmla="*/ 462076 w 528834"/>
                    <a:gd name="connsiteY7" fmla="*/ 184425 h 456315"/>
                    <a:gd name="connsiteX8" fmla="*/ 522871 w 528834"/>
                    <a:gd name="connsiteY8" fmla="*/ 251776 h 456315"/>
                    <a:gd name="connsiteX9" fmla="*/ 527811 w 528834"/>
                    <a:gd name="connsiteY9" fmla="*/ 454045 h 456315"/>
                    <a:gd name="connsiteX10" fmla="*/ 7226 w 528834"/>
                    <a:gd name="connsiteY10" fmla="*/ 447695 h 456315"/>
                    <a:gd name="connsiteX0" fmla="*/ 8515 w 530123"/>
                    <a:gd name="connsiteY0" fmla="*/ 447695 h 456315"/>
                    <a:gd name="connsiteX1" fmla="*/ 10749 w 530123"/>
                    <a:gd name="connsiteY1" fmla="*/ 244749 h 456315"/>
                    <a:gd name="connsiteX2" fmla="*/ 102240 w 530123"/>
                    <a:gd name="connsiteY2" fmla="*/ 158770 h 456315"/>
                    <a:gd name="connsiteX3" fmla="*/ 226065 w 530123"/>
                    <a:gd name="connsiteY3" fmla="*/ 120670 h 456315"/>
                    <a:gd name="connsiteX4" fmla="*/ 232415 w 530123"/>
                    <a:gd name="connsiteY4" fmla="*/ 15895 h 456315"/>
                    <a:gd name="connsiteX5" fmla="*/ 327309 w 530123"/>
                    <a:gd name="connsiteY5" fmla="*/ 12720 h 456315"/>
                    <a:gd name="connsiteX6" fmla="*/ 337305 w 530123"/>
                    <a:gd name="connsiteY6" fmla="*/ 134302 h 456315"/>
                    <a:gd name="connsiteX7" fmla="*/ 463365 w 530123"/>
                    <a:gd name="connsiteY7" fmla="*/ 184425 h 456315"/>
                    <a:gd name="connsiteX8" fmla="*/ 524160 w 530123"/>
                    <a:gd name="connsiteY8" fmla="*/ 251776 h 456315"/>
                    <a:gd name="connsiteX9" fmla="*/ 529100 w 530123"/>
                    <a:gd name="connsiteY9" fmla="*/ 454045 h 456315"/>
                    <a:gd name="connsiteX10" fmla="*/ 8515 w 530123"/>
                    <a:gd name="connsiteY10" fmla="*/ 447695 h 456315"/>
                    <a:gd name="connsiteX0" fmla="*/ 7671 w 529279"/>
                    <a:gd name="connsiteY0" fmla="*/ 447695 h 456315"/>
                    <a:gd name="connsiteX1" fmla="*/ 9905 w 529279"/>
                    <a:gd name="connsiteY1" fmla="*/ 244749 h 456315"/>
                    <a:gd name="connsiteX2" fmla="*/ 87870 w 529279"/>
                    <a:gd name="connsiteY2" fmla="*/ 166263 h 456315"/>
                    <a:gd name="connsiteX3" fmla="*/ 225221 w 529279"/>
                    <a:gd name="connsiteY3" fmla="*/ 120670 h 456315"/>
                    <a:gd name="connsiteX4" fmla="*/ 231571 w 529279"/>
                    <a:gd name="connsiteY4" fmla="*/ 15895 h 456315"/>
                    <a:gd name="connsiteX5" fmla="*/ 326465 w 529279"/>
                    <a:gd name="connsiteY5" fmla="*/ 12720 h 456315"/>
                    <a:gd name="connsiteX6" fmla="*/ 336461 w 529279"/>
                    <a:gd name="connsiteY6" fmla="*/ 134302 h 456315"/>
                    <a:gd name="connsiteX7" fmla="*/ 462521 w 529279"/>
                    <a:gd name="connsiteY7" fmla="*/ 184425 h 456315"/>
                    <a:gd name="connsiteX8" fmla="*/ 523316 w 529279"/>
                    <a:gd name="connsiteY8" fmla="*/ 251776 h 456315"/>
                    <a:gd name="connsiteX9" fmla="*/ 528256 w 529279"/>
                    <a:gd name="connsiteY9" fmla="*/ 454045 h 456315"/>
                    <a:gd name="connsiteX10" fmla="*/ 7671 w 529279"/>
                    <a:gd name="connsiteY10" fmla="*/ 447695 h 456315"/>
                    <a:gd name="connsiteX0" fmla="*/ 7671 w 529279"/>
                    <a:gd name="connsiteY0" fmla="*/ 447558 h 456178"/>
                    <a:gd name="connsiteX1" fmla="*/ 9905 w 529279"/>
                    <a:gd name="connsiteY1" fmla="*/ 244612 h 456178"/>
                    <a:gd name="connsiteX2" fmla="*/ 87870 w 529279"/>
                    <a:gd name="connsiteY2" fmla="*/ 166126 h 456178"/>
                    <a:gd name="connsiteX3" fmla="*/ 206285 w 529279"/>
                    <a:gd name="connsiteY3" fmla="*/ 118035 h 456178"/>
                    <a:gd name="connsiteX4" fmla="*/ 231571 w 529279"/>
                    <a:gd name="connsiteY4" fmla="*/ 15758 h 456178"/>
                    <a:gd name="connsiteX5" fmla="*/ 326465 w 529279"/>
                    <a:gd name="connsiteY5" fmla="*/ 12583 h 456178"/>
                    <a:gd name="connsiteX6" fmla="*/ 336461 w 529279"/>
                    <a:gd name="connsiteY6" fmla="*/ 134165 h 456178"/>
                    <a:gd name="connsiteX7" fmla="*/ 462521 w 529279"/>
                    <a:gd name="connsiteY7" fmla="*/ 184288 h 456178"/>
                    <a:gd name="connsiteX8" fmla="*/ 523316 w 529279"/>
                    <a:gd name="connsiteY8" fmla="*/ 251639 h 456178"/>
                    <a:gd name="connsiteX9" fmla="*/ 528256 w 529279"/>
                    <a:gd name="connsiteY9" fmla="*/ 453908 h 456178"/>
                    <a:gd name="connsiteX10" fmla="*/ 7671 w 529279"/>
                    <a:gd name="connsiteY10" fmla="*/ 447558 h 456178"/>
                    <a:gd name="connsiteX0" fmla="*/ 14544 w 536152"/>
                    <a:gd name="connsiteY0" fmla="*/ 447558 h 456178"/>
                    <a:gd name="connsiteX1" fmla="*/ 5958 w 536152"/>
                    <a:gd name="connsiteY1" fmla="*/ 247109 h 456178"/>
                    <a:gd name="connsiteX2" fmla="*/ 94743 w 536152"/>
                    <a:gd name="connsiteY2" fmla="*/ 166126 h 456178"/>
                    <a:gd name="connsiteX3" fmla="*/ 213158 w 536152"/>
                    <a:gd name="connsiteY3" fmla="*/ 118035 h 456178"/>
                    <a:gd name="connsiteX4" fmla="*/ 238444 w 536152"/>
                    <a:gd name="connsiteY4" fmla="*/ 15758 h 456178"/>
                    <a:gd name="connsiteX5" fmla="*/ 333338 w 536152"/>
                    <a:gd name="connsiteY5" fmla="*/ 12583 h 456178"/>
                    <a:gd name="connsiteX6" fmla="*/ 343334 w 536152"/>
                    <a:gd name="connsiteY6" fmla="*/ 134165 h 456178"/>
                    <a:gd name="connsiteX7" fmla="*/ 469394 w 536152"/>
                    <a:gd name="connsiteY7" fmla="*/ 184288 h 456178"/>
                    <a:gd name="connsiteX8" fmla="*/ 530189 w 536152"/>
                    <a:gd name="connsiteY8" fmla="*/ 251639 h 456178"/>
                    <a:gd name="connsiteX9" fmla="*/ 535129 w 536152"/>
                    <a:gd name="connsiteY9" fmla="*/ 453908 h 456178"/>
                    <a:gd name="connsiteX10" fmla="*/ 14544 w 536152"/>
                    <a:gd name="connsiteY10" fmla="*/ 447558 h 456178"/>
                    <a:gd name="connsiteX0" fmla="*/ 7226 w 542359"/>
                    <a:gd name="connsiteY0" fmla="*/ 450055 h 456488"/>
                    <a:gd name="connsiteX1" fmla="*/ 12165 w 542359"/>
                    <a:gd name="connsiteY1" fmla="*/ 247109 h 456488"/>
                    <a:gd name="connsiteX2" fmla="*/ 100950 w 542359"/>
                    <a:gd name="connsiteY2" fmla="*/ 166126 h 456488"/>
                    <a:gd name="connsiteX3" fmla="*/ 219365 w 542359"/>
                    <a:gd name="connsiteY3" fmla="*/ 118035 h 456488"/>
                    <a:gd name="connsiteX4" fmla="*/ 244651 w 542359"/>
                    <a:gd name="connsiteY4" fmla="*/ 15758 h 456488"/>
                    <a:gd name="connsiteX5" fmla="*/ 339545 w 542359"/>
                    <a:gd name="connsiteY5" fmla="*/ 12583 h 456488"/>
                    <a:gd name="connsiteX6" fmla="*/ 349541 w 542359"/>
                    <a:gd name="connsiteY6" fmla="*/ 134165 h 456488"/>
                    <a:gd name="connsiteX7" fmla="*/ 475601 w 542359"/>
                    <a:gd name="connsiteY7" fmla="*/ 184288 h 456488"/>
                    <a:gd name="connsiteX8" fmla="*/ 536396 w 542359"/>
                    <a:gd name="connsiteY8" fmla="*/ 251639 h 456488"/>
                    <a:gd name="connsiteX9" fmla="*/ 541336 w 542359"/>
                    <a:gd name="connsiteY9" fmla="*/ 453908 h 456488"/>
                    <a:gd name="connsiteX10" fmla="*/ 7226 w 542359"/>
                    <a:gd name="connsiteY10" fmla="*/ 450055 h 456488"/>
                    <a:gd name="connsiteX0" fmla="*/ 7226 w 542359"/>
                    <a:gd name="connsiteY0" fmla="*/ 450055 h 456488"/>
                    <a:gd name="connsiteX1" fmla="*/ 12165 w 542359"/>
                    <a:gd name="connsiteY1" fmla="*/ 247109 h 456488"/>
                    <a:gd name="connsiteX2" fmla="*/ 100950 w 542359"/>
                    <a:gd name="connsiteY2" fmla="*/ 166126 h 456488"/>
                    <a:gd name="connsiteX3" fmla="*/ 219365 w 542359"/>
                    <a:gd name="connsiteY3" fmla="*/ 118035 h 456488"/>
                    <a:gd name="connsiteX4" fmla="*/ 244651 w 542359"/>
                    <a:gd name="connsiteY4" fmla="*/ 15758 h 456488"/>
                    <a:gd name="connsiteX5" fmla="*/ 331430 w 542359"/>
                    <a:gd name="connsiteY5" fmla="*/ 12583 h 456488"/>
                    <a:gd name="connsiteX6" fmla="*/ 349541 w 542359"/>
                    <a:gd name="connsiteY6" fmla="*/ 134165 h 456488"/>
                    <a:gd name="connsiteX7" fmla="*/ 475601 w 542359"/>
                    <a:gd name="connsiteY7" fmla="*/ 184288 h 456488"/>
                    <a:gd name="connsiteX8" fmla="*/ 536396 w 542359"/>
                    <a:gd name="connsiteY8" fmla="*/ 251639 h 456488"/>
                    <a:gd name="connsiteX9" fmla="*/ 541336 w 542359"/>
                    <a:gd name="connsiteY9" fmla="*/ 453908 h 456488"/>
                    <a:gd name="connsiteX10" fmla="*/ 7226 w 542359"/>
                    <a:gd name="connsiteY10" fmla="*/ 450055 h 456488"/>
                    <a:gd name="connsiteX0" fmla="*/ 7226 w 542359"/>
                    <a:gd name="connsiteY0" fmla="*/ 450055 h 456488"/>
                    <a:gd name="connsiteX1" fmla="*/ 12165 w 542359"/>
                    <a:gd name="connsiteY1" fmla="*/ 247109 h 456488"/>
                    <a:gd name="connsiteX2" fmla="*/ 100950 w 542359"/>
                    <a:gd name="connsiteY2" fmla="*/ 166126 h 456488"/>
                    <a:gd name="connsiteX3" fmla="*/ 219365 w 542359"/>
                    <a:gd name="connsiteY3" fmla="*/ 118035 h 456488"/>
                    <a:gd name="connsiteX4" fmla="*/ 244651 w 542359"/>
                    <a:gd name="connsiteY4" fmla="*/ 15758 h 456488"/>
                    <a:gd name="connsiteX5" fmla="*/ 331430 w 542359"/>
                    <a:gd name="connsiteY5" fmla="*/ 12583 h 456488"/>
                    <a:gd name="connsiteX6" fmla="*/ 349541 w 542359"/>
                    <a:gd name="connsiteY6" fmla="*/ 134165 h 456488"/>
                    <a:gd name="connsiteX7" fmla="*/ 483716 w 542359"/>
                    <a:gd name="connsiteY7" fmla="*/ 179293 h 456488"/>
                    <a:gd name="connsiteX8" fmla="*/ 536396 w 542359"/>
                    <a:gd name="connsiteY8" fmla="*/ 251639 h 456488"/>
                    <a:gd name="connsiteX9" fmla="*/ 541336 w 542359"/>
                    <a:gd name="connsiteY9" fmla="*/ 453908 h 456488"/>
                    <a:gd name="connsiteX10" fmla="*/ 7226 w 542359"/>
                    <a:gd name="connsiteY10" fmla="*/ 450055 h 456488"/>
                    <a:gd name="connsiteX0" fmla="*/ 6630 w 541763"/>
                    <a:gd name="connsiteY0" fmla="*/ 450055 h 456488"/>
                    <a:gd name="connsiteX1" fmla="*/ 11569 w 541763"/>
                    <a:gd name="connsiteY1" fmla="*/ 247109 h 456488"/>
                    <a:gd name="connsiteX2" fmla="*/ 89534 w 541763"/>
                    <a:gd name="connsiteY2" fmla="*/ 166126 h 456488"/>
                    <a:gd name="connsiteX3" fmla="*/ 218769 w 541763"/>
                    <a:gd name="connsiteY3" fmla="*/ 118035 h 456488"/>
                    <a:gd name="connsiteX4" fmla="*/ 244055 w 541763"/>
                    <a:gd name="connsiteY4" fmla="*/ 15758 h 456488"/>
                    <a:gd name="connsiteX5" fmla="*/ 330834 w 541763"/>
                    <a:gd name="connsiteY5" fmla="*/ 12583 h 456488"/>
                    <a:gd name="connsiteX6" fmla="*/ 348945 w 541763"/>
                    <a:gd name="connsiteY6" fmla="*/ 134165 h 456488"/>
                    <a:gd name="connsiteX7" fmla="*/ 483120 w 541763"/>
                    <a:gd name="connsiteY7" fmla="*/ 179293 h 456488"/>
                    <a:gd name="connsiteX8" fmla="*/ 535800 w 541763"/>
                    <a:gd name="connsiteY8" fmla="*/ 251639 h 456488"/>
                    <a:gd name="connsiteX9" fmla="*/ 540740 w 541763"/>
                    <a:gd name="connsiteY9" fmla="*/ 453908 h 456488"/>
                    <a:gd name="connsiteX10" fmla="*/ 6630 w 541763"/>
                    <a:gd name="connsiteY10" fmla="*/ 450055 h 456488"/>
                    <a:gd name="connsiteX0" fmla="*/ 4856 w 539989"/>
                    <a:gd name="connsiteY0" fmla="*/ 450055 h 456488"/>
                    <a:gd name="connsiteX1" fmla="*/ 15205 w 539989"/>
                    <a:gd name="connsiteY1" fmla="*/ 227128 h 456488"/>
                    <a:gd name="connsiteX2" fmla="*/ 87760 w 539989"/>
                    <a:gd name="connsiteY2" fmla="*/ 166126 h 456488"/>
                    <a:gd name="connsiteX3" fmla="*/ 216995 w 539989"/>
                    <a:gd name="connsiteY3" fmla="*/ 118035 h 456488"/>
                    <a:gd name="connsiteX4" fmla="*/ 242281 w 539989"/>
                    <a:gd name="connsiteY4" fmla="*/ 15758 h 456488"/>
                    <a:gd name="connsiteX5" fmla="*/ 329060 w 539989"/>
                    <a:gd name="connsiteY5" fmla="*/ 12583 h 456488"/>
                    <a:gd name="connsiteX6" fmla="*/ 347171 w 539989"/>
                    <a:gd name="connsiteY6" fmla="*/ 134165 h 456488"/>
                    <a:gd name="connsiteX7" fmla="*/ 481346 w 539989"/>
                    <a:gd name="connsiteY7" fmla="*/ 179293 h 456488"/>
                    <a:gd name="connsiteX8" fmla="*/ 534026 w 539989"/>
                    <a:gd name="connsiteY8" fmla="*/ 251639 h 456488"/>
                    <a:gd name="connsiteX9" fmla="*/ 538966 w 539989"/>
                    <a:gd name="connsiteY9" fmla="*/ 453908 h 456488"/>
                    <a:gd name="connsiteX10" fmla="*/ 4856 w 539989"/>
                    <a:gd name="connsiteY10" fmla="*/ 450055 h 4564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39989" h="456488">
                      <a:moveTo>
                        <a:pt x="4856" y="450055"/>
                      </a:moveTo>
                      <a:cubicBezTo>
                        <a:pt x="-5198" y="385497"/>
                        <a:pt x="1388" y="274449"/>
                        <a:pt x="15205" y="227128"/>
                      </a:cubicBezTo>
                      <a:cubicBezTo>
                        <a:pt x="29022" y="179807"/>
                        <a:pt x="54128" y="184308"/>
                        <a:pt x="87760" y="166126"/>
                      </a:cubicBezTo>
                      <a:cubicBezTo>
                        <a:pt x="121392" y="147944"/>
                        <a:pt x="191242" y="143096"/>
                        <a:pt x="216995" y="118035"/>
                      </a:cubicBezTo>
                      <a:cubicBezTo>
                        <a:pt x="242748" y="92974"/>
                        <a:pt x="223604" y="33333"/>
                        <a:pt x="242281" y="15758"/>
                      </a:cubicBezTo>
                      <a:cubicBezTo>
                        <a:pt x="260958" y="-1817"/>
                        <a:pt x="311578" y="-7151"/>
                        <a:pt x="329060" y="12583"/>
                      </a:cubicBezTo>
                      <a:cubicBezTo>
                        <a:pt x="346542" y="32317"/>
                        <a:pt x="321790" y="106380"/>
                        <a:pt x="347171" y="134165"/>
                      </a:cubicBezTo>
                      <a:cubicBezTo>
                        <a:pt x="372552" y="161950"/>
                        <a:pt x="450204" y="159714"/>
                        <a:pt x="481346" y="179293"/>
                      </a:cubicBezTo>
                      <a:cubicBezTo>
                        <a:pt x="512489" y="198872"/>
                        <a:pt x="523972" y="202956"/>
                        <a:pt x="534026" y="251639"/>
                      </a:cubicBezTo>
                      <a:cubicBezTo>
                        <a:pt x="537201" y="301381"/>
                        <a:pt x="542141" y="328496"/>
                        <a:pt x="538966" y="453908"/>
                      </a:cubicBezTo>
                      <a:cubicBezTo>
                        <a:pt x="307191" y="461845"/>
                        <a:pt x="250800" y="448827"/>
                        <a:pt x="4856" y="450055"/>
                      </a:cubicBezTo>
                      <a:close/>
                    </a:path>
                  </a:pathLst>
                </a:custGeom>
                <a:solidFill>
                  <a:schemeClr val="bg1"/>
                </a:solidFill>
                <a:ln w="57150">
                  <a:solidFill>
                    <a:schemeClr val="tx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66" name="Oval 65">
                  <a:extLst>
                    <a:ext uri="{FF2B5EF4-FFF2-40B4-BE49-F238E27FC236}">
                      <a16:creationId xmlns:a16="http://schemas.microsoft.com/office/drawing/2014/main" id="{953677B4-FB40-8044-ADC3-B360FA41F011}"/>
                    </a:ext>
                  </a:extLst>
                </p:cNvPr>
                <p:cNvSpPr/>
                <p:nvPr/>
              </p:nvSpPr>
              <p:spPr>
                <a:xfrm>
                  <a:off x="1964431" y="3500843"/>
                  <a:ext cx="259337" cy="299858"/>
                </a:xfrm>
                <a:prstGeom prst="ellipse">
                  <a:avLst/>
                </a:prstGeom>
                <a:solidFill>
                  <a:schemeClr val="bg1"/>
                </a:solidFill>
                <a:ln w="57150">
                  <a:solidFill>
                    <a:schemeClr val="tx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grpSp>
        </p:grpSp>
        <p:grpSp>
          <p:nvGrpSpPr>
            <p:cNvPr id="57" name="Group 56">
              <a:extLst>
                <a:ext uri="{FF2B5EF4-FFF2-40B4-BE49-F238E27FC236}">
                  <a16:creationId xmlns:a16="http://schemas.microsoft.com/office/drawing/2014/main" id="{1104FACA-4B34-3E43-9C4D-1A3D8AF68B8E}"/>
                </a:ext>
              </a:extLst>
            </p:cNvPr>
            <p:cNvGrpSpPr/>
            <p:nvPr/>
          </p:nvGrpSpPr>
          <p:grpSpPr>
            <a:xfrm>
              <a:off x="2495712" y="4589934"/>
              <a:ext cx="1256698" cy="510604"/>
              <a:chOff x="2495712" y="4589934"/>
              <a:chExt cx="1256698" cy="510604"/>
            </a:xfrm>
            <a:solidFill>
              <a:schemeClr val="tx1">
                <a:lumMod val="50000"/>
              </a:schemeClr>
            </a:solidFill>
          </p:grpSpPr>
          <p:sp>
            <p:nvSpPr>
              <p:cNvPr id="59" name="Rounded Rectangle 58">
                <a:extLst>
                  <a:ext uri="{FF2B5EF4-FFF2-40B4-BE49-F238E27FC236}">
                    <a16:creationId xmlns:a16="http://schemas.microsoft.com/office/drawing/2014/main" id="{A5F8712B-59E3-6447-B9A1-6D978A40897D}"/>
                  </a:ext>
                </a:extLst>
              </p:cNvPr>
              <p:cNvSpPr/>
              <p:nvPr/>
            </p:nvSpPr>
            <p:spPr>
              <a:xfrm>
                <a:off x="2495712" y="4589934"/>
                <a:ext cx="1256697" cy="251941"/>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60" name="Rectangle 59">
                <a:extLst>
                  <a:ext uri="{FF2B5EF4-FFF2-40B4-BE49-F238E27FC236}">
                    <a16:creationId xmlns:a16="http://schemas.microsoft.com/office/drawing/2014/main" id="{6561214B-D143-D542-A942-8DA81EFF37E0}"/>
                  </a:ext>
                </a:extLst>
              </p:cNvPr>
              <p:cNvSpPr/>
              <p:nvPr/>
            </p:nvSpPr>
            <p:spPr>
              <a:xfrm>
                <a:off x="2498725" y="4797790"/>
                <a:ext cx="1253685" cy="13315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61" name="Rectangle 60">
                <a:extLst>
                  <a:ext uri="{FF2B5EF4-FFF2-40B4-BE49-F238E27FC236}">
                    <a16:creationId xmlns:a16="http://schemas.microsoft.com/office/drawing/2014/main" id="{46489AE6-5449-2D4B-BF12-B06279781E4C}"/>
                  </a:ext>
                </a:extLst>
              </p:cNvPr>
              <p:cNvSpPr/>
              <p:nvPr/>
            </p:nvSpPr>
            <p:spPr>
              <a:xfrm>
                <a:off x="2546350" y="4923041"/>
                <a:ext cx="109152" cy="17749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62" name="Rectangle 61">
                <a:extLst>
                  <a:ext uri="{FF2B5EF4-FFF2-40B4-BE49-F238E27FC236}">
                    <a16:creationId xmlns:a16="http://schemas.microsoft.com/office/drawing/2014/main" id="{48E86C4D-E4D3-9B43-8944-C6F466340E2A}"/>
                  </a:ext>
                </a:extLst>
              </p:cNvPr>
              <p:cNvSpPr/>
              <p:nvPr/>
            </p:nvSpPr>
            <p:spPr>
              <a:xfrm>
                <a:off x="3610945" y="4923041"/>
                <a:ext cx="109152" cy="17749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grpSp>
        <p:sp>
          <p:nvSpPr>
            <p:cNvPr id="58" name="Trapezoid 57">
              <a:extLst>
                <a:ext uri="{FF2B5EF4-FFF2-40B4-BE49-F238E27FC236}">
                  <a16:creationId xmlns:a16="http://schemas.microsoft.com/office/drawing/2014/main" id="{5FE014A2-E5BE-3A4F-96AA-1AEF74B77F2B}"/>
                </a:ext>
              </a:extLst>
            </p:cNvPr>
            <p:cNvSpPr/>
            <p:nvPr/>
          </p:nvSpPr>
          <p:spPr>
            <a:xfrm>
              <a:off x="2655502" y="4181475"/>
              <a:ext cx="958850" cy="363303"/>
            </a:xfrm>
            <a:prstGeom prst="trapezoid">
              <a:avLst/>
            </a:prstGeom>
            <a:solidFill>
              <a:schemeClr val="tx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grpSp>
      <p:grpSp>
        <p:nvGrpSpPr>
          <p:cNvPr id="69" name="Group 68">
            <a:extLst>
              <a:ext uri="{FF2B5EF4-FFF2-40B4-BE49-F238E27FC236}">
                <a16:creationId xmlns:a16="http://schemas.microsoft.com/office/drawing/2014/main" id="{F05C6A72-B204-F64E-B4BD-151D1861FC0E}"/>
              </a:ext>
            </a:extLst>
          </p:cNvPr>
          <p:cNvGrpSpPr/>
          <p:nvPr/>
        </p:nvGrpSpPr>
        <p:grpSpPr>
          <a:xfrm>
            <a:off x="9316527" y="2754895"/>
            <a:ext cx="1025213" cy="1261037"/>
            <a:chOff x="2441771" y="3385414"/>
            <a:chExt cx="1325481" cy="1781019"/>
          </a:xfrm>
        </p:grpSpPr>
        <p:pic>
          <p:nvPicPr>
            <p:cNvPr id="70" name="Picture 69">
              <a:extLst>
                <a:ext uri="{FF2B5EF4-FFF2-40B4-BE49-F238E27FC236}">
                  <a16:creationId xmlns:a16="http://schemas.microsoft.com/office/drawing/2014/main" id="{4302F371-A671-6948-8160-4E20967BB40A}"/>
                </a:ext>
              </a:extLst>
            </p:cNvPr>
            <p:cNvPicPr>
              <a:picLocks noChangeAspect="1"/>
            </p:cNvPicPr>
            <p:nvPr/>
          </p:nvPicPr>
          <p:blipFill rotWithShape="1">
            <a:blip r:embed="rId2"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a:xfrm>
              <a:off x="2441771" y="3385414"/>
              <a:ext cx="1325481" cy="1781019"/>
            </a:xfrm>
            <a:prstGeom prst="rect">
              <a:avLst/>
            </a:prstGeom>
          </p:spPr>
        </p:pic>
        <p:sp>
          <p:nvSpPr>
            <p:cNvPr id="71" name="Rounded Rectangle 70">
              <a:extLst>
                <a:ext uri="{FF2B5EF4-FFF2-40B4-BE49-F238E27FC236}">
                  <a16:creationId xmlns:a16="http://schemas.microsoft.com/office/drawing/2014/main" id="{EAA17BCD-0814-CE44-9CC9-4305DCEEDB96}"/>
                </a:ext>
              </a:extLst>
            </p:cNvPr>
            <p:cNvSpPr/>
            <p:nvPr/>
          </p:nvSpPr>
          <p:spPr>
            <a:xfrm>
              <a:off x="2655502" y="3670300"/>
              <a:ext cx="958850" cy="436656"/>
            </a:xfrm>
            <a:prstGeom prst="roundRect">
              <a:avLst/>
            </a:prstGeom>
            <a:solidFill>
              <a:schemeClr val="tx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grpSp>
          <p:nvGrpSpPr>
            <p:cNvPr id="72" name="Group 71">
              <a:extLst>
                <a:ext uri="{FF2B5EF4-FFF2-40B4-BE49-F238E27FC236}">
                  <a16:creationId xmlns:a16="http://schemas.microsoft.com/office/drawing/2014/main" id="{4E7B1C8D-E2A6-AC47-90A0-DAB63FDE5192}"/>
                </a:ext>
              </a:extLst>
            </p:cNvPr>
            <p:cNvGrpSpPr/>
            <p:nvPr/>
          </p:nvGrpSpPr>
          <p:grpSpPr>
            <a:xfrm>
              <a:off x="2776471" y="3456093"/>
              <a:ext cx="748710" cy="1056883"/>
              <a:chOff x="1496718" y="3334932"/>
              <a:chExt cx="748710" cy="1056883"/>
            </a:xfrm>
          </p:grpSpPr>
          <p:grpSp>
            <p:nvGrpSpPr>
              <p:cNvPr id="79" name="Group 78">
                <a:extLst>
                  <a:ext uri="{FF2B5EF4-FFF2-40B4-BE49-F238E27FC236}">
                    <a16:creationId xmlns:a16="http://schemas.microsoft.com/office/drawing/2014/main" id="{74AD4C73-DEB5-5643-B034-9B58618EE774}"/>
                  </a:ext>
                </a:extLst>
              </p:cNvPr>
              <p:cNvGrpSpPr/>
              <p:nvPr/>
            </p:nvGrpSpPr>
            <p:grpSpPr>
              <a:xfrm>
                <a:off x="1496718" y="3334932"/>
                <a:ext cx="748710" cy="1056883"/>
                <a:chOff x="1843570" y="3508300"/>
                <a:chExt cx="514980" cy="727982"/>
              </a:xfrm>
              <a:solidFill>
                <a:schemeClr val="bg1"/>
              </a:solidFill>
            </p:grpSpPr>
            <p:sp>
              <p:nvSpPr>
                <p:cNvPr id="83" name="Freeform 82">
                  <a:extLst>
                    <a:ext uri="{FF2B5EF4-FFF2-40B4-BE49-F238E27FC236}">
                      <a16:creationId xmlns:a16="http://schemas.microsoft.com/office/drawing/2014/main" id="{68AD7506-3770-0D43-A010-670F29D3DA6F}"/>
                    </a:ext>
                  </a:extLst>
                </p:cNvPr>
                <p:cNvSpPr/>
                <p:nvPr/>
              </p:nvSpPr>
              <p:spPr>
                <a:xfrm>
                  <a:off x="1843570" y="3787509"/>
                  <a:ext cx="514980" cy="448773"/>
                </a:xfrm>
                <a:custGeom>
                  <a:avLst/>
                  <a:gdLst>
                    <a:gd name="connsiteX0" fmla="*/ 36807 w 576731"/>
                    <a:gd name="connsiteY0" fmla="*/ 449906 h 505924"/>
                    <a:gd name="connsiteX1" fmla="*/ 39982 w 576731"/>
                    <a:gd name="connsiteY1" fmla="*/ 214956 h 505924"/>
                    <a:gd name="connsiteX2" fmla="*/ 55857 w 576731"/>
                    <a:gd name="connsiteY2" fmla="*/ 176856 h 505924"/>
                    <a:gd name="connsiteX3" fmla="*/ 103482 w 576731"/>
                    <a:gd name="connsiteY3" fmla="*/ 160981 h 505924"/>
                    <a:gd name="connsiteX4" fmla="*/ 205082 w 576731"/>
                    <a:gd name="connsiteY4" fmla="*/ 154631 h 505924"/>
                    <a:gd name="connsiteX5" fmla="*/ 230482 w 576731"/>
                    <a:gd name="connsiteY5" fmla="*/ 151456 h 505924"/>
                    <a:gd name="connsiteX6" fmla="*/ 233657 w 576731"/>
                    <a:gd name="connsiteY6" fmla="*/ 18106 h 505924"/>
                    <a:gd name="connsiteX7" fmla="*/ 344782 w 576731"/>
                    <a:gd name="connsiteY7" fmla="*/ 14931 h 505924"/>
                    <a:gd name="connsiteX8" fmla="*/ 344782 w 576731"/>
                    <a:gd name="connsiteY8" fmla="*/ 145106 h 505924"/>
                    <a:gd name="connsiteX9" fmla="*/ 386057 w 576731"/>
                    <a:gd name="connsiteY9" fmla="*/ 151456 h 505924"/>
                    <a:gd name="connsiteX10" fmla="*/ 478132 w 576731"/>
                    <a:gd name="connsiteY10" fmla="*/ 164156 h 505924"/>
                    <a:gd name="connsiteX11" fmla="*/ 519407 w 576731"/>
                    <a:gd name="connsiteY11" fmla="*/ 189556 h 505924"/>
                    <a:gd name="connsiteX12" fmla="*/ 541632 w 576731"/>
                    <a:gd name="connsiteY12" fmla="*/ 234006 h 505924"/>
                    <a:gd name="connsiteX13" fmla="*/ 538457 w 576731"/>
                    <a:gd name="connsiteY13" fmla="*/ 488006 h 505924"/>
                    <a:gd name="connsiteX14" fmla="*/ 36807 w 576731"/>
                    <a:gd name="connsiteY14" fmla="*/ 449906 h 505924"/>
                    <a:gd name="connsiteX0" fmla="*/ 5769 w 545693"/>
                    <a:gd name="connsiteY0" fmla="*/ 449906 h 505924"/>
                    <a:gd name="connsiteX1" fmla="*/ 8944 w 545693"/>
                    <a:gd name="connsiteY1" fmla="*/ 214956 h 505924"/>
                    <a:gd name="connsiteX2" fmla="*/ 24819 w 545693"/>
                    <a:gd name="connsiteY2" fmla="*/ 176856 h 505924"/>
                    <a:gd name="connsiteX3" fmla="*/ 72444 w 545693"/>
                    <a:gd name="connsiteY3" fmla="*/ 160981 h 505924"/>
                    <a:gd name="connsiteX4" fmla="*/ 174044 w 545693"/>
                    <a:gd name="connsiteY4" fmla="*/ 154631 h 505924"/>
                    <a:gd name="connsiteX5" fmla="*/ 199444 w 545693"/>
                    <a:gd name="connsiteY5" fmla="*/ 151456 h 505924"/>
                    <a:gd name="connsiteX6" fmla="*/ 202619 w 545693"/>
                    <a:gd name="connsiteY6" fmla="*/ 18106 h 505924"/>
                    <a:gd name="connsiteX7" fmla="*/ 313744 w 545693"/>
                    <a:gd name="connsiteY7" fmla="*/ 14931 h 505924"/>
                    <a:gd name="connsiteX8" fmla="*/ 313744 w 545693"/>
                    <a:gd name="connsiteY8" fmla="*/ 145106 h 505924"/>
                    <a:gd name="connsiteX9" fmla="*/ 355019 w 545693"/>
                    <a:gd name="connsiteY9" fmla="*/ 151456 h 505924"/>
                    <a:gd name="connsiteX10" fmla="*/ 447094 w 545693"/>
                    <a:gd name="connsiteY10" fmla="*/ 164156 h 505924"/>
                    <a:gd name="connsiteX11" fmla="*/ 488369 w 545693"/>
                    <a:gd name="connsiteY11" fmla="*/ 189556 h 505924"/>
                    <a:gd name="connsiteX12" fmla="*/ 510594 w 545693"/>
                    <a:gd name="connsiteY12" fmla="*/ 234006 h 505924"/>
                    <a:gd name="connsiteX13" fmla="*/ 507419 w 545693"/>
                    <a:gd name="connsiteY13" fmla="*/ 488006 h 505924"/>
                    <a:gd name="connsiteX14" fmla="*/ 5769 w 545693"/>
                    <a:gd name="connsiteY14" fmla="*/ 449906 h 505924"/>
                    <a:gd name="connsiteX0" fmla="*/ 21286 w 561210"/>
                    <a:gd name="connsiteY0" fmla="*/ 449906 h 508025"/>
                    <a:gd name="connsiteX1" fmla="*/ 24461 w 561210"/>
                    <a:gd name="connsiteY1" fmla="*/ 214956 h 508025"/>
                    <a:gd name="connsiteX2" fmla="*/ 40336 w 561210"/>
                    <a:gd name="connsiteY2" fmla="*/ 176856 h 508025"/>
                    <a:gd name="connsiteX3" fmla="*/ 87961 w 561210"/>
                    <a:gd name="connsiteY3" fmla="*/ 160981 h 508025"/>
                    <a:gd name="connsiteX4" fmla="*/ 189561 w 561210"/>
                    <a:gd name="connsiteY4" fmla="*/ 154631 h 508025"/>
                    <a:gd name="connsiteX5" fmla="*/ 214961 w 561210"/>
                    <a:gd name="connsiteY5" fmla="*/ 151456 h 508025"/>
                    <a:gd name="connsiteX6" fmla="*/ 218136 w 561210"/>
                    <a:gd name="connsiteY6" fmla="*/ 18106 h 508025"/>
                    <a:gd name="connsiteX7" fmla="*/ 329261 w 561210"/>
                    <a:gd name="connsiteY7" fmla="*/ 14931 h 508025"/>
                    <a:gd name="connsiteX8" fmla="*/ 329261 w 561210"/>
                    <a:gd name="connsiteY8" fmla="*/ 145106 h 508025"/>
                    <a:gd name="connsiteX9" fmla="*/ 370536 w 561210"/>
                    <a:gd name="connsiteY9" fmla="*/ 151456 h 508025"/>
                    <a:gd name="connsiteX10" fmla="*/ 462611 w 561210"/>
                    <a:gd name="connsiteY10" fmla="*/ 164156 h 508025"/>
                    <a:gd name="connsiteX11" fmla="*/ 503886 w 561210"/>
                    <a:gd name="connsiteY11" fmla="*/ 189556 h 508025"/>
                    <a:gd name="connsiteX12" fmla="*/ 526111 w 561210"/>
                    <a:gd name="connsiteY12" fmla="*/ 234006 h 508025"/>
                    <a:gd name="connsiteX13" fmla="*/ 522936 w 561210"/>
                    <a:gd name="connsiteY13" fmla="*/ 488006 h 508025"/>
                    <a:gd name="connsiteX14" fmla="*/ 21286 w 561210"/>
                    <a:gd name="connsiteY14" fmla="*/ 449906 h 508025"/>
                    <a:gd name="connsiteX0" fmla="*/ 21286 w 561210"/>
                    <a:gd name="connsiteY0" fmla="*/ 449906 h 508025"/>
                    <a:gd name="connsiteX1" fmla="*/ 24461 w 561210"/>
                    <a:gd name="connsiteY1" fmla="*/ 214956 h 508025"/>
                    <a:gd name="connsiteX2" fmla="*/ 40336 w 561210"/>
                    <a:gd name="connsiteY2" fmla="*/ 176856 h 508025"/>
                    <a:gd name="connsiteX3" fmla="*/ 87961 w 561210"/>
                    <a:gd name="connsiteY3" fmla="*/ 160981 h 508025"/>
                    <a:gd name="connsiteX4" fmla="*/ 189561 w 561210"/>
                    <a:gd name="connsiteY4" fmla="*/ 154631 h 508025"/>
                    <a:gd name="connsiteX5" fmla="*/ 214961 w 561210"/>
                    <a:gd name="connsiteY5" fmla="*/ 151456 h 508025"/>
                    <a:gd name="connsiteX6" fmla="*/ 218136 w 561210"/>
                    <a:gd name="connsiteY6" fmla="*/ 18106 h 508025"/>
                    <a:gd name="connsiteX7" fmla="*/ 329261 w 561210"/>
                    <a:gd name="connsiteY7" fmla="*/ 14931 h 508025"/>
                    <a:gd name="connsiteX8" fmla="*/ 329261 w 561210"/>
                    <a:gd name="connsiteY8" fmla="*/ 145106 h 508025"/>
                    <a:gd name="connsiteX9" fmla="*/ 370536 w 561210"/>
                    <a:gd name="connsiteY9" fmla="*/ 151456 h 508025"/>
                    <a:gd name="connsiteX10" fmla="*/ 462611 w 561210"/>
                    <a:gd name="connsiteY10" fmla="*/ 164156 h 508025"/>
                    <a:gd name="connsiteX11" fmla="*/ 503886 w 561210"/>
                    <a:gd name="connsiteY11" fmla="*/ 189556 h 508025"/>
                    <a:gd name="connsiteX12" fmla="*/ 526111 w 561210"/>
                    <a:gd name="connsiteY12" fmla="*/ 234006 h 508025"/>
                    <a:gd name="connsiteX13" fmla="*/ 522936 w 561210"/>
                    <a:gd name="connsiteY13" fmla="*/ 488006 h 508025"/>
                    <a:gd name="connsiteX14" fmla="*/ 21286 w 561210"/>
                    <a:gd name="connsiteY14" fmla="*/ 449906 h 508025"/>
                    <a:gd name="connsiteX0" fmla="*/ 4360 w 544284"/>
                    <a:gd name="connsiteY0" fmla="*/ 449906 h 508025"/>
                    <a:gd name="connsiteX1" fmla="*/ 7535 w 544284"/>
                    <a:gd name="connsiteY1" fmla="*/ 214956 h 508025"/>
                    <a:gd name="connsiteX2" fmla="*/ 23410 w 544284"/>
                    <a:gd name="connsiteY2" fmla="*/ 176856 h 508025"/>
                    <a:gd name="connsiteX3" fmla="*/ 71035 w 544284"/>
                    <a:gd name="connsiteY3" fmla="*/ 160981 h 508025"/>
                    <a:gd name="connsiteX4" fmla="*/ 172635 w 544284"/>
                    <a:gd name="connsiteY4" fmla="*/ 154631 h 508025"/>
                    <a:gd name="connsiteX5" fmla="*/ 198035 w 544284"/>
                    <a:gd name="connsiteY5" fmla="*/ 151456 h 508025"/>
                    <a:gd name="connsiteX6" fmla="*/ 201210 w 544284"/>
                    <a:gd name="connsiteY6" fmla="*/ 18106 h 508025"/>
                    <a:gd name="connsiteX7" fmla="*/ 312335 w 544284"/>
                    <a:gd name="connsiteY7" fmla="*/ 14931 h 508025"/>
                    <a:gd name="connsiteX8" fmla="*/ 312335 w 544284"/>
                    <a:gd name="connsiteY8" fmla="*/ 145106 h 508025"/>
                    <a:gd name="connsiteX9" fmla="*/ 353610 w 544284"/>
                    <a:gd name="connsiteY9" fmla="*/ 151456 h 508025"/>
                    <a:gd name="connsiteX10" fmla="*/ 445685 w 544284"/>
                    <a:gd name="connsiteY10" fmla="*/ 164156 h 508025"/>
                    <a:gd name="connsiteX11" fmla="*/ 486960 w 544284"/>
                    <a:gd name="connsiteY11" fmla="*/ 189556 h 508025"/>
                    <a:gd name="connsiteX12" fmla="*/ 509185 w 544284"/>
                    <a:gd name="connsiteY12" fmla="*/ 234006 h 508025"/>
                    <a:gd name="connsiteX13" fmla="*/ 506010 w 544284"/>
                    <a:gd name="connsiteY13" fmla="*/ 488006 h 508025"/>
                    <a:gd name="connsiteX14" fmla="*/ 4360 w 544284"/>
                    <a:gd name="connsiteY14" fmla="*/ 449906 h 508025"/>
                    <a:gd name="connsiteX0" fmla="*/ 4360 w 544284"/>
                    <a:gd name="connsiteY0" fmla="*/ 449906 h 500804"/>
                    <a:gd name="connsiteX1" fmla="*/ 7535 w 544284"/>
                    <a:gd name="connsiteY1" fmla="*/ 214956 h 500804"/>
                    <a:gd name="connsiteX2" fmla="*/ 23410 w 544284"/>
                    <a:gd name="connsiteY2" fmla="*/ 176856 h 500804"/>
                    <a:gd name="connsiteX3" fmla="*/ 71035 w 544284"/>
                    <a:gd name="connsiteY3" fmla="*/ 160981 h 500804"/>
                    <a:gd name="connsiteX4" fmla="*/ 172635 w 544284"/>
                    <a:gd name="connsiteY4" fmla="*/ 154631 h 500804"/>
                    <a:gd name="connsiteX5" fmla="*/ 198035 w 544284"/>
                    <a:gd name="connsiteY5" fmla="*/ 151456 h 500804"/>
                    <a:gd name="connsiteX6" fmla="*/ 201210 w 544284"/>
                    <a:gd name="connsiteY6" fmla="*/ 18106 h 500804"/>
                    <a:gd name="connsiteX7" fmla="*/ 312335 w 544284"/>
                    <a:gd name="connsiteY7" fmla="*/ 14931 h 500804"/>
                    <a:gd name="connsiteX8" fmla="*/ 312335 w 544284"/>
                    <a:gd name="connsiteY8" fmla="*/ 145106 h 500804"/>
                    <a:gd name="connsiteX9" fmla="*/ 353610 w 544284"/>
                    <a:gd name="connsiteY9" fmla="*/ 151456 h 500804"/>
                    <a:gd name="connsiteX10" fmla="*/ 445685 w 544284"/>
                    <a:gd name="connsiteY10" fmla="*/ 164156 h 500804"/>
                    <a:gd name="connsiteX11" fmla="*/ 486960 w 544284"/>
                    <a:gd name="connsiteY11" fmla="*/ 189556 h 500804"/>
                    <a:gd name="connsiteX12" fmla="*/ 509185 w 544284"/>
                    <a:gd name="connsiteY12" fmla="*/ 234006 h 500804"/>
                    <a:gd name="connsiteX13" fmla="*/ 506010 w 544284"/>
                    <a:gd name="connsiteY13" fmla="*/ 488006 h 500804"/>
                    <a:gd name="connsiteX14" fmla="*/ 4360 w 544284"/>
                    <a:gd name="connsiteY14" fmla="*/ 449906 h 500804"/>
                    <a:gd name="connsiteX0" fmla="*/ 4360 w 544284"/>
                    <a:gd name="connsiteY0" fmla="*/ 449906 h 500804"/>
                    <a:gd name="connsiteX1" fmla="*/ 7535 w 544284"/>
                    <a:gd name="connsiteY1" fmla="*/ 214956 h 500804"/>
                    <a:gd name="connsiteX2" fmla="*/ 23410 w 544284"/>
                    <a:gd name="connsiteY2" fmla="*/ 176856 h 500804"/>
                    <a:gd name="connsiteX3" fmla="*/ 71035 w 544284"/>
                    <a:gd name="connsiteY3" fmla="*/ 160981 h 500804"/>
                    <a:gd name="connsiteX4" fmla="*/ 172635 w 544284"/>
                    <a:gd name="connsiteY4" fmla="*/ 154631 h 500804"/>
                    <a:gd name="connsiteX5" fmla="*/ 198035 w 544284"/>
                    <a:gd name="connsiteY5" fmla="*/ 151456 h 500804"/>
                    <a:gd name="connsiteX6" fmla="*/ 201210 w 544284"/>
                    <a:gd name="connsiteY6" fmla="*/ 18106 h 500804"/>
                    <a:gd name="connsiteX7" fmla="*/ 312335 w 544284"/>
                    <a:gd name="connsiteY7" fmla="*/ 14931 h 500804"/>
                    <a:gd name="connsiteX8" fmla="*/ 312335 w 544284"/>
                    <a:gd name="connsiteY8" fmla="*/ 145106 h 500804"/>
                    <a:gd name="connsiteX9" fmla="*/ 353610 w 544284"/>
                    <a:gd name="connsiteY9" fmla="*/ 151456 h 500804"/>
                    <a:gd name="connsiteX10" fmla="*/ 445685 w 544284"/>
                    <a:gd name="connsiteY10" fmla="*/ 164156 h 500804"/>
                    <a:gd name="connsiteX11" fmla="*/ 486960 w 544284"/>
                    <a:gd name="connsiteY11" fmla="*/ 189556 h 500804"/>
                    <a:gd name="connsiteX12" fmla="*/ 509185 w 544284"/>
                    <a:gd name="connsiteY12" fmla="*/ 234006 h 500804"/>
                    <a:gd name="connsiteX13" fmla="*/ 506010 w 544284"/>
                    <a:gd name="connsiteY13" fmla="*/ 488006 h 500804"/>
                    <a:gd name="connsiteX14" fmla="*/ 4360 w 544284"/>
                    <a:gd name="connsiteY14" fmla="*/ 449906 h 500804"/>
                    <a:gd name="connsiteX0" fmla="*/ 4360 w 519024"/>
                    <a:gd name="connsiteY0" fmla="*/ 449906 h 500804"/>
                    <a:gd name="connsiteX1" fmla="*/ 7535 w 519024"/>
                    <a:gd name="connsiteY1" fmla="*/ 214956 h 500804"/>
                    <a:gd name="connsiteX2" fmla="*/ 23410 w 519024"/>
                    <a:gd name="connsiteY2" fmla="*/ 176856 h 500804"/>
                    <a:gd name="connsiteX3" fmla="*/ 71035 w 519024"/>
                    <a:gd name="connsiteY3" fmla="*/ 160981 h 500804"/>
                    <a:gd name="connsiteX4" fmla="*/ 172635 w 519024"/>
                    <a:gd name="connsiteY4" fmla="*/ 154631 h 500804"/>
                    <a:gd name="connsiteX5" fmla="*/ 198035 w 519024"/>
                    <a:gd name="connsiteY5" fmla="*/ 151456 h 500804"/>
                    <a:gd name="connsiteX6" fmla="*/ 201210 w 519024"/>
                    <a:gd name="connsiteY6" fmla="*/ 18106 h 500804"/>
                    <a:gd name="connsiteX7" fmla="*/ 312335 w 519024"/>
                    <a:gd name="connsiteY7" fmla="*/ 14931 h 500804"/>
                    <a:gd name="connsiteX8" fmla="*/ 312335 w 519024"/>
                    <a:gd name="connsiteY8" fmla="*/ 145106 h 500804"/>
                    <a:gd name="connsiteX9" fmla="*/ 353610 w 519024"/>
                    <a:gd name="connsiteY9" fmla="*/ 151456 h 500804"/>
                    <a:gd name="connsiteX10" fmla="*/ 445685 w 519024"/>
                    <a:gd name="connsiteY10" fmla="*/ 164156 h 500804"/>
                    <a:gd name="connsiteX11" fmla="*/ 486960 w 519024"/>
                    <a:gd name="connsiteY11" fmla="*/ 189556 h 500804"/>
                    <a:gd name="connsiteX12" fmla="*/ 509185 w 519024"/>
                    <a:gd name="connsiteY12" fmla="*/ 234006 h 500804"/>
                    <a:gd name="connsiteX13" fmla="*/ 506010 w 519024"/>
                    <a:gd name="connsiteY13" fmla="*/ 488006 h 500804"/>
                    <a:gd name="connsiteX14" fmla="*/ 4360 w 519024"/>
                    <a:gd name="connsiteY14" fmla="*/ 449906 h 500804"/>
                    <a:gd name="connsiteX0" fmla="*/ 4360 w 519024"/>
                    <a:gd name="connsiteY0" fmla="*/ 449906 h 488006"/>
                    <a:gd name="connsiteX1" fmla="*/ 7535 w 519024"/>
                    <a:gd name="connsiteY1" fmla="*/ 214956 h 488006"/>
                    <a:gd name="connsiteX2" fmla="*/ 23410 w 519024"/>
                    <a:gd name="connsiteY2" fmla="*/ 176856 h 488006"/>
                    <a:gd name="connsiteX3" fmla="*/ 71035 w 519024"/>
                    <a:gd name="connsiteY3" fmla="*/ 160981 h 488006"/>
                    <a:gd name="connsiteX4" fmla="*/ 172635 w 519024"/>
                    <a:gd name="connsiteY4" fmla="*/ 154631 h 488006"/>
                    <a:gd name="connsiteX5" fmla="*/ 198035 w 519024"/>
                    <a:gd name="connsiteY5" fmla="*/ 151456 h 488006"/>
                    <a:gd name="connsiteX6" fmla="*/ 201210 w 519024"/>
                    <a:gd name="connsiteY6" fmla="*/ 18106 h 488006"/>
                    <a:gd name="connsiteX7" fmla="*/ 312335 w 519024"/>
                    <a:gd name="connsiteY7" fmla="*/ 14931 h 488006"/>
                    <a:gd name="connsiteX8" fmla="*/ 312335 w 519024"/>
                    <a:gd name="connsiteY8" fmla="*/ 145106 h 488006"/>
                    <a:gd name="connsiteX9" fmla="*/ 353610 w 519024"/>
                    <a:gd name="connsiteY9" fmla="*/ 151456 h 488006"/>
                    <a:gd name="connsiteX10" fmla="*/ 445685 w 519024"/>
                    <a:gd name="connsiteY10" fmla="*/ 164156 h 488006"/>
                    <a:gd name="connsiteX11" fmla="*/ 486960 w 519024"/>
                    <a:gd name="connsiteY11" fmla="*/ 189556 h 488006"/>
                    <a:gd name="connsiteX12" fmla="*/ 509185 w 519024"/>
                    <a:gd name="connsiteY12" fmla="*/ 234006 h 488006"/>
                    <a:gd name="connsiteX13" fmla="*/ 506010 w 519024"/>
                    <a:gd name="connsiteY13" fmla="*/ 488006 h 488006"/>
                    <a:gd name="connsiteX14" fmla="*/ 4360 w 519024"/>
                    <a:gd name="connsiteY14" fmla="*/ 449906 h 488006"/>
                    <a:gd name="connsiteX0" fmla="*/ 4360 w 523534"/>
                    <a:gd name="connsiteY0" fmla="*/ 449906 h 472131"/>
                    <a:gd name="connsiteX1" fmla="*/ 7535 w 523534"/>
                    <a:gd name="connsiteY1" fmla="*/ 214956 h 472131"/>
                    <a:gd name="connsiteX2" fmla="*/ 23410 w 523534"/>
                    <a:gd name="connsiteY2" fmla="*/ 176856 h 472131"/>
                    <a:gd name="connsiteX3" fmla="*/ 71035 w 523534"/>
                    <a:gd name="connsiteY3" fmla="*/ 160981 h 472131"/>
                    <a:gd name="connsiteX4" fmla="*/ 172635 w 523534"/>
                    <a:gd name="connsiteY4" fmla="*/ 154631 h 472131"/>
                    <a:gd name="connsiteX5" fmla="*/ 198035 w 523534"/>
                    <a:gd name="connsiteY5" fmla="*/ 151456 h 472131"/>
                    <a:gd name="connsiteX6" fmla="*/ 201210 w 523534"/>
                    <a:gd name="connsiteY6" fmla="*/ 18106 h 472131"/>
                    <a:gd name="connsiteX7" fmla="*/ 312335 w 523534"/>
                    <a:gd name="connsiteY7" fmla="*/ 14931 h 472131"/>
                    <a:gd name="connsiteX8" fmla="*/ 312335 w 523534"/>
                    <a:gd name="connsiteY8" fmla="*/ 145106 h 472131"/>
                    <a:gd name="connsiteX9" fmla="*/ 353610 w 523534"/>
                    <a:gd name="connsiteY9" fmla="*/ 151456 h 472131"/>
                    <a:gd name="connsiteX10" fmla="*/ 445685 w 523534"/>
                    <a:gd name="connsiteY10" fmla="*/ 164156 h 472131"/>
                    <a:gd name="connsiteX11" fmla="*/ 486960 w 523534"/>
                    <a:gd name="connsiteY11" fmla="*/ 189556 h 472131"/>
                    <a:gd name="connsiteX12" fmla="*/ 509185 w 523534"/>
                    <a:gd name="connsiteY12" fmla="*/ 234006 h 472131"/>
                    <a:gd name="connsiteX13" fmla="*/ 512360 w 523534"/>
                    <a:gd name="connsiteY13" fmla="*/ 472131 h 472131"/>
                    <a:gd name="connsiteX14" fmla="*/ 4360 w 523534"/>
                    <a:gd name="connsiteY14" fmla="*/ 449906 h 472131"/>
                    <a:gd name="connsiteX0" fmla="*/ 4360 w 513675"/>
                    <a:gd name="connsiteY0" fmla="*/ 449906 h 472131"/>
                    <a:gd name="connsiteX1" fmla="*/ 7535 w 513675"/>
                    <a:gd name="connsiteY1" fmla="*/ 214956 h 472131"/>
                    <a:gd name="connsiteX2" fmla="*/ 23410 w 513675"/>
                    <a:gd name="connsiteY2" fmla="*/ 176856 h 472131"/>
                    <a:gd name="connsiteX3" fmla="*/ 71035 w 513675"/>
                    <a:gd name="connsiteY3" fmla="*/ 160981 h 472131"/>
                    <a:gd name="connsiteX4" fmla="*/ 172635 w 513675"/>
                    <a:gd name="connsiteY4" fmla="*/ 154631 h 472131"/>
                    <a:gd name="connsiteX5" fmla="*/ 198035 w 513675"/>
                    <a:gd name="connsiteY5" fmla="*/ 151456 h 472131"/>
                    <a:gd name="connsiteX6" fmla="*/ 201210 w 513675"/>
                    <a:gd name="connsiteY6" fmla="*/ 18106 h 472131"/>
                    <a:gd name="connsiteX7" fmla="*/ 312335 w 513675"/>
                    <a:gd name="connsiteY7" fmla="*/ 14931 h 472131"/>
                    <a:gd name="connsiteX8" fmla="*/ 312335 w 513675"/>
                    <a:gd name="connsiteY8" fmla="*/ 145106 h 472131"/>
                    <a:gd name="connsiteX9" fmla="*/ 353610 w 513675"/>
                    <a:gd name="connsiteY9" fmla="*/ 151456 h 472131"/>
                    <a:gd name="connsiteX10" fmla="*/ 445685 w 513675"/>
                    <a:gd name="connsiteY10" fmla="*/ 164156 h 472131"/>
                    <a:gd name="connsiteX11" fmla="*/ 486960 w 513675"/>
                    <a:gd name="connsiteY11" fmla="*/ 189556 h 472131"/>
                    <a:gd name="connsiteX12" fmla="*/ 509185 w 513675"/>
                    <a:gd name="connsiteY12" fmla="*/ 234006 h 472131"/>
                    <a:gd name="connsiteX13" fmla="*/ 512360 w 513675"/>
                    <a:gd name="connsiteY13" fmla="*/ 472131 h 472131"/>
                    <a:gd name="connsiteX14" fmla="*/ 4360 w 513675"/>
                    <a:gd name="connsiteY14" fmla="*/ 449906 h 472131"/>
                    <a:gd name="connsiteX0" fmla="*/ 4360 w 513675"/>
                    <a:gd name="connsiteY0" fmla="*/ 446969 h 469194"/>
                    <a:gd name="connsiteX1" fmla="*/ 7535 w 513675"/>
                    <a:gd name="connsiteY1" fmla="*/ 212019 h 469194"/>
                    <a:gd name="connsiteX2" fmla="*/ 23410 w 513675"/>
                    <a:gd name="connsiteY2" fmla="*/ 173919 h 469194"/>
                    <a:gd name="connsiteX3" fmla="*/ 71035 w 513675"/>
                    <a:gd name="connsiteY3" fmla="*/ 158044 h 469194"/>
                    <a:gd name="connsiteX4" fmla="*/ 172635 w 513675"/>
                    <a:gd name="connsiteY4" fmla="*/ 151694 h 469194"/>
                    <a:gd name="connsiteX5" fmla="*/ 188510 w 513675"/>
                    <a:gd name="connsiteY5" fmla="*/ 94544 h 469194"/>
                    <a:gd name="connsiteX6" fmla="*/ 201210 w 513675"/>
                    <a:gd name="connsiteY6" fmla="*/ 15169 h 469194"/>
                    <a:gd name="connsiteX7" fmla="*/ 312335 w 513675"/>
                    <a:gd name="connsiteY7" fmla="*/ 11994 h 469194"/>
                    <a:gd name="connsiteX8" fmla="*/ 312335 w 513675"/>
                    <a:gd name="connsiteY8" fmla="*/ 142169 h 469194"/>
                    <a:gd name="connsiteX9" fmla="*/ 353610 w 513675"/>
                    <a:gd name="connsiteY9" fmla="*/ 148519 h 469194"/>
                    <a:gd name="connsiteX10" fmla="*/ 445685 w 513675"/>
                    <a:gd name="connsiteY10" fmla="*/ 161219 h 469194"/>
                    <a:gd name="connsiteX11" fmla="*/ 486960 w 513675"/>
                    <a:gd name="connsiteY11" fmla="*/ 186619 h 469194"/>
                    <a:gd name="connsiteX12" fmla="*/ 509185 w 513675"/>
                    <a:gd name="connsiteY12" fmla="*/ 231069 h 469194"/>
                    <a:gd name="connsiteX13" fmla="*/ 512360 w 513675"/>
                    <a:gd name="connsiteY13" fmla="*/ 469194 h 469194"/>
                    <a:gd name="connsiteX14" fmla="*/ 4360 w 513675"/>
                    <a:gd name="connsiteY14" fmla="*/ 446969 h 469194"/>
                    <a:gd name="connsiteX0" fmla="*/ 4360 w 513675"/>
                    <a:gd name="connsiteY0" fmla="*/ 443409 h 465634"/>
                    <a:gd name="connsiteX1" fmla="*/ 7535 w 513675"/>
                    <a:gd name="connsiteY1" fmla="*/ 208459 h 465634"/>
                    <a:gd name="connsiteX2" fmla="*/ 23410 w 513675"/>
                    <a:gd name="connsiteY2" fmla="*/ 170359 h 465634"/>
                    <a:gd name="connsiteX3" fmla="*/ 71035 w 513675"/>
                    <a:gd name="connsiteY3" fmla="*/ 154484 h 465634"/>
                    <a:gd name="connsiteX4" fmla="*/ 172635 w 513675"/>
                    <a:gd name="connsiteY4" fmla="*/ 148134 h 465634"/>
                    <a:gd name="connsiteX5" fmla="*/ 188510 w 513675"/>
                    <a:gd name="connsiteY5" fmla="*/ 90984 h 465634"/>
                    <a:gd name="connsiteX6" fmla="*/ 201210 w 513675"/>
                    <a:gd name="connsiteY6" fmla="*/ 11609 h 465634"/>
                    <a:gd name="connsiteX7" fmla="*/ 312335 w 513675"/>
                    <a:gd name="connsiteY7" fmla="*/ 8434 h 465634"/>
                    <a:gd name="connsiteX8" fmla="*/ 312335 w 513675"/>
                    <a:gd name="connsiteY8" fmla="*/ 87809 h 465634"/>
                    <a:gd name="connsiteX9" fmla="*/ 353610 w 513675"/>
                    <a:gd name="connsiteY9" fmla="*/ 144959 h 465634"/>
                    <a:gd name="connsiteX10" fmla="*/ 445685 w 513675"/>
                    <a:gd name="connsiteY10" fmla="*/ 157659 h 465634"/>
                    <a:gd name="connsiteX11" fmla="*/ 486960 w 513675"/>
                    <a:gd name="connsiteY11" fmla="*/ 183059 h 465634"/>
                    <a:gd name="connsiteX12" fmla="*/ 509185 w 513675"/>
                    <a:gd name="connsiteY12" fmla="*/ 227509 h 465634"/>
                    <a:gd name="connsiteX13" fmla="*/ 512360 w 513675"/>
                    <a:gd name="connsiteY13" fmla="*/ 465634 h 465634"/>
                    <a:gd name="connsiteX14" fmla="*/ 4360 w 513675"/>
                    <a:gd name="connsiteY14" fmla="*/ 443409 h 465634"/>
                    <a:gd name="connsiteX0" fmla="*/ 4360 w 513675"/>
                    <a:gd name="connsiteY0" fmla="*/ 443409 h 465634"/>
                    <a:gd name="connsiteX1" fmla="*/ 7535 w 513675"/>
                    <a:gd name="connsiteY1" fmla="*/ 208459 h 465634"/>
                    <a:gd name="connsiteX2" fmla="*/ 23410 w 513675"/>
                    <a:gd name="connsiteY2" fmla="*/ 170359 h 465634"/>
                    <a:gd name="connsiteX3" fmla="*/ 71035 w 513675"/>
                    <a:gd name="connsiteY3" fmla="*/ 154484 h 465634"/>
                    <a:gd name="connsiteX4" fmla="*/ 172635 w 513675"/>
                    <a:gd name="connsiteY4" fmla="*/ 148134 h 465634"/>
                    <a:gd name="connsiteX5" fmla="*/ 188510 w 513675"/>
                    <a:gd name="connsiteY5" fmla="*/ 90984 h 465634"/>
                    <a:gd name="connsiteX6" fmla="*/ 201210 w 513675"/>
                    <a:gd name="connsiteY6" fmla="*/ 11609 h 465634"/>
                    <a:gd name="connsiteX7" fmla="*/ 312335 w 513675"/>
                    <a:gd name="connsiteY7" fmla="*/ 8434 h 465634"/>
                    <a:gd name="connsiteX8" fmla="*/ 312335 w 513675"/>
                    <a:gd name="connsiteY8" fmla="*/ 87809 h 465634"/>
                    <a:gd name="connsiteX9" fmla="*/ 334560 w 513675"/>
                    <a:gd name="connsiteY9" fmla="*/ 135434 h 465634"/>
                    <a:gd name="connsiteX10" fmla="*/ 445685 w 513675"/>
                    <a:gd name="connsiteY10" fmla="*/ 157659 h 465634"/>
                    <a:gd name="connsiteX11" fmla="*/ 486960 w 513675"/>
                    <a:gd name="connsiteY11" fmla="*/ 183059 h 465634"/>
                    <a:gd name="connsiteX12" fmla="*/ 509185 w 513675"/>
                    <a:gd name="connsiteY12" fmla="*/ 227509 h 465634"/>
                    <a:gd name="connsiteX13" fmla="*/ 512360 w 513675"/>
                    <a:gd name="connsiteY13" fmla="*/ 465634 h 465634"/>
                    <a:gd name="connsiteX14" fmla="*/ 4360 w 513675"/>
                    <a:gd name="connsiteY14" fmla="*/ 443409 h 465634"/>
                    <a:gd name="connsiteX0" fmla="*/ 4360 w 510500"/>
                    <a:gd name="connsiteY0" fmla="*/ 443409 h 449759"/>
                    <a:gd name="connsiteX1" fmla="*/ 7535 w 510500"/>
                    <a:gd name="connsiteY1" fmla="*/ 208459 h 449759"/>
                    <a:gd name="connsiteX2" fmla="*/ 23410 w 510500"/>
                    <a:gd name="connsiteY2" fmla="*/ 170359 h 449759"/>
                    <a:gd name="connsiteX3" fmla="*/ 71035 w 510500"/>
                    <a:gd name="connsiteY3" fmla="*/ 154484 h 449759"/>
                    <a:gd name="connsiteX4" fmla="*/ 172635 w 510500"/>
                    <a:gd name="connsiteY4" fmla="*/ 148134 h 449759"/>
                    <a:gd name="connsiteX5" fmla="*/ 188510 w 510500"/>
                    <a:gd name="connsiteY5" fmla="*/ 90984 h 449759"/>
                    <a:gd name="connsiteX6" fmla="*/ 201210 w 510500"/>
                    <a:gd name="connsiteY6" fmla="*/ 11609 h 449759"/>
                    <a:gd name="connsiteX7" fmla="*/ 312335 w 510500"/>
                    <a:gd name="connsiteY7" fmla="*/ 8434 h 449759"/>
                    <a:gd name="connsiteX8" fmla="*/ 312335 w 510500"/>
                    <a:gd name="connsiteY8" fmla="*/ 87809 h 449759"/>
                    <a:gd name="connsiteX9" fmla="*/ 334560 w 510500"/>
                    <a:gd name="connsiteY9" fmla="*/ 135434 h 449759"/>
                    <a:gd name="connsiteX10" fmla="*/ 445685 w 510500"/>
                    <a:gd name="connsiteY10" fmla="*/ 157659 h 449759"/>
                    <a:gd name="connsiteX11" fmla="*/ 486960 w 510500"/>
                    <a:gd name="connsiteY11" fmla="*/ 183059 h 449759"/>
                    <a:gd name="connsiteX12" fmla="*/ 509185 w 510500"/>
                    <a:gd name="connsiteY12" fmla="*/ 227509 h 449759"/>
                    <a:gd name="connsiteX13" fmla="*/ 506010 w 510500"/>
                    <a:gd name="connsiteY13" fmla="*/ 449759 h 449759"/>
                    <a:gd name="connsiteX14" fmla="*/ 4360 w 510500"/>
                    <a:gd name="connsiteY14" fmla="*/ 443409 h 449759"/>
                    <a:gd name="connsiteX0" fmla="*/ 4360 w 510500"/>
                    <a:gd name="connsiteY0" fmla="*/ 443409 h 454926"/>
                    <a:gd name="connsiteX1" fmla="*/ 7535 w 510500"/>
                    <a:gd name="connsiteY1" fmla="*/ 208459 h 454926"/>
                    <a:gd name="connsiteX2" fmla="*/ 23410 w 510500"/>
                    <a:gd name="connsiteY2" fmla="*/ 170359 h 454926"/>
                    <a:gd name="connsiteX3" fmla="*/ 71035 w 510500"/>
                    <a:gd name="connsiteY3" fmla="*/ 154484 h 454926"/>
                    <a:gd name="connsiteX4" fmla="*/ 172635 w 510500"/>
                    <a:gd name="connsiteY4" fmla="*/ 148134 h 454926"/>
                    <a:gd name="connsiteX5" fmla="*/ 188510 w 510500"/>
                    <a:gd name="connsiteY5" fmla="*/ 90984 h 454926"/>
                    <a:gd name="connsiteX6" fmla="*/ 201210 w 510500"/>
                    <a:gd name="connsiteY6" fmla="*/ 11609 h 454926"/>
                    <a:gd name="connsiteX7" fmla="*/ 312335 w 510500"/>
                    <a:gd name="connsiteY7" fmla="*/ 8434 h 454926"/>
                    <a:gd name="connsiteX8" fmla="*/ 312335 w 510500"/>
                    <a:gd name="connsiteY8" fmla="*/ 87809 h 454926"/>
                    <a:gd name="connsiteX9" fmla="*/ 334560 w 510500"/>
                    <a:gd name="connsiteY9" fmla="*/ 135434 h 454926"/>
                    <a:gd name="connsiteX10" fmla="*/ 445685 w 510500"/>
                    <a:gd name="connsiteY10" fmla="*/ 157659 h 454926"/>
                    <a:gd name="connsiteX11" fmla="*/ 486960 w 510500"/>
                    <a:gd name="connsiteY11" fmla="*/ 183059 h 454926"/>
                    <a:gd name="connsiteX12" fmla="*/ 509185 w 510500"/>
                    <a:gd name="connsiteY12" fmla="*/ 227509 h 454926"/>
                    <a:gd name="connsiteX13" fmla="*/ 506010 w 510500"/>
                    <a:gd name="connsiteY13" fmla="*/ 449759 h 454926"/>
                    <a:gd name="connsiteX14" fmla="*/ 4360 w 510500"/>
                    <a:gd name="connsiteY14" fmla="*/ 443409 h 454926"/>
                    <a:gd name="connsiteX0" fmla="*/ 6473 w 512613"/>
                    <a:gd name="connsiteY0" fmla="*/ 443409 h 454926"/>
                    <a:gd name="connsiteX1" fmla="*/ 9648 w 512613"/>
                    <a:gd name="connsiteY1" fmla="*/ 208459 h 454926"/>
                    <a:gd name="connsiteX2" fmla="*/ 73148 w 512613"/>
                    <a:gd name="connsiteY2" fmla="*/ 154484 h 454926"/>
                    <a:gd name="connsiteX3" fmla="*/ 174748 w 512613"/>
                    <a:gd name="connsiteY3" fmla="*/ 148134 h 454926"/>
                    <a:gd name="connsiteX4" fmla="*/ 190623 w 512613"/>
                    <a:gd name="connsiteY4" fmla="*/ 90984 h 454926"/>
                    <a:gd name="connsiteX5" fmla="*/ 203323 w 512613"/>
                    <a:gd name="connsiteY5" fmla="*/ 11609 h 454926"/>
                    <a:gd name="connsiteX6" fmla="*/ 314448 w 512613"/>
                    <a:gd name="connsiteY6" fmla="*/ 8434 h 454926"/>
                    <a:gd name="connsiteX7" fmla="*/ 314448 w 512613"/>
                    <a:gd name="connsiteY7" fmla="*/ 87809 h 454926"/>
                    <a:gd name="connsiteX8" fmla="*/ 336673 w 512613"/>
                    <a:gd name="connsiteY8" fmla="*/ 135434 h 454926"/>
                    <a:gd name="connsiteX9" fmla="*/ 447798 w 512613"/>
                    <a:gd name="connsiteY9" fmla="*/ 157659 h 454926"/>
                    <a:gd name="connsiteX10" fmla="*/ 489073 w 512613"/>
                    <a:gd name="connsiteY10" fmla="*/ 183059 h 454926"/>
                    <a:gd name="connsiteX11" fmla="*/ 511298 w 512613"/>
                    <a:gd name="connsiteY11" fmla="*/ 227509 h 454926"/>
                    <a:gd name="connsiteX12" fmla="*/ 508123 w 512613"/>
                    <a:gd name="connsiteY12" fmla="*/ 449759 h 454926"/>
                    <a:gd name="connsiteX13" fmla="*/ 6473 w 512613"/>
                    <a:gd name="connsiteY13" fmla="*/ 443409 h 454926"/>
                    <a:gd name="connsiteX0" fmla="*/ 4049 w 510189"/>
                    <a:gd name="connsiteY0" fmla="*/ 443409 h 454926"/>
                    <a:gd name="connsiteX1" fmla="*/ 7224 w 510189"/>
                    <a:gd name="connsiteY1" fmla="*/ 208459 h 454926"/>
                    <a:gd name="connsiteX2" fmla="*/ 70724 w 510189"/>
                    <a:gd name="connsiteY2" fmla="*/ 154484 h 454926"/>
                    <a:gd name="connsiteX3" fmla="*/ 172324 w 510189"/>
                    <a:gd name="connsiteY3" fmla="*/ 148134 h 454926"/>
                    <a:gd name="connsiteX4" fmla="*/ 188199 w 510189"/>
                    <a:gd name="connsiteY4" fmla="*/ 90984 h 454926"/>
                    <a:gd name="connsiteX5" fmla="*/ 200899 w 510189"/>
                    <a:gd name="connsiteY5" fmla="*/ 11609 h 454926"/>
                    <a:gd name="connsiteX6" fmla="*/ 312024 w 510189"/>
                    <a:gd name="connsiteY6" fmla="*/ 8434 h 454926"/>
                    <a:gd name="connsiteX7" fmla="*/ 312024 w 510189"/>
                    <a:gd name="connsiteY7" fmla="*/ 87809 h 454926"/>
                    <a:gd name="connsiteX8" fmla="*/ 334249 w 510189"/>
                    <a:gd name="connsiteY8" fmla="*/ 135434 h 454926"/>
                    <a:gd name="connsiteX9" fmla="*/ 445374 w 510189"/>
                    <a:gd name="connsiteY9" fmla="*/ 157659 h 454926"/>
                    <a:gd name="connsiteX10" fmla="*/ 486649 w 510189"/>
                    <a:gd name="connsiteY10" fmla="*/ 183059 h 454926"/>
                    <a:gd name="connsiteX11" fmla="*/ 508874 w 510189"/>
                    <a:gd name="connsiteY11" fmla="*/ 227509 h 454926"/>
                    <a:gd name="connsiteX12" fmla="*/ 505699 w 510189"/>
                    <a:gd name="connsiteY12" fmla="*/ 449759 h 454926"/>
                    <a:gd name="connsiteX13" fmla="*/ 4049 w 510189"/>
                    <a:gd name="connsiteY13" fmla="*/ 443409 h 454926"/>
                    <a:gd name="connsiteX0" fmla="*/ 4049 w 510189"/>
                    <a:gd name="connsiteY0" fmla="*/ 443409 h 454926"/>
                    <a:gd name="connsiteX1" fmla="*/ 7224 w 510189"/>
                    <a:gd name="connsiteY1" fmla="*/ 208459 h 454926"/>
                    <a:gd name="connsiteX2" fmla="*/ 70724 w 510189"/>
                    <a:gd name="connsiteY2" fmla="*/ 154484 h 454926"/>
                    <a:gd name="connsiteX3" fmla="*/ 172324 w 510189"/>
                    <a:gd name="connsiteY3" fmla="*/ 148134 h 454926"/>
                    <a:gd name="connsiteX4" fmla="*/ 188199 w 510189"/>
                    <a:gd name="connsiteY4" fmla="*/ 90984 h 454926"/>
                    <a:gd name="connsiteX5" fmla="*/ 200899 w 510189"/>
                    <a:gd name="connsiteY5" fmla="*/ 11609 h 454926"/>
                    <a:gd name="connsiteX6" fmla="*/ 312024 w 510189"/>
                    <a:gd name="connsiteY6" fmla="*/ 8434 h 454926"/>
                    <a:gd name="connsiteX7" fmla="*/ 312024 w 510189"/>
                    <a:gd name="connsiteY7" fmla="*/ 87809 h 454926"/>
                    <a:gd name="connsiteX8" fmla="*/ 334249 w 510189"/>
                    <a:gd name="connsiteY8" fmla="*/ 135434 h 454926"/>
                    <a:gd name="connsiteX9" fmla="*/ 445374 w 510189"/>
                    <a:gd name="connsiteY9" fmla="*/ 157659 h 454926"/>
                    <a:gd name="connsiteX10" fmla="*/ 508874 w 510189"/>
                    <a:gd name="connsiteY10" fmla="*/ 227509 h 454926"/>
                    <a:gd name="connsiteX11" fmla="*/ 505699 w 510189"/>
                    <a:gd name="connsiteY11" fmla="*/ 449759 h 454926"/>
                    <a:gd name="connsiteX12" fmla="*/ 4049 w 510189"/>
                    <a:gd name="connsiteY12" fmla="*/ 443409 h 454926"/>
                    <a:gd name="connsiteX0" fmla="*/ 4049 w 510189"/>
                    <a:gd name="connsiteY0" fmla="*/ 443409 h 454926"/>
                    <a:gd name="connsiteX1" fmla="*/ 7224 w 510189"/>
                    <a:gd name="connsiteY1" fmla="*/ 208459 h 454926"/>
                    <a:gd name="connsiteX2" fmla="*/ 70724 w 510189"/>
                    <a:gd name="connsiteY2" fmla="*/ 154484 h 454926"/>
                    <a:gd name="connsiteX3" fmla="*/ 172324 w 510189"/>
                    <a:gd name="connsiteY3" fmla="*/ 148134 h 454926"/>
                    <a:gd name="connsiteX4" fmla="*/ 188199 w 510189"/>
                    <a:gd name="connsiteY4" fmla="*/ 90984 h 454926"/>
                    <a:gd name="connsiteX5" fmla="*/ 200899 w 510189"/>
                    <a:gd name="connsiteY5" fmla="*/ 11609 h 454926"/>
                    <a:gd name="connsiteX6" fmla="*/ 312024 w 510189"/>
                    <a:gd name="connsiteY6" fmla="*/ 8434 h 454926"/>
                    <a:gd name="connsiteX7" fmla="*/ 312024 w 510189"/>
                    <a:gd name="connsiteY7" fmla="*/ 87809 h 454926"/>
                    <a:gd name="connsiteX8" fmla="*/ 334249 w 510189"/>
                    <a:gd name="connsiteY8" fmla="*/ 135434 h 454926"/>
                    <a:gd name="connsiteX9" fmla="*/ 445374 w 510189"/>
                    <a:gd name="connsiteY9" fmla="*/ 157659 h 454926"/>
                    <a:gd name="connsiteX10" fmla="*/ 508874 w 510189"/>
                    <a:gd name="connsiteY10" fmla="*/ 227509 h 454926"/>
                    <a:gd name="connsiteX11" fmla="*/ 505699 w 510189"/>
                    <a:gd name="connsiteY11" fmla="*/ 449759 h 454926"/>
                    <a:gd name="connsiteX12" fmla="*/ 4049 w 510189"/>
                    <a:gd name="connsiteY12" fmla="*/ 443409 h 454926"/>
                    <a:gd name="connsiteX0" fmla="*/ 5987 w 512127"/>
                    <a:gd name="connsiteY0" fmla="*/ 443409 h 454926"/>
                    <a:gd name="connsiteX1" fmla="*/ 2812 w 512127"/>
                    <a:gd name="connsiteY1" fmla="*/ 217984 h 454926"/>
                    <a:gd name="connsiteX2" fmla="*/ 72662 w 512127"/>
                    <a:gd name="connsiteY2" fmla="*/ 154484 h 454926"/>
                    <a:gd name="connsiteX3" fmla="*/ 174262 w 512127"/>
                    <a:gd name="connsiteY3" fmla="*/ 148134 h 454926"/>
                    <a:gd name="connsiteX4" fmla="*/ 190137 w 512127"/>
                    <a:gd name="connsiteY4" fmla="*/ 90984 h 454926"/>
                    <a:gd name="connsiteX5" fmla="*/ 202837 w 512127"/>
                    <a:gd name="connsiteY5" fmla="*/ 11609 h 454926"/>
                    <a:gd name="connsiteX6" fmla="*/ 313962 w 512127"/>
                    <a:gd name="connsiteY6" fmla="*/ 8434 h 454926"/>
                    <a:gd name="connsiteX7" fmla="*/ 313962 w 512127"/>
                    <a:gd name="connsiteY7" fmla="*/ 87809 h 454926"/>
                    <a:gd name="connsiteX8" fmla="*/ 336187 w 512127"/>
                    <a:gd name="connsiteY8" fmla="*/ 135434 h 454926"/>
                    <a:gd name="connsiteX9" fmla="*/ 447312 w 512127"/>
                    <a:gd name="connsiteY9" fmla="*/ 157659 h 454926"/>
                    <a:gd name="connsiteX10" fmla="*/ 510812 w 512127"/>
                    <a:gd name="connsiteY10" fmla="*/ 227509 h 454926"/>
                    <a:gd name="connsiteX11" fmla="*/ 507637 w 512127"/>
                    <a:gd name="connsiteY11" fmla="*/ 449759 h 454926"/>
                    <a:gd name="connsiteX12" fmla="*/ 5987 w 512127"/>
                    <a:gd name="connsiteY12" fmla="*/ 443409 h 454926"/>
                    <a:gd name="connsiteX0" fmla="*/ 9762 w 515902"/>
                    <a:gd name="connsiteY0" fmla="*/ 443409 h 454926"/>
                    <a:gd name="connsiteX1" fmla="*/ 6587 w 515902"/>
                    <a:gd name="connsiteY1" fmla="*/ 217984 h 454926"/>
                    <a:gd name="connsiteX2" fmla="*/ 76437 w 515902"/>
                    <a:gd name="connsiteY2" fmla="*/ 154484 h 454926"/>
                    <a:gd name="connsiteX3" fmla="*/ 178037 w 515902"/>
                    <a:gd name="connsiteY3" fmla="*/ 148134 h 454926"/>
                    <a:gd name="connsiteX4" fmla="*/ 193912 w 515902"/>
                    <a:gd name="connsiteY4" fmla="*/ 90984 h 454926"/>
                    <a:gd name="connsiteX5" fmla="*/ 206612 w 515902"/>
                    <a:gd name="connsiteY5" fmla="*/ 11609 h 454926"/>
                    <a:gd name="connsiteX6" fmla="*/ 317737 w 515902"/>
                    <a:gd name="connsiteY6" fmla="*/ 8434 h 454926"/>
                    <a:gd name="connsiteX7" fmla="*/ 317737 w 515902"/>
                    <a:gd name="connsiteY7" fmla="*/ 87809 h 454926"/>
                    <a:gd name="connsiteX8" fmla="*/ 339962 w 515902"/>
                    <a:gd name="connsiteY8" fmla="*/ 135434 h 454926"/>
                    <a:gd name="connsiteX9" fmla="*/ 451087 w 515902"/>
                    <a:gd name="connsiteY9" fmla="*/ 157659 h 454926"/>
                    <a:gd name="connsiteX10" fmla="*/ 514587 w 515902"/>
                    <a:gd name="connsiteY10" fmla="*/ 227509 h 454926"/>
                    <a:gd name="connsiteX11" fmla="*/ 511412 w 515902"/>
                    <a:gd name="connsiteY11" fmla="*/ 449759 h 454926"/>
                    <a:gd name="connsiteX12" fmla="*/ 9762 w 515902"/>
                    <a:gd name="connsiteY12" fmla="*/ 443409 h 454926"/>
                    <a:gd name="connsiteX0" fmla="*/ 9762 w 515902"/>
                    <a:gd name="connsiteY0" fmla="*/ 443409 h 454926"/>
                    <a:gd name="connsiteX1" fmla="*/ 6587 w 515902"/>
                    <a:gd name="connsiteY1" fmla="*/ 217984 h 454926"/>
                    <a:gd name="connsiteX2" fmla="*/ 76437 w 515902"/>
                    <a:gd name="connsiteY2" fmla="*/ 154484 h 454926"/>
                    <a:gd name="connsiteX3" fmla="*/ 178037 w 515902"/>
                    <a:gd name="connsiteY3" fmla="*/ 148134 h 454926"/>
                    <a:gd name="connsiteX4" fmla="*/ 193912 w 515902"/>
                    <a:gd name="connsiteY4" fmla="*/ 90984 h 454926"/>
                    <a:gd name="connsiteX5" fmla="*/ 206612 w 515902"/>
                    <a:gd name="connsiteY5" fmla="*/ 11609 h 454926"/>
                    <a:gd name="connsiteX6" fmla="*/ 317737 w 515902"/>
                    <a:gd name="connsiteY6" fmla="*/ 8434 h 454926"/>
                    <a:gd name="connsiteX7" fmla="*/ 317737 w 515902"/>
                    <a:gd name="connsiteY7" fmla="*/ 87809 h 454926"/>
                    <a:gd name="connsiteX8" fmla="*/ 339962 w 515902"/>
                    <a:gd name="connsiteY8" fmla="*/ 135434 h 454926"/>
                    <a:gd name="connsiteX9" fmla="*/ 451087 w 515902"/>
                    <a:gd name="connsiteY9" fmla="*/ 157659 h 454926"/>
                    <a:gd name="connsiteX10" fmla="*/ 514587 w 515902"/>
                    <a:gd name="connsiteY10" fmla="*/ 227509 h 454926"/>
                    <a:gd name="connsiteX11" fmla="*/ 511412 w 515902"/>
                    <a:gd name="connsiteY11" fmla="*/ 449759 h 454926"/>
                    <a:gd name="connsiteX12" fmla="*/ 9762 w 515902"/>
                    <a:gd name="connsiteY12" fmla="*/ 443409 h 454926"/>
                    <a:gd name="connsiteX0" fmla="*/ 9762 w 515902"/>
                    <a:gd name="connsiteY0" fmla="*/ 443409 h 454926"/>
                    <a:gd name="connsiteX1" fmla="*/ 6587 w 515902"/>
                    <a:gd name="connsiteY1" fmla="*/ 217984 h 454926"/>
                    <a:gd name="connsiteX2" fmla="*/ 76437 w 515902"/>
                    <a:gd name="connsiteY2" fmla="*/ 154484 h 454926"/>
                    <a:gd name="connsiteX3" fmla="*/ 193912 w 515902"/>
                    <a:gd name="connsiteY3" fmla="*/ 90984 h 454926"/>
                    <a:gd name="connsiteX4" fmla="*/ 206612 w 515902"/>
                    <a:gd name="connsiteY4" fmla="*/ 11609 h 454926"/>
                    <a:gd name="connsiteX5" fmla="*/ 317737 w 515902"/>
                    <a:gd name="connsiteY5" fmla="*/ 8434 h 454926"/>
                    <a:gd name="connsiteX6" fmla="*/ 317737 w 515902"/>
                    <a:gd name="connsiteY6" fmla="*/ 87809 h 454926"/>
                    <a:gd name="connsiteX7" fmla="*/ 339962 w 515902"/>
                    <a:gd name="connsiteY7" fmla="*/ 135434 h 454926"/>
                    <a:gd name="connsiteX8" fmla="*/ 451087 w 515902"/>
                    <a:gd name="connsiteY8" fmla="*/ 157659 h 454926"/>
                    <a:gd name="connsiteX9" fmla="*/ 514587 w 515902"/>
                    <a:gd name="connsiteY9" fmla="*/ 227509 h 454926"/>
                    <a:gd name="connsiteX10" fmla="*/ 511412 w 515902"/>
                    <a:gd name="connsiteY10" fmla="*/ 449759 h 454926"/>
                    <a:gd name="connsiteX11" fmla="*/ 9762 w 515902"/>
                    <a:gd name="connsiteY11" fmla="*/ 443409 h 454926"/>
                    <a:gd name="connsiteX0" fmla="*/ 9762 w 515902"/>
                    <a:gd name="connsiteY0" fmla="*/ 446099 h 457616"/>
                    <a:gd name="connsiteX1" fmla="*/ 6587 w 515902"/>
                    <a:gd name="connsiteY1" fmla="*/ 220674 h 457616"/>
                    <a:gd name="connsiteX2" fmla="*/ 76437 w 515902"/>
                    <a:gd name="connsiteY2" fmla="*/ 157174 h 457616"/>
                    <a:gd name="connsiteX3" fmla="*/ 190737 w 515902"/>
                    <a:gd name="connsiteY3" fmla="*/ 138124 h 457616"/>
                    <a:gd name="connsiteX4" fmla="*/ 206612 w 515902"/>
                    <a:gd name="connsiteY4" fmla="*/ 14299 h 457616"/>
                    <a:gd name="connsiteX5" fmla="*/ 317737 w 515902"/>
                    <a:gd name="connsiteY5" fmla="*/ 11124 h 457616"/>
                    <a:gd name="connsiteX6" fmla="*/ 317737 w 515902"/>
                    <a:gd name="connsiteY6" fmla="*/ 90499 h 457616"/>
                    <a:gd name="connsiteX7" fmla="*/ 339962 w 515902"/>
                    <a:gd name="connsiteY7" fmla="*/ 138124 h 457616"/>
                    <a:gd name="connsiteX8" fmla="*/ 451087 w 515902"/>
                    <a:gd name="connsiteY8" fmla="*/ 160349 h 457616"/>
                    <a:gd name="connsiteX9" fmla="*/ 514587 w 515902"/>
                    <a:gd name="connsiteY9" fmla="*/ 230199 h 457616"/>
                    <a:gd name="connsiteX10" fmla="*/ 511412 w 515902"/>
                    <a:gd name="connsiteY10" fmla="*/ 452449 h 457616"/>
                    <a:gd name="connsiteX11" fmla="*/ 9762 w 515902"/>
                    <a:gd name="connsiteY11" fmla="*/ 446099 h 457616"/>
                    <a:gd name="connsiteX0" fmla="*/ 9762 w 515902"/>
                    <a:gd name="connsiteY0" fmla="*/ 446099 h 457616"/>
                    <a:gd name="connsiteX1" fmla="*/ 6587 w 515902"/>
                    <a:gd name="connsiteY1" fmla="*/ 220674 h 457616"/>
                    <a:gd name="connsiteX2" fmla="*/ 76437 w 515902"/>
                    <a:gd name="connsiteY2" fmla="*/ 157174 h 457616"/>
                    <a:gd name="connsiteX3" fmla="*/ 190737 w 515902"/>
                    <a:gd name="connsiteY3" fmla="*/ 138124 h 457616"/>
                    <a:gd name="connsiteX4" fmla="*/ 206612 w 515902"/>
                    <a:gd name="connsiteY4" fmla="*/ 14299 h 457616"/>
                    <a:gd name="connsiteX5" fmla="*/ 317737 w 515902"/>
                    <a:gd name="connsiteY5" fmla="*/ 11124 h 457616"/>
                    <a:gd name="connsiteX6" fmla="*/ 317737 w 515902"/>
                    <a:gd name="connsiteY6" fmla="*/ 90499 h 457616"/>
                    <a:gd name="connsiteX7" fmla="*/ 451087 w 515902"/>
                    <a:gd name="connsiteY7" fmla="*/ 160349 h 457616"/>
                    <a:gd name="connsiteX8" fmla="*/ 514587 w 515902"/>
                    <a:gd name="connsiteY8" fmla="*/ 230199 h 457616"/>
                    <a:gd name="connsiteX9" fmla="*/ 511412 w 515902"/>
                    <a:gd name="connsiteY9" fmla="*/ 452449 h 457616"/>
                    <a:gd name="connsiteX10" fmla="*/ 9762 w 515902"/>
                    <a:gd name="connsiteY10" fmla="*/ 446099 h 457616"/>
                    <a:gd name="connsiteX0" fmla="*/ 9762 w 515902"/>
                    <a:gd name="connsiteY0" fmla="*/ 447482 h 458999"/>
                    <a:gd name="connsiteX1" fmla="*/ 6587 w 515902"/>
                    <a:gd name="connsiteY1" fmla="*/ 222057 h 458999"/>
                    <a:gd name="connsiteX2" fmla="*/ 76437 w 515902"/>
                    <a:gd name="connsiteY2" fmla="*/ 158557 h 458999"/>
                    <a:gd name="connsiteX3" fmla="*/ 190737 w 515902"/>
                    <a:gd name="connsiteY3" fmla="*/ 139507 h 458999"/>
                    <a:gd name="connsiteX4" fmla="*/ 206612 w 515902"/>
                    <a:gd name="connsiteY4" fmla="*/ 15682 h 458999"/>
                    <a:gd name="connsiteX5" fmla="*/ 317737 w 515902"/>
                    <a:gd name="connsiteY5" fmla="*/ 12507 h 458999"/>
                    <a:gd name="connsiteX6" fmla="*/ 330437 w 515902"/>
                    <a:gd name="connsiteY6" fmla="*/ 114107 h 458999"/>
                    <a:gd name="connsiteX7" fmla="*/ 451087 w 515902"/>
                    <a:gd name="connsiteY7" fmla="*/ 161732 h 458999"/>
                    <a:gd name="connsiteX8" fmla="*/ 514587 w 515902"/>
                    <a:gd name="connsiteY8" fmla="*/ 231582 h 458999"/>
                    <a:gd name="connsiteX9" fmla="*/ 511412 w 515902"/>
                    <a:gd name="connsiteY9" fmla="*/ 453832 h 458999"/>
                    <a:gd name="connsiteX10" fmla="*/ 9762 w 515902"/>
                    <a:gd name="connsiteY10" fmla="*/ 447482 h 458999"/>
                    <a:gd name="connsiteX0" fmla="*/ 9762 w 515902"/>
                    <a:gd name="connsiteY0" fmla="*/ 446348 h 457865"/>
                    <a:gd name="connsiteX1" fmla="*/ 6587 w 515902"/>
                    <a:gd name="connsiteY1" fmla="*/ 220923 h 457865"/>
                    <a:gd name="connsiteX2" fmla="*/ 76437 w 515902"/>
                    <a:gd name="connsiteY2" fmla="*/ 157423 h 457865"/>
                    <a:gd name="connsiteX3" fmla="*/ 200262 w 515902"/>
                    <a:gd name="connsiteY3" fmla="*/ 119323 h 457865"/>
                    <a:gd name="connsiteX4" fmla="*/ 206612 w 515902"/>
                    <a:gd name="connsiteY4" fmla="*/ 14548 h 457865"/>
                    <a:gd name="connsiteX5" fmla="*/ 317737 w 515902"/>
                    <a:gd name="connsiteY5" fmla="*/ 11373 h 457865"/>
                    <a:gd name="connsiteX6" fmla="*/ 330437 w 515902"/>
                    <a:gd name="connsiteY6" fmla="*/ 112973 h 457865"/>
                    <a:gd name="connsiteX7" fmla="*/ 451087 w 515902"/>
                    <a:gd name="connsiteY7" fmla="*/ 160598 h 457865"/>
                    <a:gd name="connsiteX8" fmla="*/ 514587 w 515902"/>
                    <a:gd name="connsiteY8" fmla="*/ 230448 h 457865"/>
                    <a:gd name="connsiteX9" fmla="*/ 511412 w 515902"/>
                    <a:gd name="connsiteY9" fmla="*/ 452698 h 457865"/>
                    <a:gd name="connsiteX10" fmla="*/ 9762 w 515902"/>
                    <a:gd name="connsiteY10" fmla="*/ 446348 h 457865"/>
                    <a:gd name="connsiteX0" fmla="*/ 8840 w 514980"/>
                    <a:gd name="connsiteY0" fmla="*/ 446348 h 457865"/>
                    <a:gd name="connsiteX1" fmla="*/ 5665 w 514980"/>
                    <a:gd name="connsiteY1" fmla="*/ 220923 h 457865"/>
                    <a:gd name="connsiteX2" fmla="*/ 62412 w 514980"/>
                    <a:gd name="connsiteY2" fmla="*/ 133367 h 457865"/>
                    <a:gd name="connsiteX3" fmla="*/ 199340 w 514980"/>
                    <a:gd name="connsiteY3" fmla="*/ 119323 h 457865"/>
                    <a:gd name="connsiteX4" fmla="*/ 205690 w 514980"/>
                    <a:gd name="connsiteY4" fmla="*/ 14548 h 457865"/>
                    <a:gd name="connsiteX5" fmla="*/ 316815 w 514980"/>
                    <a:gd name="connsiteY5" fmla="*/ 11373 h 457865"/>
                    <a:gd name="connsiteX6" fmla="*/ 329515 w 514980"/>
                    <a:gd name="connsiteY6" fmla="*/ 112973 h 457865"/>
                    <a:gd name="connsiteX7" fmla="*/ 450165 w 514980"/>
                    <a:gd name="connsiteY7" fmla="*/ 160598 h 457865"/>
                    <a:gd name="connsiteX8" fmla="*/ 513665 w 514980"/>
                    <a:gd name="connsiteY8" fmla="*/ 230448 h 457865"/>
                    <a:gd name="connsiteX9" fmla="*/ 510490 w 514980"/>
                    <a:gd name="connsiteY9" fmla="*/ 452698 h 457865"/>
                    <a:gd name="connsiteX10" fmla="*/ 8840 w 514980"/>
                    <a:gd name="connsiteY10" fmla="*/ 446348 h 457865"/>
                    <a:gd name="connsiteX0" fmla="*/ 8840 w 514980"/>
                    <a:gd name="connsiteY0" fmla="*/ 445015 h 456532"/>
                    <a:gd name="connsiteX1" fmla="*/ 5665 w 514980"/>
                    <a:gd name="connsiteY1" fmla="*/ 219590 h 456532"/>
                    <a:gd name="connsiteX2" fmla="*/ 62412 w 514980"/>
                    <a:gd name="connsiteY2" fmla="*/ 132034 h 456532"/>
                    <a:gd name="connsiteX3" fmla="*/ 186237 w 514980"/>
                    <a:gd name="connsiteY3" fmla="*/ 93934 h 456532"/>
                    <a:gd name="connsiteX4" fmla="*/ 205690 w 514980"/>
                    <a:gd name="connsiteY4" fmla="*/ 13215 h 456532"/>
                    <a:gd name="connsiteX5" fmla="*/ 316815 w 514980"/>
                    <a:gd name="connsiteY5" fmla="*/ 10040 h 456532"/>
                    <a:gd name="connsiteX6" fmla="*/ 329515 w 514980"/>
                    <a:gd name="connsiteY6" fmla="*/ 111640 h 456532"/>
                    <a:gd name="connsiteX7" fmla="*/ 450165 w 514980"/>
                    <a:gd name="connsiteY7" fmla="*/ 159265 h 456532"/>
                    <a:gd name="connsiteX8" fmla="*/ 513665 w 514980"/>
                    <a:gd name="connsiteY8" fmla="*/ 229115 h 456532"/>
                    <a:gd name="connsiteX9" fmla="*/ 510490 w 514980"/>
                    <a:gd name="connsiteY9" fmla="*/ 451365 h 456532"/>
                    <a:gd name="connsiteX10" fmla="*/ 8840 w 514980"/>
                    <a:gd name="connsiteY10" fmla="*/ 445015 h 456532"/>
                    <a:gd name="connsiteX0" fmla="*/ 8840 w 514980"/>
                    <a:gd name="connsiteY0" fmla="*/ 445015 h 456532"/>
                    <a:gd name="connsiteX1" fmla="*/ 5665 w 514980"/>
                    <a:gd name="connsiteY1" fmla="*/ 219590 h 456532"/>
                    <a:gd name="connsiteX2" fmla="*/ 62412 w 514980"/>
                    <a:gd name="connsiteY2" fmla="*/ 132034 h 456532"/>
                    <a:gd name="connsiteX3" fmla="*/ 186237 w 514980"/>
                    <a:gd name="connsiteY3" fmla="*/ 93934 h 456532"/>
                    <a:gd name="connsiteX4" fmla="*/ 205690 w 514980"/>
                    <a:gd name="connsiteY4" fmla="*/ 13215 h 456532"/>
                    <a:gd name="connsiteX5" fmla="*/ 316815 w 514980"/>
                    <a:gd name="connsiteY5" fmla="*/ 10040 h 456532"/>
                    <a:gd name="connsiteX6" fmla="*/ 329515 w 514980"/>
                    <a:gd name="connsiteY6" fmla="*/ 111640 h 456532"/>
                    <a:gd name="connsiteX7" fmla="*/ 461084 w 514980"/>
                    <a:gd name="connsiteY7" fmla="*/ 146143 h 456532"/>
                    <a:gd name="connsiteX8" fmla="*/ 513665 w 514980"/>
                    <a:gd name="connsiteY8" fmla="*/ 229115 h 456532"/>
                    <a:gd name="connsiteX9" fmla="*/ 510490 w 514980"/>
                    <a:gd name="connsiteY9" fmla="*/ 451365 h 456532"/>
                    <a:gd name="connsiteX10" fmla="*/ 8840 w 514980"/>
                    <a:gd name="connsiteY10" fmla="*/ 445015 h 456532"/>
                    <a:gd name="connsiteX0" fmla="*/ 8840 w 514980"/>
                    <a:gd name="connsiteY0" fmla="*/ 444105 h 455622"/>
                    <a:gd name="connsiteX1" fmla="*/ 5665 w 514980"/>
                    <a:gd name="connsiteY1" fmla="*/ 218680 h 455622"/>
                    <a:gd name="connsiteX2" fmla="*/ 62412 w 514980"/>
                    <a:gd name="connsiteY2" fmla="*/ 131124 h 455622"/>
                    <a:gd name="connsiteX3" fmla="*/ 186237 w 514980"/>
                    <a:gd name="connsiteY3" fmla="*/ 93024 h 455622"/>
                    <a:gd name="connsiteX4" fmla="*/ 205690 w 514980"/>
                    <a:gd name="connsiteY4" fmla="*/ 12305 h 455622"/>
                    <a:gd name="connsiteX5" fmla="*/ 316815 w 514980"/>
                    <a:gd name="connsiteY5" fmla="*/ 9130 h 455622"/>
                    <a:gd name="connsiteX6" fmla="*/ 351353 w 514980"/>
                    <a:gd name="connsiteY6" fmla="*/ 97608 h 455622"/>
                    <a:gd name="connsiteX7" fmla="*/ 461084 w 514980"/>
                    <a:gd name="connsiteY7" fmla="*/ 145233 h 455622"/>
                    <a:gd name="connsiteX8" fmla="*/ 513665 w 514980"/>
                    <a:gd name="connsiteY8" fmla="*/ 228205 h 455622"/>
                    <a:gd name="connsiteX9" fmla="*/ 510490 w 514980"/>
                    <a:gd name="connsiteY9" fmla="*/ 450455 h 455622"/>
                    <a:gd name="connsiteX10" fmla="*/ 8840 w 514980"/>
                    <a:gd name="connsiteY10" fmla="*/ 444105 h 455622"/>
                    <a:gd name="connsiteX0" fmla="*/ 8840 w 514980"/>
                    <a:gd name="connsiteY0" fmla="*/ 442755 h 454272"/>
                    <a:gd name="connsiteX1" fmla="*/ 5665 w 514980"/>
                    <a:gd name="connsiteY1" fmla="*/ 217330 h 454272"/>
                    <a:gd name="connsiteX2" fmla="*/ 62412 w 514980"/>
                    <a:gd name="connsiteY2" fmla="*/ 129774 h 454272"/>
                    <a:gd name="connsiteX3" fmla="*/ 186237 w 514980"/>
                    <a:gd name="connsiteY3" fmla="*/ 91674 h 454272"/>
                    <a:gd name="connsiteX4" fmla="*/ 205690 w 514980"/>
                    <a:gd name="connsiteY4" fmla="*/ 10955 h 454272"/>
                    <a:gd name="connsiteX5" fmla="*/ 325550 w 514980"/>
                    <a:gd name="connsiteY5" fmla="*/ 9967 h 454272"/>
                    <a:gd name="connsiteX6" fmla="*/ 351353 w 514980"/>
                    <a:gd name="connsiteY6" fmla="*/ 96258 h 454272"/>
                    <a:gd name="connsiteX7" fmla="*/ 461084 w 514980"/>
                    <a:gd name="connsiteY7" fmla="*/ 143883 h 454272"/>
                    <a:gd name="connsiteX8" fmla="*/ 513665 w 514980"/>
                    <a:gd name="connsiteY8" fmla="*/ 226855 h 454272"/>
                    <a:gd name="connsiteX9" fmla="*/ 510490 w 514980"/>
                    <a:gd name="connsiteY9" fmla="*/ 449105 h 454272"/>
                    <a:gd name="connsiteX10" fmla="*/ 8840 w 514980"/>
                    <a:gd name="connsiteY10" fmla="*/ 442755 h 454272"/>
                    <a:gd name="connsiteX0" fmla="*/ 8840 w 514980"/>
                    <a:gd name="connsiteY0" fmla="*/ 442755 h 454272"/>
                    <a:gd name="connsiteX1" fmla="*/ 5665 w 514980"/>
                    <a:gd name="connsiteY1" fmla="*/ 217330 h 454272"/>
                    <a:gd name="connsiteX2" fmla="*/ 62412 w 514980"/>
                    <a:gd name="connsiteY2" fmla="*/ 129774 h 454272"/>
                    <a:gd name="connsiteX3" fmla="*/ 186237 w 514980"/>
                    <a:gd name="connsiteY3" fmla="*/ 91674 h 454272"/>
                    <a:gd name="connsiteX4" fmla="*/ 205690 w 514980"/>
                    <a:gd name="connsiteY4" fmla="*/ 10955 h 454272"/>
                    <a:gd name="connsiteX5" fmla="*/ 325550 w 514980"/>
                    <a:gd name="connsiteY5" fmla="*/ 9967 h 454272"/>
                    <a:gd name="connsiteX6" fmla="*/ 351353 w 514980"/>
                    <a:gd name="connsiteY6" fmla="*/ 96258 h 454272"/>
                    <a:gd name="connsiteX7" fmla="*/ 461084 w 514980"/>
                    <a:gd name="connsiteY7" fmla="*/ 143883 h 454272"/>
                    <a:gd name="connsiteX8" fmla="*/ 513665 w 514980"/>
                    <a:gd name="connsiteY8" fmla="*/ 226855 h 454272"/>
                    <a:gd name="connsiteX9" fmla="*/ 510490 w 514980"/>
                    <a:gd name="connsiteY9" fmla="*/ 449105 h 454272"/>
                    <a:gd name="connsiteX10" fmla="*/ 8840 w 514980"/>
                    <a:gd name="connsiteY10" fmla="*/ 442755 h 454272"/>
                    <a:gd name="connsiteX0" fmla="*/ 8840 w 514980"/>
                    <a:gd name="connsiteY0" fmla="*/ 442755 h 454272"/>
                    <a:gd name="connsiteX1" fmla="*/ 5665 w 514980"/>
                    <a:gd name="connsiteY1" fmla="*/ 217330 h 454272"/>
                    <a:gd name="connsiteX2" fmla="*/ 62412 w 514980"/>
                    <a:gd name="connsiteY2" fmla="*/ 129774 h 454272"/>
                    <a:gd name="connsiteX3" fmla="*/ 186237 w 514980"/>
                    <a:gd name="connsiteY3" fmla="*/ 91674 h 454272"/>
                    <a:gd name="connsiteX4" fmla="*/ 205690 w 514980"/>
                    <a:gd name="connsiteY4" fmla="*/ 10955 h 454272"/>
                    <a:gd name="connsiteX5" fmla="*/ 325550 w 514980"/>
                    <a:gd name="connsiteY5" fmla="*/ 9967 h 454272"/>
                    <a:gd name="connsiteX6" fmla="*/ 351353 w 514980"/>
                    <a:gd name="connsiteY6" fmla="*/ 96258 h 454272"/>
                    <a:gd name="connsiteX7" fmla="*/ 461084 w 514980"/>
                    <a:gd name="connsiteY7" fmla="*/ 143883 h 454272"/>
                    <a:gd name="connsiteX8" fmla="*/ 513665 w 514980"/>
                    <a:gd name="connsiteY8" fmla="*/ 226855 h 454272"/>
                    <a:gd name="connsiteX9" fmla="*/ 510490 w 514980"/>
                    <a:gd name="connsiteY9" fmla="*/ 449105 h 454272"/>
                    <a:gd name="connsiteX10" fmla="*/ 8840 w 514980"/>
                    <a:gd name="connsiteY10" fmla="*/ 442755 h 454272"/>
                    <a:gd name="connsiteX0" fmla="*/ 8840 w 514980"/>
                    <a:gd name="connsiteY0" fmla="*/ 442755 h 454272"/>
                    <a:gd name="connsiteX1" fmla="*/ 5665 w 514980"/>
                    <a:gd name="connsiteY1" fmla="*/ 217330 h 454272"/>
                    <a:gd name="connsiteX2" fmla="*/ 62412 w 514980"/>
                    <a:gd name="connsiteY2" fmla="*/ 129774 h 454272"/>
                    <a:gd name="connsiteX3" fmla="*/ 186237 w 514980"/>
                    <a:gd name="connsiteY3" fmla="*/ 91674 h 454272"/>
                    <a:gd name="connsiteX4" fmla="*/ 205690 w 514980"/>
                    <a:gd name="connsiteY4" fmla="*/ 10955 h 454272"/>
                    <a:gd name="connsiteX5" fmla="*/ 325550 w 514980"/>
                    <a:gd name="connsiteY5" fmla="*/ 9967 h 454272"/>
                    <a:gd name="connsiteX6" fmla="*/ 351353 w 514980"/>
                    <a:gd name="connsiteY6" fmla="*/ 96258 h 454272"/>
                    <a:gd name="connsiteX7" fmla="*/ 461084 w 514980"/>
                    <a:gd name="connsiteY7" fmla="*/ 143883 h 454272"/>
                    <a:gd name="connsiteX8" fmla="*/ 513665 w 514980"/>
                    <a:gd name="connsiteY8" fmla="*/ 226855 h 454272"/>
                    <a:gd name="connsiteX9" fmla="*/ 510490 w 514980"/>
                    <a:gd name="connsiteY9" fmla="*/ 449105 h 454272"/>
                    <a:gd name="connsiteX10" fmla="*/ 8840 w 514980"/>
                    <a:gd name="connsiteY10" fmla="*/ 442755 h 454272"/>
                    <a:gd name="connsiteX0" fmla="*/ 8840 w 514980"/>
                    <a:gd name="connsiteY0" fmla="*/ 436996 h 448513"/>
                    <a:gd name="connsiteX1" fmla="*/ 5665 w 514980"/>
                    <a:gd name="connsiteY1" fmla="*/ 211571 h 448513"/>
                    <a:gd name="connsiteX2" fmla="*/ 62412 w 514980"/>
                    <a:gd name="connsiteY2" fmla="*/ 124015 h 448513"/>
                    <a:gd name="connsiteX3" fmla="*/ 186237 w 514980"/>
                    <a:gd name="connsiteY3" fmla="*/ 85915 h 448513"/>
                    <a:gd name="connsiteX4" fmla="*/ 205690 w 514980"/>
                    <a:gd name="connsiteY4" fmla="*/ 5196 h 448513"/>
                    <a:gd name="connsiteX5" fmla="*/ 325550 w 514980"/>
                    <a:gd name="connsiteY5" fmla="*/ 4208 h 448513"/>
                    <a:gd name="connsiteX6" fmla="*/ 351353 w 514980"/>
                    <a:gd name="connsiteY6" fmla="*/ 90499 h 448513"/>
                    <a:gd name="connsiteX7" fmla="*/ 461084 w 514980"/>
                    <a:gd name="connsiteY7" fmla="*/ 138124 h 448513"/>
                    <a:gd name="connsiteX8" fmla="*/ 513665 w 514980"/>
                    <a:gd name="connsiteY8" fmla="*/ 221096 h 448513"/>
                    <a:gd name="connsiteX9" fmla="*/ 510490 w 514980"/>
                    <a:gd name="connsiteY9" fmla="*/ 443346 h 448513"/>
                    <a:gd name="connsiteX10" fmla="*/ 8840 w 514980"/>
                    <a:gd name="connsiteY10" fmla="*/ 436996 h 448513"/>
                    <a:gd name="connsiteX0" fmla="*/ 8840 w 514980"/>
                    <a:gd name="connsiteY0" fmla="*/ 436996 h 448513"/>
                    <a:gd name="connsiteX1" fmla="*/ 5665 w 514980"/>
                    <a:gd name="connsiteY1" fmla="*/ 211571 h 448513"/>
                    <a:gd name="connsiteX2" fmla="*/ 62412 w 514980"/>
                    <a:gd name="connsiteY2" fmla="*/ 124015 h 448513"/>
                    <a:gd name="connsiteX3" fmla="*/ 186237 w 514980"/>
                    <a:gd name="connsiteY3" fmla="*/ 85915 h 448513"/>
                    <a:gd name="connsiteX4" fmla="*/ 205690 w 514980"/>
                    <a:gd name="connsiteY4" fmla="*/ 5196 h 448513"/>
                    <a:gd name="connsiteX5" fmla="*/ 325550 w 514980"/>
                    <a:gd name="connsiteY5" fmla="*/ 4208 h 448513"/>
                    <a:gd name="connsiteX6" fmla="*/ 351353 w 514980"/>
                    <a:gd name="connsiteY6" fmla="*/ 90499 h 448513"/>
                    <a:gd name="connsiteX7" fmla="*/ 461084 w 514980"/>
                    <a:gd name="connsiteY7" fmla="*/ 138124 h 448513"/>
                    <a:gd name="connsiteX8" fmla="*/ 513665 w 514980"/>
                    <a:gd name="connsiteY8" fmla="*/ 221096 h 448513"/>
                    <a:gd name="connsiteX9" fmla="*/ 510490 w 514980"/>
                    <a:gd name="connsiteY9" fmla="*/ 443346 h 448513"/>
                    <a:gd name="connsiteX10" fmla="*/ 8840 w 514980"/>
                    <a:gd name="connsiteY10" fmla="*/ 436996 h 448513"/>
                    <a:gd name="connsiteX0" fmla="*/ 8840 w 514980"/>
                    <a:gd name="connsiteY0" fmla="*/ 436996 h 448513"/>
                    <a:gd name="connsiteX1" fmla="*/ 5665 w 514980"/>
                    <a:gd name="connsiteY1" fmla="*/ 211571 h 448513"/>
                    <a:gd name="connsiteX2" fmla="*/ 62412 w 514980"/>
                    <a:gd name="connsiteY2" fmla="*/ 124015 h 448513"/>
                    <a:gd name="connsiteX3" fmla="*/ 186237 w 514980"/>
                    <a:gd name="connsiteY3" fmla="*/ 85915 h 448513"/>
                    <a:gd name="connsiteX4" fmla="*/ 205690 w 514980"/>
                    <a:gd name="connsiteY4" fmla="*/ 5196 h 448513"/>
                    <a:gd name="connsiteX5" fmla="*/ 325550 w 514980"/>
                    <a:gd name="connsiteY5" fmla="*/ 4208 h 448513"/>
                    <a:gd name="connsiteX6" fmla="*/ 351353 w 514980"/>
                    <a:gd name="connsiteY6" fmla="*/ 90499 h 448513"/>
                    <a:gd name="connsiteX7" fmla="*/ 461084 w 514980"/>
                    <a:gd name="connsiteY7" fmla="*/ 138124 h 448513"/>
                    <a:gd name="connsiteX8" fmla="*/ 513665 w 514980"/>
                    <a:gd name="connsiteY8" fmla="*/ 221096 h 448513"/>
                    <a:gd name="connsiteX9" fmla="*/ 510490 w 514980"/>
                    <a:gd name="connsiteY9" fmla="*/ 443346 h 448513"/>
                    <a:gd name="connsiteX10" fmla="*/ 8840 w 514980"/>
                    <a:gd name="connsiteY10" fmla="*/ 436996 h 448513"/>
                    <a:gd name="connsiteX0" fmla="*/ 8840 w 514980"/>
                    <a:gd name="connsiteY0" fmla="*/ 436996 h 448513"/>
                    <a:gd name="connsiteX1" fmla="*/ 5665 w 514980"/>
                    <a:gd name="connsiteY1" fmla="*/ 211571 h 448513"/>
                    <a:gd name="connsiteX2" fmla="*/ 62412 w 514980"/>
                    <a:gd name="connsiteY2" fmla="*/ 124015 h 448513"/>
                    <a:gd name="connsiteX3" fmla="*/ 168766 w 514980"/>
                    <a:gd name="connsiteY3" fmla="*/ 88102 h 448513"/>
                    <a:gd name="connsiteX4" fmla="*/ 205690 w 514980"/>
                    <a:gd name="connsiteY4" fmla="*/ 5196 h 448513"/>
                    <a:gd name="connsiteX5" fmla="*/ 325550 w 514980"/>
                    <a:gd name="connsiteY5" fmla="*/ 4208 h 448513"/>
                    <a:gd name="connsiteX6" fmla="*/ 351353 w 514980"/>
                    <a:gd name="connsiteY6" fmla="*/ 90499 h 448513"/>
                    <a:gd name="connsiteX7" fmla="*/ 461084 w 514980"/>
                    <a:gd name="connsiteY7" fmla="*/ 138124 h 448513"/>
                    <a:gd name="connsiteX8" fmla="*/ 513665 w 514980"/>
                    <a:gd name="connsiteY8" fmla="*/ 221096 h 448513"/>
                    <a:gd name="connsiteX9" fmla="*/ 510490 w 514980"/>
                    <a:gd name="connsiteY9" fmla="*/ 443346 h 448513"/>
                    <a:gd name="connsiteX10" fmla="*/ 8840 w 514980"/>
                    <a:gd name="connsiteY10" fmla="*/ 436996 h 448513"/>
                    <a:gd name="connsiteX0" fmla="*/ 8840 w 514980"/>
                    <a:gd name="connsiteY0" fmla="*/ 440628 h 452145"/>
                    <a:gd name="connsiteX1" fmla="*/ 5665 w 514980"/>
                    <a:gd name="connsiteY1" fmla="*/ 215203 h 452145"/>
                    <a:gd name="connsiteX2" fmla="*/ 62412 w 514980"/>
                    <a:gd name="connsiteY2" fmla="*/ 127647 h 452145"/>
                    <a:gd name="connsiteX3" fmla="*/ 168766 w 514980"/>
                    <a:gd name="connsiteY3" fmla="*/ 91734 h 452145"/>
                    <a:gd name="connsiteX4" fmla="*/ 179484 w 514980"/>
                    <a:gd name="connsiteY4" fmla="*/ 4454 h 452145"/>
                    <a:gd name="connsiteX5" fmla="*/ 325550 w 514980"/>
                    <a:gd name="connsiteY5" fmla="*/ 7840 h 452145"/>
                    <a:gd name="connsiteX6" fmla="*/ 351353 w 514980"/>
                    <a:gd name="connsiteY6" fmla="*/ 94131 h 452145"/>
                    <a:gd name="connsiteX7" fmla="*/ 461084 w 514980"/>
                    <a:gd name="connsiteY7" fmla="*/ 141756 h 452145"/>
                    <a:gd name="connsiteX8" fmla="*/ 513665 w 514980"/>
                    <a:gd name="connsiteY8" fmla="*/ 224728 h 452145"/>
                    <a:gd name="connsiteX9" fmla="*/ 510490 w 514980"/>
                    <a:gd name="connsiteY9" fmla="*/ 446978 h 452145"/>
                    <a:gd name="connsiteX10" fmla="*/ 8840 w 514980"/>
                    <a:gd name="connsiteY10" fmla="*/ 440628 h 452145"/>
                    <a:gd name="connsiteX0" fmla="*/ 8840 w 514980"/>
                    <a:gd name="connsiteY0" fmla="*/ 442422 h 453939"/>
                    <a:gd name="connsiteX1" fmla="*/ 5665 w 514980"/>
                    <a:gd name="connsiteY1" fmla="*/ 216997 h 453939"/>
                    <a:gd name="connsiteX2" fmla="*/ 62412 w 514980"/>
                    <a:gd name="connsiteY2" fmla="*/ 129441 h 453939"/>
                    <a:gd name="connsiteX3" fmla="*/ 168766 w 514980"/>
                    <a:gd name="connsiteY3" fmla="*/ 93528 h 453939"/>
                    <a:gd name="connsiteX4" fmla="*/ 179484 w 514980"/>
                    <a:gd name="connsiteY4" fmla="*/ 6248 h 453939"/>
                    <a:gd name="connsiteX5" fmla="*/ 351756 w 514980"/>
                    <a:gd name="connsiteY5" fmla="*/ 886 h 453939"/>
                    <a:gd name="connsiteX6" fmla="*/ 351353 w 514980"/>
                    <a:gd name="connsiteY6" fmla="*/ 95925 h 453939"/>
                    <a:gd name="connsiteX7" fmla="*/ 461084 w 514980"/>
                    <a:gd name="connsiteY7" fmla="*/ 143550 h 453939"/>
                    <a:gd name="connsiteX8" fmla="*/ 513665 w 514980"/>
                    <a:gd name="connsiteY8" fmla="*/ 226522 h 453939"/>
                    <a:gd name="connsiteX9" fmla="*/ 510490 w 514980"/>
                    <a:gd name="connsiteY9" fmla="*/ 448772 h 453939"/>
                    <a:gd name="connsiteX10" fmla="*/ 8840 w 514980"/>
                    <a:gd name="connsiteY10" fmla="*/ 442422 h 453939"/>
                    <a:gd name="connsiteX0" fmla="*/ 8840 w 514980"/>
                    <a:gd name="connsiteY0" fmla="*/ 442422 h 453939"/>
                    <a:gd name="connsiteX1" fmla="*/ 5665 w 514980"/>
                    <a:gd name="connsiteY1" fmla="*/ 216997 h 453939"/>
                    <a:gd name="connsiteX2" fmla="*/ 62412 w 514980"/>
                    <a:gd name="connsiteY2" fmla="*/ 129441 h 453939"/>
                    <a:gd name="connsiteX3" fmla="*/ 168766 w 514980"/>
                    <a:gd name="connsiteY3" fmla="*/ 93528 h 453939"/>
                    <a:gd name="connsiteX4" fmla="*/ 179484 w 514980"/>
                    <a:gd name="connsiteY4" fmla="*/ 6248 h 453939"/>
                    <a:gd name="connsiteX5" fmla="*/ 351756 w 514980"/>
                    <a:gd name="connsiteY5" fmla="*/ 886 h 453939"/>
                    <a:gd name="connsiteX6" fmla="*/ 366640 w 514980"/>
                    <a:gd name="connsiteY6" fmla="*/ 100299 h 453939"/>
                    <a:gd name="connsiteX7" fmla="*/ 461084 w 514980"/>
                    <a:gd name="connsiteY7" fmla="*/ 143550 h 453939"/>
                    <a:gd name="connsiteX8" fmla="*/ 513665 w 514980"/>
                    <a:gd name="connsiteY8" fmla="*/ 226522 h 453939"/>
                    <a:gd name="connsiteX9" fmla="*/ 510490 w 514980"/>
                    <a:gd name="connsiteY9" fmla="*/ 448772 h 453939"/>
                    <a:gd name="connsiteX10" fmla="*/ 8840 w 514980"/>
                    <a:gd name="connsiteY10" fmla="*/ 442422 h 453939"/>
                    <a:gd name="connsiteX0" fmla="*/ 8840 w 514980"/>
                    <a:gd name="connsiteY0" fmla="*/ 442422 h 450476"/>
                    <a:gd name="connsiteX1" fmla="*/ 5665 w 514980"/>
                    <a:gd name="connsiteY1" fmla="*/ 216997 h 450476"/>
                    <a:gd name="connsiteX2" fmla="*/ 62412 w 514980"/>
                    <a:gd name="connsiteY2" fmla="*/ 129441 h 450476"/>
                    <a:gd name="connsiteX3" fmla="*/ 168766 w 514980"/>
                    <a:gd name="connsiteY3" fmla="*/ 93528 h 450476"/>
                    <a:gd name="connsiteX4" fmla="*/ 179484 w 514980"/>
                    <a:gd name="connsiteY4" fmla="*/ 6248 h 450476"/>
                    <a:gd name="connsiteX5" fmla="*/ 351756 w 514980"/>
                    <a:gd name="connsiteY5" fmla="*/ 886 h 450476"/>
                    <a:gd name="connsiteX6" fmla="*/ 366640 w 514980"/>
                    <a:gd name="connsiteY6" fmla="*/ 100299 h 450476"/>
                    <a:gd name="connsiteX7" fmla="*/ 461084 w 514980"/>
                    <a:gd name="connsiteY7" fmla="*/ 143550 h 450476"/>
                    <a:gd name="connsiteX8" fmla="*/ 513665 w 514980"/>
                    <a:gd name="connsiteY8" fmla="*/ 226522 h 450476"/>
                    <a:gd name="connsiteX9" fmla="*/ 510490 w 514980"/>
                    <a:gd name="connsiteY9" fmla="*/ 448772 h 450476"/>
                    <a:gd name="connsiteX10" fmla="*/ 8840 w 514980"/>
                    <a:gd name="connsiteY10" fmla="*/ 442422 h 450476"/>
                    <a:gd name="connsiteX0" fmla="*/ 8840 w 514980"/>
                    <a:gd name="connsiteY0" fmla="*/ 442422 h 448772"/>
                    <a:gd name="connsiteX1" fmla="*/ 5665 w 514980"/>
                    <a:gd name="connsiteY1" fmla="*/ 216997 h 448772"/>
                    <a:gd name="connsiteX2" fmla="*/ 62412 w 514980"/>
                    <a:gd name="connsiteY2" fmla="*/ 129441 h 448772"/>
                    <a:gd name="connsiteX3" fmla="*/ 168766 w 514980"/>
                    <a:gd name="connsiteY3" fmla="*/ 93528 h 448772"/>
                    <a:gd name="connsiteX4" fmla="*/ 179484 w 514980"/>
                    <a:gd name="connsiteY4" fmla="*/ 6248 h 448772"/>
                    <a:gd name="connsiteX5" fmla="*/ 351756 w 514980"/>
                    <a:gd name="connsiteY5" fmla="*/ 886 h 448772"/>
                    <a:gd name="connsiteX6" fmla="*/ 366640 w 514980"/>
                    <a:gd name="connsiteY6" fmla="*/ 100299 h 448772"/>
                    <a:gd name="connsiteX7" fmla="*/ 461084 w 514980"/>
                    <a:gd name="connsiteY7" fmla="*/ 143550 h 448772"/>
                    <a:gd name="connsiteX8" fmla="*/ 513665 w 514980"/>
                    <a:gd name="connsiteY8" fmla="*/ 226522 h 448772"/>
                    <a:gd name="connsiteX9" fmla="*/ 510490 w 514980"/>
                    <a:gd name="connsiteY9" fmla="*/ 448772 h 448772"/>
                    <a:gd name="connsiteX10" fmla="*/ 8840 w 514980"/>
                    <a:gd name="connsiteY10" fmla="*/ 442422 h 448772"/>
                    <a:gd name="connsiteX0" fmla="*/ 8840 w 514980"/>
                    <a:gd name="connsiteY0" fmla="*/ 442422 h 448772"/>
                    <a:gd name="connsiteX1" fmla="*/ 5665 w 514980"/>
                    <a:gd name="connsiteY1" fmla="*/ 216997 h 448772"/>
                    <a:gd name="connsiteX2" fmla="*/ 62412 w 514980"/>
                    <a:gd name="connsiteY2" fmla="*/ 129441 h 448772"/>
                    <a:gd name="connsiteX3" fmla="*/ 168766 w 514980"/>
                    <a:gd name="connsiteY3" fmla="*/ 93528 h 448772"/>
                    <a:gd name="connsiteX4" fmla="*/ 179484 w 514980"/>
                    <a:gd name="connsiteY4" fmla="*/ 6248 h 448772"/>
                    <a:gd name="connsiteX5" fmla="*/ 351756 w 514980"/>
                    <a:gd name="connsiteY5" fmla="*/ 886 h 448772"/>
                    <a:gd name="connsiteX6" fmla="*/ 357905 w 514980"/>
                    <a:gd name="connsiteY6" fmla="*/ 98112 h 448772"/>
                    <a:gd name="connsiteX7" fmla="*/ 461084 w 514980"/>
                    <a:gd name="connsiteY7" fmla="*/ 143550 h 448772"/>
                    <a:gd name="connsiteX8" fmla="*/ 513665 w 514980"/>
                    <a:gd name="connsiteY8" fmla="*/ 226522 h 448772"/>
                    <a:gd name="connsiteX9" fmla="*/ 510490 w 514980"/>
                    <a:gd name="connsiteY9" fmla="*/ 448772 h 448772"/>
                    <a:gd name="connsiteX10" fmla="*/ 8840 w 514980"/>
                    <a:gd name="connsiteY10" fmla="*/ 442422 h 448772"/>
                    <a:gd name="connsiteX0" fmla="*/ 8840 w 514980"/>
                    <a:gd name="connsiteY0" fmla="*/ 442422 h 448772"/>
                    <a:gd name="connsiteX1" fmla="*/ 5665 w 514980"/>
                    <a:gd name="connsiteY1" fmla="*/ 216997 h 448772"/>
                    <a:gd name="connsiteX2" fmla="*/ 62412 w 514980"/>
                    <a:gd name="connsiteY2" fmla="*/ 129441 h 448772"/>
                    <a:gd name="connsiteX3" fmla="*/ 168766 w 514980"/>
                    <a:gd name="connsiteY3" fmla="*/ 93528 h 448772"/>
                    <a:gd name="connsiteX4" fmla="*/ 179484 w 514980"/>
                    <a:gd name="connsiteY4" fmla="*/ 6248 h 448772"/>
                    <a:gd name="connsiteX5" fmla="*/ 351756 w 514980"/>
                    <a:gd name="connsiteY5" fmla="*/ 886 h 448772"/>
                    <a:gd name="connsiteX6" fmla="*/ 357905 w 514980"/>
                    <a:gd name="connsiteY6" fmla="*/ 98112 h 448772"/>
                    <a:gd name="connsiteX7" fmla="*/ 454533 w 514980"/>
                    <a:gd name="connsiteY7" fmla="*/ 136989 h 448772"/>
                    <a:gd name="connsiteX8" fmla="*/ 513665 w 514980"/>
                    <a:gd name="connsiteY8" fmla="*/ 226522 h 448772"/>
                    <a:gd name="connsiteX9" fmla="*/ 510490 w 514980"/>
                    <a:gd name="connsiteY9" fmla="*/ 448772 h 448772"/>
                    <a:gd name="connsiteX10" fmla="*/ 8840 w 514980"/>
                    <a:gd name="connsiteY10" fmla="*/ 442422 h 448772"/>
                    <a:gd name="connsiteX0" fmla="*/ 8840 w 514980"/>
                    <a:gd name="connsiteY0" fmla="*/ 442422 h 448772"/>
                    <a:gd name="connsiteX1" fmla="*/ 5665 w 514980"/>
                    <a:gd name="connsiteY1" fmla="*/ 216997 h 448772"/>
                    <a:gd name="connsiteX2" fmla="*/ 62412 w 514980"/>
                    <a:gd name="connsiteY2" fmla="*/ 129441 h 448772"/>
                    <a:gd name="connsiteX3" fmla="*/ 168766 w 514980"/>
                    <a:gd name="connsiteY3" fmla="*/ 93528 h 448772"/>
                    <a:gd name="connsiteX4" fmla="*/ 179484 w 514980"/>
                    <a:gd name="connsiteY4" fmla="*/ 6248 h 448772"/>
                    <a:gd name="connsiteX5" fmla="*/ 351756 w 514980"/>
                    <a:gd name="connsiteY5" fmla="*/ 886 h 448772"/>
                    <a:gd name="connsiteX6" fmla="*/ 357905 w 514980"/>
                    <a:gd name="connsiteY6" fmla="*/ 98112 h 448772"/>
                    <a:gd name="connsiteX7" fmla="*/ 454533 w 514980"/>
                    <a:gd name="connsiteY7" fmla="*/ 136989 h 448772"/>
                    <a:gd name="connsiteX8" fmla="*/ 513665 w 514980"/>
                    <a:gd name="connsiteY8" fmla="*/ 226522 h 448772"/>
                    <a:gd name="connsiteX9" fmla="*/ 510490 w 514980"/>
                    <a:gd name="connsiteY9" fmla="*/ 448772 h 448772"/>
                    <a:gd name="connsiteX10" fmla="*/ 8840 w 514980"/>
                    <a:gd name="connsiteY10" fmla="*/ 442422 h 448772"/>
                    <a:gd name="connsiteX0" fmla="*/ 8840 w 514980"/>
                    <a:gd name="connsiteY0" fmla="*/ 442422 h 448772"/>
                    <a:gd name="connsiteX1" fmla="*/ 5665 w 514980"/>
                    <a:gd name="connsiteY1" fmla="*/ 216997 h 448772"/>
                    <a:gd name="connsiteX2" fmla="*/ 62412 w 514980"/>
                    <a:gd name="connsiteY2" fmla="*/ 129441 h 448772"/>
                    <a:gd name="connsiteX3" fmla="*/ 168766 w 514980"/>
                    <a:gd name="connsiteY3" fmla="*/ 93528 h 448772"/>
                    <a:gd name="connsiteX4" fmla="*/ 179484 w 514980"/>
                    <a:gd name="connsiteY4" fmla="*/ 6248 h 448772"/>
                    <a:gd name="connsiteX5" fmla="*/ 351756 w 514980"/>
                    <a:gd name="connsiteY5" fmla="*/ 886 h 448772"/>
                    <a:gd name="connsiteX6" fmla="*/ 357905 w 514980"/>
                    <a:gd name="connsiteY6" fmla="*/ 98112 h 448772"/>
                    <a:gd name="connsiteX7" fmla="*/ 454533 w 514980"/>
                    <a:gd name="connsiteY7" fmla="*/ 136989 h 448772"/>
                    <a:gd name="connsiteX8" fmla="*/ 513665 w 514980"/>
                    <a:gd name="connsiteY8" fmla="*/ 226522 h 448772"/>
                    <a:gd name="connsiteX9" fmla="*/ 510490 w 514980"/>
                    <a:gd name="connsiteY9" fmla="*/ 448772 h 448772"/>
                    <a:gd name="connsiteX10" fmla="*/ 8840 w 514980"/>
                    <a:gd name="connsiteY10" fmla="*/ 442422 h 448772"/>
                    <a:gd name="connsiteX0" fmla="*/ 8840 w 514980"/>
                    <a:gd name="connsiteY0" fmla="*/ 442422 h 448772"/>
                    <a:gd name="connsiteX1" fmla="*/ 5665 w 514980"/>
                    <a:gd name="connsiteY1" fmla="*/ 216997 h 448772"/>
                    <a:gd name="connsiteX2" fmla="*/ 62412 w 514980"/>
                    <a:gd name="connsiteY2" fmla="*/ 129441 h 448772"/>
                    <a:gd name="connsiteX3" fmla="*/ 168766 w 514980"/>
                    <a:gd name="connsiteY3" fmla="*/ 93528 h 448772"/>
                    <a:gd name="connsiteX4" fmla="*/ 179484 w 514980"/>
                    <a:gd name="connsiteY4" fmla="*/ 6248 h 448772"/>
                    <a:gd name="connsiteX5" fmla="*/ 351756 w 514980"/>
                    <a:gd name="connsiteY5" fmla="*/ 886 h 448772"/>
                    <a:gd name="connsiteX6" fmla="*/ 353538 w 514980"/>
                    <a:gd name="connsiteY6" fmla="*/ 98112 h 448772"/>
                    <a:gd name="connsiteX7" fmla="*/ 454533 w 514980"/>
                    <a:gd name="connsiteY7" fmla="*/ 136989 h 448772"/>
                    <a:gd name="connsiteX8" fmla="*/ 513665 w 514980"/>
                    <a:gd name="connsiteY8" fmla="*/ 226522 h 448772"/>
                    <a:gd name="connsiteX9" fmla="*/ 510490 w 514980"/>
                    <a:gd name="connsiteY9" fmla="*/ 448772 h 448772"/>
                    <a:gd name="connsiteX10" fmla="*/ 8840 w 514980"/>
                    <a:gd name="connsiteY10" fmla="*/ 442422 h 448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14980" h="448772">
                      <a:moveTo>
                        <a:pt x="8840" y="442422"/>
                      </a:moveTo>
                      <a:cubicBezTo>
                        <a:pt x="-1214" y="377864"/>
                        <a:pt x="-3264" y="269160"/>
                        <a:pt x="5665" y="216997"/>
                      </a:cubicBezTo>
                      <a:cubicBezTo>
                        <a:pt x="14594" y="164834"/>
                        <a:pt x="35229" y="150019"/>
                        <a:pt x="62412" y="129441"/>
                      </a:cubicBezTo>
                      <a:cubicBezTo>
                        <a:pt x="89595" y="108863"/>
                        <a:pt x="149254" y="114060"/>
                        <a:pt x="168766" y="93528"/>
                      </a:cubicBezTo>
                      <a:cubicBezTo>
                        <a:pt x="188278" y="72996"/>
                        <a:pt x="189023" y="43922"/>
                        <a:pt x="179484" y="6248"/>
                      </a:cubicBezTo>
                      <a:cubicBezTo>
                        <a:pt x="202703" y="-7370"/>
                        <a:pt x="323111" y="6352"/>
                        <a:pt x="351756" y="886"/>
                      </a:cubicBezTo>
                      <a:cubicBezTo>
                        <a:pt x="354195" y="39159"/>
                        <a:pt x="342961" y="75428"/>
                        <a:pt x="353538" y="98112"/>
                      </a:cubicBezTo>
                      <a:cubicBezTo>
                        <a:pt x="364115" y="120796"/>
                        <a:pt x="427845" y="115587"/>
                        <a:pt x="454533" y="136989"/>
                      </a:cubicBezTo>
                      <a:cubicBezTo>
                        <a:pt x="481221" y="158391"/>
                        <a:pt x="503611" y="177839"/>
                        <a:pt x="513665" y="226522"/>
                      </a:cubicBezTo>
                      <a:cubicBezTo>
                        <a:pt x="516840" y="276264"/>
                        <a:pt x="513665" y="323360"/>
                        <a:pt x="510490" y="448772"/>
                      </a:cubicBezTo>
                      <a:lnTo>
                        <a:pt x="8840" y="442422"/>
                      </a:lnTo>
                      <a:close/>
                    </a:path>
                  </a:pathLst>
                </a:custGeom>
                <a:grpFill/>
                <a:ln w="571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84" name="Oval 83">
                  <a:extLst>
                    <a:ext uri="{FF2B5EF4-FFF2-40B4-BE49-F238E27FC236}">
                      <a16:creationId xmlns:a16="http://schemas.microsoft.com/office/drawing/2014/main" id="{05D4E6CE-B3D0-A747-9A30-55AE70C3B66C}"/>
                    </a:ext>
                  </a:extLst>
                </p:cNvPr>
                <p:cNvSpPr/>
                <p:nvPr/>
              </p:nvSpPr>
              <p:spPr>
                <a:xfrm>
                  <a:off x="1971467" y="3508300"/>
                  <a:ext cx="282088" cy="336550"/>
                </a:xfrm>
                <a:prstGeom prst="ellipse">
                  <a:avLst/>
                </a:prstGeom>
                <a:grpFill/>
                <a:ln w="571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grpSp>
          <p:grpSp>
            <p:nvGrpSpPr>
              <p:cNvPr id="80" name="Group 79">
                <a:extLst>
                  <a:ext uri="{FF2B5EF4-FFF2-40B4-BE49-F238E27FC236}">
                    <a16:creationId xmlns:a16="http://schemas.microsoft.com/office/drawing/2014/main" id="{A22D719C-1A01-4248-9F05-A6B2371E67CB}"/>
                  </a:ext>
                </a:extLst>
              </p:cNvPr>
              <p:cNvGrpSpPr/>
              <p:nvPr/>
            </p:nvGrpSpPr>
            <p:grpSpPr>
              <a:xfrm>
                <a:off x="1553120" y="3388644"/>
                <a:ext cx="633802" cy="938165"/>
                <a:chOff x="1806977" y="3500843"/>
                <a:chExt cx="539989" cy="738018"/>
              </a:xfrm>
            </p:grpSpPr>
            <p:sp>
              <p:nvSpPr>
                <p:cNvPr id="81" name="Freeform 80">
                  <a:extLst>
                    <a:ext uri="{FF2B5EF4-FFF2-40B4-BE49-F238E27FC236}">
                      <a16:creationId xmlns:a16="http://schemas.microsoft.com/office/drawing/2014/main" id="{BB3B631F-136B-5D42-A972-52AF604923BD}"/>
                    </a:ext>
                  </a:extLst>
                </p:cNvPr>
                <p:cNvSpPr/>
                <p:nvPr/>
              </p:nvSpPr>
              <p:spPr>
                <a:xfrm>
                  <a:off x="1806977" y="3782373"/>
                  <a:ext cx="539989" cy="456488"/>
                </a:xfrm>
                <a:custGeom>
                  <a:avLst/>
                  <a:gdLst>
                    <a:gd name="connsiteX0" fmla="*/ 36807 w 576731"/>
                    <a:gd name="connsiteY0" fmla="*/ 449906 h 505924"/>
                    <a:gd name="connsiteX1" fmla="*/ 39982 w 576731"/>
                    <a:gd name="connsiteY1" fmla="*/ 214956 h 505924"/>
                    <a:gd name="connsiteX2" fmla="*/ 55857 w 576731"/>
                    <a:gd name="connsiteY2" fmla="*/ 176856 h 505924"/>
                    <a:gd name="connsiteX3" fmla="*/ 103482 w 576731"/>
                    <a:gd name="connsiteY3" fmla="*/ 160981 h 505924"/>
                    <a:gd name="connsiteX4" fmla="*/ 205082 w 576731"/>
                    <a:gd name="connsiteY4" fmla="*/ 154631 h 505924"/>
                    <a:gd name="connsiteX5" fmla="*/ 230482 w 576731"/>
                    <a:gd name="connsiteY5" fmla="*/ 151456 h 505924"/>
                    <a:gd name="connsiteX6" fmla="*/ 233657 w 576731"/>
                    <a:gd name="connsiteY6" fmla="*/ 18106 h 505924"/>
                    <a:gd name="connsiteX7" fmla="*/ 344782 w 576731"/>
                    <a:gd name="connsiteY7" fmla="*/ 14931 h 505924"/>
                    <a:gd name="connsiteX8" fmla="*/ 344782 w 576731"/>
                    <a:gd name="connsiteY8" fmla="*/ 145106 h 505924"/>
                    <a:gd name="connsiteX9" fmla="*/ 386057 w 576731"/>
                    <a:gd name="connsiteY9" fmla="*/ 151456 h 505924"/>
                    <a:gd name="connsiteX10" fmla="*/ 478132 w 576731"/>
                    <a:gd name="connsiteY10" fmla="*/ 164156 h 505924"/>
                    <a:gd name="connsiteX11" fmla="*/ 519407 w 576731"/>
                    <a:gd name="connsiteY11" fmla="*/ 189556 h 505924"/>
                    <a:gd name="connsiteX12" fmla="*/ 541632 w 576731"/>
                    <a:gd name="connsiteY12" fmla="*/ 234006 h 505924"/>
                    <a:gd name="connsiteX13" fmla="*/ 538457 w 576731"/>
                    <a:gd name="connsiteY13" fmla="*/ 488006 h 505924"/>
                    <a:gd name="connsiteX14" fmla="*/ 36807 w 576731"/>
                    <a:gd name="connsiteY14" fmla="*/ 449906 h 505924"/>
                    <a:gd name="connsiteX0" fmla="*/ 5769 w 545693"/>
                    <a:gd name="connsiteY0" fmla="*/ 449906 h 505924"/>
                    <a:gd name="connsiteX1" fmla="*/ 8944 w 545693"/>
                    <a:gd name="connsiteY1" fmla="*/ 214956 h 505924"/>
                    <a:gd name="connsiteX2" fmla="*/ 24819 w 545693"/>
                    <a:gd name="connsiteY2" fmla="*/ 176856 h 505924"/>
                    <a:gd name="connsiteX3" fmla="*/ 72444 w 545693"/>
                    <a:gd name="connsiteY3" fmla="*/ 160981 h 505924"/>
                    <a:gd name="connsiteX4" fmla="*/ 174044 w 545693"/>
                    <a:gd name="connsiteY4" fmla="*/ 154631 h 505924"/>
                    <a:gd name="connsiteX5" fmla="*/ 199444 w 545693"/>
                    <a:gd name="connsiteY5" fmla="*/ 151456 h 505924"/>
                    <a:gd name="connsiteX6" fmla="*/ 202619 w 545693"/>
                    <a:gd name="connsiteY6" fmla="*/ 18106 h 505924"/>
                    <a:gd name="connsiteX7" fmla="*/ 313744 w 545693"/>
                    <a:gd name="connsiteY7" fmla="*/ 14931 h 505924"/>
                    <a:gd name="connsiteX8" fmla="*/ 313744 w 545693"/>
                    <a:gd name="connsiteY8" fmla="*/ 145106 h 505924"/>
                    <a:gd name="connsiteX9" fmla="*/ 355019 w 545693"/>
                    <a:gd name="connsiteY9" fmla="*/ 151456 h 505924"/>
                    <a:gd name="connsiteX10" fmla="*/ 447094 w 545693"/>
                    <a:gd name="connsiteY10" fmla="*/ 164156 h 505924"/>
                    <a:gd name="connsiteX11" fmla="*/ 488369 w 545693"/>
                    <a:gd name="connsiteY11" fmla="*/ 189556 h 505924"/>
                    <a:gd name="connsiteX12" fmla="*/ 510594 w 545693"/>
                    <a:gd name="connsiteY12" fmla="*/ 234006 h 505924"/>
                    <a:gd name="connsiteX13" fmla="*/ 507419 w 545693"/>
                    <a:gd name="connsiteY13" fmla="*/ 488006 h 505924"/>
                    <a:gd name="connsiteX14" fmla="*/ 5769 w 545693"/>
                    <a:gd name="connsiteY14" fmla="*/ 449906 h 505924"/>
                    <a:gd name="connsiteX0" fmla="*/ 21286 w 561210"/>
                    <a:gd name="connsiteY0" fmla="*/ 449906 h 508025"/>
                    <a:gd name="connsiteX1" fmla="*/ 24461 w 561210"/>
                    <a:gd name="connsiteY1" fmla="*/ 214956 h 508025"/>
                    <a:gd name="connsiteX2" fmla="*/ 40336 w 561210"/>
                    <a:gd name="connsiteY2" fmla="*/ 176856 h 508025"/>
                    <a:gd name="connsiteX3" fmla="*/ 87961 w 561210"/>
                    <a:gd name="connsiteY3" fmla="*/ 160981 h 508025"/>
                    <a:gd name="connsiteX4" fmla="*/ 189561 w 561210"/>
                    <a:gd name="connsiteY4" fmla="*/ 154631 h 508025"/>
                    <a:gd name="connsiteX5" fmla="*/ 214961 w 561210"/>
                    <a:gd name="connsiteY5" fmla="*/ 151456 h 508025"/>
                    <a:gd name="connsiteX6" fmla="*/ 218136 w 561210"/>
                    <a:gd name="connsiteY6" fmla="*/ 18106 h 508025"/>
                    <a:gd name="connsiteX7" fmla="*/ 329261 w 561210"/>
                    <a:gd name="connsiteY7" fmla="*/ 14931 h 508025"/>
                    <a:gd name="connsiteX8" fmla="*/ 329261 w 561210"/>
                    <a:gd name="connsiteY8" fmla="*/ 145106 h 508025"/>
                    <a:gd name="connsiteX9" fmla="*/ 370536 w 561210"/>
                    <a:gd name="connsiteY9" fmla="*/ 151456 h 508025"/>
                    <a:gd name="connsiteX10" fmla="*/ 462611 w 561210"/>
                    <a:gd name="connsiteY10" fmla="*/ 164156 h 508025"/>
                    <a:gd name="connsiteX11" fmla="*/ 503886 w 561210"/>
                    <a:gd name="connsiteY11" fmla="*/ 189556 h 508025"/>
                    <a:gd name="connsiteX12" fmla="*/ 526111 w 561210"/>
                    <a:gd name="connsiteY12" fmla="*/ 234006 h 508025"/>
                    <a:gd name="connsiteX13" fmla="*/ 522936 w 561210"/>
                    <a:gd name="connsiteY13" fmla="*/ 488006 h 508025"/>
                    <a:gd name="connsiteX14" fmla="*/ 21286 w 561210"/>
                    <a:gd name="connsiteY14" fmla="*/ 449906 h 508025"/>
                    <a:gd name="connsiteX0" fmla="*/ 21286 w 561210"/>
                    <a:gd name="connsiteY0" fmla="*/ 449906 h 508025"/>
                    <a:gd name="connsiteX1" fmla="*/ 24461 w 561210"/>
                    <a:gd name="connsiteY1" fmla="*/ 214956 h 508025"/>
                    <a:gd name="connsiteX2" fmla="*/ 40336 w 561210"/>
                    <a:gd name="connsiteY2" fmla="*/ 176856 h 508025"/>
                    <a:gd name="connsiteX3" fmla="*/ 87961 w 561210"/>
                    <a:gd name="connsiteY3" fmla="*/ 160981 h 508025"/>
                    <a:gd name="connsiteX4" fmla="*/ 189561 w 561210"/>
                    <a:gd name="connsiteY4" fmla="*/ 154631 h 508025"/>
                    <a:gd name="connsiteX5" fmla="*/ 214961 w 561210"/>
                    <a:gd name="connsiteY5" fmla="*/ 151456 h 508025"/>
                    <a:gd name="connsiteX6" fmla="*/ 218136 w 561210"/>
                    <a:gd name="connsiteY6" fmla="*/ 18106 h 508025"/>
                    <a:gd name="connsiteX7" fmla="*/ 329261 w 561210"/>
                    <a:gd name="connsiteY7" fmla="*/ 14931 h 508025"/>
                    <a:gd name="connsiteX8" fmla="*/ 329261 w 561210"/>
                    <a:gd name="connsiteY8" fmla="*/ 145106 h 508025"/>
                    <a:gd name="connsiteX9" fmla="*/ 370536 w 561210"/>
                    <a:gd name="connsiteY9" fmla="*/ 151456 h 508025"/>
                    <a:gd name="connsiteX10" fmla="*/ 462611 w 561210"/>
                    <a:gd name="connsiteY10" fmla="*/ 164156 h 508025"/>
                    <a:gd name="connsiteX11" fmla="*/ 503886 w 561210"/>
                    <a:gd name="connsiteY11" fmla="*/ 189556 h 508025"/>
                    <a:gd name="connsiteX12" fmla="*/ 526111 w 561210"/>
                    <a:gd name="connsiteY12" fmla="*/ 234006 h 508025"/>
                    <a:gd name="connsiteX13" fmla="*/ 522936 w 561210"/>
                    <a:gd name="connsiteY13" fmla="*/ 488006 h 508025"/>
                    <a:gd name="connsiteX14" fmla="*/ 21286 w 561210"/>
                    <a:gd name="connsiteY14" fmla="*/ 449906 h 508025"/>
                    <a:gd name="connsiteX0" fmla="*/ 4360 w 544284"/>
                    <a:gd name="connsiteY0" fmla="*/ 449906 h 508025"/>
                    <a:gd name="connsiteX1" fmla="*/ 7535 w 544284"/>
                    <a:gd name="connsiteY1" fmla="*/ 214956 h 508025"/>
                    <a:gd name="connsiteX2" fmla="*/ 23410 w 544284"/>
                    <a:gd name="connsiteY2" fmla="*/ 176856 h 508025"/>
                    <a:gd name="connsiteX3" fmla="*/ 71035 w 544284"/>
                    <a:gd name="connsiteY3" fmla="*/ 160981 h 508025"/>
                    <a:gd name="connsiteX4" fmla="*/ 172635 w 544284"/>
                    <a:gd name="connsiteY4" fmla="*/ 154631 h 508025"/>
                    <a:gd name="connsiteX5" fmla="*/ 198035 w 544284"/>
                    <a:gd name="connsiteY5" fmla="*/ 151456 h 508025"/>
                    <a:gd name="connsiteX6" fmla="*/ 201210 w 544284"/>
                    <a:gd name="connsiteY6" fmla="*/ 18106 h 508025"/>
                    <a:gd name="connsiteX7" fmla="*/ 312335 w 544284"/>
                    <a:gd name="connsiteY7" fmla="*/ 14931 h 508025"/>
                    <a:gd name="connsiteX8" fmla="*/ 312335 w 544284"/>
                    <a:gd name="connsiteY8" fmla="*/ 145106 h 508025"/>
                    <a:gd name="connsiteX9" fmla="*/ 353610 w 544284"/>
                    <a:gd name="connsiteY9" fmla="*/ 151456 h 508025"/>
                    <a:gd name="connsiteX10" fmla="*/ 445685 w 544284"/>
                    <a:gd name="connsiteY10" fmla="*/ 164156 h 508025"/>
                    <a:gd name="connsiteX11" fmla="*/ 486960 w 544284"/>
                    <a:gd name="connsiteY11" fmla="*/ 189556 h 508025"/>
                    <a:gd name="connsiteX12" fmla="*/ 509185 w 544284"/>
                    <a:gd name="connsiteY12" fmla="*/ 234006 h 508025"/>
                    <a:gd name="connsiteX13" fmla="*/ 506010 w 544284"/>
                    <a:gd name="connsiteY13" fmla="*/ 488006 h 508025"/>
                    <a:gd name="connsiteX14" fmla="*/ 4360 w 544284"/>
                    <a:gd name="connsiteY14" fmla="*/ 449906 h 508025"/>
                    <a:gd name="connsiteX0" fmla="*/ 4360 w 544284"/>
                    <a:gd name="connsiteY0" fmla="*/ 449906 h 500804"/>
                    <a:gd name="connsiteX1" fmla="*/ 7535 w 544284"/>
                    <a:gd name="connsiteY1" fmla="*/ 214956 h 500804"/>
                    <a:gd name="connsiteX2" fmla="*/ 23410 w 544284"/>
                    <a:gd name="connsiteY2" fmla="*/ 176856 h 500804"/>
                    <a:gd name="connsiteX3" fmla="*/ 71035 w 544284"/>
                    <a:gd name="connsiteY3" fmla="*/ 160981 h 500804"/>
                    <a:gd name="connsiteX4" fmla="*/ 172635 w 544284"/>
                    <a:gd name="connsiteY4" fmla="*/ 154631 h 500804"/>
                    <a:gd name="connsiteX5" fmla="*/ 198035 w 544284"/>
                    <a:gd name="connsiteY5" fmla="*/ 151456 h 500804"/>
                    <a:gd name="connsiteX6" fmla="*/ 201210 w 544284"/>
                    <a:gd name="connsiteY6" fmla="*/ 18106 h 500804"/>
                    <a:gd name="connsiteX7" fmla="*/ 312335 w 544284"/>
                    <a:gd name="connsiteY7" fmla="*/ 14931 h 500804"/>
                    <a:gd name="connsiteX8" fmla="*/ 312335 w 544284"/>
                    <a:gd name="connsiteY8" fmla="*/ 145106 h 500804"/>
                    <a:gd name="connsiteX9" fmla="*/ 353610 w 544284"/>
                    <a:gd name="connsiteY9" fmla="*/ 151456 h 500804"/>
                    <a:gd name="connsiteX10" fmla="*/ 445685 w 544284"/>
                    <a:gd name="connsiteY10" fmla="*/ 164156 h 500804"/>
                    <a:gd name="connsiteX11" fmla="*/ 486960 w 544284"/>
                    <a:gd name="connsiteY11" fmla="*/ 189556 h 500804"/>
                    <a:gd name="connsiteX12" fmla="*/ 509185 w 544284"/>
                    <a:gd name="connsiteY12" fmla="*/ 234006 h 500804"/>
                    <a:gd name="connsiteX13" fmla="*/ 506010 w 544284"/>
                    <a:gd name="connsiteY13" fmla="*/ 488006 h 500804"/>
                    <a:gd name="connsiteX14" fmla="*/ 4360 w 544284"/>
                    <a:gd name="connsiteY14" fmla="*/ 449906 h 500804"/>
                    <a:gd name="connsiteX0" fmla="*/ 4360 w 544284"/>
                    <a:gd name="connsiteY0" fmla="*/ 449906 h 500804"/>
                    <a:gd name="connsiteX1" fmla="*/ 7535 w 544284"/>
                    <a:gd name="connsiteY1" fmla="*/ 214956 h 500804"/>
                    <a:gd name="connsiteX2" fmla="*/ 23410 w 544284"/>
                    <a:gd name="connsiteY2" fmla="*/ 176856 h 500804"/>
                    <a:gd name="connsiteX3" fmla="*/ 71035 w 544284"/>
                    <a:gd name="connsiteY3" fmla="*/ 160981 h 500804"/>
                    <a:gd name="connsiteX4" fmla="*/ 172635 w 544284"/>
                    <a:gd name="connsiteY4" fmla="*/ 154631 h 500804"/>
                    <a:gd name="connsiteX5" fmla="*/ 198035 w 544284"/>
                    <a:gd name="connsiteY5" fmla="*/ 151456 h 500804"/>
                    <a:gd name="connsiteX6" fmla="*/ 201210 w 544284"/>
                    <a:gd name="connsiteY6" fmla="*/ 18106 h 500804"/>
                    <a:gd name="connsiteX7" fmla="*/ 312335 w 544284"/>
                    <a:gd name="connsiteY7" fmla="*/ 14931 h 500804"/>
                    <a:gd name="connsiteX8" fmla="*/ 312335 w 544284"/>
                    <a:gd name="connsiteY8" fmla="*/ 145106 h 500804"/>
                    <a:gd name="connsiteX9" fmla="*/ 353610 w 544284"/>
                    <a:gd name="connsiteY9" fmla="*/ 151456 h 500804"/>
                    <a:gd name="connsiteX10" fmla="*/ 445685 w 544284"/>
                    <a:gd name="connsiteY10" fmla="*/ 164156 h 500804"/>
                    <a:gd name="connsiteX11" fmla="*/ 486960 w 544284"/>
                    <a:gd name="connsiteY11" fmla="*/ 189556 h 500804"/>
                    <a:gd name="connsiteX12" fmla="*/ 509185 w 544284"/>
                    <a:gd name="connsiteY12" fmla="*/ 234006 h 500804"/>
                    <a:gd name="connsiteX13" fmla="*/ 506010 w 544284"/>
                    <a:gd name="connsiteY13" fmla="*/ 488006 h 500804"/>
                    <a:gd name="connsiteX14" fmla="*/ 4360 w 544284"/>
                    <a:gd name="connsiteY14" fmla="*/ 449906 h 500804"/>
                    <a:gd name="connsiteX0" fmla="*/ 4360 w 519024"/>
                    <a:gd name="connsiteY0" fmla="*/ 449906 h 500804"/>
                    <a:gd name="connsiteX1" fmla="*/ 7535 w 519024"/>
                    <a:gd name="connsiteY1" fmla="*/ 214956 h 500804"/>
                    <a:gd name="connsiteX2" fmla="*/ 23410 w 519024"/>
                    <a:gd name="connsiteY2" fmla="*/ 176856 h 500804"/>
                    <a:gd name="connsiteX3" fmla="*/ 71035 w 519024"/>
                    <a:gd name="connsiteY3" fmla="*/ 160981 h 500804"/>
                    <a:gd name="connsiteX4" fmla="*/ 172635 w 519024"/>
                    <a:gd name="connsiteY4" fmla="*/ 154631 h 500804"/>
                    <a:gd name="connsiteX5" fmla="*/ 198035 w 519024"/>
                    <a:gd name="connsiteY5" fmla="*/ 151456 h 500804"/>
                    <a:gd name="connsiteX6" fmla="*/ 201210 w 519024"/>
                    <a:gd name="connsiteY6" fmla="*/ 18106 h 500804"/>
                    <a:gd name="connsiteX7" fmla="*/ 312335 w 519024"/>
                    <a:gd name="connsiteY7" fmla="*/ 14931 h 500804"/>
                    <a:gd name="connsiteX8" fmla="*/ 312335 w 519024"/>
                    <a:gd name="connsiteY8" fmla="*/ 145106 h 500804"/>
                    <a:gd name="connsiteX9" fmla="*/ 353610 w 519024"/>
                    <a:gd name="connsiteY9" fmla="*/ 151456 h 500804"/>
                    <a:gd name="connsiteX10" fmla="*/ 445685 w 519024"/>
                    <a:gd name="connsiteY10" fmla="*/ 164156 h 500804"/>
                    <a:gd name="connsiteX11" fmla="*/ 486960 w 519024"/>
                    <a:gd name="connsiteY11" fmla="*/ 189556 h 500804"/>
                    <a:gd name="connsiteX12" fmla="*/ 509185 w 519024"/>
                    <a:gd name="connsiteY12" fmla="*/ 234006 h 500804"/>
                    <a:gd name="connsiteX13" fmla="*/ 506010 w 519024"/>
                    <a:gd name="connsiteY13" fmla="*/ 488006 h 500804"/>
                    <a:gd name="connsiteX14" fmla="*/ 4360 w 519024"/>
                    <a:gd name="connsiteY14" fmla="*/ 449906 h 500804"/>
                    <a:gd name="connsiteX0" fmla="*/ 4360 w 519024"/>
                    <a:gd name="connsiteY0" fmla="*/ 449906 h 488006"/>
                    <a:gd name="connsiteX1" fmla="*/ 7535 w 519024"/>
                    <a:gd name="connsiteY1" fmla="*/ 214956 h 488006"/>
                    <a:gd name="connsiteX2" fmla="*/ 23410 w 519024"/>
                    <a:gd name="connsiteY2" fmla="*/ 176856 h 488006"/>
                    <a:gd name="connsiteX3" fmla="*/ 71035 w 519024"/>
                    <a:gd name="connsiteY3" fmla="*/ 160981 h 488006"/>
                    <a:gd name="connsiteX4" fmla="*/ 172635 w 519024"/>
                    <a:gd name="connsiteY4" fmla="*/ 154631 h 488006"/>
                    <a:gd name="connsiteX5" fmla="*/ 198035 w 519024"/>
                    <a:gd name="connsiteY5" fmla="*/ 151456 h 488006"/>
                    <a:gd name="connsiteX6" fmla="*/ 201210 w 519024"/>
                    <a:gd name="connsiteY6" fmla="*/ 18106 h 488006"/>
                    <a:gd name="connsiteX7" fmla="*/ 312335 w 519024"/>
                    <a:gd name="connsiteY7" fmla="*/ 14931 h 488006"/>
                    <a:gd name="connsiteX8" fmla="*/ 312335 w 519024"/>
                    <a:gd name="connsiteY8" fmla="*/ 145106 h 488006"/>
                    <a:gd name="connsiteX9" fmla="*/ 353610 w 519024"/>
                    <a:gd name="connsiteY9" fmla="*/ 151456 h 488006"/>
                    <a:gd name="connsiteX10" fmla="*/ 445685 w 519024"/>
                    <a:gd name="connsiteY10" fmla="*/ 164156 h 488006"/>
                    <a:gd name="connsiteX11" fmla="*/ 486960 w 519024"/>
                    <a:gd name="connsiteY11" fmla="*/ 189556 h 488006"/>
                    <a:gd name="connsiteX12" fmla="*/ 509185 w 519024"/>
                    <a:gd name="connsiteY12" fmla="*/ 234006 h 488006"/>
                    <a:gd name="connsiteX13" fmla="*/ 506010 w 519024"/>
                    <a:gd name="connsiteY13" fmla="*/ 488006 h 488006"/>
                    <a:gd name="connsiteX14" fmla="*/ 4360 w 519024"/>
                    <a:gd name="connsiteY14" fmla="*/ 449906 h 488006"/>
                    <a:gd name="connsiteX0" fmla="*/ 4360 w 523534"/>
                    <a:gd name="connsiteY0" fmla="*/ 449906 h 472131"/>
                    <a:gd name="connsiteX1" fmla="*/ 7535 w 523534"/>
                    <a:gd name="connsiteY1" fmla="*/ 214956 h 472131"/>
                    <a:gd name="connsiteX2" fmla="*/ 23410 w 523534"/>
                    <a:gd name="connsiteY2" fmla="*/ 176856 h 472131"/>
                    <a:gd name="connsiteX3" fmla="*/ 71035 w 523534"/>
                    <a:gd name="connsiteY3" fmla="*/ 160981 h 472131"/>
                    <a:gd name="connsiteX4" fmla="*/ 172635 w 523534"/>
                    <a:gd name="connsiteY4" fmla="*/ 154631 h 472131"/>
                    <a:gd name="connsiteX5" fmla="*/ 198035 w 523534"/>
                    <a:gd name="connsiteY5" fmla="*/ 151456 h 472131"/>
                    <a:gd name="connsiteX6" fmla="*/ 201210 w 523534"/>
                    <a:gd name="connsiteY6" fmla="*/ 18106 h 472131"/>
                    <a:gd name="connsiteX7" fmla="*/ 312335 w 523534"/>
                    <a:gd name="connsiteY7" fmla="*/ 14931 h 472131"/>
                    <a:gd name="connsiteX8" fmla="*/ 312335 w 523534"/>
                    <a:gd name="connsiteY8" fmla="*/ 145106 h 472131"/>
                    <a:gd name="connsiteX9" fmla="*/ 353610 w 523534"/>
                    <a:gd name="connsiteY9" fmla="*/ 151456 h 472131"/>
                    <a:gd name="connsiteX10" fmla="*/ 445685 w 523534"/>
                    <a:gd name="connsiteY10" fmla="*/ 164156 h 472131"/>
                    <a:gd name="connsiteX11" fmla="*/ 486960 w 523534"/>
                    <a:gd name="connsiteY11" fmla="*/ 189556 h 472131"/>
                    <a:gd name="connsiteX12" fmla="*/ 509185 w 523534"/>
                    <a:gd name="connsiteY12" fmla="*/ 234006 h 472131"/>
                    <a:gd name="connsiteX13" fmla="*/ 512360 w 523534"/>
                    <a:gd name="connsiteY13" fmla="*/ 472131 h 472131"/>
                    <a:gd name="connsiteX14" fmla="*/ 4360 w 523534"/>
                    <a:gd name="connsiteY14" fmla="*/ 449906 h 472131"/>
                    <a:gd name="connsiteX0" fmla="*/ 4360 w 513675"/>
                    <a:gd name="connsiteY0" fmla="*/ 449906 h 472131"/>
                    <a:gd name="connsiteX1" fmla="*/ 7535 w 513675"/>
                    <a:gd name="connsiteY1" fmla="*/ 214956 h 472131"/>
                    <a:gd name="connsiteX2" fmla="*/ 23410 w 513675"/>
                    <a:gd name="connsiteY2" fmla="*/ 176856 h 472131"/>
                    <a:gd name="connsiteX3" fmla="*/ 71035 w 513675"/>
                    <a:gd name="connsiteY3" fmla="*/ 160981 h 472131"/>
                    <a:gd name="connsiteX4" fmla="*/ 172635 w 513675"/>
                    <a:gd name="connsiteY4" fmla="*/ 154631 h 472131"/>
                    <a:gd name="connsiteX5" fmla="*/ 198035 w 513675"/>
                    <a:gd name="connsiteY5" fmla="*/ 151456 h 472131"/>
                    <a:gd name="connsiteX6" fmla="*/ 201210 w 513675"/>
                    <a:gd name="connsiteY6" fmla="*/ 18106 h 472131"/>
                    <a:gd name="connsiteX7" fmla="*/ 312335 w 513675"/>
                    <a:gd name="connsiteY7" fmla="*/ 14931 h 472131"/>
                    <a:gd name="connsiteX8" fmla="*/ 312335 w 513675"/>
                    <a:gd name="connsiteY8" fmla="*/ 145106 h 472131"/>
                    <a:gd name="connsiteX9" fmla="*/ 353610 w 513675"/>
                    <a:gd name="connsiteY9" fmla="*/ 151456 h 472131"/>
                    <a:gd name="connsiteX10" fmla="*/ 445685 w 513675"/>
                    <a:gd name="connsiteY10" fmla="*/ 164156 h 472131"/>
                    <a:gd name="connsiteX11" fmla="*/ 486960 w 513675"/>
                    <a:gd name="connsiteY11" fmla="*/ 189556 h 472131"/>
                    <a:gd name="connsiteX12" fmla="*/ 509185 w 513675"/>
                    <a:gd name="connsiteY12" fmla="*/ 234006 h 472131"/>
                    <a:gd name="connsiteX13" fmla="*/ 512360 w 513675"/>
                    <a:gd name="connsiteY13" fmla="*/ 472131 h 472131"/>
                    <a:gd name="connsiteX14" fmla="*/ 4360 w 513675"/>
                    <a:gd name="connsiteY14" fmla="*/ 449906 h 472131"/>
                    <a:gd name="connsiteX0" fmla="*/ 4360 w 513675"/>
                    <a:gd name="connsiteY0" fmla="*/ 446969 h 469194"/>
                    <a:gd name="connsiteX1" fmla="*/ 7535 w 513675"/>
                    <a:gd name="connsiteY1" fmla="*/ 212019 h 469194"/>
                    <a:gd name="connsiteX2" fmla="*/ 23410 w 513675"/>
                    <a:gd name="connsiteY2" fmla="*/ 173919 h 469194"/>
                    <a:gd name="connsiteX3" fmla="*/ 71035 w 513675"/>
                    <a:gd name="connsiteY3" fmla="*/ 158044 h 469194"/>
                    <a:gd name="connsiteX4" fmla="*/ 172635 w 513675"/>
                    <a:gd name="connsiteY4" fmla="*/ 151694 h 469194"/>
                    <a:gd name="connsiteX5" fmla="*/ 188510 w 513675"/>
                    <a:gd name="connsiteY5" fmla="*/ 94544 h 469194"/>
                    <a:gd name="connsiteX6" fmla="*/ 201210 w 513675"/>
                    <a:gd name="connsiteY6" fmla="*/ 15169 h 469194"/>
                    <a:gd name="connsiteX7" fmla="*/ 312335 w 513675"/>
                    <a:gd name="connsiteY7" fmla="*/ 11994 h 469194"/>
                    <a:gd name="connsiteX8" fmla="*/ 312335 w 513675"/>
                    <a:gd name="connsiteY8" fmla="*/ 142169 h 469194"/>
                    <a:gd name="connsiteX9" fmla="*/ 353610 w 513675"/>
                    <a:gd name="connsiteY9" fmla="*/ 148519 h 469194"/>
                    <a:gd name="connsiteX10" fmla="*/ 445685 w 513675"/>
                    <a:gd name="connsiteY10" fmla="*/ 161219 h 469194"/>
                    <a:gd name="connsiteX11" fmla="*/ 486960 w 513675"/>
                    <a:gd name="connsiteY11" fmla="*/ 186619 h 469194"/>
                    <a:gd name="connsiteX12" fmla="*/ 509185 w 513675"/>
                    <a:gd name="connsiteY12" fmla="*/ 231069 h 469194"/>
                    <a:gd name="connsiteX13" fmla="*/ 512360 w 513675"/>
                    <a:gd name="connsiteY13" fmla="*/ 469194 h 469194"/>
                    <a:gd name="connsiteX14" fmla="*/ 4360 w 513675"/>
                    <a:gd name="connsiteY14" fmla="*/ 446969 h 469194"/>
                    <a:gd name="connsiteX0" fmla="*/ 4360 w 513675"/>
                    <a:gd name="connsiteY0" fmla="*/ 443409 h 465634"/>
                    <a:gd name="connsiteX1" fmla="*/ 7535 w 513675"/>
                    <a:gd name="connsiteY1" fmla="*/ 208459 h 465634"/>
                    <a:gd name="connsiteX2" fmla="*/ 23410 w 513675"/>
                    <a:gd name="connsiteY2" fmla="*/ 170359 h 465634"/>
                    <a:gd name="connsiteX3" fmla="*/ 71035 w 513675"/>
                    <a:gd name="connsiteY3" fmla="*/ 154484 h 465634"/>
                    <a:gd name="connsiteX4" fmla="*/ 172635 w 513675"/>
                    <a:gd name="connsiteY4" fmla="*/ 148134 h 465634"/>
                    <a:gd name="connsiteX5" fmla="*/ 188510 w 513675"/>
                    <a:gd name="connsiteY5" fmla="*/ 90984 h 465634"/>
                    <a:gd name="connsiteX6" fmla="*/ 201210 w 513675"/>
                    <a:gd name="connsiteY6" fmla="*/ 11609 h 465634"/>
                    <a:gd name="connsiteX7" fmla="*/ 312335 w 513675"/>
                    <a:gd name="connsiteY7" fmla="*/ 8434 h 465634"/>
                    <a:gd name="connsiteX8" fmla="*/ 312335 w 513675"/>
                    <a:gd name="connsiteY8" fmla="*/ 87809 h 465634"/>
                    <a:gd name="connsiteX9" fmla="*/ 353610 w 513675"/>
                    <a:gd name="connsiteY9" fmla="*/ 144959 h 465634"/>
                    <a:gd name="connsiteX10" fmla="*/ 445685 w 513675"/>
                    <a:gd name="connsiteY10" fmla="*/ 157659 h 465634"/>
                    <a:gd name="connsiteX11" fmla="*/ 486960 w 513675"/>
                    <a:gd name="connsiteY11" fmla="*/ 183059 h 465634"/>
                    <a:gd name="connsiteX12" fmla="*/ 509185 w 513675"/>
                    <a:gd name="connsiteY12" fmla="*/ 227509 h 465634"/>
                    <a:gd name="connsiteX13" fmla="*/ 512360 w 513675"/>
                    <a:gd name="connsiteY13" fmla="*/ 465634 h 465634"/>
                    <a:gd name="connsiteX14" fmla="*/ 4360 w 513675"/>
                    <a:gd name="connsiteY14" fmla="*/ 443409 h 465634"/>
                    <a:gd name="connsiteX0" fmla="*/ 4360 w 513675"/>
                    <a:gd name="connsiteY0" fmla="*/ 443409 h 465634"/>
                    <a:gd name="connsiteX1" fmla="*/ 7535 w 513675"/>
                    <a:gd name="connsiteY1" fmla="*/ 208459 h 465634"/>
                    <a:gd name="connsiteX2" fmla="*/ 23410 w 513675"/>
                    <a:gd name="connsiteY2" fmla="*/ 170359 h 465634"/>
                    <a:gd name="connsiteX3" fmla="*/ 71035 w 513675"/>
                    <a:gd name="connsiteY3" fmla="*/ 154484 h 465634"/>
                    <a:gd name="connsiteX4" fmla="*/ 172635 w 513675"/>
                    <a:gd name="connsiteY4" fmla="*/ 148134 h 465634"/>
                    <a:gd name="connsiteX5" fmla="*/ 188510 w 513675"/>
                    <a:gd name="connsiteY5" fmla="*/ 90984 h 465634"/>
                    <a:gd name="connsiteX6" fmla="*/ 201210 w 513675"/>
                    <a:gd name="connsiteY6" fmla="*/ 11609 h 465634"/>
                    <a:gd name="connsiteX7" fmla="*/ 312335 w 513675"/>
                    <a:gd name="connsiteY7" fmla="*/ 8434 h 465634"/>
                    <a:gd name="connsiteX8" fmla="*/ 312335 w 513675"/>
                    <a:gd name="connsiteY8" fmla="*/ 87809 h 465634"/>
                    <a:gd name="connsiteX9" fmla="*/ 334560 w 513675"/>
                    <a:gd name="connsiteY9" fmla="*/ 135434 h 465634"/>
                    <a:gd name="connsiteX10" fmla="*/ 445685 w 513675"/>
                    <a:gd name="connsiteY10" fmla="*/ 157659 h 465634"/>
                    <a:gd name="connsiteX11" fmla="*/ 486960 w 513675"/>
                    <a:gd name="connsiteY11" fmla="*/ 183059 h 465634"/>
                    <a:gd name="connsiteX12" fmla="*/ 509185 w 513675"/>
                    <a:gd name="connsiteY12" fmla="*/ 227509 h 465634"/>
                    <a:gd name="connsiteX13" fmla="*/ 512360 w 513675"/>
                    <a:gd name="connsiteY13" fmla="*/ 465634 h 465634"/>
                    <a:gd name="connsiteX14" fmla="*/ 4360 w 513675"/>
                    <a:gd name="connsiteY14" fmla="*/ 443409 h 465634"/>
                    <a:gd name="connsiteX0" fmla="*/ 4360 w 510500"/>
                    <a:gd name="connsiteY0" fmla="*/ 443409 h 449759"/>
                    <a:gd name="connsiteX1" fmla="*/ 7535 w 510500"/>
                    <a:gd name="connsiteY1" fmla="*/ 208459 h 449759"/>
                    <a:gd name="connsiteX2" fmla="*/ 23410 w 510500"/>
                    <a:gd name="connsiteY2" fmla="*/ 170359 h 449759"/>
                    <a:gd name="connsiteX3" fmla="*/ 71035 w 510500"/>
                    <a:gd name="connsiteY3" fmla="*/ 154484 h 449759"/>
                    <a:gd name="connsiteX4" fmla="*/ 172635 w 510500"/>
                    <a:gd name="connsiteY4" fmla="*/ 148134 h 449759"/>
                    <a:gd name="connsiteX5" fmla="*/ 188510 w 510500"/>
                    <a:gd name="connsiteY5" fmla="*/ 90984 h 449759"/>
                    <a:gd name="connsiteX6" fmla="*/ 201210 w 510500"/>
                    <a:gd name="connsiteY6" fmla="*/ 11609 h 449759"/>
                    <a:gd name="connsiteX7" fmla="*/ 312335 w 510500"/>
                    <a:gd name="connsiteY7" fmla="*/ 8434 h 449759"/>
                    <a:gd name="connsiteX8" fmla="*/ 312335 w 510500"/>
                    <a:gd name="connsiteY8" fmla="*/ 87809 h 449759"/>
                    <a:gd name="connsiteX9" fmla="*/ 334560 w 510500"/>
                    <a:gd name="connsiteY9" fmla="*/ 135434 h 449759"/>
                    <a:gd name="connsiteX10" fmla="*/ 445685 w 510500"/>
                    <a:gd name="connsiteY10" fmla="*/ 157659 h 449759"/>
                    <a:gd name="connsiteX11" fmla="*/ 486960 w 510500"/>
                    <a:gd name="connsiteY11" fmla="*/ 183059 h 449759"/>
                    <a:gd name="connsiteX12" fmla="*/ 509185 w 510500"/>
                    <a:gd name="connsiteY12" fmla="*/ 227509 h 449759"/>
                    <a:gd name="connsiteX13" fmla="*/ 506010 w 510500"/>
                    <a:gd name="connsiteY13" fmla="*/ 449759 h 449759"/>
                    <a:gd name="connsiteX14" fmla="*/ 4360 w 510500"/>
                    <a:gd name="connsiteY14" fmla="*/ 443409 h 449759"/>
                    <a:gd name="connsiteX0" fmla="*/ 4360 w 510500"/>
                    <a:gd name="connsiteY0" fmla="*/ 443409 h 454926"/>
                    <a:gd name="connsiteX1" fmla="*/ 7535 w 510500"/>
                    <a:gd name="connsiteY1" fmla="*/ 208459 h 454926"/>
                    <a:gd name="connsiteX2" fmla="*/ 23410 w 510500"/>
                    <a:gd name="connsiteY2" fmla="*/ 170359 h 454926"/>
                    <a:gd name="connsiteX3" fmla="*/ 71035 w 510500"/>
                    <a:gd name="connsiteY3" fmla="*/ 154484 h 454926"/>
                    <a:gd name="connsiteX4" fmla="*/ 172635 w 510500"/>
                    <a:gd name="connsiteY4" fmla="*/ 148134 h 454926"/>
                    <a:gd name="connsiteX5" fmla="*/ 188510 w 510500"/>
                    <a:gd name="connsiteY5" fmla="*/ 90984 h 454926"/>
                    <a:gd name="connsiteX6" fmla="*/ 201210 w 510500"/>
                    <a:gd name="connsiteY6" fmla="*/ 11609 h 454926"/>
                    <a:gd name="connsiteX7" fmla="*/ 312335 w 510500"/>
                    <a:gd name="connsiteY7" fmla="*/ 8434 h 454926"/>
                    <a:gd name="connsiteX8" fmla="*/ 312335 w 510500"/>
                    <a:gd name="connsiteY8" fmla="*/ 87809 h 454926"/>
                    <a:gd name="connsiteX9" fmla="*/ 334560 w 510500"/>
                    <a:gd name="connsiteY9" fmla="*/ 135434 h 454926"/>
                    <a:gd name="connsiteX10" fmla="*/ 445685 w 510500"/>
                    <a:gd name="connsiteY10" fmla="*/ 157659 h 454926"/>
                    <a:gd name="connsiteX11" fmla="*/ 486960 w 510500"/>
                    <a:gd name="connsiteY11" fmla="*/ 183059 h 454926"/>
                    <a:gd name="connsiteX12" fmla="*/ 509185 w 510500"/>
                    <a:gd name="connsiteY12" fmla="*/ 227509 h 454926"/>
                    <a:gd name="connsiteX13" fmla="*/ 506010 w 510500"/>
                    <a:gd name="connsiteY13" fmla="*/ 449759 h 454926"/>
                    <a:gd name="connsiteX14" fmla="*/ 4360 w 510500"/>
                    <a:gd name="connsiteY14" fmla="*/ 443409 h 454926"/>
                    <a:gd name="connsiteX0" fmla="*/ 6473 w 512613"/>
                    <a:gd name="connsiteY0" fmla="*/ 443409 h 454926"/>
                    <a:gd name="connsiteX1" fmla="*/ 9648 w 512613"/>
                    <a:gd name="connsiteY1" fmla="*/ 208459 h 454926"/>
                    <a:gd name="connsiteX2" fmla="*/ 73148 w 512613"/>
                    <a:gd name="connsiteY2" fmla="*/ 154484 h 454926"/>
                    <a:gd name="connsiteX3" fmla="*/ 174748 w 512613"/>
                    <a:gd name="connsiteY3" fmla="*/ 148134 h 454926"/>
                    <a:gd name="connsiteX4" fmla="*/ 190623 w 512613"/>
                    <a:gd name="connsiteY4" fmla="*/ 90984 h 454926"/>
                    <a:gd name="connsiteX5" fmla="*/ 203323 w 512613"/>
                    <a:gd name="connsiteY5" fmla="*/ 11609 h 454926"/>
                    <a:gd name="connsiteX6" fmla="*/ 314448 w 512613"/>
                    <a:gd name="connsiteY6" fmla="*/ 8434 h 454926"/>
                    <a:gd name="connsiteX7" fmla="*/ 314448 w 512613"/>
                    <a:gd name="connsiteY7" fmla="*/ 87809 h 454926"/>
                    <a:gd name="connsiteX8" fmla="*/ 336673 w 512613"/>
                    <a:gd name="connsiteY8" fmla="*/ 135434 h 454926"/>
                    <a:gd name="connsiteX9" fmla="*/ 447798 w 512613"/>
                    <a:gd name="connsiteY9" fmla="*/ 157659 h 454926"/>
                    <a:gd name="connsiteX10" fmla="*/ 489073 w 512613"/>
                    <a:gd name="connsiteY10" fmla="*/ 183059 h 454926"/>
                    <a:gd name="connsiteX11" fmla="*/ 511298 w 512613"/>
                    <a:gd name="connsiteY11" fmla="*/ 227509 h 454926"/>
                    <a:gd name="connsiteX12" fmla="*/ 508123 w 512613"/>
                    <a:gd name="connsiteY12" fmla="*/ 449759 h 454926"/>
                    <a:gd name="connsiteX13" fmla="*/ 6473 w 512613"/>
                    <a:gd name="connsiteY13" fmla="*/ 443409 h 454926"/>
                    <a:gd name="connsiteX0" fmla="*/ 4049 w 510189"/>
                    <a:gd name="connsiteY0" fmla="*/ 443409 h 454926"/>
                    <a:gd name="connsiteX1" fmla="*/ 7224 w 510189"/>
                    <a:gd name="connsiteY1" fmla="*/ 208459 h 454926"/>
                    <a:gd name="connsiteX2" fmla="*/ 70724 w 510189"/>
                    <a:gd name="connsiteY2" fmla="*/ 154484 h 454926"/>
                    <a:gd name="connsiteX3" fmla="*/ 172324 w 510189"/>
                    <a:gd name="connsiteY3" fmla="*/ 148134 h 454926"/>
                    <a:gd name="connsiteX4" fmla="*/ 188199 w 510189"/>
                    <a:gd name="connsiteY4" fmla="*/ 90984 h 454926"/>
                    <a:gd name="connsiteX5" fmla="*/ 200899 w 510189"/>
                    <a:gd name="connsiteY5" fmla="*/ 11609 h 454926"/>
                    <a:gd name="connsiteX6" fmla="*/ 312024 w 510189"/>
                    <a:gd name="connsiteY6" fmla="*/ 8434 h 454926"/>
                    <a:gd name="connsiteX7" fmla="*/ 312024 w 510189"/>
                    <a:gd name="connsiteY7" fmla="*/ 87809 h 454926"/>
                    <a:gd name="connsiteX8" fmla="*/ 334249 w 510189"/>
                    <a:gd name="connsiteY8" fmla="*/ 135434 h 454926"/>
                    <a:gd name="connsiteX9" fmla="*/ 445374 w 510189"/>
                    <a:gd name="connsiteY9" fmla="*/ 157659 h 454926"/>
                    <a:gd name="connsiteX10" fmla="*/ 486649 w 510189"/>
                    <a:gd name="connsiteY10" fmla="*/ 183059 h 454926"/>
                    <a:gd name="connsiteX11" fmla="*/ 508874 w 510189"/>
                    <a:gd name="connsiteY11" fmla="*/ 227509 h 454926"/>
                    <a:gd name="connsiteX12" fmla="*/ 505699 w 510189"/>
                    <a:gd name="connsiteY12" fmla="*/ 449759 h 454926"/>
                    <a:gd name="connsiteX13" fmla="*/ 4049 w 510189"/>
                    <a:gd name="connsiteY13" fmla="*/ 443409 h 454926"/>
                    <a:gd name="connsiteX0" fmla="*/ 4049 w 510189"/>
                    <a:gd name="connsiteY0" fmla="*/ 443409 h 454926"/>
                    <a:gd name="connsiteX1" fmla="*/ 7224 w 510189"/>
                    <a:gd name="connsiteY1" fmla="*/ 208459 h 454926"/>
                    <a:gd name="connsiteX2" fmla="*/ 70724 w 510189"/>
                    <a:gd name="connsiteY2" fmla="*/ 154484 h 454926"/>
                    <a:gd name="connsiteX3" fmla="*/ 172324 w 510189"/>
                    <a:gd name="connsiteY3" fmla="*/ 148134 h 454926"/>
                    <a:gd name="connsiteX4" fmla="*/ 188199 w 510189"/>
                    <a:gd name="connsiteY4" fmla="*/ 90984 h 454926"/>
                    <a:gd name="connsiteX5" fmla="*/ 200899 w 510189"/>
                    <a:gd name="connsiteY5" fmla="*/ 11609 h 454926"/>
                    <a:gd name="connsiteX6" fmla="*/ 312024 w 510189"/>
                    <a:gd name="connsiteY6" fmla="*/ 8434 h 454926"/>
                    <a:gd name="connsiteX7" fmla="*/ 312024 w 510189"/>
                    <a:gd name="connsiteY7" fmla="*/ 87809 h 454926"/>
                    <a:gd name="connsiteX8" fmla="*/ 334249 w 510189"/>
                    <a:gd name="connsiteY8" fmla="*/ 135434 h 454926"/>
                    <a:gd name="connsiteX9" fmla="*/ 445374 w 510189"/>
                    <a:gd name="connsiteY9" fmla="*/ 157659 h 454926"/>
                    <a:gd name="connsiteX10" fmla="*/ 508874 w 510189"/>
                    <a:gd name="connsiteY10" fmla="*/ 227509 h 454926"/>
                    <a:gd name="connsiteX11" fmla="*/ 505699 w 510189"/>
                    <a:gd name="connsiteY11" fmla="*/ 449759 h 454926"/>
                    <a:gd name="connsiteX12" fmla="*/ 4049 w 510189"/>
                    <a:gd name="connsiteY12" fmla="*/ 443409 h 454926"/>
                    <a:gd name="connsiteX0" fmla="*/ 4049 w 510189"/>
                    <a:gd name="connsiteY0" fmla="*/ 443409 h 454926"/>
                    <a:gd name="connsiteX1" fmla="*/ 7224 w 510189"/>
                    <a:gd name="connsiteY1" fmla="*/ 208459 h 454926"/>
                    <a:gd name="connsiteX2" fmla="*/ 70724 w 510189"/>
                    <a:gd name="connsiteY2" fmla="*/ 154484 h 454926"/>
                    <a:gd name="connsiteX3" fmla="*/ 172324 w 510189"/>
                    <a:gd name="connsiteY3" fmla="*/ 148134 h 454926"/>
                    <a:gd name="connsiteX4" fmla="*/ 188199 w 510189"/>
                    <a:gd name="connsiteY4" fmla="*/ 90984 h 454926"/>
                    <a:gd name="connsiteX5" fmla="*/ 200899 w 510189"/>
                    <a:gd name="connsiteY5" fmla="*/ 11609 h 454926"/>
                    <a:gd name="connsiteX6" fmla="*/ 312024 w 510189"/>
                    <a:gd name="connsiteY6" fmla="*/ 8434 h 454926"/>
                    <a:gd name="connsiteX7" fmla="*/ 312024 w 510189"/>
                    <a:gd name="connsiteY7" fmla="*/ 87809 h 454926"/>
                    <a:gd name="connsiteX8" fmla="*/ 334249 w 510189"/>
                    <a:gd name="connsiteY8" fmla="*/ 135434 h 454926"/>
                    <a:gd name="connsiteX9" fmla="*/ 445374 w 510189"/>
                    <a:gd name="connsiteY9" fmla="*/ 157659 h 454926"/>
                    <a:gd name="connsiteX10" fmla="*/ 508874 w 510189"/>
                    <a:gd name="connsiteY10" fmla="*/ 227509 h 454926"/>
                    <a:gd name="connsiteX11" fmla="*/ 505699 w 510189"/>
                    <a:gd name="connsiteY11" fmla="*/ 449759 h 454926"/>
                    <a:gd name="connsiteX12" fmla="*/ 4049 w 510189"/>
                    <a:gd name="connsiteY12" fmla="*/ 443409 h 454926"/>
                    <a:gd name="connsiteX0" fmla="*/ 5987 w 512127"/>
                    <a:gd name="connsiteY0" fmla="*/ 443409 h 454926"/>
                    <a:gd name="connsiteX1" fmla="*/ 2812 w 512127"/>
                    <a:gd name="connsiteY1" fmla="*/ 217984 h 454926"/>
                    <a:gd name="connsiteX2" fmla="*/ 72662 w 512127"/>
                    <a:gd name="connsiteY2" fmla="*/ 154484 h 454926"/>
                    <a:gd name="connsiteX3" fmla="*/ 174262 w 512127"/>
                    <a:gd name="connsiteY3" fmla="*/ 148134 h 454926"/>
                    <a:gd name="connsiteX4" fmla="*/ 190137 w 512127"/>
                    <a:gd name="connsiteY4" fmla="*/ 90984 h 454926"/>
                    <a:gd name="connsiteX5" fmla="*/ 202837 w 512127"/>
                    <a:gd name="connsiteY5" fmla="*/ 11609 h 454926"/>
                    <a:gd name="connsiteX6" fmla="*/ 313962 w 512127"/>
                    <a:gd name="connsiteY6" fmla="*/ 8434 h 454926"/>
                    <a:gd name="connsiteX7" fmla="*/ 313962 w 512127"/>
                    <a:gd name="connsiteY7" fmla="*/ 87809 h 454926"/>
                    <a:gd name="connsiteX8" fmla="*/ 336187 w 512127"/>
                    <a:gd name="connsiteY8" fmla="*/ 135434 h 454926"/>
                    <a:gd name="connsiteX9" fmla="*/ 447312 w 512127"/>
                    <a:gd name="connsiteY9" fmla="*/ 157659 h 454926"/>
                    <a:gd name="connsiteX10" fmla="*/ 510812 w 512127"/>
                    <a:gd name="connsiteY10" fmla="*/ 227509 h 454926"/>
                    <a:gd name="connsiteX11" fmla="*/ 507637 w 512127"/>
                    <a:gd name="connsiteY11" fmla="*/ 449759 h 454926"/>
                    <a:gd name="connsiteX12" fmla="*/ 5987 w 512127"/>
                    <a:gd name="connsiteY12" fmla="*/ 443409 h 454926"/>
                    <a:gd name="connsiteX0" fmla="*/ 9762 w 515902"/>
                    <a:gd name="connsiteY0" fmla="*/ 443409 h 454926"/>
                    <a:gd name="connsiteX1" fmla="*/ 6587 w 515902"/>
                    <a:gd name="connsiteY1" fmla="*/ 217984 h 454926"/>
                    <a:gd name="connsiteX2" fmla="*/ 76437 w 515902"/>
                    <a:gd name="connsiteY2" fmla="*/ 154484 h 454926"/>
                    <a:gd name="connsiteX3" fmla="*/ 178037 w 515902"/>
                    <a:gd name="connsiteY3" fmla="*/ 148134 h 454926"/>
                    <a:gd name="connsiteX4" fmla="*/ 193912 w 515902"/>
                    <a:gd name="connsiteY4" fmla="*/ 90984 h 454926"/>
                    <a:gd name="connsiteX5" fmla="*/ 206612 w 515902"/>
                    <a:gd name="connsiteY5" fmla="*/ 11609 h 454926"/>
                    <a:gd name="connsiteX6" fmla="*/ 317737 w 515902"/>
                    <a:gd name="connsiteY6" fmla="*/ 8434 h 454926"/>
                    <a:gd name="connsiteX7" fmla="*/ 317737 w 515902"/>
                    <a:gd name="connsiteY7" fmla="*/ 87809 h 454926"/>
                    <a:gd name="connsiteX8" fmla="*/ 339962 w 515902"/>
                    <a:gd name="connsiteY8" fmla="*/ 135434 h 454926"/>
                    <a:gd name="connsiteX9" fmla="*/ 451087 w 515902"/>
                    <a:gd name="connsiteY9" fmla="*/ 157659 h 454926"/>
                    <a:gd name="connsiteX10" fmla="*/ 514587 w 515902"/>
                    <a:gd name="connsiteY10" fmla="*/ 227509 h 454926"/>
                    <a:gd name="connsiteX11" fmla="*/ 511412 w 515902"/>
                    <a:gd name="connsiteY11" fmla="*/ 449759 h 454926"/>
                    <a:gd name="connsiteX12" fmla="*/ 9762 w 515902"/>
                    <a:gd name="connsiteY12" fmla="*/ 443409 h 454926"/>
                    <a:gd name="connsiteX0" fmla="*/ 9762 w 515902"/>
                    <a:gd name="connsiteY0" fmla="*/ 443409 h 454926"/>
                    <a:gd name="connsiteX1" fmla="*/ 6587 w 515902"/>
                    <a:gd name="connsiteY1" fmla="*/ 217984 h 454926"/>
                    <a:gd name="connsiteX2" fmla="*/ 76437 w 515902"/>
                    <a:gd name="connsiteY2" fmla="*/ 154484 h 454926"/>
                    <a:gd name="connsiteX3" fmla="*/ 178037 w 515902"/>
                    <a:gd name="connsiteY3" fmla="*/ 148134 h 454926"/>
                    <a:gd name="connsiteX4" fmla="*/ 193912 w 515902"/>
                    <a:gd name="connsiteY4" fmla="*/ 90984 h 454926"/>
                    <a:gd name="connsiteX5" fmla="*/ 206612 w 515902"/>
                    <a:gd name="connsiteY5" fmla="*/ 11609 h 454926"/>
                    <a:gd name="connsiteX6" fmla="*/ 317737 w 515902"/>
                    <a:gd name="connsiteY6" fmla="*/ 8434 h 454926"/>
                    <a:gd name="connsiteX7" fmla="*/ 317737 w 515902"/>
                    <a:gd name="connsiteY7" fmla="*/ 87809 h 454926"/>
                    <a:gd name="connsiteX8" fmla="*/ 339962 w 515902"/>
                    <a:gd name="connsiteY8" fmla="*/ 135434 h 454926"/>
                    <a:gd name="connsiteX9" fmla="*/ 451087 w 515902"/>
                    <a:gd name="connsiteY9" fmla="*/ 157659 h 454926"/>
                    <a:gd name="connsiteX10" fmla="*/ 514587 w 515902"/>
                    <a:gd name="connsiteY10" fmla="*/ 227509 h 454926"/>
                    <a:gd name="connsiteX11" fmla="*/ 511412 w 515902"/>
                    <a:gd name="connsiteY11" fmla="*/ 449759 h 454926"/>
                    <a:gd name="connsiteX12" fmla="*/ 9762 w 515902"/>
                    <a:gd name="connsiteY12" fmla="*/ 443409 h 454926"/>
                    <a:gd name="connsiteX0" fmla="*/ 9762 w 515902"/>
                    <a:gd name="connsiteY0" fmla="*/ 443409 h 454926"/>
                    <a:gd name="connsiteX1" fmla="*/ 6587 w 515902"/>
                    <a:gd name="connsiteY1" fmla="*/ 217984 h 454926"/>
                    <a:gd name="connsiteX2" fmla="*/ 76437 w 515902"/>
                    <a:gd name="connsiteY2" fmla="*/ 154484 h 454926"/>
                    <a:gd name="connsiteX3" fmla="*/ 193912 w 515902"/>
                    <a:gd name="connsiteY3" fmla="*/ 90984 h 454926"/>
                    <a:gd name="connsiteX4" fmla="*/ 206612 w 515902"/>
                    <a:gd name="connsiteY4" fmla="*/ 11609 h 454926"/>
                    <a:gd name="connsiteX5" fmla="*/ 317737 w 515902"/>
                    <a:gd name="connsiteY5" fmla="*/ 8434 h 454926"/>
                    <a:gd name="connsiteX6" fmla="*/ 317737 w 515902"/>
                    <a:gd name="connsiteY6" fmla="*/ 87809 h 454926"/>
                    <a:gd name="connsiteX7" fmla="*/ 339962 w 515902"/>
                    <a:gd name="connsiteY7" fmla="*/ 135434 h 454926"/>
                    <a:gd name="connsiteX8" fmla="*/ 451087 w 515902"/>
                    <a:gd name="connsiteY8" fmla="*/ 157659 h 454926"/>
                    <a:gd name="connsiteX9" fmla="*/ 514587 w 515902"/>
                    <a:gd name="connsiteY9" fmla="*/ 227509 h 454926"/>
                    <a:gd name="connsiteX10" fmla="*/ 511412 w 515902"/>
                    <a:gd name="connsiteY10" fmla="*/ 449759 h 454926"/>
                    <a:gd name="connsiteX11" fmla="*/ 9762 w 515902"/>
                    <a:gd name="connsiteY11" fmla="*/ 443409 h 454926"/>
                    <a:gd name="connsiteX0" fmla="*/ 9762 w 515902"/>
                    <a:gd name="connsiteY0" fmla="*/ 446099 h 457616"/>
                    <a:gd name="connsiteX1" fmla="*/ 6587 w 515902"/>
                    <a:gd name="connsiteY1" fmla="*/ 220674 h 457616"/>
                    <a:gd name="connsiteX2" fmla="*/ 76437 w 515902"/>
                    <a:gd name="connsiteY2" fmla="*/ 157174 h 457616"/>
                    <a:gd name="connsiteX3" fmla="*/ 190737 w 515902"/>
                    <a:gd name="connsiteY3" fmla="*/ 138124 h 457616"/>
                    <a:gd name="connsiteX4" fmla="*/ 206612 w 515902"/>
                    <a:gd name="connsiteY4" fmla="*/ 14299 h 457616"/>
                    <a:gd name="connsiteX5" fmla="*/ 317737 w 515902"/>
                    <a:gd name="connsiteY5" fmla="*/ 11124 h 457616"/>
                    <a:gd name="connsiteX6" fmla="*/ 317737 w 515902"/>
                    <a:gd name="connsiteY6" fmla="*/ 90499 h 457616"/>
                    <a:gd name="connsiteX7" fmla="*/ 339962 w 515902"/>
                    <a:gd name="connsiteY7" fmla="*/ 138124 h 457616"/>
                    <a:gd name="connsiteX8" fmla="*/ 451087 w 515902"/>
                    <a:gd name="connsiteY8" fmla="*/ 160349 h 457616"/>
                    <a:gd name="connsiteX9" fmla="*/ 514587 w 515902"/>
                    <a:gd name="connsiteY9" fmla="*/ 230199 h 457616"/>
                    <a:gd name="connsiteX10" fmla="*/ 511412 w 515902"/>
                    <a:gd name="connsiteY10" fmla="*/ 452449 h 457616"/>
                    <a:gd name="connsiteX11" fmla="*/ 9762 w 515902"/>
                    <a:gd name="connsiteY11" fmla="*/ 446099 h 457616"/>
                    <a:gd name="connsiteX0" fmla="*/ 9762 w 515902"/>
                    <a:gd name="connsiteY0" fmla="*/ 446099 h 457616"/>
                    <a:gd name="connsiteX1" fmla="*/ 6587 w 515902"/>
                    <a:gd name="connsiteY1" fmla="*/ 220674 h 457616"/>
                    <a:gd name="connsiteX2" fmla="*/ 76437 w 515902"/>
                    <a:gd name="connsiteY2" fmla="*/ 157174 h 457616"/>
                    <a:gd name="connsiteX3" fmla="*/ 190737 w 515902"/>
                    <a:gd name="connsiteY3" fmla="*/ 138124 h 457616"/>
                    <a:gd name="connsiteX4" fmla="*/ 206612 w 515902"/>
                    <a:gd name="connsiteY4" fmla="*/ 14299 h 457616"/>
                    <a:gd name="connsiteX5" fmla="*/ 317737 w 515902"/>
                    <a:gd name="connsiteY5" fmla="*/ 11124 h 457616"/>
                    <a:gd name="connsiteX6" fmla="*/ 317737 w 515902"/>
                    <a:gd name="connsiteY6" fmla="*/ 90499 h 457616"/>
                    <a:gd name="connsiteX7" fmla="*/ 451087 w 515902"/>
                    <a:gd name="connsiteY7" fmla="*/ 160349 h 457616"/>
                    <a:gd name="connsiteX8" fmla="*/ 514587 w 515902"/>
                    <a:gd name="connsiteY8" fmla="*/ 230199 h 457616"/>
                    <a:gd name="connsiteX9" fmla="*/ 511412 w 515902"/>
                    <a:gd name="connsiteY9" fmla="*/ 452449 h 457616"/>
                    <a:gd name="connsiteX10" fmla="*/ 9762 w 515902"/>
                    <a:gd name="connsiteY10" fmla="*/ 446099 h 457616"/>
                    <a:gd name="connsiteX0" fmla="*/ 9762 w 515902"/>
                    <a:gd name="connsiteY0" fmla="*/ 447482 h 458999"/>
                    <a:gd name="connsiteX1" fmla="*/ 6587 w 515902"/>
                    <a:gd name="connsiteY1" fmla="*/ 222057 h 458999"/>
                    <a:gd name="connsiteX2" fmla="*/ 76437 w 515902"/>
                    <a:gd name="connsiteY2" fmla="*/ 158557 h 458999"/>
                    <a:gd name="connsiteX3" fmla="*/ 190737 w 515902"/>
                    <a:gd name="connsiteY3" fmla="*/ 139507 h 458999"/>
                    <a:gd name="connsiteX4" fmla="*/ 206612 w 515902"/>
                    <a:gd name="connsiteY4" fmla="*/ 15682 h 458999"/>
                    <a:gd name="connsiteX5" fmla="*/ 317737 w 515902"/>
                    <a:gd name="connsiteY5" fmla="*/ 12507 h 458999"/>
                    <a:gd name="connsiteX6" fmla="*/ 330437 w 515902"/>
                    <a:gd name="connsiteY6" fmla="*/ 114107 h 458999"/>
                    <a:gd name="connsiteX7" fmla="*/ 451087 w 515902"/>
                    <a:gd name="connsiteY7" fmla="*/ 161732 h 458999"/>
                    <a:gd name="connsiteX8" fmla="*/ 514587 w 515902"/>
                    <a:gd name="connsiteY8" fmla="*/ 231582 h 458999"/>
                    <a:gd name="connsiteX9" fmla="*/ 511412 w 515902"/>
                    <a:gd name="connsiteY9" fmla="*/ 453832 h 458999"/>
                    <a:gd name="connsiteX10" fmla="*/ 9762 w 515902"/>
                    <a:gd name="connsiteY10" fmla="*/ 447482 h 458999"/>
                    <a:gd name="connsiteX0" fmla="*/ 9762 w 515902"/>
                    <a:gd name="connsiteY0" fmla="*/ 446348 h 457865"/>
                    <a:gd name="connsiteX1" fmla="*/ 6587 w 515902"/>
                    <a:gd name="connsiteY1" fmla="*/ 220923 h 457865"/>
                    <a:gd name="connsiteX2" fmla="*/ 76437 w 515902"/>
                    <a:gd name="connsiteY2" fmla="*/ 157423 h 457865"/>
                    <a:gd name="connsiteX3" fmla="*/ 200262 w 515902"/>
                    <a:gd name="connsiteY3" fmla="*/ 119323 h 457865"/>
                    <a:gd name="connsiteX4" fmla="*/ 206612 w 515902"/>
                    <a:gd name="connsiteY4" fmla="*/ 14548 h 457865"/>
                    <a:gd name="connsiteX5" fmla="*/ 317737 w 515902"/>
                    <a:gd name="connsiteY5" fmla="*/ 11373 h 457865"/>
                    <a:gd name="connsiteX6" fmla="*/ 330437 w 515902"/>
                    <a:gd name="connsiteY6" fmla="*/ 112973 h 457865"/>
                    <a:gd name="connsiteX7" fmla="*/ 451087 w 515902"/>
                    <a:gd name="connsiteY7" fmla="*/ 160598 h 457865"/>
                    <a:gd name="connsiteX8" fmla="*/ 514587 w 515902"/>
                    <a:gd name="connsiteY8" fmla="*/ 230448 h 457865"/>
                    <a:gd name="connsiteX9" fmla="*/ 511412 w 515902"/>
                    <a:gd name="connsiteY9" fmla="*/ 452698 h 457865"/>
                    <a:gd name="connsiteX10" fmla="*/ 9762 w 515902"/>
                    <a:gd name="connsiteY10" fmla="*/ 446348 h 457865"/>
                    <a:gd name="connsiteX0" fmla="*/ 9762 w 515902"/>
                    <a:gd name="connsiteY0" fmla="*/ 446681 h 458198"/>
                    <a:gd name="connsiteX1" fmla="*/ 6587 w 515902"/>
                    <a:gd name="connsiteY1" fmla="*/ 221256 h 458198"/>
                    <a:gd name="connsiteX2" fmla="*/ 76437 w 515902"/>
                    <a:gd name="connsiteY2" fmla="*/ 157756 h 458198"/>
                    <a:gd name="connsiteX3" fmla="*/ 200262 w 515902"/>
                    <a:gd name="connsiteY3" fmla="*/ 119656 h 458198"/>
                    <a:gd name="connsiteX4" fmla="*/ 206612 w 515902"/>
                    <a:gd name="connsiteY4" fmla="*/ 14881 h 458198"/>
                    <a:gd name="connsiteX5" fmla="*/ 317737 w 515902"/>
                    <a:gd name="connsiteY5" fmla="*/ 11706 h 458198"/>
                    <a:gd name="connsiteX6" fmla="*/ 311502 w 515902"/>
                    <a:gd name="connsiteY6" fmla="*/ 118302 h 458198"/>
                    <a:gd name="connsiteX7" fmla="*/ 451087 w 515902"/>
                    <a:gd name="connsiteY7" fmla="*/ 160931 h 458198"/>
                    <a:gd name="connsiteX8" fmla="*/ 514587 w 515902"/>
                    <a:gd name="connsiteY8" fmla="*/ 230781 h 458198"/>
                    <a:gd name="connsiteX9" fmla="*/ 511412 w 515902"/>
                    <a:gd name="connsiteY9" fmla="*/ 453031 h 458198"/>
                    <a:gd name="connsiteX10" fmla="*/ 9762 w 515902"/>
                    <a:gd name="connsiteY10" fmla="*/ 446681 h 458198"/>
                    <a:gd name="connsiteX0" fmla="*/ 9762 w 515902"/>
                    <a:gd name="connsiteY0" fmla="*/ 446681 h 458198"/>
                    <a:gd name="connsiteX1" fmla="*/ 6587 w 515902"/>
                    <a:gd name="connsiteY1" fmla="*/ 221256 h 458198"/>
                    <a:gd name="connsiteX2" fmla="*/ 76437 w 515902"/>
                    <a:gd name="connsiteY2" fmla="*/ 157756 h 458198"/>
                    <a:gd name="connsiteX3" fmla="*/ 200262 w 515902"/>
                    <a:gd name="connsiteY3" fmla="*/ 119656 h 458198"/>
                    <a:gd name="connsiteX4" fmla="*/ 206612 w 515902"/>
                    <a:gd name="connsiteY4" fmla="*/ 14881 h 458198"/>
                    <a:gd name="connsiteX5" fmla="*/ 301506 w 515902"/>
                    <a:gd name="connsiteY5" fmla="*/ 11706 h 458198"/>
                    <a:gd name="connsiteX6" fmla="*/ 311502 w 515902"/>
                    <a:gd name="connsiteY6" fmla="*/ 118302 h 458198"/>
                    <a:gd name="connsiteX7" fmla="*/ 451087 w 515902"/>
                    <a:gd name="connsiteY7" fmla="*/ 160931 h 458198"/>
                    <a:gd name="connsiteX8" fmla="*/ 514587 w 515902"/>
                    <a:gd name="connsiteY8" fmla="*/ 230781 h 458198"/>
                    <a:gd name="connsiteX9" fmla="*/ 511412 w 515902"/>
                    <a:gd name="connsiteY9" fmla="*/ 453031 h 458198"/>
                    <a:gd name="connsiteX10" fmla="*/ 9762 w 515902"/>
                    <a:gd name="connsiteY10" fmla="*/ 446681 h 458198"/>
                    <a:gd name="connsiteX0" fmla="*/ 9762 w 515902"/>
                    <a:gd name="connsiteY0" fmla="*/ 446681 h 458198"/>
                    <a:gd name="connsiteX1" fmla="*/ 6587 w 515902"/>
                    <a:gd name="connsiteY1" fmla="*/ 221256 h 458198"/>
                    <a:gd name="connsiteX2" fmla="*/ 76437 w 515902"/>
                    <a:gd name="connsiteY2" fmla="*/ 157756 h 458198"/>
                    <a:gd name="connsiteX3" fmla="*/ 200262 w 515902"/>
                    <a:gd name="connsiteY3" fmla="*/ 119656 h 458198"/>
                    <a:gd name="connsiteX4" fmla="*/ 206612 w 515902"/>
                    <a:gd name="connsiteY4" fmla="*/ 14881 h 458198"/>
                    <a:gd name="connsiteX5" fmla="*/ 301506 w 515902"/>
                    <a:gd name="connsiteY5" fmla="*/ 11706 h 458198"/>
                    <a:gd name="connsiteX6" fmla="*/ 311502 w 515902"/>
                    <a:gd name="connsiteY6" fmla="*/ 118302 h 458198"/>
                    <a:gd name="connsiteX7" fmla="*/ 442972 w 515902"/>
                    <a:gd name="connsiteY7" fmla="*/ 180912 h 458198"/>
                    <a:gd name="connsiteX8" fmla="*/ 514587 w 515902"/>
                    <a:gd name="connsiteY8" fmla="*/ 230781 h 458198"/>
                    <a:gd name="connsiteX9" fmla="*/ 511412 w 515902"/>
                    <a:gd name="connsiteY9" fmla="*/ 453031 h 458198"/>
                    <a:gd name="connsiteX10" fmla="*/ 9762 w 515902"/>
                    <a:gd name="connsiteY10" fmla="*/ 446681 h 458198"/>
                    <a:gd name="connsiteX0" fmla="*/ 9762 w 511905"/>
                    <a:gd name="connsiteY0" fmla="*/ 446681 h 458198"/>
                    <a:gd name="connsiteX1" fmla="*/ 6587 w 511905"/>
                    <a:gd name="connsiteY1" fmla="*/ 221256 h 458198"/>
                    <a:gd name="connsiteX2" fmla="*/ 76437 w 511905"/>
                    <a:gd name="connsiteY2" fmla="*/ 157756 h 458198"/>
                    <a:gd name="connsiteX3" fmla="*/ 200262 w 511905"/>
                    <a:gd name="connsiteY3" fmla="*/ 119656 h 458198"/>
                    <a:gd name="connsiteX4" fmla="*/ 206612 w 511905"/>
                    <a:gd name="connsiteY4" fmla="*/ 14881 h 458198"/>
                    <a:gd name="connsiteX5" fmla="*/ 301506 w 511905"/>
                    <a:gd name="connsiteY5" fmla="*/ 11706 h 458198"/>
                    <a:gd name="connsiteX6" fmla="*/ 311502 w 511905"/>
                    <a:gd name="connsiteY6" fmla="*/ 118302 h 458198"/>
                    <a:gd name="connsiteX7" fmla="*/ 442972 w 511905"/>
                    <a:gd name="connsiteY7" fmla="*/ 180912 h 458198"/>
                    <a:gd name="connsiteX8" fmla="*/ 498357 w 511905"/>
                    <a:gd name="connsiteY8" fmla="*/ 250762 h 458198"/>
                    <a:gd name="connsiteX9" fmla="*/ 511412 w 511905"/>
                    <a:gd name="connsiteY9" fmla="*/ 453031 h 458198"/>
                    <a:gd name="connsiteX10" fmla="*/ 9762 w 511905"/>
                    <a:gd name="connsiteY10" fmla="*/ 446681 h 458198"/>
                    <a:gd name="connsiteX0" fmla="*/ 9762 w 511905"/>
                    <a:gd name="connsiteY0" fmla="*/ 446681 h 458198"/>
                    <a:gd name="connsiteX1" fmla="*/ 6587 w 511905"/>
                    <a:gd name="connsiteY1" fmla="*/ 221256 h 458198"/>
                    <a:gd name="connsiteX2" fmla="*/ 76437 w 511905"/>
                    <a:gd name="connsiteY2" fmla="*/ 157756 h 458198"/>
                    <a:gd name="connsiteX3" fmla="*/ 200262 w 511905"/>
                    <a:gd name="connsiteY3" fmla="*/ 119656 h 458198"/>
                    <a:gd name="connsiteX4" fmla="*/ 206612 w 511905"/>
                    <a:gd name="connsiteY4" fmla="*/ 14881 h 458198"/>
                    <a:gd name="connsiteX5" fmla="*/ 301506 w 511905"/>
                    <a:gd name="connsiteY5" fmla="*/ 11706 h 458198"/>
                    <a:gd name="connsiteX6" fmla="*/ 311502 w 511905"/>
                    <a:gd name="connsiteY6" fmla="*/ 118302 h 458198"/>
                    <a:gd name="connsiteX7" fmla="*/ 437562 w 511905"/>
                    <a:gd name="connsiteY7" fmla="*/ 198396 h 458198"/>
                    <a:gd name="connsiteX8" fmla="*/ 498357 w 511905"/>
                    <a:gd name="connsiteY8" fmla="*/ 250762 h 458198"/>
                    <a:gd name="connsiteX9" fmla="*/ 511412 w 511905"/>
                    <a:gd name="connsiteY9" fmla="*/ 453031 h 458198"/>
                    <a:gd name="connsiteX10" fmla="*/ 9762 w 511905"/>
                    <a:gd name="connsiteY10" fmla="*/ 446681 h 458198"/>
                    <a:gd name="connsiteX0" fmla="*/ 9762 w 511905"/>
                    <a:gd name="connsiteY0" fmla="*/ 446681 h 458198"/>
                    <a:gd name="connsiteX1" fmla="*/ 6587 w 511905"/>
                    <a:gd name="connsiteY1" fmla="*/ 221256 h 458198"/>
                    <a:gd name="connsiteX2" fmla="*/ 76437 w 511905"/>
                    <a:gd name="connsiteY2" fmla="*/ 157756 h 458198"/>
                    <a:gd name="connsiteX3" fmla="*/ 200262 w 511905"/>
                    <a:gd name="connsiteY3" fmla="*/ 119656 h 458198"/>
                    <a:gd name="connsiteX4" fmla="*/ 206612 w 511905"/>
                    <a:gd name="connsiteY4" fmla="*/ 14881 h 458198"/>
                    <a:gd name="connsiteX5" fmla="*/ 301506 w 511905"/>
                    <a:gd name="connsiteY5" fmla="*/ 11706 h 458198"/>
                    <a:gd name="connsiteX6" fmla="*/ 311502 w 511905"/>
                    <a:gd name="connsiteY6" fmla="*/ 118302 h 458198"/>
                    <a:gd name="connsiteX7" fmla="*/ 451087 w 511905"/>
                    <a:gd name="connsiteY7" fmla="*/ 188406 h 458198"/>
                    <a:gd name="connsiteX8" fmla="*/ 498357 w 511905"/>
                    <a:gd name="connsiteY8" fmla="*/ 250762 h 458198"/>
                    <a:gd name="connsiteX9" fmla="*/ 511412 w 511905"/>
                    <a:gd name="connsiteY9" fmla="*/ 453031 h 458198"/>
                    <a:gd name="connsiteX10" fmla="*/ 9762 w 511905"/>
                    <a:gd name="connsiteY10" fmla="*/ 446681 h 458198"/>
                    <a:gd name="connsiteX0" fmla="*/ 9762 w 511905"/>
                    <a:gd name="connsiteY0" fmla="*/ 447695 h 459212"/>
                    <a:gd name="connsiteX1" fmla="*/ 6587 w 511905"/>
                    <a:gd name="connsiteY1" fmla="*/ 222270 h 459212"/>
                    <a:gd name="connsiteX2" fmla="*/ 76437 w 511905"/>
                    <a:gd name="connsiteY2" fmla="*/ 158770 h 459212"/>
                    <a:gd name="connsiteX3" fmla="*/ 200262 w 511905"/>
                    <a:gd name="connsiteY3" fmla="*/ 120670 h 459212"/>
                    <a:gd name="connsiteX4" fmla="*/ 206612 w 511905"/>
                    <a:gd name="connsiteY4" fmla="*/ 15895 h 459212"/>
                    <a:gd name="connsiteX5" fmla="*/ 301506 w 511905"/>
                    <a:gd name="connsiteY5" fmla="*/ 12720 h 459212"/>
                    <a:gd name="connsiteX6" fmla="*/ 311502 w 511905"/>
                    <a:gd name="connsiteY6" fmla="*/ 134302 h 459212"/>
                    <a:gd name="connsiteX7" fmla="*/ 451087 w 511905"/>
                    <a:gd name="connsiteY7" fmla="*/ 189420 h 459212"/>
                    <a:gd name="connsiteX8" fmla="*/ 498357 w 511905"/>
                    <a:gd name="connsiteY8" fmla="*/ 251776 h 459212"/>
                    <a:gd name="connsiteX9" fmla="*/ 511412 w 511905"/>
                    <a:gd name="connsiteY9" fmla="*/ 454045 h 459212"/>
                    <a:gd name="connsiteX10" fmla="*/ 9762 w 511905"/>
                    <a:gd name="connsiteY10" fmla="*/ 447695 h 459212"/>
                    <a:gd name="connsiteX0" fmla="*/ 4227 w 522600"/>
                    <a:gd name="connsiteY0" fmla="*/ 455188 h 463021"/>
                    <a:gd name="connsiteX1" fmla="*/ 17282 w 522600"/>
                    <a:gd name="connsiteY1" fmla="*/ 222270 h 463021"/>
                    <a:gd name="connsiteX2" fmla="*/ 87132 w 522600"/>
                    <a:gd name="connsiteY2" fmla="*/ 158770 h 463021"/>
                    <a:gd name="connsiteX3" fmla="*/ 210957 w 522600"/>
                    <a:gd name="connsiteY3" fmla="*/ 120670 h 463021"/>
                    <a:gd name="connsiteX4" fmla="*/ 217307 w 522600"/>
                    <a:gd name="connsiteY4" fmla="*/ 15895 h 463021"/>
                    <a:gd name="connsiteX5" fmla="*/ 312201 w 522600"/>
                    <a:gd name="connsiteY5" fmla="*/ 12720 h 463021"/>
                    <a:gd name="connsiteX6" fmla="*/ 322197 w 522600"/>
                    <a:gd name="connsiteY6" fmla="*/ 134302 h 463021"/>
                    <a:gd name="connsiteX7" fmla="*/ 461782 w 522600"/>
                    <a:gd name="connsiteY7" fmla="*/ 189420 h 463021"/>
                    <a:gd name="connsiteX8" fmla="*/ 509052 w 522600"/>
                    <a:gd name="connsiteY8" fmla="*/ 251776 h 463021"/>
                    <a:gd name="connsiteX9" fmla="*/ 522107 w 522600"/>
                    <a:gd name="connsiteY9" fmla="*/ 454045 h 463021"/>
                    <a:gd name="connsiteX10" fmla="*/ 4227 w 522600"/>
                    <a:gd name="connsiteY10" fmla="*/ 455188 h 463021"/>
                    <a:gd name="connsiteX0" fmla="*/ 4227 w 522600"/>
                    <a:gd name="connsiteY0" fmla="*/ 455188 h 457596"/>
                    <a:gd name="connsiteX1" fmla="*/ 17282 w 522600"/>
                    <a:gd name="connsiteY1" fmla="*/ 222270 h 457596"/>
                    <a:gd name="connsiteX2" fmla="*/ 87132 w 522600"/>
                    <a:gd name="connsiteY2" fmla="*/ 158770 h 457596"/>
                    <a:gd name="connsiteX3" fmla="*/ 210957 w 522600"/>
                    <a:gd name="connsiteY3" fmla="*/ 120670 h 457596"/>
                    <a:gd name="connsiteX4" fmla="*/ 217307 w 522600"/>
                    <a:gd name="connsiteY4" fmla="*/ 15895 h 457596"/>
                    <a:gd name="connsiteX5" fmla="*/ 312201 w 522600"/>
                    <a:gd name="connsiteY5" fmla="*/ 12720 h 457596"/>
                    <a:gd name="connsiteX6" fmla="*/ 322197 w 522600"/>
                    <a:gd name="connsiteY6" fmla="*/ 134302 h 457596"/>
                    <a:gd name="connsiteX7" fmla="*/ 461782 w 522600"/>
                    <a:gd name="connsiteY7" fmla="*/ 189420 h 457596"/>
                    <a:gd name="connsiteX8" fmla="*/ 509052 w 522600"/>
                    <a:gd name="connsiteY8" fmla="*/ 251776 h 457596"/>
                    <a:gd name="connsiteX9" fmla="*/ 522107 w 522600"/>
                    <a:gd name="connsiteY9" fmla="*/ 454045 h 457596"/>
                    <a:gd name="connsiteX10" fmla="*/ 4227 w 522600"/>
                    <a:gd name="connsiteY10" fmla="*/ 455188 h 457596"/>
                    <a:gd name="connsiteX0" fmla="*/ 12757 w 531130"/>
                    <a:gd name="connsiteY0" fmla="*/ 455188 h 457596"/>
                    <a:gd name="connsiteX1" fmla="*/ 6876 w 531130"/>
                    <a:gd name="connsiteY1" fmla="*/ 237256 h 457596"/>
                    <a:gd name="connsiteX2" fmla="*/ 95662 w 531130"/>
                    <a:gd name="connsiteY2" fmla="*/ 158770 h 457596"/>
                    <a:gd name="connsiteX3" fmla="*/ 219487 w 531130"/>
                    <a:gd name="connsiteY3" fmla="*/ 120670 h 457596"/>
                    <a:gd name="connsiteX4" fmla="*/ 225837 w 531130"/>
                    <a:gd name="connsiteY4" fmla="*/ 15895 h 457596"/>
                    <a:gd name="connsiteX5" fmla="*/ 320731 w 531130"/>
                    <a:gd name="connsiteY5" fmla="*/ 12720 h 457596"/>
                    <a:gd name="connsiteX6" fmla="*/ 330727 w 531130"/>
                    <a:gd name="connsiteY6" fmla="*/ 134302 h 457596"/>
                    <a:gd name="connsiteX7" fmla="*/ 470312 w 531130"/>
                    <a:gd name="connsiteY7" fmla="*/ 189420 h 457596"/>
                    <a:gd name="connsiteX8" fmla="*/ 517582 w 531130"/>
                    <a:gd name="connsiteY8" fmla="*/ 251776 h 457596"/>
                    <a:gd name="connsiteX9" fmla="*/ 530637 w 531130"/>
                    <a:gd name="connsiteY9" fmla="*/ 454045 h 457596"/>
                    <a:gd name="connsiteX10" fmla="*/ 12757 w 531130"/>
                    <a:gd name="connsiteY10" fmla="*/ 455188 h 457596"/>
                    <a:gd name="connsiteX0" fmla="*/ 7226 w 536419"/>
                    <a:gd name="connsiteY0" fmla="*/ 447695 h 456315"/>
                    <a:gd name="connsiteX1" fmla="*/ 12165 w 536419"/>
                    <a:gd name="connsiteY1" fmla="*/ 237256 h 456315"/>
                    <a:gd name="connsiteX2" fmla="*/ 100951 w 536419"/>
                    <a:gd name="connsiteY2" fmla="*/ 158770 h 456315"/>
                    <a:gd name="connsiteX3" fmla="*/ 224776 w 536419"/>
                    <a:gd name="connsiteY3" fmla="*/ 120670 h 456315"/>
                    <a:gd name="connsiteX4" fmla="*/ 231126 w 536419"/>
                    <a:gd name="connsiteY4" fmla="*/ 15895 h 456315"/>
                    <a:gd name="connsiteX5" fmla="*/ 326020 w 536419"/>
                    <a:gd name="connsiteY5" fmla="*/ 12720 h 456315"/>
                    <a:gd name="connsiteX6" fmla="*/ 336016 w 536419"/>
                    <a:gd name="connsiteY6" fmla="*/ 134302 h 456315"/>
                    <a:gd name="connsiteX7" fmla="*/ 475601 w 536419"/>
                    <a:gd name="connsiteY7" fmla="*/ 189420 h 456315"/>
                    <a:gd name="connsiteX8" fmla="*/ 522871 w 536419"/>
                    <a:gd name="connsiteY8" fmla="*/ 251776 h 456315"/>
                    <a:gd name="connsiteX9" fmla="*/ 535926 w 536419"/>
                    <a:gd name="connsiteY9" fmla="*/ 454045 h 456315"/>
                    <a:gd name="connsiteX10" fmla="*/ 7226 w 536419"/>
                    <a:gd name="connsiteY10" fmla="*/ 447695 h 456315"/>
                    <a:gd name="connsiteX0" fmla="*/ 7226 w 528834"/>
                    <a:gd name="connsiteY0" fmla="*/ 447695 h 456315"/>
                    <a:gd name="connsiteX1" fmla="*/ 12165 w 528834"/>
                    <a:gd name="connsiteY1" fmla="*/ 237256 h 456315"/>
                    <a:gd name="connsiteX2" fmla="*/ 100951 w 528834"/>
                    <a:gd name="connsiteY2" fmla="*/ 158770 h 456315"/>
                    <a:gd name="connsiteX3" fmla="*/ 224776 w 528834"/>
                    <a:gd name="connsiteY3" fmla="*/ 120670 h 456315"/>
                    <a:gd name="connsiteX4" fmla="*/ 231126 w 528834"/>
                    <a:gd name="connsiteY4" fmla="*/ 15895 h 456315"/>
                    <a:gd name="connsiteX5" fmla="*/ 326020 w 528834"/>
                    <a:gd name="connsiteY5" fmla="*/ 12720 h 456315"/>
                    <a:gd name="connsiteX6" fmla="*/ 336016 w 528834"/>
                    <a:gd name="connsiteY6" fmla="*/ 134302 h 456315"/>
                    <a:gd name="connsiteX7" fmla="*/ 475601 w 528834"/>
                    <a:gd name="connsiteY7" fmla="*/ 189420 h 456315"/>
                    <a:gd name="connsiteX8" fmla="*/ 522871 w 528834"/>
                    <a:gd name="connsiteY8" fmla="*/ 251776 h 456315"/>
                    <a:gd name="connsiteX9" fmla="*/ 527811 w 528834"/>
                    <a:gd name="connsiteY9" fmla="*/ 454045 h 456315"/>
                    <a:gd name="connsiteX10" fmla="*/ 7226 w 528834"/>
                    <a:gd name="connsiteY10" fmla="*/ 447695 h 456315"/>
                    <a:gd name="connsiteX0" fmla="*/ 7226 w 528834"/>
                    <a:gd name="connsiteY0" fmla="*/ 447695 h 456315"/>
                    <a:gd name="connsiteX1" fmla="*/ 12165 w 528834"/>
                    <a:gd name="connsiteY1" fmla="*/ 237256 h 456315"/>
                    <a:gd name="connsiteX2" fmla="*/ 100951 w 528834"/>
                    <a:gd name="connsiteY2" fmla="*/ 158770 h 456315"/>
                    <a:gd name="connsiteX3" fmla="*/ 224776 w 528834"/>
                    <a:gd name="connsiteY3" fmla="*/ 120670 h 456315"/>
                    <a:gd name="connsiteX4" fmla="*/ 231126 w 528834"/>
                    <a:gd name="connsiteY4" fmla="*/ 15895 h 456315"/>
                    <a:gd name="connsiteX5" fmla="*/ 326020 w 528834"/>
                    <a:gd name="connsiteY5" fmla="*/ 12720 h 456315"/>
                    <a:gd name="connsiteX6" fmla="*/ 336016 w 528834"/>
                    <a:gd name="connsiteY6" fmla="*/ 134302 h 456315"/>
                    <a:gd name="connsiteX7" fmla="*/ 462076 w 528834"/>
                    <a:gd name="connsiteY7" fmla="*/ 184425 h 456315"/>
                    <a:gd name="connsiteX8" fmla="*/ 522871 w 528834"/>
                    <a:gd name="connsiteY8" fmla="*/ 251776 h 456315"/>
                    <a:gd name="connsiteX9" fmla="*/ 527811 w 528834"/>
                    <a:gd name="connsiteY9" fmla="*/ 454045 h 456315"/>
                    <a:gd name="connsiteX10" fmla="*/ 7226 w 528834"/>
                    <a:gd name="connsiteY10" fmla="*/ 447695 h 456315"/>
                    <a:gd name="connsiteX0" fmla="*/ 8515 w 530123"/>
                    <a:gd name="connsiteY0" fmla="*/ 447695 h 456315"/>
                    <a:gd name="connsiteX1" fmla="*/ 10749 w 530123"/>
                    <a:gd name="connsiteY1" fmla="*/ 244749 h 456315"/>
                    <a:gd name="connsiteX2" fmla="*/ 102240 w 530123"/>
                    <a:gd name="connsiteY2" fmla="*/ 158770 h 456315"/>
                    <a:gd name="connsiteX3" fmla="*/ 226065 w 530123"/>
                    <a:gd name="connsiteY3" fmla="*/ 120670 h 456315"/>
                    <a:gd name="connsiteX4" fmla="*/ 232415 w 530123"/>
                    <a:gd name="connsiteY4" fmla="*/ 15895 h 456315"/>
                    <a:gd name="connsiteX5" fmla="*/ 327309 w 530123"/>
                    <a:gd name="connsiteY5" fmla="*/ 12720 h 456315"/>
                    <a:gd name="connsiteX6" fmla="*/ 337305 w 530123"/>
                    <a:gd name="connsiteY6" fmla="*/ 134302 h 456315"/>
                    <a:gd name="connsiteX7" fmla="*/ 463365 w 530123"/>
                    <a:gd name="connsiteY7" fmla="*/ 184425 h 456315"/>
                    <a:gd name="connsiteX8" fmla="*/ 524160 w 530123"/>
                    <a:gd name="connsiteY8" fmla="*/ 251776 h 456315"/>
                    <a:gd name="connsiteX9" fmla="*/ 529100 w 530123"/>
                    <a:gd name="connsiteY9" fmla="*/ 454045 h 456315"/>
                    <a:gd name="connsiteX10" fmla="*/ 8515 w 530123"/>
                    <a:gd name="connsiteY10" fmla="*/ 447695 h 456315"/>
                    <a:gd name="connsiteX0" fmla="*/ 7671 w 529279"/>
                    <a:gd name="connsiteY0" fmla="*/ 447695 h 456315"/>
                    <a:gd name="connsiteX1" fmla="*/ 9905 w 529279"/>
                    <a:gd name="connsiteY1" fmla="*/ 244749 h 456315"/>
                    <a:gd name="connsiteX2" fmla="*/ 87870 w 529279"/>
                    <a:gd name="connsiteY2" fmla="*/ 166263 h 456315"/>
                    <a:gd name="connsiteX3" fmla="*/ 225221 w 529279"/>
                    <a:gd name="connsiteY3" fmla="*/ 120670 h 456315"/>
                    <a:gd name="connsiteX4" fmla="*/ 231571 w 529279"/>
                    <a:gd name="connsiteY4" fmla="*/ 15895 h 456315"/>
                    <a:gd name="connsiteX5" fmla="*/ 326465 w 529279"/>
                    <a:gd name="connsiteY5" fmla="*/ 12720 h 456315"/>
                    <a:gd name="connsiteX6" fmla="*/ 336461 w 529279"/>
                    <a:gd name="connsiteY6" fmla="*/ 134302 h 456315"/>
                    <a:gd name="connsiteX7" fmla="*/ 462521 w 529279"/>
                    <a:gd name="connsiteY7" fmla="*/ 184425 h 456315"/>
                    <a:gd name="connsiteX8" fmla="*/ 523316 w 529279"/>
                    <a:gd name="connsiteY8" fmla="*/ 251776 h 456315"/>
                    <a:gd name="connsiteX9" fmla="*/ 528256 w 529279"/>
                    <a:gd name="connsiteY9" fmla="*/ 454045 h 456315"/>
                    <a:gd name="connsiteX10" fmla="*/ 7671 w 529279"/>
                    <a:gd name="connsiteY10" fmla="*/ 447695 h 456315"/>
                    <a:gd name="connsiteX0" fmla="*/ 7671 w 529279"/>
                    <a:gd name="connsiteY0" fmla="*/ 447558 h 456178"/>
                    <a:gd name="connsiteX1" fmla="*/ 9905 w 529279"/>
                    <a:gd name="connsiteY1" fmla="*/ 244612 h 456178"/>
                    <a:gd name="connsiteX2" fmla="*/ 87870 w 529279"/>
                    <a:gd name="connsiteY2" fmla="*/ 166126 h 456178"/>
                    <a:gd name="connsiteX3" fmla="*/ 206285 w 529279"/>
                    <a:gd name="connsiteY3" fmla="*/ 118035 h 456178"/>
                    <a:gd name="connsiteX4" fmla="*/ 231571 w 529279"/>
                    <a:gd name="connsiteY4" fmla="*/ 15758 h 456178"/>
                    <a:gd name="connsiteX5" fmla="*/ 326465 w 529279"/>
                    <a:gd name="connsiteY5" fmla="*/ 12583 h 456178"/>
                    <a:gd name="connsiteX6" fmla="*/ 336461 w 529279"/>
                    <a:gd name="connsiteY6" fmla="*/ 134165 h 456178"/>
                    <a:gd name="connsiteX7" fmla="*/ 462521 w 529279"/>
                    <a:gd name="connsiteY7" fmla="*/ 184288 h 456178"/>
                    <a:gd name="connsiteX8" fmla="*/ 523316 w 529279"/>
                    <a:gd name="connsiteY8" fmla="*/ 251639 h 456178"/>
                    <a:gd name="connsiteX9" fmla="*/ 528256 w 529279"/>
                    <a:gd name="connsiteY9" fmla="*/ 453908 h 456178"/>
                    <a:gd name="connsiteX10" fmla="*/ 7671 w 529279"/>
                    <a:gd name="connsiteY10" fmla="*/ 447558 h 456178"/>
                    <a:gd name="connsiteX0" fmla="*/ 14544 w 536152"/>
                    <a:gd name="connsiteY0" fmla="*/ 447558 h 456178"/>
                    <a:gd name="connsiteX1" fmla="*/ 5958 w 536152"/>
                    <a:gd name="connsiteY1" fmla="*/ 247109 h 456178"/>
                    <a:gd name="connsiteX2" fmla="*/ 94743 w 536152"/>
                    <a:gd name="connsiteY2" fmla="*/ 166126 h 456178"/>
                    <a:gd name="connsiteX3" fmla="*/ 213158 w 536152"/>
                    <a:gd name="connsiteY3" fmla="*/ 118035 h 456178"/>
                    <a:gd name="connsiteX4" fmla="*/ 238444 w 536152"/>
                    <a:gd name="connsiteY4" fmla="*/ 15758 h 456178"/>
                    <a:gd name="connsiteX5" fmla="*/ 333338 w 536152"/>
                    <a:gd name="connsiteY5" fmla="*/ 12583 h 456178"/>
                    <a:gd name="connsiteX6" fmla="*/ 343334 w 536152"/>
                    <a:gd name="connsiteY6" fmla="*/ 134165 h 456178"/>
                    <a:gd name="connsiteX7" fmla="*/ 469394 w 536152"/>
                    <a:gd name="connsiteY7" fmla="*/ 184288 h 456178"/>
                    <a:gd name="connsiteX8" fmla="*/ 530189 w 536152"/>
                    <a:gd name="connsiteY8" fmla="*/ 251639 h 456178"/>
                    <a:gd name="connsiteX9" fmla="*/ 535129 w 536152"/>
                    <a:gd name="connsiteY9" fmla="*/ 453908 h 456178"/>
                    <a:gd name="connsiteX10" fmla="*/ 14544 w 536152"/>
                    <a:gd name="connsiteY10" fmla="*/ 447558 h 456178"/>
                    <a:gd name="connsiteX0" fmla="*/ 7226 w 542359"/>
                    <a:gd name="connsiteY0" fmla="*/ 450055 h 456488"/>
                    <a:gd name="connsiteX1" fmla="*/ 12165 w 542359"/>
                    <a:gd name="connsiteY1" fmla="*/ 247109 h 456488"/>
                    <a:gd name="connsiteX2" fmla="*/ 100950 w 542359"/>
                    <a:gd name="connsiteY2" fmla="*/ 166126 h 456488"/>
                    <a:gd name="connsiteX3" fmla="*/ 219365 w 542359"/>
                    <a:gd name="connsiteY3" fmla="*/ 118035 h 456488"/>
                    <a:gd name="connsiteX4" fmla="*/ 244651 w 542359"/>
                    <a:gd name="connsiteY4" fmla="*/ 15758 h 456488"/>
                    <a:gd name="connsiteX5" fmla="*/ 339545 w 542359"/>
                    <a:gd name="connsiteY5" fmla="*/ 12583 h 456488"/>
                    <a:gd name="connsiteX6" fmla="*/ 349541 w 542359"/>
                    <a:gd name="connsiteY6" fmla="*/ 134165 h 456488"/>
                    <a:gd name="connsiteX7" fmla="*/ 475601 w 542359"/>
                    <a:gd name="connsiteY7" fmla="*/ 184288 h 456488"/>
                    <a:gd name="connsiteX8" fmla="*/ 536396 w 542359"/>
                    <a:gd name="connsiteY8" fmla="*/ 251639 h 456488"/>
                    <a:gd name="connsiteX9" fmla="*/ 541336 w 542359"/>
                    <a:gd name="connsiteY9" fmla="*/ 453908 h 456488"/>
                    <a:gd name="connsiteX10" fmla="*/ 7226 w 542359"/>
                    <a:gd name="connsiteY10" fmla="*/ 450055 h 456488"/>
                    <a:gd name="connsiteX0" fmla="*/ 7226 w 542359"/>
                    <a:gd name="connsiteY0" fmla="*/ 450055 h 456488"/>
                    <a:gd name="connsiteX1" fmla="*/ 12165 w 542359"/>
                    <a:gd name="connsiteY1" fmla="*/ 247109 h 456488"/>
                    <a:gd name="connsiteX2" fmla="*/ 100950 w 542359"/>
                    <a:gd name="connsiteY2" fmla="*/ 166126 h 456488"/>
                    <a:gd name="connsiteX3" fmla="*/ 219365 w 542359"/>
                    <a:gd name="connsiteY3" fmla="*/ 118035 h 456488"/>
                    <a:gd name="connsiteX4" fmla="*/ 244651 w 542359"/>
                    <a:gd name="connsiteY4" fmla="*/ 15758 h 456488"/>
                    <a:gd name="connsiteX5" fmla="*/ 331430 w 542359"/>
                    <a:gd name="connsiteY5" fmla="*/ 12583 h 456488"/>
                    <a:gd name="connsiteX6" fmla="*/ 349541 w 542359"/>
                    <a:gd name="connsiteY6" fmla="*/ 134165 h 456488"/>
                    <a:gd name="connsiteX7" fmla="*/ 475601 w 542359"/>
                    <a:gd name="connsiteY7" fmla="*/ 184288 h 456488"/>
                    <a:gd name="connsiteX8" fmla="*/ 536396 w 542359"/>
                    <a:gd name="connsiteY8" fmla="*/ 251639 h 456488"/>
                    <a:gd name="connsiteX9" fmla="*/ 541336 w 542359"/>
                    <a:gd name="connsiteY9" fmla="*/ 453908 h 456488"/>
                    <a:gd name="connsiteX10" fmla="*/ 7226 w 542359"/>
                    <a:gd name="connsiteY10" fmla="*/ 450055 h 456488"/>
                    <a:gd name="connsiteX0" fmla="*/ 7226 w 542359"/>
                    <a:gd name="connsiteY0" fmla="*/ 450055 h 456488"/>
                    <a:gd name="connsiteX1" fmla="*/ 12165 w 542359"/>
                    <a:gd name="connsiteY1" fmla="*/ 247109 h 456488"/>
                    <a:gd name="connsiteX2" fmla="*/ 100950 w 542359"/>
                    <a:gd name="connsiteY2" fmla="*/ 166126 h 456488"/>
                    <a:gd name="connsiteX3" fmla="*/ 219365 w 542359"/>
                    <a:gd name="connsiteY3" fmla="*/ 118035 h 456488"/>
                    <a:gd name="connsiteX4" fmla="*/ 244651 w 542359"/>
                    <a:gd name="connsiteY4" fmla="*/ 15758 h 456488"/>
                    <a:gd name="connsiteX5" fmla="*/ 331430 w 542359"/>
                    <a:gd name="connsiteY5" fmla="*/ 12583 h 456488"/>
                    <a:gd name="connsiteX6" fmla="*/ 349541 w 542359"/>
                    <a:gd name="connsiteY6" fmla="*/ 134165 h 456488"/>
                    <a:gd name="connsiteX7" fmla="*/ 483716 w 542359"/>
                    <a:gd name="connsiteY7" fmla="*/ 179293 h 456488"/>
                    <a:gd name="connsiteX8" fmla="*/ 536396 w 542359"/>
                    <a:gd name="connsiteY8" fmla="*/ 251639 h 456488"/>
                    <a:gd name="connsiteX9" fmla="*/ 541336 w 542359"/>
                    <a:gd name="connsiteY9" fmla="*/ 453908 h 456488"/>
                    <a:gd name="connsiteX10" fmla="*/ 7226 w 542359"/>
                    <a:gd name="connsiteY10" fmla="*/ 450055 h 456488"/>
                    <a:gd name="connsiteX0" fmla="*/ 6630 w 541763"/>
                    <a:gd name="connsiteY0" fmla="*/ 450055 h 456488"/>
                    <a:gd name="connsiteX1" fmla="*/ 11569 w 541763"/>
                    <a:gd name="connsiteY1" fmla="*/ 247109 h 456488"/>
                    <a:gd name="connsiteX2" fmla="*/ 89534 w 541763"/>
                    <a:gd name="connsiteY2" fmla="*/ 166126 h 456488"/>
                    <a:gd name="connsiteX3" fmla="*/ 218769 w 541763"/>
                    <a:gd name="connsiteY3" fmla="*/ 118035 h 456488"/>
                    <a:gd name="connsiteX4" fmla="*/ 244055 w 541763"/>
                    <a:gd name="connsiteY4" fmla="*/ 15758 h 456488"/>
                    <a:gd name="connsiteX5" fmla="*/ 330834 w 541763"/>
                    <a:gd name="connsiteY5" fmla="*/ 12583 h 456488"/>
                    <a:gd name="connsiteX6" fmla="*/ 348945 w 541763"/>
                    <a:gd name="connsiteY6" fmla="*/ 134165 h 456488"/>
                    <a:gd name="connsiteX7" fmla="*/ 483120 w 541763"/>
                    <a:gd name="connsiteY7" fmla="*/ 179293 h 456488"/>
                    <a:gd name="connsiteX8" fmla="*/ 535800 w 541763"/>
                    <a:gd name="connsiteY8" fmla="*/ 251639 h 456488"/>
                    <a:gd name="connsiteX9" fmla="*/ 540740 w 541763"/>
                    <a:gd name="connsiteY9" fmla="*/ 453908 h 456488"/>
                    <a:gd name="connsiteX10" fmla="*/ 6630 w 541763"/>
                    <a:gd name="connsiteY10" fmla="*/ 450055 h 456488"/>
                    <a:gd name="connsiteX0" fmla="*/ 4856 w 539989"/>
                    <a:gd name="connsiteY0" fmla="*/ 450055 h 456488"/>
                    <a:gd name="connsiteX1" fmla="*/ 15205 w 539989"/>
                    <a:gd name="connsiteY1" fmla="*/ 227128 h 456488"/>
                    <a:gd name="connsiteX2" fmla="*/ 87760 w 539989"/>
                    <a:gd name="connsiteY2" fmla="*/ 166126 h 456488"/>
                    <a:gd name="connsiteX3" fmla="*/ 216995 w 539989"/>
                    <a:gd name="connsiteY3" fmla="*/ 118035 h 456488"/>
                    <a:gd name="connsiteX4" fmla="*/ 242281 w 539989"/>
                    <a:gd name="connsiteY4" fmla="*/ 15758 h 456488"/>
                    <a:gd name="connsiteX5" fmla="*/ 329060 w 539989"/>
                    <a:gd name="connsiteY5" fmla="*/ 12583 h 456488"/>
                    <a:gd name="connsiteX6" fmla="*/ 347171 w 539989"/>
                    <a:gd name="connsiteY6" fmla="*/ 134165 h 456488"/>
                    <a:gd name="connsiteX7" fmla="*/ 481346 w 539989"/>
                    <a:gd name="connsiteY7" fmla="*/ 179293 h 456488"/>
                    <a:gd name="connsiteX8" fmla="*/ 534026 w 539989"/>
                    <a:gd name="connsiteY8" fmla="*/ 251639 h 456488"/>
                    <a:gd name="connsiteX9" fmla="*/ 538966 w 539989"/>
                    <a:gd name="connsiteY9" fmla="*/ 453908 h 456488"/>
                    <a:gd name="connsiteX10" fmla="*/ 4856 w 539989"/>
                    <a:gd name="connsiteY10" fmla="*/ 450055 h 4564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39989" h="456488">
                      <a:moveTo>
                        <a:pt x="4856" y="450055"/>
                      </a:moveTo>
                      <a:cubicBezTo>
                        <a:pt x="-5198" y="385497"/>
                        <a:pt x="1388" y="274449"/>
                        <a:pt x="15205" y="227128"/>
                      </a:cubicBezTo>
                      <a:cubicBezTo>
                        <a:pt x="29022" y="179807"/>
                        <a:pt x="54128" y="184308"/>
                        <a:pt x="87760" y="166126"/>
                      </a:cubicBezTo>
                      <a:cubicBezTo>
                        <a:pt x="121392" y="147944"/>
                        <a:pt x="191242" y="143096"/>
                        <a:pt x="216995" y="118035"/>
                      </a:cubicBezTo>
                      <a:cubicBezTo>
                        <a:pt x="242748" y="92974"/>
                        <a:pt x="223604" y="33333"/>
                        <a:pt x="242281" y="15758"/>
                      </a:cubicBezTo>
                      <a:cubicBezTo>
                        <a:pt x="260958" y="-1817"/>
                        <a:pt x="311578" y="-7151"/>
                        <a:pt x="329060" y="12583"/>
                      </a:cubicBezTo>
                      <a:cubicBezTo>
                        <a:pt x="346542" y="32317"/>
                        <a:pt x="321790" y="106380"/>
                        <a:pt x="347171" y="134165"/>
                      </a:cubicBezTo>
                      <a:cubicBezTo>
                        <a:pt x="372552" y="161950"/>
                        <a:pt x="450204" y="159714"/>
                        <a:pt x="481346" y="179293"/>
                      </a:cubicBezTo>
                      <a:cubicBezTo>
                        <a:pt x="512489" y="198872"/>
                        <a:pt x="523972" y="202956"/>
                        <a:pt x="534026" y="251639"/>
                      </a:cubicBezTo>
                      <a:cubicBezTo>
                        <a:pt x="537201" y="301381"/>
                        <a:pt x="542141" y="328496"/>
                        <a:pt x="538966" y="453908"/>
                      </a:cubicBezTo>
                      <a:cubicBezTo>
                        <a:pt x="307191" y="461845"/>
                        <a:pt x="250800" y="448827"/>
                        <a:pt x="4856" y="450055"/>
                      </a:cubicBezTo>
                      <a:close/>
                    </a:path>
                  </a:pathLst>
                </a:custGeom>
                <a:solidFill>
                  <a:schemeClr val="bg1"/>
                </a:solidFill>
                <a:ln w="57150">
                  <a:solidFill>
                    <a:schemeClr val="tx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82" name="Oval 81">
                  <a:extLst>
                    <a:ext uri="{FF2B5EF4-FFF2-40B4-BE49-F238E27FC236}">
                      <a16:creationId xmlns:a16="http://schemas.microsoft.com/office/drawing/2014/main" id="{15A1B172-23D4-3D4D-B8C0-8DF3D760830B}"/>
                    </a:ext>
                  </a:extLst>
                </p:cNvPr>
                <p:cNvSpPr/>
                <p:nvPr/>
              </p:nvSpPr>
              <p:spPr>
                <a:xfrm>
                  <a:off x="1964431" y="3500843"/>
                  <a:ext cx="259337" cy="299858"/>
                </a:xfrm>
                <a:prstGeom prst="ellipse">
                  <a:avLst/>
                </a:prstGeom>
                <a:solidFill>
                  <a:schemeClr val="bg1"/>
                </a:solidFill>
                <a:ln w="57150">
                  <a:solidFill>
                    <a:schemeClr val="tx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grpSp>
        </p:grpSp>
        <p:grpSp>
          <p:nvGrpSpPr>
            <p:cNvPr id="73" name="Group 72">
              <a:extLst>
                <a:ext uri="{FF2B5EF4-FFF2-40B4-BE49-F238E27FC236}">
                  <a16:creationId xmlns:a16="http://schemas.microsoft.com/office/drawing/2014/main" id="{D01DA6A5-605E-9842-85B5-781DE8517725}"/>
                </a:ext>
              </a:extLst>
            </p:cNvPr>
            <p:cNvGrpSpPr/>
            <p:nvPr/>
          </p:nvGrpSpPr>
          <p:grpSpPr>
            <a:xfrm>
              <a:off x="2495712" y="4589934"/>
              <a:ext cx="1256698" cy="510604"/>
              <a:chOff x="2495712" y="4589934"/>
              <a:chExt cx="1256698" cy="510604"/>
            </a:xfrm>
            <a:solidFill>
              <a:schemeClr val="tx1">
                <a:lumMod val="50000"/>
              </a:schemeClr>
            </a:solidFill>
          </p:grpSpPr>
          <p:sp>
            <p:nvSpPr>
              <p:cNvPr id="75" name="Rounded Rectangle 74">
                <a:extLst>
                  <a:ext uri="{FF2B5EF4-FFF2-40B4-BE49-F238E27FC236}">
                    <a16:creationId xmlns:a16="http://schemas.microsoft.com/office/drawing/2014/main" id="{CC423A21-A367-D049-98EF-D140951835A9}"/>
                  </a:ext>
                </a:extLst>
              </p:cNvPr>
              <p:cNvSpPr/>
              <p:nvPr/>
            </p:nvSpPr>
            <p:spPr>
              <a:xfrm>
                <a:off x="2495712" y="4589934"/>
                <a:ext cx="1256697" cy="251941"/>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76" name="Rectangle 75">
                <a:extLst>
                  <a:ext uri="{FF2B5EF4-FFF2-40B4-BE49-F238E27FC236}">
                    <a16:creationId xmlns:a16="http://schemas.microsoft.com/office/drawing/2014/main" id="{AD3549CE-6964-3F42-8476-DA810AC29730}"/>
                  </a:ext>
                </a:extLst>
              </p:cNvPr>
              <p:cNvSpPr/>
              <p:nvPr/>
            </p:nvSpPr>
            <p:spPr>
              <a:xfrm>
                <a:off x="2498725" y="4797790"/>
                <a:ext cx="1253685" cy="13315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77" name="Rectangle 76">
                <a:extLst>
                  <a:ext uri="{FF2B5EF4-FFF2-40B4-BE49-F238E27FC236}">
                    <a16:creationId xmlns:a16="http://schemas.microsoft.com/office/drawing/2014/main" id="{12A715A3-4A74-7F4A-9971-EF3EC94E705A}"/>
                  </a:ext>
                </a:extLst>
              </p:cNvPr>
              <p:cNvSpPr/>
              <p:nvPr/>
            </p:nvSpPr>
            <p:spPr>
              <a:xfrm>
                <a:off x="2546350" y="4923041"/>
                <a:ext cx="109152" cy="17749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78" name="Rectangle 77">
                <a:extLst>
                  <a:ext uri="{FF2B5EF4-FFF2-40B4-BE49-F238E27FC236}">
                    <a16:creationId xmlns:a16="http://schemas.microsoft.com/office/drawing/2014/main" id="{EB8A3ADD-CCCD-7243-8A0A-944B95174BFD}"/>
                  </a:ext>
                </a:extLst>
              </p:cNvPr>
              <p:cNvSpPr/>
              <p:nvPr/>
            </p:nvSpPr>
            <p:spPr>
              <a:xfrm>
                <a:off x="3610945" y="4923041"/>
                <a:ext cx="109152" cy="17749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grpSp>
        <p:sp>
          <p:nvSpPr>
            <p:cNvPr id="74" name="Trapezoid 73">
              <a:extLst>
                <a:ext uri="{FF2B5EF4-FFF2-40B4-BE49-F238E27FC236}">
                  <a16:creationId xmlns:a16="http://schemas.microsoft.com/office/drawing/2014/main" id="{5642816B-CEEC-D349-B281-3A80684DE22E}"/>
                </a:ext>
              </a:extLst>
            </p:cNvPr>
            <p:cNvSpPr/>
            <p:nvPr/>
          </p:nvSpPr>
          <p:spPr>
            <a:xfrm>
              <a:off x="2655502" y="4181475"/>
              <a:ext cx="958850" cy="363303"/>
            </a:xfrm>
            <a:prstGeom prst="trapezoid">
              <a:avLst/>
            </a:prstGeom>
            <a:solidFill>
              <a:schemeClr val="tx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grpSp>
      <p:grpSp>
        <p:nvGrpSpPr>
          <p:cNvPr id="85" name="Group 84">
            <a:extLst>
              <a:ext uri="{FF2B5EF4-FFF2-40B4-BE49-F238E27FC236}">
                <a16:creationId xmlns:a16="http://schemas.microsoft.com/office/drawing/2014/main" id="{BF0786CF-8D18-B240-919B-F133AC83884C}"/>
              </a:ext>
            </a:extLst>
          </p:cNvPr>
          <p:cNvGrpSpPr/>
          <p:nvPr/>
        </p:nvGrpSpPr>
        <p:grpSpPr>
          <a:xfrm>
            <a:off x="10490374" y="2622977"/>
            <a:ext cx="1025213" cy="1261037"/>
            <a:chOff x="2441771" y="3385414"/>
            <a:chExt cx="1325481" cy="1781019"/>
          </a:xfrm>
        </p:grpSpPr>
        <p:pic>
          <p:nvPicPr>
            <p:cNvPr id="86" name="Picture 85">
              <a:extLst>
                <a:ext uri="{FF2B5EF4-FFF2-40B4-BE49-F238E27FC236}">
                  <a16:creationId xmlns:a16="http://schemas.microsoft.com/office/drawing/2014/main" id="{1332CA3C-0A88-0C4C-84D5-A4B36225228A}"/>
                </a:ext>
              </a:extLst>
            </p:cNvPr>
            <p:cNvPicPr>
              <a:picLocks noChangeAspect="1"/>
            </p:cNvPicPr>
            <p:nvPr/>
          </p:nvPicPr>
          <p:blipFill rotWithShape="1">
            <a:blip r:embed="rId2"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a:xfrm>
              <a:off x="2441771" y="3385414"/>
              <a:ext cx="1325481" cy="1781019"/>
            </a:xfrm>
            <a:prstGeom prst="rect">
              <a:avLst/>
            </a:prstGeom>
          </p:spPr>
        </p:pic>
        <p:sp>
          <p:nvSpPr>
            <p:cNvPr id="87" name="Rounded Rectangle 86">
              <a:extLst>
                <a:ext uri="{FF2B5EF4-FFF2-40B4-BE49-F238E27FC236}">
                  <a16:creationId xmlns:a16="http://schemas.microsoft.com/office/drawing/2014/main" id="{D17F0241-9F79-914D-8564-4D215F8DC54A}"/>
                </a:ext>
              </a:extLst>
            </p:cNvPr>
            <p:cNvSpPr/>
            <p:nvPr/>
          </p:nvSpPr>
          <p:spPr>
            <a:xfrm>
              <a:off x="2655502" y="3670300"/>
              <a:ext cx="958850" cy="436656"/>
            </a:xfrm>
            <a:prstGeom prst="roundRect">
              <a:avLst/>
            </a:prstGeom>
            <a:solidFill>
              <a:schemeClr val="tx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grpSp>
          <p:nvGrpSpPr>
            <p:cNvPr id="88" name="Group 87">
              <a:extLst>
                <a:ext uri="{FF2B5EF4-FFF2-40B4-BE49-F238E27FC236}">
                  <a16:creationId xmlns:a16="http://schemas.microsoft.com/office/drawing/2014/main" id="{1AE4366C-BE43-5C48-A6EE-744F90DF5B5A}"/>
                </a:ext>
              </a:extLst>
            </p:cNvPr>
            <p:cNvGrpSpPr/>
            <p:nvPr/>
          </p:nvGrpSpPr>
          <p:grpSpPr>
            <a:xfrm>
              <a:off x="2776471" y="3456093"/>
              <a:ext cx="748710" cy="1056883"/>
              <a:chOff x="1496718" y="3334932"/>
              <a:chExt cx="748710" cy="1056883"/>
            </a:xfrm>
          </p:grpSpPr>
          <p:grpSp>
            <p:nvGrpSpPr>
              <p:cNvPr id="95" name="Group 94">
                <a:extLst>
                  <a:ext uri="{FF2B5EF4-FFF2-40B4-BE49-F238E27FC236}">
                    <a16:creationId xmlns:a16="http://schemas.microsoft.com/office/drawing/2014/main" id="{1141F6C4-F97E-354D-8DB2-06F11156C9EB}"/>
                  </a:ext>
                </a:extLst>
              </p:cNvPr>
              <p:cNvGrpSpPr/>
              <p:nvPr/>
            </p:nvGrpSpPr>
            <p:grpSpPr>
              <a:xfrm>
                <a:off x="1496718" y="3334932"/>
                <a:ext cx="748710" cy="1056883"/>
                <a:chOff x="1843570" y="3508300"/>
                <a:chExt cx="514980" cy="727982"/>
              </a:xfrm>
              <a:solidFill>
                <a:schemeClr val="bg1"/>
              </a:solidFill>
            </p:grpSpPr>
            <p:sp>
              <p:nvSpPr>
                <p:cNvPr id="99" name="Freeform 98">
                  <a:extLst>
                    <a:ext uri="{FF2B5EF4-FFF2-40B4-BE49-F238E27FC236}">
                      <a16:creationId xmlns:a16="http://schemas.microsoft.com/office/drawing/2014/main" id="{74651623-1445-3B43-AECF-028869BFD0BE}"/>
                    </a:ext>
                  </a:extLst>
                </p:cNvPr>
                <p:cNvSpPr/>
                <p:nvPr/>
              </p:nvSpPr>
              <p:spPr>
                <a:xfrm>
                  <a:off x="1843570" y="3787509"/>
                  <a:ext cx="514980" cy="448773"/>
                </a:xfrm>
                <a:custGeom>
                  <a:avLst/>
                  <a:gdLst>
                    <a:gd name="connsiteX0" fmla="*/ 36807 w 576731"/>
                    <a:gd name="connsiteY0" fmla="*/ 449906 h 505924"/>
                    <a:gd name="connsiteX1" fmla="*/ 39982 w 576731"/>
                    <a:gd name="connsiteY1" fmla="*/ 214956 h 505924"/>
                    <a:gd name="connsiteX2" fmla="*/ 55857 w 576731"/>
                    <a:gd name="connsiteY2" fmla="*/ 176856 h 505924"/>
                    <a:gd name="connsiteX3" fmla="*/ 103482 w 576731"/>
                    <a:gd name="connsiteY3" fmla="*/ 160981 h 505924"/>
                    <a:gd name="connsiteX4" fmla="*/ 205082 w 576731"/>
                    <a:gd name="connsiteY4" fmla="*/ 154631 h 505924"/>
                    <a:gd name="connsiteX5" fmla="*/ 230482 w 576731"/>
                    <a:gd name="connsiteY5" fmla="*/ 151456 h 505924"/>
                    <a:gd name="connsiteX6" fmla="*/ 233657 w 576731"/>
                    <a:gd name="connsiteY6" fmla="*/ 18106 h 505924"/>
                    <a:gd name="connsiteX7" fmla="*/ 344782 w 576731"/>
                    <a:gd name="connsiteY7" fmla="*/ 14931 h 505924"/>
                    <a:gd name="connsiteX8" fmla="*/ 344782 w 576731"/>
                    <a:gd name="connsiteY8" fmla="*/ 145106 h 505924"/>
                    <a:gd name="connsiteX9" fmla="*/ 386057 w 576731"/>
                    <a:gd name="connsiteY9" fmla="*/ 151456 h 505924"/>
                    <a:gd name="connsiteX10" fmla="*/ 478132 w 576731"/>
                    <a:gd name="connsiteY10" fmla="*/ 164156 h 505924"/>
                    <a:gd name="connsiteX11" fmla="*/ 519407 w 576731"/>
                    <a:gd name="connsiteY11" fmla="*/ 189556 h 505924"/>
                    <a:gd name="connsiteX12" fmla="*/ 541632 w 576731"/>
                    <a:gd name="connsiteY12" fmla="*/ 234006 h 505924"/>
                    <a:gd name="connsiteX13" fmla="*/ 538457 w 576731"/>
                    <a:gd name="connsiteY13" fmla="*/ 488006 h 505924"/>
                    <a:gd name="connsiteX14" fmla="*/ 36807 w 576731"/>
                    <a:gd name="connsiteY14" fmla="*/ 449906 h 505924"/>
                    <a:gd name="connsiteX0" fmla="*/ 5769 w 545693"/>
                    <a:gd name="connsiteY0" fmla="*/ 449906 h 505924"/>
                    <a:gd name="connsiteX1" fmla="*/ 8944 w 545693"/>
                    <a:gd name="connsiteY1" fmla="*/ 214956 h 505924"/>
                    <a:gd name="connsiteX2" fmla="*/ 24819 w 545693"/>
                    <a:gd name="connsiteY2" fmla="*/ 176856 h 505924"/>
                    <a:gd name="connsiteX3" fmla="*/ 72444 w 545693"/>
                    <a:gd name="connsiteY3" fmla="*/ 160981 h 505924"/>
                    <a:gd name="connsiteX4" fmla="*/ 174044 w 545693"/>
                    <a:gd name="connsiteY4" fmla="*/ 154631 h 505924"/>
                    <a:gd name="connsiteX5" fmla="*/ 199444 w 545693"/>
                    <a:gd name="connsiteY5" fmla="*/ 151456 h 505924"/>
                    <a:gd name="connsiteX6" fmla="*/ 202619 w 545693"/>
                    <a:gd name="connsiteY6" fmla="*/ 18106 h 505924"/>
                    <a:gd name="connsiteX7" fmla="*/ 313744 w 545693"/>
                    <a:gd name="connsiteY7" fmla="*/ 14931 h 505924"/>
                    <a:gd name="connsiteX8" fmla="*/ 313744 w 545693"/>
                    <a:gd name="connsiteY8" fmla="*/ 145106 h 505924"/>
                    <a:gd name="connsiteX9" fmla="*/ 355019 w 545693"/>
                    <a:gd name="connsiteY9" fmla="*/ 151456 h 505924"/>
                    <a:gd name="connsiteX10" fmla="*/ 447094 w 545693"/>
                    <a:gd name="connsiteY10" fmla="*/ 164156 h 505924"/>
                    <a:gd name="connsiteX11" fmla="*/ 488369 w 545693"/>
                    <a:gd name="connsiteY11" fmla="*/ 189556 h 505924"/>
                    <a:gd name="connsiteX12" fmla="*/ 510594 w 545693"/>
                    <a:gd name="connsiteY12" fmla="*/ 234006 h 505924"/>
                    <a:gd name="connsiteX13" fmla="*/ 507419 w 545693"/>
                    <a:gd name="connsiteY13" fmla="*/ 488006 h 505924"/>
                    <a:gd name="connsiteX14" fmla="*/ 5769 w 545693"/>
                    <a:gd name="connsiteY14" fmla="*/ 449906 h 505924"/>
                    <a:gd name="connsiteX0" fmla="*/ 21286 w 561210"/>
                    <a:gd name="connsiteY0" fmla="*/ 449906 h 508025"/>
                    <a:gd name="connsiteX1" fmla="*/ 24461 w 561210"/>
                    <a:gd name="connsiteY1" fmla="*/ 214956 h 508025"/>
                    <a:gd name="connsiteX2" fmla="*/ 40336 w 561210"/>
                    <a:gd name="connsiteY2" fmla="*/ 176856 h 508025"/>
                    <a:gd name="connsiteX3" fmla="*/ 87961 w 561210"/>
                    <a:gd name="connsiteY3" fmla="*/ 160981 h 508025"/>
                    <a:gd name="connsiteX4" fmla="*/ 189561 w 561210"/>
                    <a:gd name="connsiteY4" fmla="*/ 154631 h 508025"/>
                    <a:gd name="connsiteX5" fmla="*/ 214961 w 561210"/>
                    <a:gd name="connsiteY5" fmla="*/ 151456 h 508025"/>
                    <a:gd name="connsiteX6" fmla="*/ 218136 w 561210"/>
                    <a:gd name="connsiteY6" fmla="*/ 18106 h 508025"/>
                    <a:gd name="connsiteX7" fmla="*/ 329261 w 561210"/>
                    <a:gd name="connsiteY7" fmla="*/ 14931 h 508025"/>
                    <a:gd name="connsiteX8" fmla="*/ 329261 w 561210"/>
                    <a:gd name="connsiteY8" fmla="*/ 145106 h 508025"/>
                    <a:gd name="connsiteX9" fmla="*/ 370536 w 561210"/>
                    <a:gd name="connsiteY9" fmla="*/ 151456 h 508025"/>
                    <a:gd name="connsiteX10" fmla="*/ 462611 w 561210"/>
                    <a:gd name="connsiteY10" fmla="*/ 164156 h 508025"/>
                    <a:gd name="connsiteX11" fmla="*/ 503886 w 561210"/>
                    <a:gd name="connsiteY11" fmla="*/ 189556 h 508025"/>
                    <a:gd name="connsiteX12" fmla="*/ 526111 w 561210"/>
                    <a:gd name="connsiteY12" fmla="*/ 234006 h 508025"/>
                    <a:gd name="connsiteX13" fmla="*/ 522936 w 561210"/>
                    <a:gd name="connsiteY13" fmla="*/ 488006 h 508025"/>
                    <a:gd name="connsiteX14" fmla="*/ 21286 w 561210"/>
                    <a:gd name="connsiteY14" fmla="*/ 449906 h 508025"/>
                    <a:gd name="connsiteX0" fmla="*/ 21286 w 561210"/>
                    <a:gd name="connsiteY0" fmla="*/ 449906 h 508025"/>
                    <a:gd name="connsiteX1" fmla="*/ 24461 w 561210"/>
                    <a:gd name="connsiteY1" fmla="*/ 214956 h 508025"/>
                    <a:gd name="connsiteX2" fmla="*/ 40336 w 561210"/>
                    <a:gd name="connsiteY2" fmla="*/ 176856 h 508025"/>
                    <a:gd name="connsiteX3" fmla="*/ 87961 w 561210"/>
                    <a:gd name="connsiteY3" fmla="*/ 160981 h 508025"/>
                    <a:gd name="connsiteX4" fmla="*/ 189561 w 561210"/>
                    <a:gd name="connsiteY4" fmla="*/ 154631 h 508025"/>
                    <a:gd name="connsiteX5" fmla="*/ 214961 w 561210"/>
                    <a:gd name="connsiteY5" fmla="*/ 151456 h 508025"/>
                    <a:gd name="connsiteX6" fmla="*/ 218136 w 561210"/>
                    <a:gd name="connsiteY6" fmla="*/ 18106 h 508025"/>
                    <a:gd name="connsiteX7" fmla="*/ 329261 w 561210"/>
                    <a:gd name="connsiteY7" fmla="*/ 14931 h 508025"/>
                    <a:gd name="connsiteX8" fmla="*/ 329261 w 561210"/>
                    <a:gd name="connsiteY8" fmla="*/ 145106 h 508025"/>
                    <a:gd name="connsiteX9" fmla="*/ 370536 w 561210"/>
                    <a:gd name="connsiteY9" fmla="*/ 151456 h 508025"/>
                    <a:gd name="connsiteX10" fmla="*/ 462611 w 561210"/>
                    <a:gd name="connsiteY10" fmla="*/ 164156 h 508025"/>
                    <a:gd name="connsiteX11" fmla="*/ 503886 w 561210"/>
                    <a:gd name="connsiteY11" fmla="*/ 189556 h 508025"/>
                    <a:gd name="connsiteX12" fmla="*/ 526111 w 561210"/>
                    <a:gd name="connsiteY12" fmla="*/ 234006 h 508025"/>
                    <a:gd name="connsiteX13" fmla="*/ 522936 w 561210"/>
                    <a:gd name="connsiteY13" fmla="*/ 488006 h 508025"/>
                    <a:gd name="connsiteX14" fmla="*/ 21286 w 561210"/>
                    <a:gd name="connsiteY14" fmla="*/ 449906 h 508025"/>
                    <a:gd name="connsiteX0" fmla="*/ 4360 w 544284"/>
                    <a:gd name="connsiteY0" fmla="*/ 449906 h 508025"/>
                    <a:gd name="connsiteX1" fmla="*/ 7535 w 544284"/>
                    <a:gd name="connsiteY1" fmla="*/ 214956 h 508025"/>
                    <a:gd name="connsiteX2" fmla="*/ 23410 w 544284"/>
                    <a:gd name="connsiteY2" fmla="*/ 176856 h 508025"/>
                    <a:gd name="connsiteX3" fmla="*/ 71035 w 544284"/>
                    <a:gd name="connsiteY3" fmla="*/ 160981 h 508025"/>
                    <a:gd name="connsiteX4" fmla="*/ 172635 w 544284"/>
                    <a:gd name="connsiteY4" fmla="*/ 154631 h 508025"/>
                    <a:gd name="connsiteX5" fmla="*/ 198035 w 544284"/>
                    <a:gd name="connsiteY5" fmla="*/ 151456 h 508025"/>
                    <a:gd name="connsiteX6" fmla="*/ 201210 w 544284"/>
                    <a:gd name="connsiteY6" fmla="*/ 18106 h 508025"/>
                    <a:gd name="connsiteX7" fmla="*/ 312335 w 544284"/>
                    <a:gd name="connsiteY7" fmla="*/ 14931 h 508025"/>
                    <a:gd name="connsiteX8" fmla="*/ 312335 w 544284"/>
                    <a:gd name="connsiteY8" fmla="*/ 145106 h 508025"/>
                    <a:gd name="connsiteX9" fmla="*/ 353610 w 544284"/>
                    <a:gd name="connsiteY9" fmla="*/ 151456 h 508025"/>
                    <a:gd name="connsiteX10" fmla="*/ 445685 w 544284"/>
                    <a:gd name="connsiteY10" fmla="*/ 164156 h 508025"/>
                    <a:gd name="connsiteX11" fmla="*/ 486960 w 544284"/>
                    <a:gd name="connsiteY11" fmla="*/ 189556 h 508025"/>
                    <a:gd name="connsiteX12" fmla="*/ 509185 w 544284"/>
                    <a:gd name="connsiteY12" fmla="*/ 234006 h 508025"/>
                    <a:gd name="connsiteX13" fmla="*/ 506010 w 544284"/>
                    <a:gd name="connsiteY13" fmla="*/ 488006 h 508025"/>
                    <a:gd name="connsiteX14" fmla="*/ 4360 w 544284"/>
                    <a:gd name="connsiteY14" fmla="*/ 449906 h 508025"/>
                    <a:gd name="connsiteX0" fmla="*/ 4360 w 544284"/>
                    <a:gd name="connsiteY0" fmla="*/ 449906 h 500804"/>
                    <a:gd name="connsiteX1" fmla="*/ 7535 w 544284"/>
                    <a:gd name="connsiteY1" fmla="*/ 214956 h 500804"/>
                    <a:gd name="connsiteX2" fmla="*/ 23410 w 544284"/>
                    <a:gd name="connsiteY2" fmla="*/ 176856 h 500804"/>
                    <a:gd name="connsiteX3" fmla="*/ 71035 w 544284"/>
                    <a:gd name="connsiteY3" fmla="*/ 160981 h 500804"/>
                    <a:gd name="connsiteX4" fmla="*/ 172635 w 544284"/>
                    <a:gd name="connsiteY4" fmla="*/ 154631 h 500804"/>
                    <a:gd name="connsiteX5" fmla="*/ 198035 w 544284"/>
                    <a:gd name="connsiteY5" fmla="*/ 151456 h 500804"/>
                    <a:gd name="connsiteX6" fmla="*/ 201210 w 544284"/>
                    <a:gd name="connsiteY6" fmla="*/ 18106 h 500804"/>
                    <a:gd name="connsiteX7" fmla="*/ 312335 w 544284"/>
                    <a:gd name="connsiteY7" fmla="*/ 14931 h 500804"/>
                    <a:gd name="connsiteX8" fmla="*/ 312335 w 544284"/>
                    <a:gd name="connsiteY8" fmla="*/ 145106 h 500804"/>
                    <a:gd name="connsiteX9" fmla="*/ 353610 w 544284"/>
                    <a:gd name="connsiteY9" fmla="*/ 151456 h 500804"/>
                    <a:gd name="connsiteX10" fmla="*/ 445685 w 544284"/>
                    <a:gd name="connsiteY10" fmla="*/ 164156 h 500804"/>
                    <a:gd name="connsiteX11" fmla="*/ 486960 w 544284"/>
                    <a:gd name="connsiteY11" fmla="*/ 189556 h 500804"/>
                    <a:gd name="connsiteX12" fmla="*/ 509185 w 544284"/>
                    <a:gd name="connsiteY12" fmla="*/ 234006 h 500804"/>
                    <a:gd name="connsiteX13" fmla="*/ 506010 w 544284"/>
                    <a:gd name="connsiteY13" fmla="*/ 488006 h 500804"/>
                    <a:gd name="connsiteX14" fmla="*/ 4360 w 544284"/>
                    <a:gd name="connsiteY14" fmla="*/ 449906 h 500804"/>
                    <a:gd name="connsiteX0" fmla="*/ 4360 w 544284"/>
                    <a:gd name="connsiteY0" fmla="*/ 449906 h 500804"/>
                    <a:gd name="connsiteX1" fmla="*/ 7535 w 544284"/>
                    <a:gd name="connsiteY1" fmla="*/ 214956 h 500804"/>
                    <a:gd name="connsiteX2" fmla="*/ 23410 w 544284"/>
                    <a:gd name="connsiteY2" fmla="*/ 176856 h 500804"/>
                    <a:gd name="connsiteX3" fmla="*/ 71035 w 544284"/>
                    <a:gd name="connsiteY3" fmla="*/ 160981 h 500804"/>
                    <a:gd name="connsiteX4" fmla="*/ 172635 w 544284"/>
                    <a:gd name="connsiteY4" fmla="*/ 154631 h 500804"/>
                    <a:gd name="connsiteX5" fmla="*/ 198035 w 544284"/>
                    <a:gd name="connsiteY5" fmla="*/ 151456 h 500804"/>
                    <a:gd name="connsiteX6" fmla="*/ 201210 w 544284"/>
                    <a:gd name="connsiteY6" fmla="*/ 18106 h 500804"/>
                    <a:gd name="connsiteX7" fmla="*/ 312335 w 544284"/>
                    <a:gd name="connsiteY7" fmla="*/ 14931 h 500804"/>
                    <a:gd name="connsiteX8" fmla="*/ 312335 w 544284"/>
                    <a:gd name="connsiteY8" fmla="*/ 145106 h 500804"/>
                    <a:gd name="connsiteX9" fmla="*/ 353610 w 544284"/>
                    <a:gd name="connsiteY9" fmla="*/ 151456 h 500804"/>
                    <a:gd name="connsiteX10" fmla="*/ 445685 w 544284"/>
                    <a:gd name="connsiteY10" fmla="*/ 164156 h 500804"/>
                    <a:gd name="connsiteX11" fmla="*/ 486960 w 544284"/>
                    <a:gd name="connsiteY11" fmla="*/ 189556 h 500804"/>
                    <a:gd name="connsiteX12" fmla="*/ 509185 w 544284"/>
                    <a:gd name="connsiteY12" fmla="*/ 234006 h 500804"/>
                    <a:gd name="connsiteX13" fmla="*/ 506010 w 544284"/>
                    <a:gd name="connsiteY13" fmla="*/ 488006 h 500804"/>
                    <a:gd name="connsiteX14" fmla="*/ 4360 w 544284"/>
                    <a:gd name="connsiteY14" fmla="*/ 449906 h 500804"/>
                    <a:gd name="connsiteX0" fmla="*/ 4360 w 519024"/>
                    <a:gd name="connsiteY0" fmla="*/ 449906 h 500804"/>
                    <a:gd name="connsiteX1" fmla="*/ 7535 w 519024"/>
                    <a:gd name="connsiteY1" fmla="*/ 214956 h 500804"/>
                    <a:gd name="connsiteX2" fmla="*/ 23410 w 519024"/>
                    <a:gd name="connsiteY2" fmla="*/ 176856 h 500804"/>
                    <a:gd name="connsiteX3" fmla="*/ 71035 w 519024"/>
                    <a:gd name="connsiteY3" fmla="*/ 160981 h 500804"/>
                    <a:gd name="connsiteX4" fmla="*/ 172635 w 519024"/>
                    <a:gd name="connsiteY4" fmla="*/ 154631 h 500804"/>
                    <a:gd name="connsiteX5" fmla="*/ 198035 w 519024"/>
                    <a:gd name="connsiteY5" fmla="*/ 151456 h 500804"/>
                    <a:gd name="connsiteX6" fmla="*/ 201210 w 519024"/>
                    <a:gd name="connsiteY6" fmla="*/ 18106 h 500804"/>
                    <a:gd name="connsiteX7" fmla="*/ 312335 w 519024"/>
                    <a:gd name="connsiteY7" fmla="*/ 14931 h 500804"/>
                    <a:gd name="connsiteX8" fmla="*/ 312335 w 519024"/>
                    <a:gd name="connsiteY8" fmla="*/ 145106 h 500804"/>
                    <a:gd name="connsiteX9" fmla="*/ 353610 w 519024"/>
                    <a:gd name="connsiteY9" fmla="*/ 151456 h 500804"/>
                    <a:gd name="connsiteX10" fmla="*/ 445685 w 519024"/>
                    <a:gd name="connsiteY10" fmla="*/ 164156 h 500804"/>
                    <a:gd name="connsiteX11" fmla="*/ 486960 w 519024"/>
                    <a:gd name="connsiteY11" fmla="*/ 189556 h 500804"/>
                    <a:gd name="connsiteX12" fmla="*/ 509185 w 519024"/>
                    <a:gd name="connsiteY12" fmla="*/ 234006 h 500804"/>
                    <a:gd name="connsiteX13" fmla="*/ 506010 w 519024"/>
                    <a:gd name="connsiteY13" fmla="*/ 488006 h 500804"/>
                    <a:gd name="connsiteX14" fmla="*/ 4360 w 519024"/>
                    <a:gd name="connsiteY14" fmla="*/ 449906 h 500804"/>
                    <a:gd name="connsiteX0" fmla="*/ 4360 w 519024"/>
                    <a:gd name="connsiteY0" fmla="*/ 449906 h 488006"/>
                    <a:gd name="connsiteX1" fmla="*/ 7535 w 519024"/>
                    <a:gd name="connsiteY1" fmla="*/ 214956 h 488006"/>
                    <a:gd name="connsiteX2" fmla="*/ 23410 w 519024"/>
                    <a:gd name="connsiteY2" fmla="*/ 176856 h 488006"/>
                    <a:gd name="connsiteX3" fmla="*/ 71035 w 519024"/>
                    <a:gd name="connsiteY3" fmla="*/ 160981 h 488006"/>
                    <a:gd name="connsiteX4" fmla="*/ 172635 w 519024"/>
                    <a:gd name="connsiteY4" fmla="*/ 154631 h 488006"/>
                    <a:gd name="connsiteX5" fmla="*/ 198035 w 519024"/>
                    <a:gd name="connsiteY5" fmla="*/ 151456 h 488006"/>
                    <a:gd name="connsiteX6" fmla="*/ 201210 w 519024"/>
                    <a:gd name="connsiteY6" fmla="*/ 18106 h 488006"/>
                    <a:gd name="connsiteX7" fmla="*/ 312335 w 519024"/>
                    <a:gd name="connsiteY7" fmla="*/ 14931 h 488006"/>
                    <a:gd name="connsiteX8" fmla="*/ 312335 w 519024"/>
                    <a:gd name="connsiteY8" fmla="*/ 145106 h 488006"/>
                    <a:gd name="connsiteX9" fmla="*/ 353610 w 519024"/>
                    <a:gd name="connsiteY9" fmla="*/ 151456 h 488006"/>
                    <a:gd name="connsiteX10" fmla="*/ 445685 w 519024"/>
                    <a:gd name="connsiteY10" fmla="*/ 164156 h 488006"/>
                    <a:gd name="connsiteX11" fmla="*/ 486960 w 519024"/>
                    <a:gd name="connsiteY11" fmla="*/ 189556 h 488006"/>
                    <a:gd name="connsiteX12" fmla="*/ 509185 w 519024"/>
                    <a:gd name="connsiteY12" fmla="*/ 234006 h 488006"/>
                    <a:gd name="connsiteX13" fmla="*/ 506010 w 519024"/>
                    <a:gd name="connsiteY13" fmla="*/ 488006 h 488006"/>
                    <a:gd name="connsiteX14" fmla="*/ 4360 w 519024"/>
                    <a:gd name="connsiteY14" fmla="*/ 449906 h 488006"/>
                    <a:gd name="connsiteX0" fmla="*/ 4360 w 523534"/>
                    <a:gd name="connsiteY0" fmla="*/ 449906 h 472131"/>
                    <a:gd name="connsiteX1" fmla="*/ 7535 w 523534"/>
                    <a:gd name="connsiteY1" fmla="*/ 214956 h 472131"/>
                    <a:gd name="connsiteX2" fmla="*/ 23410 w 523534"/>
                    <a:gd name="connsiteY2" fmla="*/ 176856 h 472131"/>
                    <a:gd name="connsiteX3" fmla="*/ 71035 w 523534"/>
                    <a:gd name="connsiteY3" fmla="*/ 160981 h 472131"/>
                    <a:gd name="connsiteX4" fmla="*/ 172635 w 523534"/>
                    <a:gd name="connsiteY4" fmla="*/ 154631 h 472131"/>
                    <a:gd name="connsiteX5" fmla="*/ 198035 w 523534"/>
                    <a:gd name="connsiteY5" fmla="*/ 151456 h 472131"/>
                    <a:gd name="connsiteX6" fmla="*/ 201210 w 523534"/>
                    <a:gd name="connsiteY6" fmla="*/ 18106 h 472131"/>
                    <a:gd name="connsiteX7" fmla="*/ 312335 w 523534"/>
                    <a:gd name="connsiteY7" fmla="*/ 14931 h 472131"/>
                    <a:gd name="connsiteX8" fmla="*/ 312335 w 523534"/>
                    <a:gd name="connsiteY8" fmla="*/ 145106 h 472131"/>
                    <a:gd name="connsiteX9" fmla="*/ 353610 w 523534"/>
                    <a:gd name="connsiteY9" fmla="*/ 151456 h 472131"/>
                    <a:gd name="connsiteX10" fmla="*/ 445685 w 523534"/>
                    <a:gd name="connsiteY10" fmla="*/ 164156 h 472131"/>
                    <a:gd name="connsiteX11" fmla="*/ 486960 w 523534"/>
                    <a:gd name="connsiteY11" fmla="*/ 189556 h 472131"/>
                    <a:gd name="connsiteX12" fmla="*/ 509185 w 523534"/>
                    <a:gd name="connsiteY12" fmla="*/ 234006 h 472131"/>
                    <a:gd name="connsiteX13" fmla="*/ 512360 w 523534"/>
                    <a:gd name="connsiteY13" fmla="*/ 472131 h 472131"/>
                    <a:gd name="connsiteX14" fmla="*/ 4360 w 523534"/>
                    <a:gd name="connsiteY14" fmla="*/ 449906 h 472131"/>
                    <a:gd name="connsiteX0" fmla="*/ 4360 w 513675"/>
                    <a:gd name="connsiteY0" fmla="*/ 449906 h 472131"/>
                    <a:gd name="connsiteX1" fmla="*/ 7535 w 513675"/>
                    <a:gd name="connsiteY1" fmla="*/ 214956 h 472131"/>
                    <a:gd name="connsiteX2" fmla="*/ 23410 w 513675"/>
                    <a:gd name="connsiteY2" fmla="*/ 176856 h 472131"/>
                    <a:gd name="connsiteX3" fmla="*/ 71035 w 513675"/>
                    <a:gd name="connsiteY3" fmla="*/ 160981 h 472131"/>
                    <a:gd name="connsiteX4" fmla="*/ 172635 w 513675"/>
                    <a:gd name="connsiteY4" fmla="*/ 154631 h 472131"/>
                    <a:gd name="connsiteX5" fmla="*/ 198035 w 513675"/>
                    <a:gd name="connsiteY5" fmla="*/ 151456 h 472131"/>
                    <a:gd name="connsiteX6" fmla="*/ 201210 w 513675"/>
                    <a:gd name="connsiteY6" fmla="*/ 18106 h 472131"/>
                    <a:gd name="connsiteX7" fmla="*/ 312335 w 513675"/>
                    <a:gd name="connsiteY7" fmla="*/ 14931 h 472131"/>
                    <a:gd name="connsiteX8" fmla="*/ 312335 w 513675"/>
                    <a:gd name="connsiteY8" fmla="*/ 145106 h 472131"/>
                    <a:gd name="connsiteX9" fmla="*/ 353610 w 513675"/>
                    <a:gd name="connsiteY9" fmla="*/ 151456 h 472131"/>
                    <a:gd name="connsiteX10" fmla="*/ 445685 w 513675"/>
                    <a:gd name="connsiteY10" fmla="*/ 164156 h 472131"/>
                    <a:gd name="connsiteX11" fmla="*/ 486960 w 513675"/>
                    <a:gd name="connsiteY11" fmla="*/ 189556 h 472131"/>
                    <a:gd name="connsiteX12" fmla="*/ 509185 w 513675"/>
                    <a:gd name="connsiteY12" fmla="*/ 234006 h 472131"/>
                    <a:gd name="connsiteX13" fmla="*/ 512360 w 513675"/>
                    <a:gd name="connsiteY13" fmla="*/ 472131 h 472131"/>
                    <a:gd name="connsiteX14" fmla="*/ 4360 w 513675"/>
                    <a:gd name="connsiteY14" fmla="*/ 449906 h 472131"/>
                    <a:gd name="connsiteX0" fmla="*/ 4360 w 513675"/>
                    <a:gd name="connsiteY0" fmla="*/ 446969 h 469194"/>
                    <a:gd name="connsiteX1" fmla="*/ 7535 w 513675"/>
                    <a:gd name="connsiteY1" fmla="*/ 212019 h 469194"/>
                    <a:gd name="connsiteX2" fmla="*/ 23410 w 513675"/>
                    <a:gd name="connsiteY2" fmla="*/ 173919 h 469194"/>
                    <a:gd name="connsiteX3" fmla="*/ 71035 w 513675"/>
                    <a:gd name="connsiteY3" fmla="*/ 158044 h 469194"/>
                    <a:gd name="connsiteX4" fmla="*/ 172635 w 513675"/>
                    <a:gd name="connsiteY4" fmla="*/ 151694 h 469194"/>
                    <a:gd name="connsiteX5" fmla="*/ 188510 w 513675"/>
                    <a:gd name="connsiteY5" fmla="*/ 94544 h 469194"/>
                    <a:gd name="connsiteX6" fmla="*/ 201210 w 513675"/>
                    <a:gd name="connsiteY6" fmla="*/ 15169 h 469194"/>
                    <a:gd name="connsiteX7" fmla="*/ 312335 w 513675"/>
                    <a:gd name="connsiteY7" fmla="*/ 11994 h 469194"/>
                    <a:gd name="connsiteX8" fmla="*/ 312335 w 513675"/>
                    <a:gd name="connsiteY8" fmla="*/ 142169 h 469194"/>
                    <a:gd name="connsiteX9" fmla="*/ 353610 w 513675"/>
                    <a:gd name="connsiteY9" fmla="*/ 148519 h 469194"/>
                    <a:gd name="connsiteX10" fmla="*/ 445685 w 513675"/>
                    <a:gd name="connsiteY10" fmla="*/ 161219 h 469194"/>
                    <a:gd name="connsiteX11" fmla="*/ 486960 w 513675"/>
                    <a:gd name="connsiteY11" fmla="*/ 186619 h 469194"/>
                    <a:gd name="connsiteX12" fmla="*/ 509185 w 513675"/>
                    <a:gd name="connsiteY12" fmla="*/ 231069 h 469194"/>
                    <a:gd name="connsiteX13" fmla="*/ 512360 w 513675"/>
                    <a:gd name="connsiteY13" fmla="*/ 469194 h 469194"/>
                    <a:gd name="connsiteX14" fmla="*/ 4360 w 513675"/>
                    <a:gd name="connsiteY14" fmla="*/ 446969 h 469194"/>
                    <a:gd name="connsiteX0" fmla="*/ 4360 w 513675"/>
                    <a:gd name="connsiteY0" fmla="*/ 443409 h 465634"/>
                    <a:gd name="connsiteX1" fmla="*/ 7535 w 513675"/>
                    <a:gd name="connsiteY1" fmla="*/ 208459 h 465634"/>
                    <a:gd name="connsiteX2" fmla="*/ 23410 w 513675"/>
                    <a:gd name="connsiteY2" fmla="*/ 170359 h 465634"/>
                    <a:gd name="connsiteX3" fmla="*/ 71035 w 513675"/>
                    <a:gd name="connsiteY3" fmla="*/ 154484 h 465634"/>
                    <a:gd name="connsiteX4" fmla="*/ 172635 w 513675"/>
                    <a:gd name="connsiteY4" fmla="*/ 148134 h 465634"/>
                    <a:gd name="connsiteX5" fmla="*/ 188510 w 513675"/>
                    <a:gd name="connsiteY5" fmla="*/ 90984 h 465634"/>
                    <a:gd name="connsiteX6" fmla="*/ 201210 w 513675"/>
                    <a:gd name="connsiteY6" fmla="*/ 11609 h 465634"/>
                    <a:gd name="connsiteX7" fmla="*/ 312335 w 513675"/>
                    <a:gd name="connsiteY7" fmla="*/ 8434 h 465634"/>
                    <a:gd name="connsiteX8" fmla="*/ 312335 w 513675"/>
                    <a:gd name="connsiteY8" fmla="*/ 87809 h 465634"/>
                    <a:gd name="connsiteX9" fmla="*/ 353610 w 513675"/>
                    <a:gd name="connsiteY9" fmla="*/ 144959 h 465634"/>
                    <a:gd name="connsiteX10" fmla="*/ 445685 w 513675"/>
                    <a:gd name="connsiteY10" fmla="*/ 157659 h 465634"/>
                    <a:gd name="connsiteX11" fmla="*/ 486960 w 513675"/>
                    <a:gd name="connsiteY11" fmla="*/ 183059 h 465634"/>
                    <a:gd name="connsiteX12" fmla="*/ 509185 w 513675"/>
                    <a:gd name="connsiteY12" fmla="*/ 227509 h 465634"/>
                    <a:gd name="connsiteX13" fmla="*/ 512360 w 513675"/>
                    <a:gd name="connsiteY13" fmla="*/ 465634 h 465634"/>
                    <a:gd name="connsiteX14" fmla="*/ 4360 w 513675"/>
                    <a:gd name="connsiteY14" fmla="*/ 443409 h 465634"/>
                    <a:gd name="connsiteX0" fmla="*/ 4360 w 513675"/>
                    <a:gd name="connsiteY0" fmla="*/ 443409 h 465634"/>
                    <a:gd name="connsiteX1" fmla="*/ 7535 w 513675"/>
                    <a:gd name="connsiteY1" fmla="*/ 208459 h 465634"/>
                    <a:gd name="connsiteX2" fmla="*/ 23410 w 513675"/>
                    <a:gd name="connsiteY2" fmla="*/ 170359 h 465634"/>
                    <a:gd name="connsiteX3" fmla="*/ 71035 w 513675"/>
                    <a:gd name="connsiteY3" fmla="*/ 154484 h 465634"/>
                    <a:gd name="connsiteX4" fmla="*/ 172635 w 513675"/>
                    <a:gd name="connsiteY4" fmla="*/ 148134 h 465634"/>
                    <a:gd name="connsiteX5" fmla="*/ 188510 w 513675"/>
                    <a:gd name="connsiteY5" fmla="*/ 90984 h 465634"/>
                    <a:gd name="connsiteX6" fmla="*/ 201210 w 513675"/>
                    <a:gd name="connsiteY6" fmla="*/ 11609 h 465634"/>
                    <a:gd name="connsiteX7" fmla="*/ 312335 w 513675"/>
                    <a:gd name="connsiteY7" fmla="*/ 8434 h 465634"/>
                    <a:gd name="connsiteX8" fmla="*/ 312335 w 513675"/>
                    <a:gd name="connsiteY8" fmla="*/ 87809 h 465634"/>
                    <a:gd name="connsiteX9" fmla="*/ 334560 w 513675"/>
                    <a:gd name="connsiteY9" fmla="*/ 135434 h 465634"/>
                    <a:gd name="connsiteX10" fmla="*/ 445685 w 513675"/>
                    <a:gd name="connsiteY10" fmla="*/ 157659 h 465634"/>
                    <a:gd name="connsiteX11" fmla="*/ 486960 w 513675"/>
                    <a:gd name="connsiteY11" fmla="*/ 183059 h 465634"/>
                    <a:gd name="connsiteX12" fmla="*/ 509185 w 513675"/>
                    <a:gd name="connsiteY12" fmla="*/ 227509 h 465634"/>
                    <a:gd name="connsiteX13" fmla="*/ 512360 w 513675"/>
                    <a:gd name="connsiteY13" fmla="*/ 465634 h 465634"/>
                    <a:gd name="connsiteX14" fmla="*/ 4360 w 513675"/>
                    <a:gd name="connsiteY14" fmla="*/ 443409 h 465634"/>
                    <a:gd name="connsiteX0" fmla="*/ 4360 w 510500"/>
                    <a:gd name="connsiteY0" fmla="*/ 443409 h 449759"/>
                    <a:gd name="connsiteX1" fmla="*/ 7535 w 510500"/>
                    <a:gd name="connsiteY1" fmla="*/ 208459 h 449759"/>
                    <a:gd name="connsiteX2" fmla="*/ 23410 w 510500"/>
                    <a:gd name="connsiteY2" fmla="*/ 170359 h 449759"/>
                    <a:gd name="connsiteX3" fmla="*/ 71035 w 510500"/>
                    <a:gd name="connsiteY3" fmla="*/ 154484 h 449759"/>
                    <a:gd name="connsiteX4" fmla="*/ 172635 w 510500"/>
                    <a:gd name="connsiteY4" fmla="*/ 148134 h 449759"/>
                    <a:gd name="connsiteX5" fmla="*/ 188510 w 510500"/>
                    <a:gd name="connsiteY5" fmla="*/ 90984 h 449759"/>
                    <a:gd name="connsiteX6" fmla="*/ 201210 w 510500"/>
                    <a:gd name="connsiteY6" fmla="*/ 11609 h 449759"/>
                    <a:gd name="connsiteX7" fmla="*/ 312335 w 510500"/>
                    <a:gd name="connsiteY7" fmla="*/ 8434 h 449759"/>
                    <a:gd name="connsiteX8" fmla="*/ 312335 w 510500"/>
                    <a:gd name="connsiteY8" fmla="*/ 87809 h 449759"/>
                    <a:gd name="connsiteX9" fmla="*/ 334560 w 510500"/>
                    <a:gd name="connsiteY9" fmla="*/ 135434 h 449759"/>
                    <a:gd name="connsiteX10" fmla="*/ 445685 w 510500"/>
                    <a:gd name="connsiteY10" fmla="*/ 157659 h 449759"/>
                    <a:gd name="connsiteX11" fmla="*/ 486960 w 510500"/>
                    <a:gd name="connsiteY11" fmla="*/ 183059 h 449759"/>
                    <a:gd name="connsiteX12" fmla="*/ 509185 w 510500"/>
                    <a:gd name="connsiteY12" fmla="*/ 227509 h 449759"/>
                    <a:gd name="connsiteX13" fmla="*/ 506010 w 510500"/>
                    <a:gd name="connsiteY13" fmla="*/ 449759 h 449759"/>
                    <a:gd name="connsiteX14" fmla="*/ 4360 w 510500"/>
                    <a:gd name="connsiteY14" fmla="*/ 443409 h 449759"/>
                    <a:gd name="connsiteX0" fmla="*/ 4360 w 510500"/>
                    <a:gd name="connsiteY0" fmla="*/ 443409 h 454926"/>
                    <a:gd name="connsiteX1" fmla="*/ 7535 w 510500"/>
                    <a:gd name="connsiteY1" fmla="*/ 208459 h 454926"/>
                    <a:gd name="connsiteX2" fmla="*/ 23410 w 510500"/>
                    <a:gd name="connsiteY2" fmla="*/ 170359 h 454926"/>
                    <a:gd name="connsiteX3" fmla="*/ 71035 w 510500"/>
                    <a:gd name="connsiteY3" fmla="*/ 154484 h 454926"/>
                    <a:gd name="connsiteX4" fmla="*/ 172635 w 510500"/>
                    <a:gd name="connsiteY4" fmla="*/ 148134 h 454926"/>
                    <a:gd name="connsiteX5" fmla="*/ 188510 w 510500"/>
                    <a:gd name="connsiteY5" fmla="*/ 90984 h 454926"/>
                    <a:gd name="connsiteX6" fmla="*/ 201210 w 510500"/>
                    <a:gd name="connsiteY6" fmla="*/ 11609 h 454926"/>
                    <a:gd name="connsiteX7" fmla="*/ 312335 w 510500"/>
                    <a:gd name="connsiteY7" fmla="*/ 8434 h 454926"/>
                    <a:gd name="connsiteX8" fmla="*/ 312335 w 510500"/>
                    <a:gd name="connsiteY8" fmla="*/ 87809 h 454926"/>
                    <a:gd name="connsiteX9" fmla="*/ 334560 w 510500"/>
                    <a:gd name="connsiteY9" fmla="*/ 135434 h 454926"/>
                    <a:gd name="connsiteX10" fmla="*/ 445685 w 510500"/>
                    <a:gd name="connsiteY10" fmla="*/ 157659 h 454926"/>
                    <a:gd name="connsiteX11" fmla="*/ 486960 w 510500"/>
                    <a:gd name="connsiteY11" fmla="*/ 183059 h 454926"/>
                    <a:gd name="connsiteX12" fmla="*/ 509185 w 510500"/>
                    <a:gd name="connsiteY12" fmla="*/ 227509 h 454926"/>
                    <a:gd name="connsiteX13" fmla="*/ 506010 w 510500"/>
                    <a:gd name="connsiteY13" fmla="*/ 449759 h 454926"/>
                    <a:gd name="connsiteX14" fmla="*/ 4360 w 510500"/>
                    <a:gd name="connsiteY14" fmla="*/ 443409 h 454926"/>
                    <a:gd name="connsiteX0" fmla="*/ 6473 w 512613"/>
                    <a:gd name="connsiteY0" fmla="*/ 443409 h 454926"/>
                    <a:gd name="connsiteX1" fmla="*/ 9648 w 512613"/>
                    <a:gd name="connsiteY1" fmla="*/ 208459 h 454926"/>
                    <a:gd name="connsiteX2" fmla="*/ 73148 w 512613"/>
                    <a:gd name="connsiteY2" fmla="*/ 154484 h 454926"/>
                    <a:gd name="connsiteX3" fmla="*/ 174748 w 512613"/>
                    <a:gd name="connsiteY3" fmla="*/ 148134 h 454926"/>
                    <a:gd name="connsiteX4" fmla="*/ 190623 w 512613"/>
                    <a:gd name="connsiteY4" fmla="*/ 90984 h 454926"/>
                    <a:gd name="connsiteX5" fmla="*/ 203323 w 512613"/>
                    <a:gd name="connsiteY5" fmla="*/ 11609 h 454926"/>
                    <a:gd name="connsiteX6" fmla="*/ 314448 w 512613"/>
                    <a:gd name="connsiteY6" fmla="*/ 8434 h 454926"/>
                    <a:gd name="connsiteX7" fmla="*/ 314448 w 512613"/>
                    <a:gd name="connsiteY7" fmla="*/ 87809 h 454926"/>
                    <a:gd name="connsiteX8" fmla="*/ 336673 w 512613"/>
                    <a:gd name="connsiteY8" fmla="*/ 135434 h 454926"/>
                    <a:gd name="connsiteX9" fmla="*/ 447798 w 512613"/>
                    <a:gd name="connsiteY9" fmla="*/ 157659 h 454926"/>
                    <a:gd name="connsiteX10" fmla="*/ 489073 w 512613"/>
                    <a:gd name="connsiteY10" fmla="*/ 183059 h 454926"/>
                    <a:gd name="connsiteX11" fmla="*/ 511298 w 512613"/>
                    <a:gd name="connsiteY11" fmla="*/ 227509 h 454926"/>
                    <a:gd name="connsiteX12" fmla="*/ 508123 w 512613"/>
                    <a:gd name="connsiteY12" fmla="*/ 449759 h 454926"/>
                    <a:gd name="connsiteX13" fmla="*/ 6473 w 512613"/>
                    <a:gd name="connsiteY13" fmla="*/ 443409 h 454926"/>
                    <a:gd name="connsiteX0" fmla="*/ 4049 w 510189"/>
                    <a:gd name="connsiteY0" fmla="*/ 443409 h 454926"/>
                    <a:gd name="connsiteX1" fmla="*/ 7224 w 510189"/>
                    <a:gd name="connsiteY1" fmla="*/ 208459 h 454926"/>
                    <a:gd name="connsiteX2" fmla="*/ 70724 w 510189"/>
                    <a:gd name="connsiteY2" fmla="*/ 154484 h 454926"/>
                    <a:gd name="connsiteX3" fmla="*/ 172324 w 510189"/>
                    <a:gd name="connsiteY3" fmla="*/ 148134 h 454926"/>
                    <a:gd name="connsiteX4" fmla="*/ 188199 w 510189"/>
                    <a:gd name="connsiteY4" fmla="*/ 90984 h 454926"/>
                    <a:gd name="connsiteX5" fmla="*/ 200899 w 510189"/>
                    <a:gd name="connsiteY5" fmla="*/ 11609 h 454926"/>
                    <a:gd name="connsiteX6" fmla="*/ 312024 w 510189"/>
                    <a:gd name="connsiteY6" fmla="*/ 8434 h 454926"/>
                    <a:gd name="connsiteX7" fmla="*/ 312024 w 510189"/>
                    <a:gd name="connsiteY7" fmla="*/ 87809 h 454926"/>
                    <a:gd name="connsiteX8" fmla="*/ 334249 w 510189"/>
                    <a:gd name="connsiteY8" fmla="*/ 135434 h 454926"/>
                    <a:gd name="connsiteX9" fmla="*/ 445374 w 510189"/>
                    <a:gd name="connsiteY9" fmla="*/ 157659 h 454926"/>
                    <a:gd name="connsiteX10" fmla="*/ 486649 w 510189"/>
                    <a:gd name="connsiteY10" fmla="*/ 183059 h 454926"/>
                    <a:gd name="connsiteX11" fmla="*/ 508874 w 510189"/>
                    <a:gd name="connsiteY11" fmla="*/ 227509 h 454926"/>
                    <a:gd name="connsiteX12" fmla="*/ 505699 w 510189"/>
                    <a:gd name="connsiteY12" fmla="*/ 449759 h 454926"/>
                    <a:gd name="connsiteX13" fmla="*/ 4049 w 510189"/>
                    <a:gd name="connsiteY13" fmla="*/ 443409 h 454926"/>
                    <a:gd name="connsiteX0" fmla="*/ 4049 w 510189"/>
                    <a:gd name="connsiteY0" fmla="*/ 443409 h 454926"/>
                    <a:gd name="connsiteX1" fmla="*/ 7224 w 510189"/>
                    <a:gd name="connsiteY1" fmla="*/ 208459 h 454926"/>
                    <a:gd name="connsiteX2" fmla="*/ 70724 w 510189"/>
                    <a:gd name="connsiteY2" fmla="*/ 154484 h 454926"/>
                    <a:gd name="connsiteX3" fmla="*/ 172324 w 510189"/>
                    <a:gd name="connsiteY3" fmla="*/ 148134 h 454926"/>
                    <a:gd name="connsiteX4" fmla="*/ 188199 w 510189"/>
                    <a:gd name="connsiteY4" fmla="*/ 90984 h 454926"/>
                    <a:gd name="connsiteX5" fmla="*/ 200899 w 510189"/>
                    <a:gd name="connsiteY5" fmla="*/ 11609 h 454926"/>
                    <a:gd name="connsiteX6" fmla="*/ 312024 w 510189"/>
                    <a:gd name="connsiteY6" fmla="*/ 8434 h 454926"/>
                    <a:gd name="connsiteX7" fmla="*/ 312024 w 510189"/>
                    <a:gd name="connsiteY7" fmla="*/ 87809 h 454926"/>
                    <a:gd name="connsiteX8" fmla="*/ 334249 w 510189"/>
                    <a:gd name="connsiteY8" fmla="*/ 135434 h 454926"/>
                    <a:gd name="connsiteX9" fmla="*/ 445374 w 510189"/>
                    <a:gd name="connsiteY9" fmla="*/ 157659 h 454926"/>
                    <a:gd name="connsiteX10" fmla="*/ 508874 w 510189"/>
                    <a:gd name="connsiteY10" fmla="*/ 227509 h 454926"/>
                    <a:gd name="connsiteX11" fmla="*/ 505699 w 510189"/>
                    <a:gd name="connsiteY11" fmla="*/ 449759 h 454926"/>
                    <a:gd name="connsiteX12" fmla="*/ 4049 w 510189"/>
                    <a:gd name="connsiteY12" fmla="*/ 443409 h 454926"/>
                    <a:gd name="connsiteX0" fmla="*/ 4049 w 510189"/>
                    <a:gd name="connsiteY0" fmla="*/ 443409 h 454926"/>
                    <a:gd name="connsiteX1" fmla="*/ 7224 w 510189"/>
                    <a:gd name="connsiteY1" fmla="*/ 208459 h 454926"/>
                    <a:gd name="connsiteX2" fmla="*/ 70724 w 510189"/>
                    <a:gd name="connsiteY2" fmla="*/ 154484 h 454926"/>
                    <a:gd name="connsiteX3" fmla="*/ 172324 w 510189"/>
                    <a:gd name="connsiteY3" fmla="*/ 148134 h 454926"/>
                    <a:gd name="connsiteX4" fmla="*/ 188199 w 510189"/>
                    <a:gd name="connsiteY4" fmla="*/ 90984 h 454926"/>
                    <a:gd name="connsiteX5" fmla="*/ 200899 w 510189"/>
                    <a:gd name="connsiteY5" fmla="*/ 11609 h 454926"/>
                    <a:gd name="connsiteX6" fmla="*/ 312024 w 510189"/>
                    <a:gd name="connsiteY6" fmla="*/ 8434 h 454926"/>
                    <a:gd name="connsiteX7" fmla="*/ 312024 w 510189"/>
                    <a:gd name="connsiteY7" fmla="*/ 87809 h 454926"/>
                    <a:gd name="connsiteX8" fmla="*/ 334249 w 510189"/>
                    <a:gd name="connsiteY8" fmla="*/ 135434 h 454926"/>
                    <a:gd name="connsiteX9" fmla="*/ 445374 w 510189"/>
                    <a:gd name="connsiteY9" fmla="*/ 157659 h 454926"/>
                    <a:gd name="connsiteX10" fmla="*/ 508874 w 510189"/>
                    <a:gd name="connsiteY10" fmla="*/ 227509 h 454926"/>
                    <a:gd name="connsiteX11" fmla="*/ 505699 w 510189"/>
                    <a:gd name="connsiteY11" fmla="*/ 449759 h 454926"/>
                    <a:gd name="connsiteX12" fmla="*/ 4049 w 510189"/>
                    <a:gd name="connsiteY12" fmla="*/ 443409 h 454926"/>
                    <a:gd name="connsiteX0" fmla="*/ 5987 w 512127"/>
                    <a:gd name="connsiteY0" fmla="*/ 443409 h 454926"/>
                    <a:gd name="connsiteX1" fmla="*/ 2812 w 512127"/>
                    <a:gd name="connsiteY1" fmla="*/ 217984 h 454926"/>
                    <a:gd name="connsiteX2" fmla="*/ 72662 w 512127"/>
                    <a:gd name="connsiteY2" fmla="*/ 154484 h 454926"/>
                    <a:gd name="connsiteX3" fmla="*/ 174262 w 512127"/>
                    <a:gd name="connsiteY3" fmla="*/ 148134 h 454926"/>
                    <a:gd name="connsiteX4" fmla="*/ 190137 w 512127"/>
                    <a:gd name="connsiteY4" fmla="*/ 90984 h 454926"/>
                    <a:gd name="connsiteX5" fmla="*/ 202837 w 512127"/>
                    <a:gd name="connsiteY5" fmla="*/ 11609 h 454926"/>
                    <a:gd name="connsiteX6" fmla="*/ 313962 w 512127"/>
                    <a:gd name="connsiteY6" fmla="*/ 8434 h 454926"/>
                    <a:gd name="connsiteX7" fmla="*/ 313962 w 512127"/>
                    <a:gd name="connsiteY7" fmla="*/ 87809 h 454926"/>
                    <a:gd name="connsiteX8" fmla="*/ 336187 w 512127"/>
                    <a:gd name="connsiteY8" fmla="*/ 135434 h 454926"/>
                    <a:gd name="connsiteX9" fmla="*/ 447312 w 512127"/>
                    <a:gd name="connsiteY9" fmla="*/ 157659 h 454926"/>
                    <a:gd name="connsiteX10" fmla="*/ 510812 w 512127"/>
                    <a:gd name="connsiteY10" fmla="*/ 227509 h 454926"/>
                    <a:gd name="connsiteX11" fmla="*/ 507637 w 512127"/>
                    <a:gd name="connsiteY11" fmla="*/ 449759 h 454926"/>
                    <a:gd name="connsiteX12" fmla="*/ 5987 w 512127"/>
                    <a:gd name="connsiteY12" fmla="*/ 443409 h 454926"/>
                    <a:gd name="connsiteX0" fmla="*/ 9762 w 515902"/>
                    <a:gd name="connsiteY0" fmla="*/ 443409 h 454926"/>
                    <a:gd name="connsiteX1" fmla="*/ 6587 w 515902"/>
                    <a:gd name="connsiteY1" fmla="*/ 217984 h 454926"/>
                    <a:gd name="connsiteX2" fmla="*/ 76437 w 515902"/>
                    <a:gd name="connsiteY2" fmla="*/ 154484 h 454926"/>
                    <a:gd name="connsiteX3" fmla="*/ 178037 w 515902"/>
                    <a:gd name="connsiteY3" fmla="*/ 148134 h 454926"/>
                    <a:gd name="connsiteX4" fmla="*/ 193912 w 515902"/>
                    <a:gd name="connsiteY4" fmla="*/ 90984 h 454926"/>
                    <a:gd name="connsiteX5" fmla="*/ 206612 w 515902"/>
                    <a:gd name="connsiteY5" fmla="*/ 11609 h 454926"/>
                    <a:gd name="connsiteX6" fmla="*/ 317737 w 515902"/>
                    <a:gd name="connsiteY6" fmla="*/ 8434 h 454926"/>
                    <a:gd name="connsiteX7" fmla="*/ 317737 w 515902"/>
                    <a:gd name="connsiteY7" fmla="*/ 87809 h 454926"/>
                    <a:gd name="connsiteX8" fmla="*/ 339962 w 515902"/>
                    <a:gd name="connsiteY8" fmla="*/ 135434 h 454926"/>
                    <a:gd name="connsiteX9" fmla="*/ 451087 w 515902"/>
                    <a:gd name="connsiteY9" fmla="*/ 157659 h 454926"/>
                    <a:gd name="connsiteX10" fmla="*/ 514587 w 515902"/>
                    <a:gd name="connsiteY10" fmla="*/ 227509 h 454926"/>
                    <a:gd name="connsiteX11" fmla="*/ 511412 w 515902"/>
                    <a:gd name="connsiteY11" fmla="*/ 449759 h 454926"/>
                    <a:gd name="connsiteX12" fmla="*/ 9762 w 515902"/>
                    <a:gd name="connsiteY12" fmla="*/ 443409 h 454926"/>
                    <a:gd name="connsiteX0" fmla="*/ 9762 w 515902"/>
                    <a:gd name="connsiteY0" fmla="*/ 443409 h 454926"/>
                    <a:gd name="connsiteX1" fmla="*/ 6587 w 515902"/>
                    <a:gd name="connsiteY1" fmla="*/ 217984 h 454926"/>
                    <a:gd name="connsiteX2" fmla="*/ 76437 w 515902"/>
                    <a:gd name="connsiteY2" fmla="*/ 154484 h 454926"/>
                    <a:gd name="connsiteX3" fmla="*/ 178037 w 515902"/>
                    <a:gd name="connsiteY3" fmla="*/ 148134 h 454926"/>
                    <a:gd name="connsiteX4" fmla="*/ 193912 w 515902"/>
                    <a:gd name="connsiteY4" fmla="*/ 90984 h 454926"/>
                    <a:gd name="connsiteX5" fmla="*/ 206612 w 515902"/>
                    <a:gd name="connsiteY5" fmla="*/ 11609 h 454926"/>
                    <a:gd name="connsiteX6" fmla="*/ 317737 w 515902"/>
                    <a:gd name="connsiteY6" fmla="*/ 8434 h 454926"/>
                    <a:gd name="connsiteX7" fmla="*/ 317737 w 515902"/>
                    <a:gd name="connsiteY7" fmla="*/ 87809 h 454926"/>
                    <a:gd name="connsiteX8" fmla="*/ 339962 w 515902"/>
                    <a:gd name="connsiteY8" fmla="*/ 135434 h 454926"/>
                    <a:gd name="connsiteX9" fmla="*/ 451087 w 515902"/>
                    <a:gd name="connsiteY9" fmla="*/ 157659 h 454926"/>
                    <a:gd name="connsiteX10" fmla="*/ 514587 w 515902"/>
                    <a:gd name="connsiteY10" fmla="*/ 227509 h 454926"/>
                    <a:gd name="connsiteX11" fmla="*/ 511412 w 515902"/>
                    <a:gd name="connsiteY11" fmla="*/ 449759 h 454926"/>
                    <a:gd name="connsiteX12" fmla="*/ 9762 w 515902"/>
                    <a:gd name="connsiteY12" fmla="*/ 443409 h 454926"/>
                    <a:gd name="connsiteX0" fmla="*/ 9762 w 515902"/>
                    <a:gd name="connsiteY0" fmla="*/ 443409 h 454926"/>
                    <a:gd name="connsiteX1" fmla="*/ 6587 w 515902"/>
                    <a:gd name="connsiteY1" fmla="*/ 217984 h 454926"/>
                    <a:gd name="connsiteX2" fmla="*/ 76437 w 515902"/>
                    <a:gd name="connsiteY2" fmla="*/ 154484 h 454926"/>
                    <a:gd name="connsiteX3" fmla="*/ 193912 w 515902"/>
                    <a:gd name="connsiteY3" fmla="*/ 90984 h 454926"/>
                    <a:gd name="connsiteX4" fmla="*/ 206612 w 515902"/>
                    <a:gd name="connsiteY4" fmla="*/ 11609 h 454926"/>
                    <a:gd name="connsiteX5" fmla="*/ 317737 w 515902"/>
                    <a:gd name="connsiteY5" fmla="*/ 8434 h 454926"/>
                    <a:gd name="connsiteX6" fmla="*/ 317737 w 515902"/>
                    <a:gd name="connsiteY6" fmla="*/ 87809 h 454926"/>
                    <a:gd name="connsiteX7" fmla="*/ 339962 w 515902"/>
                    <a:gd name="connsiteY7" fmla="*/ 135434 h 454926"/>
                    <a:gd name="connsiteX8" fmla="*/ 451087 w 515902"/>
                    <a:gd name="connsiteY8" fmla="*/ 157659 h 454926"/>
                    <a:gd name="connsiteX9" fmla="*/ 514587 w 515902"/>
                    <a:gd name="connsiteY9" fmla="*/ 227509 h 454926"/>
                    <a:gd name="connsiteX10" fmla="*/ 511412 w 515902"/>
                    <a:gd name="connsiteY10" fmla="*/ 449759 h 454926"/>
                    <a:gd name="connsiteX11" fmla="*/ 9762 w 515902"/>
                    <a:gd name="connsiteY11" fmla="*/ 443409 h 454926"/>
                    <a:gd name="connsiteX0" fmla="*/ 9762 w 515902"/>
                    <a:gd name="connsiteY0" fmla="*/ 446099 h 457616"/>
                    <a:gd name="connsiteX1" fmla="*/ 6587 w 515902"/>
                    <a:gd name="connsiteY1" fmla="*/ 220674 h 457616"/>
                    <a:gd name="connsiteX2" fmla="*/ 76437 w 515902"/>
                    <a:gd name="connsiteY2" fmla="*/ 157174 h 457616"/>
                    <a:gd name="connsiteX3" fmla="*/ 190737 w 515902"/>
                    <a:gd name="connsiteY3" fmla="*/ 138124 h 457616"/>
                    <a:gd name="connsiteX4" fmla="*/ 206612 w 515902"/>
                    <a:gd name="connsiteY4" fmla="*/ 14299 h 457616"/>
                    <a:gd name="connsiteX5" fmla="*/ 317737 w 515902"/>
                    <a:gd name="connsiteY5" fmla="*/ 11124 h 457616"/>
                    <a:gd name="connsiteX6" fmla="*/ 317737 w 515902"/>
                    <a:gd name="connsiteY6" fmla="*/ 90499 h 457616"/>
                    <a:gd name="connsiteX7" fmla="*/ 339962 w 515902"/>
                    <a:gd name="connsiteY7" fmla="*/ 138124 h 457616"/>
                    <a:gd name="connsiteX8" fmla="*/ 451087 w 515902"/>
                    <a:gd name="connsiteY8" fmla="*/ 160349 h 457616"/>
                    <a:gd name="connsiteX9" fmla="*/ 514587 w 515902"/>
                    <a:gd name="connsiteY9" fmla="*/ 230199 h 457616"/>
                    <a:gd name="connsiteX10" fmla="*/ 511412 w 515902"/>
                    <a:gd name="connsiteY10" fmla="*/ 452449 h 457616"/>
                    <a:gd name="connsiteX11" fmla="*/ 9762 w 515902"/>
                    <a:gd name="connsiteY11" fmla="*/ 446099 h 457616"/>
                    <a:gd name="connsiteX0" fmla="*/ 9762 w 515902"/>
                    <a:gd name="connsiteY0" fmla="*/ 446099 h 457616"/>
                    <a:gd name="connsiteX1" fmla="*/ 6587 w 515902"/>
                    <a:gd name="connsiteY1" fmla="*/ 220674 h 457616"/>
                    <a:gd name="connsiteX2" fmla="*/ 76437 w 515902"/>
                    <a:gd name="connsiteY2" fmla="*/ 157174 h 457616"/>
                    <a:gd name="connsiteX3" fmla="*/ 190737 w 515902"/>
                    <a:gd name="connsiteY3" fmla="*/ 138124 h 457616"/>
                    <a:gd name="connsiteX4" fmla="*/ 206612 w 515902"/>
                    <a:gd name="connsiteY4" fmla="*/ 14299 h 457616"/>
                    <a:gd name="connsiteX5" fmla="*/ 317737 w 515902"/>
                    <a:gd name="connsiteY5" fmla="*/ 11124 h 457616"/>
                    <a:gd name="connsiteX6" fmla="*/ 317737 w 515902"/>
                    <a:gd name="connsiteY6" fmla="*/ 90499 h 457616"/>
                    <a:gd name="connsiteX7" fmla="*/ 451087 w 515902"/>
                    <a:gd name="connsiteY7" fmla="*/ 160349 h 457616"/>
                    <a:gd name="connsiteX8" fmla="*/ 514587 w 515902"/>
                    <a:gd name="connsiteY8" fmla="*/ 230199 h 457616"/>
                    <a:gd name="connsiteX9" fmla="*/ 511412 w 515902"/>
                    <a:gd name="connsiteY9" fmla="*/ 452449 h 457616"/>
                    <a:gd name="connsiteX10" fmla="*/ 9762 w 515902"/>
                    <a:gd name="connsiteY10" fmla="*/ 446099 h 457616"/>
                    <a:gd name="connsiteX0" fmla="*/ 9762 w 515902"/>
                    <a:gd name="connsiteY0" fmla="*/ 447482 h 458999"/>
                    <a:gd name="connsiteX1" fmla="*/ 6587 w 515902"/>
                    <a:gd name="connsiteY1" fmla="*/ 222057 h 458999"/>
                    <a:gd name="connsiteX2" fmla="*/ 76437 w 515902"/>
                    <a:gd name="connsiteY2" fmla="*/ 158557 h 458999"/>
                    <a:gd name="connsiteX3" fmla="*/ 190737 w 515902"/>
                    <a:gd name="connsiteY3" fmla="*/ 139507 h 458999"/>
                    <a:gd name="connsiteX4" fmla="*/ 206612 w 515902"/>
                    <a:gd name="connsiteY4" fmla="*/ 15682 h 458999"/>
                    <a:gd name="connsiteX5" fmla="*/ 317737 w 515902"/>
                    <a:gd name="connsiteY5" fmla="*/ 12507 h 458999"/>
                    <a:gd name="connsiteX6" fmla="*/ 330437 w 515902"/>
                    <a:gd name="connsiteY6" fmla="*/ 114107 h 458999"/>
                    <a:gd name="connsiteX7" fmla="*/ 451087 w 515902"/>
                    <a:gd name="connsiteY7" fmla="*/ 161732 h 458999"/>
                    <a:gd name="connsiteX8" fmla="*/ 514587 w 515902"/>
                    <a:gd name="connsiteY8" fmla="*/ 231582 h 458999"/>
                    <a:gd name="connsiteX9" fmla="*/ 511412 w 515902"/>
                    <a:gd name="connsiteY9" fmla="*/ 453832 h 458999"/>
                    <a:gd name="connsiteX10" fmla="*/ 9762 w 515902"/>
                    <a:gd name="connsiteY10" fmla="*/ 447482 h 458999"/>
                    <a:gd name="connsiteX0" fmla="*/ 9762 w 515902"/>
                    <a:gd name="connsiteY0" fmla="*/ 446348 h 457865"/>
                    <a:gd name="connsiteX1" fmla="*/ 6587 w 515902"/>
                    <a:gd name="connsiteY1" fmla="*/ 220923 h 457865"/>
                    <a:gd name="connsiteX2" fmla="*/ 76437 w 515902"/>
                    <a:gd name="connsiteY2" fmla="*/ 157423 h 457865"/>
                    <a:gd name="connsiteX3" fmla="*/ 200262 w 515902"/>
                    <a:gd name="connsiteY3" fmla="*/ 119323 h 457865"/>
                    <a:gd name="connsiteX4" fmla="*/ 206612 w 515902"/>
                    <a:gd name="connsiteY4" fmla="*/ 14548 h 457865"/>
                    <a:gd name="connsiteX5" fmla="*/ 317737 w 515902"/>
                    <a:gd name="connsiteY5" fmla="*/ 11373 h 457865"/>
                    <a:gd name="connsiteX6" fmla="*/ 330437 w 515902"/>
                    <a:gd name="connsiteY6" fmla="*/ 112973 h 457865"/>
                    <a:gd name="connsiteX7" fmla="*/ 451087 w 515902"/>
                    <a:gd name="connsiteY7" fmla="*/ 160598 h 457865"/>
                    <a:gd name="connsiteX8" fmla="*/ 514587 w 515902"/>
                    <a:gd name="connsiteY8" fmla="*/ 230448 h 457865"/>
                    <a:gd name="connsiteX9" fmla="*/ 511412 w 515902"/>
                    <a:gd name="connsiteY9" fmla="*/ 452698 h 457865"/>
                    <a:gd name="connsiteX10" fmla="*/ 9762 w 515902"/>
                    <a:gd name="connsiteY10" fmla="*/ 446348 h 457865"/>
                    <a:gd name="connsiteX0" fmla="*/ 8840 w 514980"/>
                    <a:gd name="connsiteY0" fmla="*/ 446348 h 457865"/>
                    <a:gd name="connsiteX1" fmla="*/ 5665 w 514980"/>
                    <a:gd name="connsiteY1" fmla="*/ 220923 h 457865"/>
                    <a:gd name="connsiteX2" fmla="*/ 62412 w 514980"/>
                    <a:gd name="connsiteY2" fmla="*/ 133367 h 457865"/>
                    <a:gd name="connsiteX3" fmla="*/ 199340 w 514980"/>
                    <a:gd name="connsiteY3" fmla="*/ 119323 h 457865"/>
                    <a:gd name="connsiteX4" fmla="*/ 205690 w 514980"/>
                    <a:gd name="connsiteY4" fmla="*/ 14548 h 457865"/>
                    <a:gd name="connsiteX5" fmla="*/ 316815 w 514980"/>
                    <a:gd name="connsiteY5" fmla="*/ 11373 h 457865"/>
                    <a:gd name="connsiteX6" fmla="*/ 329515 w 514980"/>
                    <a:gd name="connsiteY6" fmla="*/ 112973 h 457865"/>
                    <a:gd name="connsiteX7" fmla="*/ 450165 w 514980"/>
                    <a:gd name="connsiteY7" fmla="*/ 160598 h 457865"/>
                    <a:gd name="connsiteX8" fmla="*/ 513665 w 514980"/>
                    <a:gd name="connsiteY8" fmla="*/ 230448 h 457865"/>
                    <a:gd name="connsiteX9" fmla="*/ 510490 w 514980"/>
                    <a:gd name="connsiteY9" fmla="*/ 452698 h 457865"/>
                    <a:gd name="connsiteX10" fmla="*/ 8840 w 514980"/>
                    <a:gd name="connsiteY10" fmla="*/ 446348 h 457865"/>
                    <a:gd name="connsiteX0" fmla="*/ 8840 w 514980"/>
                    <a:gd name="connsiteY0" fmla="*/ 445015 h 456532"/>
                    <a:gd name="connsiteX1" fmla="*/ 5665 w 514980"/>
                    <a:gd name="connsiteY1" fmla="*/ 219590 h 456532"/>
                    <a:gd name="connsiteX2" fmla="*/ 62412 w 514980"/>
                    <a:gd name="connsiteY2" fmla="*/ 132034 h 456532"/>
                    <a:gd name="connsiteX3" fmla="*/ 186237 w 514980"/>
                    <a:gd name="connsiteY3" fmla="*/ 93934 h 456532"/>
                    <a:gd name="connsiteX4" fmla="*/ 205690 w 514980"/>
                    <a:gd name="connsiteY4" fmla="*/ 13215 h 456532"/>
                    <a:gd name="connsiteX5" fmla="*/ 316815 w 514980"/>
                    <a:gd name="connsiteY5" fmla="*/ 10040 h 456532"/>
                    <a:gd name="connsiteX6" fmla="*/ 329515 w 514980"/>
                    <a:gd name="connsiteY6" fmla="*/ 111640 h 456532"/>
                    <a:gd name="connsiteX7" fmla="*/ 450165 w 514980"/>
                    <a:gd name="connsiteY7" fmla="*/ 159265 h 456532"/>
                    <a:gd name="connsiteX8" fmla="*/ 513665 w 514980"/>
                    <a:gd name="connsiteY8" fmla="*/ 229115 h 456532"/>
                    <a:gd name="connsiteX9" fmla="*/ 510490 w 514980"/>
                    <a:gd name="connsiteY9" fmla="*/ 451365 h 456532"/>
                    <a:gd name="connsiteX10" fmla="*/ 8840 w 514980"/>
                    <a:gd name="connsiteY10" fmla="*/ 445015 h 456532"/>
                    <a:gd name="connsiteX0" fmla="*/ 8840 w 514980"/>
                    <a:gd name="connsiteY0" fmla="*/ 445015 h 456532"/>
                    <a:gd name="connsiteX1" fmla="*/ 5665 w 514980"/>
                    <a:gd name="connsiteY1" fmla="*/ 219590 h 456532"/>
                    <a:gd name="connsiteX2" fmla="*/ 62412 w 514980"/>
                    <a:gd name="connsiteY2" fmla="*/ 132034 h 456532"/>
                    <a:gd name="connsiteX3" fmla="*/ 186237 w 514980"/>
                    <a:gd name="connsiteY3" fmla="*/ 93934 h 456532"/>
                    <a:gd name="connsiteX4" fmla="*/ 205690 w 514980"/>
                    <a:gd name="connsiteY4" fmla="*/ 13215 h 456532"/>
                    <a:gd name="connsiteX5" fmla="*/ 316815 w 514980"/>
                    <a:gd name="connsiteY5" fmla="*/ 10040 h 456532"/>
                    <a:gd name="connsiteX6" fmla="*/ 329515 w 514980"/>
                    <a:gd name="connsiteY6" fmla="*/ 111640 h 456532"/>
                    <a:gd name="connsiteX7" fmla="*/ 461084 w 514980"/>
                    <a:gd name="connsiteY7" fmla="*/ 146143 h 456532"/>
                    <a:gd name="connsiteX8" fmla="*/ 513665 w 514980"/>
                    <a:gd name="connsiteY8" fmla="*/ 229115 h 456532"/>
                    <a:gd name="connsiteX9" fmla="*/ 510490 w 514980"/>
                    <a:gd name="connsiteY9" fmla="*/ 451365 h 456532"/>
                    <a:gd name="connsiteX10" fmla="*/ 8840 w 514980"/>
                    <a:gd name="connsiteY10" fmla="*/ 445015 h 456532"/>
                    <a:gd name="connsiteX0" fmla="*/ 8840 w 514980"/>
                    <a:gd name="connsiteY0" fmla="*/ 444105 h 455622"/>
                    <a:gd name="connsiteX1" fmla="*/ 5665 w 514980"/>
                    <a:gd name="connsiteY1" fmla="*/ 218680 h 455622"/>
                    <a:gd name="connsiteX2" fmla="*/ 62412 w 514980"/>
                    <a:gd name="connsiteY2" fmla="*/ 131124 h 455622"/>
                    <a:gd name="connsiteX3" fmla="*/ 186237 w 514980"/>
                    <a:gd name="connsiteY3" fmla="*/ 93024 h 455622"/>
                    <a:gd name="connsiteX4" fmla="*/ 205690 w 514980"/>
                    <a:gd name="connsiteY4" fmla="*/ 12305 h 455622"/>
                    <a:gd name="connsiteX5" fmla="*/ 316815 w 514980"/>
                    <a:gd name="connsiteY5" fmla="*/ 9130 h 455622"/>
                    <a:gd name="connsiteX6" fmla="*/ 351353 w 514980"/>
                    <a:gd name="connsiteY6" fmla="*/ 97608 h 455622"/>
                    <a:gd name="connsiteX7" fmla="*/ 461084 w 514980"/>
                    <a:gd name="connsiteY7" fmla="*/ 145233 h 455622"/>
                    <a:gd name="connsiteX8" fmla="*/ 513665 w 514980"/>
                    <a:gd name="connsiteY8" fmla="*/ 228205 h 455622"/>
                    <a:gd name="connsiteX9" fmla="*/ 510490 w 514980"/>
                    <a:gd name="connsiteY9" fmla="*/ 450455 h 455622"/>
                    <a:gd name="connsiteX10" fmla="*/ 8840 w 514980"/>
                    <a:gd name="connsiteY10" fmla="*/ 444105 h 455622"/>
                    <a:gd name="connsiteX0" fmla="*/ 8840 w 514980"/>
                    <a:gd name="connsiteY0" fmla="*/ 442755 h 454272"/>
                    <a:gd name="connsiteX1" fmla="*/ 5665 w 514980"/>
                    <a:gd name="connsiteY1" fmla="*/ 217330 h 454272"/>
                    <a:gd name="connsiteX2" fmla="*/ 62412 w 514980"/>
                    <a:gd name="connsiteY2" fmla="*/ 129774 h 454272"/>
                    <a:gd name="connsiteX3" fmla="*/ 186237 w 514980"/>
                    <a:gd name="connsiteY3" fmla="*/ 91674 h 454272"/>
                    <a:gd name="connsiteX4" fmla="*/ 205690 w 514980"/>
                    <a:gd name="connsiteY4" fmla="*/ 10955 h 454272"/>
                    <a:gd name="connsiteX5" fmla="*/ 325550 w 514980"/>
                    <a:gd name="connsiteY5" fmla="*/ 9967 h 454272"/>
                    <a:gd name="connsiteX6" fmla="*/ 351353 w 514980"/>
                    <a:gd name="connsiteY6" fmla="*/ 96258 h 454272"/>
                    <a:gd name="connsiteX7" fmla="*/ 461084 w 514980"/>
                    <a:gd name="connsiteY7" fmla="*/ 143883 h 454272"/>
                    <a:gd name="connsiteX8" fmla="*/ 513665 w 514980"/>
                    <a:gd name="connsiteY8" fmla="*/ 226855 h 454272"/>
                    <a:gd name="connsiteX9" fmla="*/ 510490 w 514980"/>
                    <a:gd name="connsiteY9" fmla="*/ 449105 h 454272"/>
                    <a:gd name="connsiteX10" fmla="*/ 8840 w 514980"/>
                    <a:gd name="connsiteY10" fmla="*/ 442755 h 454272"/>
                    <a:gd name="connsiteX0" fmla="*/ 8840 w 514980"/>
                    <a:gd name="connsiteY0" fmla="*/ 442755 h 454272"/>
                    <a:gd name="connsiteX1" fmla="*/ 5665 w 514980"/>
                    <a:gd name="connsiteY1" fmla="*/ 217330 h 454272"/>
                    <a:gd name="connsiteX2" fmla="*/ 62412 w 514980"/>
                    <a:gd name="connsiteY2" fmla="*/ 129774 h 454272"/>
                    <a:gd name="connsiteX3" fmla="*/ 186237 w 514980"/>
                    <a:gd name="connsiteY3" fmla="*/ 91674 h 454272"/>
                    <a:gd name="connsiteX4" fmla="*/ 205690 w 514980"/>
                    <a:gd name="connsiteY4" fmla="*/ 10955 h 454272"/>
                    <a:gd name="connsiteX5" fmla="*/ 325550 w 514980"/>
                    <a:gd name="connsiteY5" fmla="*/ 9967 h 454272"/>
                    <a:gd name="connsiteX6" fmla="*/ 351353 w 514980"/>
                    <a:gd name="connsiteY6" fmla="*/ 96258 h 454272"/>
                    <a:gd name="connsiteX7" fmla="*/ 461084 w 514980"/>
                    <a:gd name="connsiteY7" fmla="*/ 143883 h 454272"/>
                    <a:gd name="connsiteX8" fmla="*/ 513665 w 514980"/>
                    <a:gd name="connsiteY8" fmla="*/ 226855 h 454272"/>
                    <a:gd name="connsiteX9" fmla="*/ 510490 w 514980"/>
                    <a:gd name="connsiteY9" fmla="*/ 449105 h 454272"/>
                    <a:gd name="connsiteX10" fmla="*/ 8840 w 514980"/>
                    <a:gd name="connsiteY10" fmla="*/ 442755 h 454272"/>
                    <a:gd name="connsiteX0" fmla="*/ 8840 w 514980"/>
                    <a:gd name="connsiteY0" fmla="*/ 442755 h 454272"/>
                    <a:gd name="connsiteX1" fmla="*/ 5665 w 514980"/>
                    <a:gd name="connsiteY1" fmla="*/ 217330 h 454272"/>
                    <a:gd name="connsiteX2" fmla="*/ 62412 w 514980"/>
                    <a:gd name="connsiteY2" fmla="*/ 129774 h 454272"/>
                    <a:gd name="connsiteX3" fmla="*/ 186237 w 514980"/>
                    <a:gd name="connsiteY3" fmla="*/ 91674 h 454272"/>
                    <a:gd name="connsiteX4" fmla="*/ 205690 w 514980"/>
                    <a:gd name="connsiteY4" fmla="*/ 10955 h 454272"/>
                    <a:gd name="connsiteX5" fmla="*/ 325550 w 514980"/>
                    <a:gd name="connsiteY5" fmla="*/ 9967 h 454272"/>
                    <a:gd name="connsiteX6" fmla="*/ 351353 w 514980"/>
                    <a:gd name="connsiteY6" fmla="*/ 96258 h 454272"/>
                    <a:gd name="connsiteX7" fmla="*/ 461084 w 514980"/>
                    <a:gd name="connsiteY7" fmla="*/ 143883 h 454272"/>
                    <a:gd name="connsiteX8" fmla="*/ 513665 w 514980"/>
                    <a:gd name="connsiteY8" fmla="*/ 226855 h 454272"/>
                    <a:gd name="connsiteX9" fmla="*/ 510490 w 514980"/>
                    <a:gd name="connsiteY9" fmla="*/ 449105 h 454272"/>
                    <a:gd name="connsiteX10" fmla="*/ 8840 w 514980"/>
                    <a:gd name="connsiteY10" fmla="*/ 442755 h 454272"/>
                    <a:gd name="connsiteX0" fmla="*/ 8840 w 514980"/>
                    <a:gd name="connsiteY0" fmla="*/ 442755 h 454272"/>
                    <a:gd name="connsiteX1" fmla="*/ 5665 w 514980"/>
                    <a:gd name="connsiteY1" fmla="*/ 217330 h 454272"/>
                    <a:gd name="connsiteX2" fmla="*/ 62412 w 514980"/>
                    <a:gd name="connsiteY2" fmla="*/ 129774 h 454272"/>
                    <a:gd name="connsiteX3" fmla="*/ 186237 w 514980"/>
                    <a:gd name="connsiteY3" fmla="*/ 91674 h 454272"/>
                    <a:gd name="connsiteX4" fmla="*/ 205690 w 514980"/>
                    <a:gd name="connsiteY4" fmla="*/ 10955 h 454272"/>
                    <a:gd name="connsiteX5" fmla="*/ 325550 w 514980"/>
                    <a:gd name="connsiteY5" fmla="*/ 9967 h 454272"/>
                    <a:gd name="connsiteX6" fmla="*/ 351353 w 514980"/>
                    <a:gd name="connsiteY6" fmla="*/ 96258 h 454272"/>
                    <a:gd name="connsiteX7" fmla="*/ 461084 w 514980"/>
                    <a:gd name="connsiteY7" fmla="*/ 143883 h 454272"/>
                    <a:gd name="connsiteX8" fmla="*/ 513665 w 514980"/>
                    <a:gd name="connsiteY8" fmla="*/ 226855 h 454272"/>
                    <a:gd name="connsiteX9" fmla="*/ 510490 w 514980"/>
                    <a:gd name="connsiteY9" fmla="*/ 449105 h 454272"/>
                    <a:gd name="connsiteX10" fmla="*/ 8840 w 514980"/>
                    <a:gd name="connsiteY10" fmla="*/ 442755 h 454272"/>
                    <a:gd name="connsiteX0" fmla="*/ 8840 w 514980"/>
                    <a:gd name="connsiteY0" fmla="*/ 436996 h 448513"/>
                    <a:gd name="connsiteX1" fmla="*/ 5665 w 514980"/>
                    <a:gd name="connsiteY1" fmla="*/ 211571 h 448513"/>
                    <a:gd name="connsiteX2" fmla="*/ 62412 w 514980"/>
                    <a:gd name="connsiteY2" fmla="*/ 124015 h 448513"/>
                    <a:gd name="connsiteX3" fmla="*/ 186237 w 514980"/>
                    <a:gd name="connsiteY3" fmla="*/ 85915 h 448513"/>
                    <a:gd name="connsiteX4" fmla="*/ 205690 w 514980"/>
                    <a:gd name="connsiteY4" fmla="*/ 5196 h 448513"/>
                    <a:gd name="connsiteX5" fmla="*/ 325550 w 514980"/>
                    <a:gd name="connsiteY5" fmla="*/ 4208 h 448513"/>
                    <a:gd name="connsiteX6" fmla="*/ 351353 w 514980"/>
                    <a:gd name="connsiteY6" fmla="*/ 90499 h 448513"/>
                    <a:gd name="connsiteX7" fmla="*/ 461084 w 514980"/>
                    <a:gd name="connsiteY7" fmla="*/ 138124 h 448513"/>
                    <a:gd name="connsiteX8" fmla="*/ 513665 w 514980"/>
                    <a:gd name="connsiteY8" fmla="*/ 221096 h 448513"/>
                    <a:gd name="connsiteX9" fmla="*/ 510490 w 514980"/>
                    <a:gd name="connsiteY9" fmla="*/ 443346 h 448513"/>
                    <a:gd name="connsiteX10" fmla="*/ 8840 w 514980"/>
                    <a:gd name="connsiteY10" fmla="*/ 436996 h 448513"/>
                    <a:gd name="connsiteX0" fmla="*/ 8840 w 514980"/>
                    <a:gd name="connsiteY0" fmla="*/ 436996 h 448513"/>
                    <a:gd name="connsiteX1" fmla="*/ 5665 w 514980"/>
                    <a:gd name="connsiteY1" fmla="*/ 211571 h 448513"/>
                    <a:gd name="connsiteX2" fmla="*/ 62412 w 514980"/>
                    <a:gd name="connsiteY2" fmla="*/ 124015 h 448513"/>
                    <a:gd name="connsiteX3" fmla="*/ 186237 w 514980"/>
                    <a:gd name="connsiteY3" fmla="*/ 85915 h 448513"/>
                    <a:gd name="connsiteX4" fmla="*/ 205690 w 514980"/>
                    <a:gd name="connsiteY4" fmla="*/ 5196 h 448513"/>
                    <a:gd name="connsiteX5" fmla="*/ 325550 w 514980"/>
                    <a:gd name="connsiteY5" fmla="*/ 4208 h 448513"/>
                    <a:gd name="connsiteX6" fmla="*/ 351353 w 514980"/>
                    <a:gd name="connsiteY6" fmla="*/ 90499 h 448513"/>
                    <a:gd name="connsiteX7" fmla="*/ 461084 w 514980"/>
                    <a:gd name="connsiteY7" fmla="*/ 138124 h 448513"/>
                    <a:gd name="connsiteX8" fmla="*/ 513665 w 514980"/>
                    <a:gd name="connsiteY8" fmla="*/ 221096 h 448513"/>
                    <a:gd name="connsiteX9" fmla="*/ 510490 w 514980"/>
                    <a:gd name="connsiteY9" fmla="*/ 443346 h 448513"/>
                    <a:gd name="connsiteX10" fmla="*/ 8840 w 514980"/>
                    <a:gd name="connsiteY10" fmla="*/ 436996 h 448513"/>
                    <a:gd name="connsiteX0" fmla="*/ 8840 w 514980"/>
                    <a:gd name="connsiteY0" fmla="*/ 436996 h 448513"/>
                    <a:gd name="connsiteX1" fmla="*/ 5665 w 514980"/>
                    <a:gd name="connsiteY1" fmla="*/ 211571 h 448513"/>
                    <a:gd name="connsiteX2" fmla="*/ 62412 w 514980"/>
                    <a:gd name="connsiteY2" fmla="*/ 124015 h 448513"/>
                    <a:gd name="connsiteX3" fmla="*/ 186237 w 514980"/>
                    <a:gd name="connsiteY3" fmla="*/ 85915 h 448513"/>
                    <a:gd name="connsiteX4" fmla="*/ 205690 w 514980"/>
                    <a:gd name="connsiteY4" fmla="*/ 5196 h 448513"/>
                    <a:gd name="connsiteX5" fmla="*/ 325550 w 514980"/>
                    <a:gd name="connsiteY5" fmla="*/ 4208 h 448513"/>
                    <a:gd name="connsiteX6" fmla="*/ 351353 w 514980"/>
                    <a:gd name="connsiteY6" fmla="*/ 90499 h 448513"/>
                    <a:gd name="connsiteX7" fmla="*/ 461084 w 514980"/>
                    <a:gd name="connsiteY7" fmla="*/ 138124 h 448513"/>
                    <a:gd name="connsiteX8" fmla="*/ 513665 w 514980"/>
                    <a:gd name="connsiteY8" fmla="*/ 221096 h 448513"/>
                    <a:gd name="connsiteX9" fmla="*/ 510490 w 514980"/>
                    <a:gd name="connsiteY9" fmla="*/ 443346 h 448513"/>
                    <a:gd name="connsiteX10" fmla="*/ 8840 w 514980"/>
                    <a:gd name="connsiteY10" fmla="*/ 436996 h 448513"/>
                    <a:gd name="connsiteX0" fmla="*/ 8840 w 514980"/>
                    <a:gd name="connsiteY0" fmla="*/ 436996 h 448513"/>
                    <a:gd name="connsiteX1" fmla="*/ 5665 w 514980"/>
                    <a:gd name="connsiteY1" fmla="*/ 211571 h 448513"/>
                    <a:gd name="connsiteX2" fmla="*/ 62412 w 514980"/>
                    <a:gd name="connsiteY2" fmla="*/ 124015 h 448513"/>
                    <a:gd name="connsiteX3" fmla="*/ 168766 w 514980"/>
                    <a:gd name="connsiteY3" fmla="*/ 88102 h 448513"/>
                    <a:gd name="connsiteX4" fmla="*/ 205690 w 514980"/>
                    <a:gd name="connsiteY4" fmla="*/ 5196 h 448513"/>
                    <a:gd name="connsiteX5" fmla="*/ 325550 w 514980"/>
                    <a:gd name="connsiteY5" fmla="*/ 4208 h 448513"/>
                    <a:gd name="connsiteX6" fmla="*/ 351353 w 514980"/>
                    <a:gd name="connsiteY6" fmla="*/ 90499 h 448513"/>
                    <a:gd name="connsiteX7" fmla="*/ 461084 w 514980"/>
                    <a:gd name="connsiteY7" fmla="*/ 138124 h 448513"/>
                    <a:gd name="connsiteX8" fmla="*/ 513665 w 514980"/>
                    <a:gd name="connsiteY8" fmla="*/ 221096 h 448513"/>
                    <a:gd name="connsiteX9" fmla="*/ 510490 w 514980"/>
                    <a:gd name="connsiteY9" fmla="*/ 443346 h 448513"/>
                    <a:gd name="connsiteX10" fmla="*/ 8840 w 514980"/>
                    <a:gd name="connsiteY10" fmla="*/ 436996 h 448513"/>
                    <a:gd name="connsiteX0" fmla="*/ 8840 w 514980"/>
                    <a:gd name="connsiteY0" fmla="*/ 440628 h 452145"/>
                    <a:gd name="connsiteX1" fmla="*/ 5665 w 514980"/>
                    <a:gd name="connsiteY1" fmla="*/ 215203 h 452145"/>
                    <a:gd name="connsiteX2" fmla="*/ 62412 w 514980"/>
                    <a:gd name="connsiteY2" fmla="*/ 127647 h 452145"/>
                    <a:gd name="connsiteX3" fmla="*/ 168766 w 514980"/>
                    <a:gd name="connsiteY3" fmla="*/ 91734 h 452145"/>
                    <a:gd name="connsiteX4" fmla="*/ 179484 w 514980"/>
                    <a:gd name="connsiteY4" fmla="*/ 4454 h 452145"/>
                    <a:gd name="connsiteX5" fmla="*/ 325550 w 514980"/>
                    <a:gd name="connsiteY5" fmla="*/ 7840 h 452145"/>
                    <a:gd name="connsiteX6" fmla="*/ 351353 w 514980"/>
                    <a:gd name="connsiteY6" fmla="*/ 94131 h 452145"/>
                    <a:gd name="connsiteX7" fmla="*/ 461084 w 514980"/>
                    <a:gd name="connsiteY7" fmla="*/ 141756 h 452145"/>
                    <a:gd name="connsiteX8" fmla="*/ 513665 w 514980"/>
                    <a:gd name="connsiteY8" fmla="*/ 224728 h 452145"/>
                    <a:gd name="connsiteX9" fmla="*/ 510490 w 514980"/>
                    <a:gd name="connsiteY9" fmla="*/ 446978 h 452145"/>
                    <a:gd name="connsiteX10" fmla="*/ 8840 w 514980"/>
                    <a:gd name="connsiteY10" fmla="*/ 440628 h 452145"/>
                    <a:gd name="connsiteX0" fmla="*/ 8840 w 514980"/>
                    <a:gd name="connsiteY0" fmla="*/ 442422 h 453939"/>
                    <a:gd name="connsiteX1" fmla="*/ 5665 w 514980"/>
                    <a:gd name="connsiteY1" fmla="*/ 216997 h 453939"/>
                    <a:gd name="connsiteX2" fmla="*/ 62412 w 514980"/>
                    <a:gd name="connsiteY2" fmla="*/ 129441 h 453939"/>
                    <a:gd name="connsiteX3" fmla="*/ 168766 w 514980"/>
                    <a:gd name="connsiteY3" fmla="*/ 93528 h 453939"/>
                    <a:gd name="connsiteX4" fmla="*/ 179484 w 514980"/>
                    <a:gd name="connsiteY4" fmla="*/ 6248 h 453939"/>
                    <a:gd name="connsiteX5" fmla="*/ 351756 w 514980"/>
                    <a:gd name="connsiteY5" fmla="*/ 886 h 453939"/>
                    <a:gd name="connsiteX6" fmla="*/ 351353 w 514980"/>
                    <a:gd name="connsiteY6" fmla="*/ 95925 h 453939"/>
                    <a:gd name="connsiteX7" fmla="*/ 461084 w 514980"/>
                    <a:gd name="connsiteY7" fmla="*/ 143550 h 453939"/>
                    <a:gd name="connsiteX8" fmla="*/ 513665 w 514980"/>
                    <a:gd name="connsiteY8" fmla="*/ 226522 h 453939"/>
                    <a:gd name="connsiteX9" fmla="*/ 510490 w 514980"/>
                    <a:gd name="connsiteY9" fmla="*/ 448772 h 453939"/>
                    <a:gd name="connsiteX10" fmla="*/ 8840 w 514980"/>
                    <a:gd name="connsiteY10" fmla="*/ 442422 h 453939"/>
                    <a:gd name="connsiteX0" fmla="*/ 8840 w 514980"/>
                    <a:gd name="connsiteY0" fmla="*/ 442422 h 453939"/>
                    <a:gd name="connsiteX1" fmla="*/ 5665 w 514980"/>
                    <a:gd name="connsiteY1" fmla="*/ 216997 h 453939"/>
                    <a:gd name="connsiteX2" fmla="*/ 62412 w 514980"/>
                    <a:gd name="connsiteY2" fmla="*/ 129441 h 453939"/>
                    <a:gd name="connsiteX3" fmla="*/ 168766 w 514980"/>
                    <a:gd name="connsiteY3" fmla="*/ 93528 h 453939"/>
                    <a:gd name="connsiteX4" fmla="*/ 179484 w 514980"/>
                    <a:gd name="connsiteY4" fmla="*/ 6248 h 453939"/>
                    <a:gd name="connsiteX5" fmla="*/ 351756 w 514980"/>
                    <a:gd name="connsiteY5" fmla="*/ 886 h 453939"/>
                    <a:gd name="connsiteX6" fmla="*/ 366640 w 514980"/>
                    <a:gd name="connsiteY6" fmla="*/ 100299 h 453939"/>
                    <a:gd name="connsiteX7" fmla="*/ 461084 w 514980"/>
                    <a:gd name="connsiteY7" fmla="*/ 143550 h 453939"/>
                    <a:gd name="connsiteX8" fmla="*/ 513665 w 514980"/>
                    <a:gd name="connsiteY8" fmla="*/ 226522 h 453939"/>
                    <a:gd name="connsiteX9" fmla="*/ 510490 w 514980"/>
                    <a:gd name="connsiteY9" fmla="*/ 448772 h 453939"/>
                    <a:gd name="connsiteX10" fmla="*/ 8840 w 514980"/>
                    <a:gd name="connsiteY10" fmla="*/ 442422 h 453939"/>
                    <a:gd name="connsiteX0" fmla="*/ 8840 w 514980"/>
                    <a:gd name="connsiteY0" fmla="*/ 442422 h 450476"/>
                    <a:gd name="connsiteX1" fmla="*/ 5665 w 514980"/>
                    <a:gd name="connsiteY1" fmla="*/ 216997 h 450476"/>
                    <a:gd name="connsiteX2" fmla="*/ 62412 w 514980"/>
                    <a:gd name="connsiteY2" fmla="*/ 129441 h 450476"/>
                    <a:gd name="connsiteX3" fmla="*/ 168766 w 514980"/>
                    <a:gd name="connsiteY3" fmla="*/ 93528 h 450476"/>
                    <a:gd name="connsiteX4" fmla="*/ 179484 w 514980"/>
                    <a:gd name="connsiteY4" fmla="*/ 6248 h 450476"/>
                    <a:gd name="connsiteX5" fmla="*/ 351756 w 514980"/>
                    <a:gd name="connsiteY5" fmla="*/ 886 h 450476"/>
                    <a:gd name="connsiteX6" fmla="*/ 366640 w 514980"/>
                    <a:gd name="connsiteY6" fmla="*/ 100299 h 450476"/>
                    <a:gd name="connsiteX7" fmla="*/ 461084 w 514980"/>
                    <a:gd name="connsiteY7" fmla="*/ 143550 h 450476"/>
                    <a:gd name="connsiteX8" fmla="*/ 513665 w 514980"/>
                    <a:gd name="connsiteY8" fmla="*/ 226522 h 450476"/>
                    <a:gd name="connsiteX9" fmla="*/ 510490 w 514980"/>
                    <a:gd name="connsiteY9" fmla="*/ 448772 h 450476"/>
                    <a:gd name="connsiteX10" fmla="*/ 8840 w 514980"/>
                    <a:gd name="connsiteY10" fmla="*/ 442422 h 450476"/>
                    <a:gd name="connsiteX0" fmla="*/ 8840 w 514980"/>
                    <a:gd name="connsiteY0" fmla="*/ 442422 h 448772"/>
                    <a:gd name="connsiteX1" fmla="*/ 5665 w 514980"/>
                    <a:gd name="connsiteY1" fmla="*/ 216997 h 448772"/>
                    <a:gd name="connsiteX2" fmla="*/ 62412 w 514980"/>
                    <a:gd name="connsiteY2" fmla="*/ 129441 h 448772"/>
                    <a:gd name="connsiteX3" fmla="*/ 168766 w 514980"/>
                    <a:gd name="connsiteY3" fmla="*/ 93528 h 448772"/>
                    <a:gd name="connsiteX4" fmla="*/ 179484 w 514980"/>
                    <a:gd name="connsiteY4" fmla="*/ 6248 h 448772"/>
                    <a:gd name="connsiteX5" fmla="*/ 351756 w 514980"/>
                    <a:gd name="connsiteY5" fmla="*/ 886 h 448772"/>
                    <a:gd name="connsiteX6" fmla="*/ 366640 w 514980"/>
                    <a:gd name="connsiteY6" fmla="*/ 100299 h 448772"/>
                    <a:gd name="connsiteX7" fmla="*/ 461084 w 514980"/>
                    <a:gd name="connsiteY7" fmla="*/ 143550 h 448772"/>
                    <a:gd name="connsiteX8" fmla="*/ 513665 w 514980"/>
                    <a:gd name="connsiteY8" fmla="*/ 226522 h 448772"/>
                    <a:gd name="connsiteX9" fmla="*/ 510490 w 514980"/>
                    <a:gd name="connsiteY9" fmla="*/ 448772 h 448772"/>
                    <a:gd name="connsiteX10" fmla="*/ 8840 w 514980"/>
                    <a:gd name="connsiteY10" fmla="*/ 442422 h 448772"/>
                    <a:gd name="connsiteX0" fmla="*/ 8840 w 514980"/>
                    <a:gd name="connsiteY0" fmla="*/ 442422 h 448772"/>
                    <a:gd name="connsiteX1" fmla="*/ 5665 w 514980"/>
                    <a:gd name="connsiteY1" fmla="*/ 216997 h 448772"/>
                    <a:gd name="connsiteX2" fmla="*/ 62412 w 514980"/>
                    <a:gd name="connsiteY2" fmla="*/ 129441 h 448772"/>
                    <a:gd name="connsiteX3" fmla="*/ 168766 w 514980"/>
                    <a:gd name="connsiteY3" fmla="*/ 93528 h 448772"/>
                    <a:gd name="connsiteX4" fmla="*/ 179484 w 514980"/>
                    <a:gd name="connsiteY4" fmla="*/ 6248 h 448772"/>
                    <a:gd name="connsiteX5" fmla="*/ 351756 w 514980"/>
                    <a:gd name="connsiteY5" fmla="*/ 886 h 448772"/>
                    <a:gd name="connsiteX6" fmla="*/ 357905 w 514980"/>
                    <a:gd name="connsiteY6" fmla="*/ 98112 h 448772"/>
                    <a:gd name="connsiteX7" fmla="*/ 461084 w 514980"/>
                    <a:gd name="connsiteY7" fmla="*/ 143550 h 448772"/>
                    <a:gd name="connsiteX8" fmla="*/ 513665 w 514980"/>
                    <a:gd name="connsiteY8" fmla="*/ 226522 h 448772"/>
                    <a:gd name="connsiteX9" fmla="*/ 510490 w 514980"/>
                    <a:gd name="connsiteY9" fmla="*/ 448772 h 448772"/>
                    <a:gd name="connsiteX10" fmla="*/ 8840 w 514980"/>
                    <a:gd name="connsiteY10" fmla="*/ 442422 h 448772"/>
                    <a:gd name="connsiteX0" fmla="*/ 8840 w 514980"/>
                    <a:gd name="connsiteY0" fmla="*/ 442422 h 448772"/>
                    <a:gd name="connsiteX1" fmla="*/ 5665 w 514980"/>
                    <a:gd name="connsiteY1" fmla="*/ 216997 h 448772"/>
                    <a:gd name="connsiteX2" fmla="*/ 62412 w 514980"/>
                    <a:gd name="connsiteY2" fmla="*/ 129441 h 448772"/>
                    <a:gd name="connsiteX3" fmla="*/ 168766 w 514980"/>
                    <a:gd name="connsiteY3" fmla="*/ 93528 h 448772"/>
                    <a:gd name="connsiteX4" fmla="*/ 179484 w 514980"/>
                    <a:gd name="connsiteY4" fmla="*/ 6248 h 448772"/>
                    <a:gd name="connsiteX5" fmla="*/ 351756 w 514980"/>
                    <a:gd name="connsiteY5" fmla="*/ 886 h 448772"/>
                    <a:gd name="connsiteX6" fmla="*/ 357905 w 514980"/>
                    <a:gd name="connsiteY6" fmla="*/ 98112 h 448772"/>
                    <a:gd name="connsiteX7" fmla="*/ 454533 w 514980"/>
                    <a:gd name="connsiteY7" fmla="*/ 136989 h 448772"/>
                    <a:gd name="connsiteX8" fmla="*/ 513665 w 514980"/>
                    <a:gd name="connsiteY8" fmla="*/ 226522 h 448772"/>
                    <a:gd name="connsiteX9" fmla="*/ 510490 w 514980"/>
                    <a:gd name="connsiteY9" fmla="*/ 448772 h 448772"/>
                    <a:gd name="connsiteX10" fmla="*/ 8840 w 514980"/>
                    <a:gd name="connsiteY10" fmla="*/ 442422 h 448772"/>
                    <a:gd name="connsiteX0" fmla="*/ 8840 w 514980"/>
                    <a:gd name="connsiteY0" fmla="*/ 442422 h 448772"/>
                    <a:gd name="connsiteX1" fmla="*/ 5665 w 514980"/>
                    <a:gd name="connsiteY1" fmla="*/ 216997 h 448772"/>
                    <a:gd name="connsiteX2" fmla="*/ 62412 w 514980"/>
                    <a:gd name="connsiteY2" fmla="*/ 129441 h 448772"/>
                    <a:gd name="connsiteX3" fmla="*/ 168766 w 514980"/>
                    <a:gd name="connsiteY3" fmla="*/ 93528 h 448772"/>
                    <a:gd name="connsiteX4" fmla="*/ 179484 w 514980"/>
                    <a:gd name="connsiteY4" fmla="*/ 6248 h 448772"/>
                    <a:gd name="connsiteX5" fmla="*/ 351756 w 514980"/>
                    <a:gd name="connsiteY5" fmla="*/ 886 h 448772"/>
                    <a:gd name="connsiteX6" fmla="*/ 357905 w 514980"/>
                    <a:gd name="connsiteY6" fmla="*/ 98112 h 448772"/>
                    <a:gd name="connsiteX7" fmla="*/ 454533 w 514980"/>
                    <a:gd name="connsiteY7" fmla="*/ 136989 h 448772"/>
                    <a:gd name="connsiteX8" fmla="*/ 513665 w 514980"/>
                    <a:gd name="connsiteY8" fmla="*/ 226522 h 448772"/>
                    <a:gd name="connsiteX9" fmla="*/ 510490 w 514980"/>
                    <a:gd name="connsiteY9" fmla="*/ 448772 h 448772"/>
                    <a:gd name="connsiteX10" fmla="*/ 8840 w 514980"/>
                    <a:gd name="connsiteY10" fmla="*/ 442422 h 448772"/>
                    <a:gd name="connsiteX0" fmla="*/ 8840 w 514980"/>
                    <a:gd name="connsiteY0" fmla="*/ 442422 h 448772"/>
                    <a:gd name="connsiteX1" fmla="*/ 5665 w 514980"/>
                    <a:gd name="connsiteY1" fmla="*/ 216997 h 448772"/>
                    <a:gd name="connsiteX2" fmla="*/ 62412 w 514980"/>
                    <a:gd name="connsiteY2" fmla="*/ 129441 h 448772"/>
                    <a:gd name="connsiteX3" fmla="*/ 168766 w 514980"/>
                    <a:gd name="connsiteY3" fmla="*/ 93528 h 448772"/>
                    <a:gd name="connsiteX4" fmla="*/ 179484 w 514980"/>
                    <a:gd name="connsiteY4" fmla="*/ 6248 h 448772"/>
                    <a:gd name="connsiteX5" fmla="*/ 351756 w 514980"/>
                    <a:gd name="connsiteY5" fmla="*/ 886 h 448772"/>
                    <a:gd name="connsiteX6" fmla="*/ 357905 w 514980"/>
                    <a:gd name="connsiteY6" fmla="*/ 98112 h 448772"/>
                    <a:gd name="connsiteX7" fmla="*/ 454533 w 514980"/>
                    <a:gd name="connsiteY7" fmla="*/ 136989 h 448772"/>
                    <a:gd name="connsiteX8" fmla="*/ 513665 w 514980"/>
                    <a:gd name="connsiteY8" fmla="*/ 226522 h 448772"/>
                    <a:gd name="connsiteX9" fmla="*/ 510490 w 514980"/>
                    <a:gd name="connsiteY9" fmla="*/ 448772 h 448772"/>
                    <a:gd name="connsiteX10" fmla="*/ 8840 w 514980"/>
                    <a:gd name="connsiteY10" fmla="*/ 442422 h 448772"/>
                    <a:gd name="connsiteX0" fmla="*/ 8840 w 514980"/>
                    <a:gd name="connsiteY0" fmla="*/ 442422 h 448772"/>
                    <a:gd name="connsiteX1" fmla="*/ 5665 w 514980"/>
                    <a:gd name="connsiteY1" fmla="*/ 216997 h 448772"/>
                    <a:gd name="connsiteX2" fmla="*/ 62412 w 514980"/>
                    <a:gd name="connsiteY2" fmla="*/ 129441 h 448772"/>
                    <a:gd name="connsiteX3" fmla="*/ 168766 w 514980"/>
                    <a:gd name="connsiteY3" fmla="*/ 93528 h 448772"/>
                    <a:gd name="connsiteX4" fmla="*/ 179484 w 514980"/>
                    <a:gd name="connsiteY4" fmla="*/ 6248 h 448772"/>
                    <a:gd name="connsiteX5" fmla="*/ 351756 w 514980"/>
                    <a:gd name="connsiteY5" fmla="*/ 886 h 448772"/>
                    <a:gd name="connsiteX6" fmla="*/ 353538 w 514980"/>
                    <a:gd name="connsiteY6" fmla="*/ 98112 h 448772"/>
                    <a:gd name="connsiteX7" fmla="*/ 454533 w 514980"/>
                    <a:gd name="connsiteY7" fmla="*/ 136989 h 448772"/>
                    <a:gd name="connsiteX8" fmla="*/ 513665 w 514980"/>
                    <a:gd name="connsiteY8" fmla="*/ 226522 h 448772"/>
                    <a:gd name="connsiteX9" fmla="*/ 510490 w 514980"/>
                    <a:gd name="connsiteY9" fmla="*/ 448772 h 448772"/>
                    <a:gd name="connsiteX10" fmla="*/ 8840 w 514980"/>
                    <a:gd name="connsiteY10" fmla="*/ 442422 h 448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14980" h="448772">
                      <a:moveTo>
                        <a:pt x="8840" y="442422"/>
                      </a:moveTo>
                      <a:cubicBezTo>
                        <a:pt x="-1214" y="377864"/>
                        <a:pt x="-3264" y="269160"/>
                        <a:pt x="5665" y="216997"/>
                      </a:cubicBezTo>
                      <a:cubicBezTo>
                        <a:pt x="14594" y="164834"/>
                        <a:pt x="35229" y="150019"/>
                        <a:pt x="62412" y="129441"/>
                      </a:cubicBezTo>
                      <a:cubicBezTo>
                        <a:pt x="89595" y="108863"/>
                        <a:pt x="149254" y="114060"/>
                        <a:pt x="168766" y="93528"/>
                      </a:cubicBezTo>
                      <a:cubicBezTo>
                        <a:pt x="188278" y="72996"/>
                        <a:pt x="189023" y="43922"/>
                        <a:pt x="179484" y="6248"/>
                      </a:cubicBezTo>
                      <a:cubicBezTo>
                        <a:pt x="202703" y="-7370"/>
                        <a:pt x="323111" y="6352"/>
                        <a:pt x="351756" y="886"/>
                      </a:cubicBezTo>
                      <a:cubicBezTo>
                        <a:pt x="354195" y="39159"/>
                        <a:pt x="342961" y="75428"/>
                        <a:pt x="353538" y="98112"/>
                      </a:cubicBezTo>
                      <a:cubicBezTo>
                        <a:pt x="364115" y="120796"/>
                        <a:pt x="427845" y="115587"/>
                        <a:pt x="454533" y="136989"/>
                      </a:cubicBezTo>
                      <a:cubicBezTo>
                        <a:pt x="481221" y="158391"/>
                        <a:pt x="503611" y="177839"/>
                        <a:pt x="513665" y="226522"/>
                      </a:cubicBezTo>
                      <a:cubicBezTo>
                        <a:pt x="516840" y="276264"/>
                        <a:pt x="513665" y="323360"/>
                        <a:pt x="510490" y="448772"/>
                      </a:cubicBezTo>
                      <a:lnTo>
                        <a:pt x="8840" y="442422"/>
                      </a:lnTo>
                      <a:close/>
                    </a:path>
                  </a:pathLst>
                </a:custGeom>
                <a:grpFill/>
                <a:ln w="571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100" name="Oval 99">
                  <a:extLst>
                    <a:ext uri="{FF2B5EF4-FFF2-40B4-BE49-F238E27FC236}">
                      <a16:creationId xmlns:a16="http://schemas.microsoft.com/office/drawing/2014/main" id="{EEAE6A49-07E7-AC49-A95E-75EAAA35D39E}"/>
                    </a:ext>
                  </a:extLst>
                </p:cNvPr>
                <p:cNvSpPr/>
                <p:nvPr/>
              </p:nvSpPr>
              <p:spPr>
                <a:xfrm>
                  <a:off x="1971467" y="3508300"/>
                  <a:ext cx="282088" cy="336550"/>
                </a:xfrm>
                <a:prstGeom prst="ellipse">
                  <a:avLst/>
                </a:prstGeom>
                <a:grpFill/>
                <a:ln w="571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grpSp>
          <p:grpSp>
            <p:nvGrpSpPr>
              <p:cNvPr id="96" name="Group 95">
                <a:extLst>
                  <a:ext uri="{FF2B5EF4-FFF2-40B4-BE49-F238E27FC236}">
                    <a16:creationId xmlns:a16="http://schemas.microsoft.com/office/drawing/2014/main" id="{E7E70176-DC9A-054C-A613-581D737A12CA}"/>
                  </a:ext>
                </a:extLst>
              </p:cNvPr>
              <p:cNvGrpSpPr/>
              <p:nvPr/>
            </p:nvGrpSpPr>
            <p:grpSpPr>
              <a:xfrm>
                <a:off x="1553120" y="3388644"/>
                <a:ext cx="633802" cy="938165"/>
                <a:chOff x="1806977" y="3500843"/>
                <a:chExt cx="539989" cy="738018"/>
              </a:xfrm>
            </p:grpSpPr>
            <p:sp>
              <p:nvSpPr>
                <p:cNvPr id="97" name="Freeform 96">
                  <a:extLst>
                    <a:ext uri="{FF2B5EF4-FFF2-40B4-BE49-F238E27FC236}">
                      <a16:creationId xmlns:a16="http://schemas.microsoft.com/office/drawing/2014/main" id="{77BE9EF0-6B1C-854C-A711-CBCED0F45121}"/>
                    </a:ext>
                  </a:extLst>
                </p:cNvPr>
                <p:cNvSpPr/>
                <p:nvPr/>
              </p:nvSpPr>
              <p:spPr>
                <a:xfrm>
                  <a:off x="1806977" y="3782373"/>
                  <a:ext cx="539989" cy="456488"/>
                </a:xfrm>
                <a:custGeom>
                  <a:avLst/>
                  <a:gdLst>
                    <a:gd name="connsiteX0" fmla="*/ 36807 w 576731"/>
                    <a:gd name="connsiteY0" fmla="*/ 449906 h 505924"/>
                    <a:gd name="connsiteX1" fmla="*/ 39982 w 576731"/>
                    <a:gd name="connsiteY1" fmla="*/ 214956 h 505924"/>
                    <a:gd name="connsiteX2" fmla="*/ 55857 w 576731"/>
                    <a:gd name="connsiteY2" fmla="*/ 176856 h 505924"/>
                    <a:gd name="connsiteX3" fmla="*/ 103482 w 576731"/>
                    <a:gd name="connsiteY3" fmla="*/ 160981 h 505924"/>
                    <a:gd name="connsiteX4" fmla="*/ 205082 w 576731"/>
                    <a:gd name="connsiteY4" fmla="*/ 154631 h 505924"/>
                    <a:gd name="connsiteX5" fmla="*/ 230482 w 576731"/>
                    <a:gd name="connsiteY5" fmla="*/ 151456 h 505924"/>
                    <a:gd name="connsiteX6" fmla="*/ 233657 w 576731"/>
                    <a:gd name="connsiteY6" fmla="*/ 18106 h 505924"/>
                    <a:gd name="connsiteX7" fmla="*/ 344782 w 576731"/>
                    <a:gd name="connsiteY7" fmla="*/ 14931 h 505924"/>
                    <a:gd name="connsiteX8" fmla="*/ 344782 w 576731"/>
                    <a:gd name="connsiteY8" fmla="*/ 145106 h 505924"/>
                    <a:gd name="connsiteX9" fmla="*/ 386057 w 576731"/>
                    <a:gd name="connsiteY9" fmla="*/ 151456 h 505924"/>
                    <a:gd name="connsiteX10" fmla="*/ 478132 w 576731"/>
                    <a:gd name="connsiteY10" fmla="*/ 164156 h 505924"/>
                    <a:gd name="connsiteX11" fmla="*/ 519407 w 576731"/>
                    <a:gd name="connsiteY11" fmla="*/ 189556 h 505924"/>
                    <a:gd name="connsiteX12" fmla="*/ 541632 w 576731"/>
                    <a:gd name="connsiteY12" fmla="*/ 234006 h 505924"/>
                    <a:gd name="connsiteX13" fmla="*/ 538457 w 576731"/>
                    <a:gd name="connsiteY13" fmla="*/ 488006 h 505924"/>
                    <a:gd name="connsiteX14" fmla="*/ 36807 w 576731"/>
                    <a:gd name="connsiteY14" fmla="*/ 449906 h 505924"/>
                    <a:gd name="connsiteX0" fmla="*/ 5769 w 545693"/>
                    <a:gd name="connsiteY0" fmla="*/ 449906 h 505924"/>
                    <a:gd name="connsiteX1" fmla="*/ 8944 w 545693"/>
                    <a:gd name="connsiteY1" fmla="*/ 214956 h 505924"/>
                    <a:gd name="connsiteX2" fmla="*/ 24819 w 545693"/>
                    <a:gd name="connsiteY2" fmla="*/ 176856 h 505924"/>
                    <a:gd name="connsiteX3" fmla="*/ 72444 w 545693"/>
                    <a:gd name="connsiteY3" fmla="*/ 160981 h 505924"/>
                    <a:gd name="connsiteX4" fmla="*/ 174044 w 545693"/>
                    <a:gd name="connsiteY4" fmla="*/ 154631 h 505924"/>
                    <a:gd name="connsiteX5" fmla="*/ 199444 w 545693"/>
                    <a:gd name="connsiteY5" fmla="*/ 151456 h 505924"/>
                    <a:gd name="connsiteX6" fmla="*/ 202619 w 545693"/>
                    <a:gd name="connsiteY6" fmla="*/ 18106 h 505924"/>
                    <a:gd name="connsiteX7" fmla="*/ 313744 w 545693"/>
                    <a:gd name="connsiteY7" fmla="*/ 14931 h 505924"/>
                    <a:gd name="connsiteX8" fmla="*/ 313744 w 545693"/>
                    <a:gd name="connsiteY8" fmla="*/ 145106 h 505924"/>
                    <a:gd name="connsiteX9" fmla="*/ 355019 w 545693"/>
                    <a:gd name="connsiteY9" fmla="*/ 151456 h 505924"/>
                    <a:gd name="connsiteX10" fmla="*/ 447094 w 545693"/>
                    <a:gd name="connsiteY10" fmla="*/ 164156 h 505924"/>
                    <a:gd name="connsiteX11" fmla="*/ 488369 w 545693"/>
                    <a:gd name="connsiteY11" fmla="*/ 189556 h 505924"/>
                    <a:gd name="connsiteX12" fmla="*/ 510594 w 545693"/>
                    <a:gd name="connsiteY12" fmla="*/ 234006 h 505924"/>
                    <a:gd name="connsiteX13" fmla="*/ 507419 w 545693"/>
                    <a:gd name="connsiteY13" fmla="*/ 488006 h 505924"/>
                    <a:gd name="connsiteX14" fmla="*/ 5769 w 545693"/>
                    <a:gd name="connsiteY14" fmla="*/ 449906 h 505924"/>
                    <a:gd name="connsiteX0" fmla="*/ 21286 w 561210"/>
                    <a:gd name="connsiteY0" fmla="*/ 449906 h 508025"/>
                    <a:gd name="connsiteX1" fmla="*/ 24461 w 561210"/>
                    <a:gd name="connsiteY1" fmla="*/ 214956 h 508025"/>
                    <a:gd name="connsiteX2" fmla="*/ 40336 w 561210"/>
                    <a:gd name="connsiteY2" fmla="*/ 176856 h 508025"/>
                    <a:gd name="connsiteX3" fmla="*/ 87961 w 561210"/>
                    <a:gd name="connsiteY3" fmla="*/ 160981 h 508025"/>
                    <a:gd name="connsiteX4" fmla="*/ 189561 w 561210"/>
                    <a:gd name="connsiteY4" fmla="*/ 154631 h 508025"/>
                    <a:gd name="connsiteX5" fmla="*/ 214961 w 561210"/>
                    <a:gd name="connsiteY5" fmla="*/ 151456 h 508025"/>
                    <a:gd name="connsiteX6" fmla="*/ 218136 w 561210"/>
                    <a:gd name="connsiteY6" fmla="*/ 18106 h 508025"/>
                    <a:gd name="connsiteX7" fmla="*/ 329261 w 561210"/>
                    <a:gd name="connsiteY7" fmla="*/ 14931 h 508025"/>
                    <a:gd name="connsiteX8" fmla="*/ 329261 w 561210"/>
                    <a:gd name="connsiteY8" fmla="*/ 145106 h 508025"/>
                    <a:gd name="connsiteX9" fmla="*/ 370536 w 561210"/>
                    <a:gd name="connsiteY9" fmla="*/ 151456 h 508025"/>
                    <a:gd name="connsiteX10" fmla="*/ 462611 w 561210"/>
                    <a:gd name="connsiteY10" fmla="*/ 164156 h 508025"/>
                    <a:gd name="connsiteX11" fmla="*/ 503886 w 561210"/>
                    <a:gd name="connsiteY11" fmla="*/ 189556 h 508025"/>
                    <a:gd name="connsiteX12" fmla="*/ 526111 w 561210"/>
                    <a:gd name="connsiteY12" fmla="*/ 234006 h 508025"/>
                    <a:gd name="connsiteX13" fmla="*/ 522936 w 561210"/>
                    <a:gd name="connsiteY13" fmla="*/ 488006 h 508025"/>
                    <a:gd name="connsiteX14" fmla="*/ 21286 w 561210"/>
                    <a:gd name="connsiteY14" fmla="*/ 449906 h 508025"/>
                    <a:gd name="connsiteX0" fmla="*/ 21286 w 561210"/>
                    <a:gd name="connsiteY0" fmla="*/ 449906 h 508025"/>
                    <a:gd name="connsiteX1" fmla="*/ 24461 w 561210"/>
                    <a:gd name="connsiteY1" fmla="*/ 214956 h 508025"/>
                    <a:gd name="connsiteX2" fmla="*/ 40336 w 561210"/>
                    <a:gd name="connsiteY2" fmla="*/ 176856 h 508025"/>
                    <a:gd name="connsiteX3" fmla="*/ 87961 w 561210"/>
                    <a:gd name="connsiteY3" fmla="*/ 160981 h 508025"/>
                    <a:gd name="connsiteX4" fmla="*/ 189561 w 561210"/>
                    <a:gd name="connsiteY4" fmla="*/ 154631 h 508025"/>
                    <a:gd name="connsiteX5" fmla="*/ 214961 w 561210"/>
                    <a:gd name="connsiteY5" fmla="*/ 151456 h 508025"/>
                    <a:gd name="connsiteX6" fmla="*/ 218136 w 561210"/>
                    <a:gd name="connsiteY6" fmla="*/ 18106 h 508025"/>
                    <a:gd name="connsiteX7" fmla="*/ 329261 w 561210"/>
                    <a:gd name="connsiteY7" fmla="*/ 14931 h 508025"/>
                    <a:gd name="connsiteX8" fmla="*/ 329261 w 561210"/>
                    <a:gd name="connsiteY8" fmla="*/ 145106 h 508025"/>
                    <a:gd name="connsiteX9" fmla="*/ 370536 w 561210"/>
                    <a:gd name="connsiteY9" fmla="*/ 151456 h 508025"/>
                    <a:gd name="connsiteX10" fmla="*/ 462611 w 561210"/>
                    <a:gd name="connsiteY10" fmla="*/ 164156 h 508025"/>
                    <a:gd name="connsiteX11" fmla="*/ 503886 w 561210"/>
                    <a:gd name="connsiteY11" fmla="*/ 189556 h 508025"/>
                    <a:gd name="connsiteX12" fmla="*/ 526111 w 561210"/>
                    <a:gd name="connsiteY12" fmla="*/ 234006 h 508025"/>
                    <a:gd name="connsiteX13" fmla="*/ 522936 w 561210"/>
                    <a:gd name="connsiteY13" fmla="*/ 488006 h 508025"/>
                    <a:gd name="connsiteX14" fmla="*/ 21286 w 561210"/>
                    <a:gd name="connsiteY14" fmla="*/ 449906 h 508025"/>
                    <a:gd name="connsiteX0" fmla="*/ 4360 w 544284"/>
                    <a:gd name="connsiteY0" fmla="*/ 449906 h 508025"/>
                    <a:gd name="connsiteX1" fmla="*/ 7535 w 544284"/>
                    <a:gd name="connsiteY1" fmla="*/ 214956 h 508025"/>
                    <a:gd name="connsiteX2" fmla="*/ 23410 w 544284"/>
                    <a:gd name="connsiteY2" fmla="*/ 176856 h 508025"/>
                    <a:gd name="connsiteX3" fmla="*/ 71035 w 544284"/>
                    <a:gd name="connsiteY3" fmla="*/ 160981 h 508025"/>
                    <a:gd name="connsiteX4" fmla="*/ 172635 w 544284"/>
                    <a:gd name="connsiteY4" fmla="*/ 154631 h 508025"/>
                    <a:gd name="connsiteX5" fmla="*/ 198035 w 544284"/>
                    <a:gd name="connsiteY5" fmla="*/ 151456 h 508025"/>
                    <a:gd name="connsiteX6" fmla="*/ 201210 w 544284"/>
                    <a:gd name="connsiteY6" fmla="*/ 18106 h 508025"/>
                    <a:gd name="connsiteX7" fmla="*/ 312335 w 544284"/>
                    <a:gd name="connsiteY7" fmla="*/ 14931 h 508025"/>
                    <a:gd name="connsiteX8" fmla="*/ 312335 w 544284"/>
                    <a:gd name="connsiteY8" fmla="*/ 145106 h 508025"/>
                    <a:gd name="connsiteX9" fmla="*/ 353610 w 544284"/>
                    <a:gd name="connsiteY9" fmla="*/ 151456 h 508025"/>
                    <a:gd name="connsiteX10" fmla="*/ 445685 w 544284"/>
                    <a:gd name="connsiteY10" fmla="*/ 164156 h 508025"/>
                    <a:gd name="connsiteX11" fmla="*/ 486960 w 544284"/>
                    <a:gd name="connsiteY11" fmla="*/ 189556 h 508025"/>
                    <a:gd name="connsiteX12" fmla="*/ 509185 w 544284"/>
                    <a:gd name="connsiteY12" fmla="*/ 234006 h 508025"/>
                    <a:gd name="connsiteX13" fmla="*/ 506010 w 544284"/>
                    <a:gd name="connsiteY13" fmla="*/ 488006 h 508025"/>
                    <a:gd name="connsiteX14" fmla="*/ 4360 w 544284"/>
                    <a:gd name="connsiteY14" fmla="*/ 449906 h 508025"/>
                    <a:gd name="connsiteX0" fmla="*/ 4360 w 544284"/>
                    <a:gd name="connsiteY0" fmla="*/ 449906 h 500804"/>
                    <a:gd name="connsiteX1" fmla="*/ 7535 w 544284"/>
                    <a:gd name="connsiteY1" fmla="*/ 214956 h 500804"/>
                    <a:gd name="connsiteX2" fmla="*/ 23410 w 544284"/>
                    <a:gd name="connsiteY2" fmla="*/ 176856 h 500804"/>
                    <a:gd name="connsiteX3" fmla="*/ 71035 w 544284"/>
                    <a:gd name="connsiteY3" fmla="*/ 160981 h 500804"/>
                    <a:gd name="connsiteX4" fmla="*/ 172635 w 544284"/>
                    <a:gd name="connsiteY4" fmla="*/ 154631 h 500804"/>
                    <a:gd name="connsiteX5" fmla="*/ 198035 w 544284"/>
                    <a:gd name="connsiteY5" fmla="*/ 151456 h 500804"/>
                    <a:gd name="connsiteX6" fmla="*/ 201210 w 544284"/>
                    <a:gd name="connsiteY6" fmla="*/ 18106 h 500804"/>
                    <a:gd name="connsiteX7" fmla="*/ 312335 w 544284"/>
                    <a:gd name="connsiteY7" fmla="*/ 14931 h 500804"/>
                    <a:gd name="connsiteX8" fmla="*/ 312335 w 544284"/>
                    <a:gd name="connsiteY8" fmla="*/ 145106 h 500804"/>
                    <a:gd name="connsiteX9" fmla="*/ 353610 w 544284"/>
                    <a:gd name="connsiteY9" fmla="*/ 151456 h 500804"/>
                    <a:gd name="connsiteX10" fmla="*/ 445685 w 544284"/>
                    <a:gd name="connsiteY10" fmla="*/ 164156 h 500804"/>
                    <a:gd name="connsiteX11" fmla="*/ 486960 w 544284"/>
                    <a:gd name="connsiteY11" fmla="*/ 189556 h 500804"/>
                    <a:gd name="connsiteX12" fmla="*/ 509185 w 544284"/>
                    <a:gd name="connsiteY12" fmla="*/ 234006 h 500804"/>
                    <a:gd name="connsiteX13" fmla="*/ 506010 w 544284"/>
                    <a:gd name="connsiteY13" fmla="*/ 488006 h 500804"/>
                    <a:gd name="connsiteX14" fmla="*/ 4360 w 544284"/>
                    <a:gd name="connsiteY14" fmla="*/ 449906 h 500804"/>
                    <a:gd name="connsiteX0" fmla="*/ 4360 w 544284"/>
                    <a:gd name="connsiteY0" fmla="*/ 449906 h 500804"/>
                    <a:gd name="connsiteX1" fmla="*/ 7535 w 544284"/>
                    <a:gd name="connsiteY1" fmla="*/ 214956 h 500804"/>
                    <a:gd name="connsiteX2" fmla="*/ 23410 w 544284"/>
                    <a:gd name="connsiteY2" fmla="*/ 176856 h 500804"/>
                    <a:gd name="connsiteX3" fmla="*/ 71035 w 544284"/>
                    <a:gd name="connsiteY3" fmla="*/ 160981 h 500804"/>
                    <a:gd name="connsiteX4" fmla="*/ 172635 w 544284"/>
                    <a:gd name="connsiteY4" fmla="*/ 154631 h 500804"/>
                    <a:gd name="connsiteX5" fmla="*/ 198035 w 544284"/>
                    <a:gd name="connsiteY5" fmla="*/ 151456 h 500804"/>
                    <a:gd name="connsiteX6" fmla="*/ 201210 w 544284"/>
                    <a:gd name="connsiteY6" fmla="*/ 18106 h 500804"/>
                    <a:gd name="connsiteX7" fmla="*/ 312335 w 544284"/>
                    <a:gd name="connsiteY7" fmla="*/ 14931 h 500804"/>
                    <a:gd name="connsiteX8" fmla="*/ 312335 w 544284"/>
                    <a:gd name="connsiteY8" fmla="*/ 145106 h 500804"/>
                    <a:gd name="connsiteX9" fmla="*/ 353610 w 544284"/>
                    <a:gd name="connsiteY9" fmla="*/ 151456 h 500804"/>
                    <a:gd name="connsiteX10" fmla="*/ 445685 w 544284"/>
                    <a:gd name="connsiteY10" fmla="*/ 164156 h 500804"/>
                    <a:gd name="connsiteX11" fmla="*/ 486960 w 544284"/>
                    <a:gd name="connsiteY11" fmla="*/ 189556 h 500804"/>
                    <a:gd name="connsiteX12" fmla="*/ 509185 w 544284"/>
                    <a:gd name="connsiteY12" fmla="*/ 234006 h 500804"/>
                    <a:gd name="connsiteX13" fmla="*/ 506010 w 544284"/>
                    <a:gd name="connsiteY13" fmla="*/ 488006 h 500804"/>
                    <a:gd name="connsiteX14" fmla="*/ 4360 w 544284"/>
                    <a:gd name="connsiteY14" fmla="*/ 449906 h 500804"/>
                    <a:gd name="connsiteX0" fmla="*/ 4360 w 519024"/>
                    <a:gd name="connsiteY0" fmla="*/ 449906 h 500804"/>
                    <a:gd name="connsiteX1" fmla="*/ 7535 w 519024"/>
                    <a:gd name="connsiteY1" fmla="*/ 214956 h 500804"/>
                    <a:gd name="connsiteX2" fmla="*/ 23410 w 519024"/>
                    <a:gd name="connsiteY2" fmla="*/ 176856 h 500804"/>
                    <a:gd name="connsiteX3" fmla="*/ 71035 w 519024"/>
                    <a:gd name="connsiteY3" fmla="*/ 160981 h 500804"/>
                    <a:gd name="connsiteX4" fmla="*/ 172635 w 519024"/>
                    <a:gd name="connsiteY4" fmla="*/ 154631 h 500804"/>
                    <a:gd name="connsiteX5" fmla="*/ 198035 w 519024"/>
                    <a:gd name="connsiteY5" fmla="*/ 151456 h 500804"/>
                    <a:gd name="connsiteX6" fmla="*/ 201210 w 519024"/>
                    <a:gd name="connsiteY6" fmla="*/ 18106 h 500804"/>
                    <a:gd name="connsiteX7" fmla="*/ 312335 w 519024"/>
                    <a:gd name="connsiteY7" fmla="*/ 14931 h 500804"/>
                    <a:gd name="connsiteX8" fmla="*/ 312335 w 519024"/>
                    <a:gd name="connsiteY8" fmla="*/ 145106 h 500804"/>
                    <a:gd name="connsiteX9" fmla="*/ 353610 w 519024"/>
                    <a:gd name="connsiteY9" fmla="*/ 151456 h 500804"/>
                    <a:gd name="connsiteX10" fmla="*/ 445685 w 519024"/>
                    <a:gd name="connsiteY10" fmla="*/ 164156 h 500804"/>
                    <a:gd name="connsiteX11" fmla="*/ 486960 w 519024"/>
                    <a:gd name="connsiteY11" fmla="*/ 189556 h 500804"/>
                    <a:gd name="connsiteX12" fmla="*/ 509185 w 519024"/>
                    <a:gd name="connsiteY12" fmla="*/ 234006 h 500804"/>
                    <a:gd name="connsiteX13" fmla="*/ 506010 w 519024"/>
                    <a:gd name="connsiteY13" fmla="*/ 488006 h 500804"/>
                    <a:gd name="connsiteX14" fmla="*/ 4360 w 519024"/>
                    <a:gd name="connsiteY14" fmla="*/ 449906 h 500804"/>
                    <a:gd name="connsiteX0" fmla="*/ 4360 w 519024"/>
                    <a:gd name="connsiteY0" fmla="*/ 449906 h 488006"/>
                    <a:gd name="connsiteX1" fmla="*/ 7535 w 519024"/>
                    <a:gd name="connsiteY1" fmla="*/ 214956 h 488006"/>
                    <a:gd name="connsiteX2" fmla="*/ 23410 w 519024"/>
                    <a:gd name="connsiteY2" fmla="*/ 176856 h 488006"/>
                    <a:gd name="connsiteX3" fmla="*/ 71035 w 519024"/>
                    <a:gd name="connsiteY3" fmla="*/ 160981 h 488006"/>
                    <a:gd name="connsiteX4" fmla="*/ 172635 w 519024"/>
                    <a:gd name="connsiteY4" fmla="*/ 154631 h 488006"/>
                    <a:gd name="connsiteX5" fmla="*/ 198035 w 519024"/>
                    <a:gd name="connsiteY5" fmla="*/ 151456 h 488006"/>
                    <a:gd name="connsiteX6" fmla="*/ 201210 w 519024"/>
                    <a:gd name="connsiteY6" fmla="*/ 18106 h 488006"/>
                    <a:gd name="connsiteX7" fmla="*/ 312335 w 519024"/>
                    <a:gd name="connsiteY7" fmla="*/ 14931 h 488006"/>
                    <a:gd name="connsiteX8" fmla="*/ 312335 w 519024"/>
                    <a:gd name="connsiteY8" fmla="*/ 145106 h 488006"/>
                    <a:gd name="connsiteX9" fmla="*/ 353610 w 519024"/>
                    <a:gd name="connsiteY9" fmla="*/ 151456 h 488006"/>
                    <a:gd name="connsiteX10" fmla="*/ 445685 w 519024"/>
                    <a:gd name="connsiteY10" fmla="*/ 164156 h 488006"/>
                    <a:gd name="connsiteX11" fmla="*/ 486960 w 519024"/>
                    <a:gd name="connsiteY11" fmla="*/ 189556 h 488006"/>
                    <a:gd name="connsiteX12" fmla="*/ 509185 w 519024"/>
                    <a:gd name="connsiteY12" fmla="*/ 234006 h 488006"/>
                    <a:gd name="connsiteX13" fmla="*/ 506010 w 519024"/>
                    <a:gd name="connsiteY13" fmla="*/ 488006 h 488006"/>
                    <a:gd name="connsiteX14" fmla="*/ 4360 w 519024"/>
                    <a:gd name="connsiteY14" fmla="*/ 449906 h 488006"/>
                    <a:gd name="connsiteX0" fmla="*/ 4360 w 523534"/>
                    <a:gd name="connsiteY0" fmla="*/ 449906 h 472131"/>
                    <a:gd name="connsiteX1" fmla="*/ 7535 w 523534"/>
                    <a:gd name="connsiteY1" fmla="*/ 214956 h 472131"/>
                    <a:gd name="connsiteX2" fmla="*/ 23410 w 523534"/>
                    <a:gd name="connsiteY2" fmla="*/ 176856 h 472131"/>
                    <a:gd name="connsiteX3" fmla="*/ 71035 w 523534"/>
                    <a:gd name="connsiteY3" fmla="*/ 160981 h 472131"/>
                    <a:gd name="connsiteX4" fmla="*/ 172635 w 523534"/>
                    <a:gd name="connsiteY4" fmla="*/ 154631 h 472131"/>
                    <a:gd name="connsiteX5" fmla="*/ 198035 w 523534"/>
                    <a:gd name="connsiteY5" fmla="*/ 151456 h 472131"/>
                    <a:gd name="connsiteX6" fmla="*/ 201210 w 523534"/>
                    <a:gd name="connsiteY6" fmla="*/ 18106 h 472131"/>
                    <a:gd name="connsiteX7" fmla="*/ 312335 w 523534"/>
                    <a:gd name="connsiteY7" fmla="*/ 14931 h 472131"/>
                    <a:gd name="connsiteX8" fmla="*/ 312335 w 523534"/>
                    <a:gd name="connsiteY8" fmla="*/ 145106 h 472131"/>
                    <a:gd name="connsiteX9" fmla="*/ 353610 w 523534"/>
                    <a:gd name="connsiteY9" fmla="*/ 151456 h 472131"/>
                    <a:gd name="connsiteX10" fmla="*/ 445685 w 523534"/>
                    <a:gd name="connsiteY10" fmla="*/ 164156 h 472131"/>
                    <a:gd name="connsiteX11" fmla="*/ 486960 w 523534"/>
                    <a:gd name="connsiteY11" fmla="*/ 189556 h 472131"/>
                    <a:gd name="connsiteX12" fmla="*/ 509185 w 523534"/>
                    <a:gd name="connsiteY12" fmla="*/ 234006 h 472131"/>
                    <a:gd name="connsiteX13" fmla="*/ 512360 w 523534"/>
                    <a:gd name="connsiteY13" fmla="*/ 472131 h 472131"/>
                    <a:gd name="connsiteX14" fmla="*/ 4360 w 523534"/>
                    <a:gd name="connsiteY14" fmla="*/ 449906 h 472131"/>
                    <a:gd name="connsiteX0" fmla="*/ 4360 w 513675"/>
                    <a:gd name="connsiteY0" fmla="*/ 449906 h 472131"/>
                    <a:gd name="connsiteX1" fmla="*/ 7535 w 513675"/>
                    <a:gd name="connsiteY1" fmla="*/ 214956 h 472131"/>
                    <a:gd name="connsiteX2" fmla="*/ 23410 w 513675"/>
                    <a:gd name="connsiteY2" fmla="*/ 176856 h 472131"/>
                    <a:gd name="connsiteX3" fmla="*/ 71035 w 513675"/>
                    <a:gd name="connsiteY3" fmla="*/ 160981 h 472131"/>
                    <a:gd name="connsiteX4" fmla="*/ 172635 w 513675"/>
                    <a:gd name="connsiteY4" fmla="*/ 154631 h 472131"/>
                    <a:gd name="connsiteX5" fmla="*/ 198035 w 513675"/>
                    <a:gd name="connsiteY5" fmla="*/ 151456 h 472131"/>
                    <a:gd name="connsiteX6" fmla="*/ 201210 w 513675"/>
                    <a:gd name="connsiteY6" fmla="*/ 18106 h 472131"/>
                    <a:gd name="connsiteX7" fmla="*/ 312335 w 513675"/>
                    <a:gd name="connsiteY7" fmla="*/ 14931 h 472131"/>
                    <a:gd name="connsiteX8" fmla="*/ 312335 w 513675"/>
                    <a:gd name="connsiteY8" fmla="*/ 145106 h 472131"/>
                    <a:gd name="connsiteX9" fmla="*/ 353610 w 513675"/>
                    <a:gd name="connsiteY9" fmla="*/ 151456 h 472131"/>
                    <a:gd name="connsiteX10" fmla="*/ 445685 w 513675"/>
                    <a:gd name="connsiteY10" fmla="*/ 164156 h 472131"/>
                    <a:gd name="connsiteX11" fmla="*/ 486960 w 513675"/>
                    <a:gd name="connsiteY11" fmla="*/ 189556 h 472131"/>
                    <a:gd name="connsiteX12" fmla="*/ 509185 w 513675"/>
                    <a:gd name="connsiteY12" fmla="*/ 234006 h 472131"/>
                    <a:gd name="connsiteX13" fmla="*/ 512360 w 513675"/>
                    <a:gd name="connsiteY13" fmla="*/ 472131 h 472131"/>
                    <a:gd name="connsiteX14" fmla="*/ 4360 w 513675"/>
                    <a:gd name="connsiteY14" fmla="*/ 449906 h 472131"/>
                    <a:gd name="connsiteX0" fmla="*/ 4360 w 513675"/>
                    <a:gd name="connsiteY0" fmla="*/ 446969 h 469194"/>
                    <a:gd name="connsiteX1" fmla="*/ 7535 w 513675"/>
                    <a:gd name="connsiteY1" fmla="*/ 212019 h 469194"/>
                    <a:gd name="connsiteX2" fmla="*/ 23410 w 513675"/>
                    <a:gd name="connsiteY2" fmla="*/ 173919 h 469194"/>
                    <a:gd name="connsiteX3" fmla="*/ 71035 w 513675"/>
                    <a:gd name="connsiteY3" fmla="*/ 158044 h 469194"/>
                    <a:gd name="connsiteX4" fmla="*/ 172635 w 513675"/>
                    <a:gd name="connsiteY4" fmla="*/ 151694 h 469194"/>
                    <a:gd name="connsiteX5" fmla="*/ 188510 w 513675"/>
                    <a:gd name="connsiteY5" fmla="*/ 94544 h 469194"/>
                    <a:gd name="connsiteX6" fmla="*/ 201210 w 513675"/>
                    <a:gd name="connsiteY6" fmla="*/ 15169 h 469194"/>
                    <a:gd name="connsiteX7" fmla="*/ 312335 w 513675"/>
                    <a:gd name="connsiteY7" fmla="*/ 11994 h 469194"/>
                    <a:gd name="connsiteX8" fmla="*/ 312335 w 513675"/>
                    <a:gd name="connsiteY8" fmla="*/ 142169 h 469194"/>
                    <a:gd name="connsiteX9" fmla="*/ 353610 w 513675"/>
                    <a:gd name="connsiteY9" fmla="*/ 148519 h 469194"/>
                    <a:gd name="connsiteX10" fmla="*/ 445685 w 513675"/>
                    <a:gd name="connsiteY10" fmla="*/ 161219 h 469194"/>
                    <a:gd name="connsiteX11" fmla="*/ 486960 w 513675"/>
                    <a:gd name="connsiteY11" fmla="*/ 186619 h 469194"/>
                    <a:gd name="connsiteX12" fmla="*/ 509185 w 513675"/>
                    <a:gd name="connsiteY12" fmla="*/ 231069 h 469194"/>
                    <a:gd name="connsiteX13" fmla="*/ 512360 w 513675"/>
                    <a:gd name="connsiteY13" fmla="*/ 469194 h 469194"/>
                    <a:gd name="connsiteX14" fmla="*/ 4360 w 513675"/>
                    <a:gd name="connsiteY14" fmla="*/ 446969 h 469194"/>
                    <a:gd name="connsiteX0" fmla="*/ 4360 w 513675"/>
                    <a:gd name="connsiteY0" fmla="*/ 443409 h 465634"/>
                    <a:gd name="connsiteX1" fmla="*/ 7535 w 513675"/>
                    <a:gd name="connsiteY1" fmla="*/ 208459 h 465634"/>
                    <a:gd name="connsiteX2" fmla="*/ 23410 w 513675"/>
                    <a:gd name="connsiteY2" fmla="*/ 170359 h 465634"/>
                    <a:gd name="connsiteX3" fmla="*/ 71035 w 513675"/>
                    <a:gd name="connsiteY3" fmla="*/ 154484 h 465634"/>
                    <a:gd name="connsiteX4" fmla="*/ 172635 w 513675"/>
                    <a:gd name="connsiteY4" fmla="*/ 148134 h 465634"/>
                    <a:gd name="connsiteX5" fmla="*/ 188510 w 513675"/>
                    <a:gd name="connsiteY5" fmla="*/ 90984 h 465634"/>
                    <a:gd name="connsiteX6" fmla="*/ 201210 w 513675"/>
                    <a:gd name="connsiteY6" fmla="*/ 11609 h 465634"/>
                    <a:gd name="connsiteX7" fmla="*/ 312335 w 513675"/>
                    <a:gd name="connsiteY7" fmla="*/ 8434 h 465634"/>
                    <a:gd name="connsiteX8" fmla="*/ 312335 w 513675"/>
                    <a:gd name="connsiteY8" fmla="*/ 87809 h 465634"/>
                    <a:gd name="connsiteX9" fmla="*/ 353610 w 513675"/>
                    <a:gd name="connsiteY9" fmla="*/ 144959 h 465634"/>
                    <a:gd name="connsiteX10" fmla="*/ 445685 w 513675"/>
                    <a:gd name="connsiteY10" fmla="*/ 157659 h 465634"/>
                    <a:gd name="connsiteX11" fmla="*/ 486960 w 513675"/>
                    <a:gd name="connsiteY11" fmla="*/ 183059 h 465634"/>
                    <a:gd name="connsiteX12" fmla="*/ 509185 w 513675"/>
                    <a:gd name="connsiteY12" fmla="*/ 227509 h 465634"/>
                    <a:gd name="connsiteX13" fmla="*/ 512360 w 513675"/>
                    <a:gd name="connsiteY13" fmla="*/ 465634 h 465634"/>
                    <a:gd name="connsiteX14" fmla="*/ 4360 w 513675"/>
                    <a:gd name="connsiteY14" fmla="*/ 443409 h 465634"/>
                    <a:gd name="connsiteX0" fmla="*/ 4360 w 513675"/>
                    <a:gd name="connsiteY0" fmla="*/ 443409 h 465634"/>
                    <a:gd name="connsiteX1" fmla="*/ 7535 w 513675"/>
                    <a:gd name="connsiteY1" fmla="*/ 208459 h 465634"/>
                    <a:gd name="connsiteX2" fmla="*/ 23410 w 513675"/>
                    <a:gd name="connsiteY2" fmla="*/ 170359 h 465634"/>
                    <a:gd name="connsiteX3" fmla="*/ 71035 w 513675"/>
                    <a:gd name="connsiteY3" fmla="*/ 154484 h 465634"/>
                    <a:gd name="connsiteX4" fmla="*/ 172635 w 513675"/>
                    <a:gd name="connsiteY4" fmla="*/ 148134 h 465634"/>
                    <a:gd name="connsiteX5" fmla="*/ 188510 w 513675"/>
                    <a:gd name="connsiteY5" fmla="*/ 90984 h 465634"/>
                    <a:gd name="connsiteX6" fmla="*/ 201210 w 513675"/>
                    <a:gd name="connsiteY6" fmla="*/ 11609 h 465634"/>
                    <a:gd name="connsiteX7" fmla="*/ 312335 w 513675"/>
                    <a:gd name="connsiteY7" fmla="*/ 8434 h 465634"/>
                    <a:gd name="connsiteX8" fmla="*/ 312335 w 513675"/>
                    <a:gd name="connsiteY8" fmla="*/ 87809 h 465634"/>
                    <a:gd name="connsiteX9" fmla="*/ 334560 w 513675"/>
                    <a:gd name="connsiteY9" fmla="*/ 135434 h 465634"/>
                    <a:gd name="connsiteX10" fmla="*/ 445685 w 513675"/>
                    <a:gd name="connsiteY10" fmla="*/ 157659 h 465634"/>
                    <a:gd name="connsiteX11" fmla="*/ 486960 w 513675"/>
                    <a:gd name="connsiteY11" fmla="*/ 183059 h 465634"/>
                    <a:gd name="connsiteX12" fmla="*/ 509185 w 513675"/>
                    <a:gd name="connsiteY12" fmla="*/ 227509 h 465634"/>
                    <a:gd name="connsiteX13" fmla="*/ 512360 w 513675"/>
                    <a:gd name="connsiteY13" fmla="*/ 465634 h 465634"/>
                    <a:gd name="connsiteX14" fmla="*/ 4360 w 513675"/>
                    <a:gd name="connsiteY14" fmla="*/ 443409 h 465634"/>
                    <a:gd name="connsiteX0" fmla="*/ 4360 w 510500"/>
                    <a:gd name="connsiteY0" fmla="*/ 443409 h 449759"/>
                    <a:gd name="connsiteX1" fmla="*/ 7535 w 510500"/>
                    <a:gd name="connsiteY1" fmla="*/ 208459 h 449759"/>
                    <a:gd name="connsiteX2" fmla="*/ 23410 w 510500"/>
                    <a:gd name="connsiteY2" fmla="*/ 170359 h 449759"/>
                    <a:gd name="connsiteX3" fmla="*/ 71035 w 510500"/>
                    <a:gd name="connsiteY3" fmla="*/ 154484 h 449759"/>
                    <a:gd name="connsiteX4" fmla="*/ 172635 w 510500"/>
                    <a:gd name="connsiteY4" fmla="*/ 148134 h 449759"/>
                    <a:gd name="connsiteX5" fmla="*/ 188510 w 510500"/>
                    <a:gd name="connsiteY5" fmla="*/ 90984 h 449759"/>
                    <a:gd name="connsiteX6" fmla="*/ 201210 w 510500"/>
                    <a:gd name="connsiteY6" fmla="*/ 11609 h 449759"/>
                    <a:gd name="connsiteX7" fmla="*/ 312335 w 510500"/>
                    <a:gd name="connsiteY7" fmla="*/ 8434 h 449759"/>
                    <a:gd name="connsiteX8" fmla="*/ 312335 w 510500"/>
                    <a:gd name="connsiteY8" fmla="*/ 87809 h 449759"/>
                    <a:gd name="connsiteX9" fmla="*/ 334560 w 510500"/>
                    <a:gd name="connsiteY9" fmla="*/ 135434 h 449759"/>
                    <a:gd name="connsiteX10" fmla="*/ 445685 w 510500"/>
                    <a:gd name="connsiteY10" fmla="*/ 157659 h 449759"/>
                    <a:gd name="connsiteX11" fmla="*/ 486960 w 510500"/>
                    <a:gd name="connsiteY11" fmla="*/ 183059 h 449759"/>
                    <a:gd name="connsiteX12" fmla="*/ 509185 w 510500"/>
                    <a:gd name="connsiteY12" fmla="*/ 227509 h 449759"/>
                    <a:gd name="connsiteX13" fmla="*/ 506010 w 510500"/>
                    <a:gd name="connsiteY13" fmla="*/ 449759 h 449759"/>
                    <a:gd name="connsiteX14" fmla="*/ 4360 w 510500"/>
                    <a:gd name="connsiteY14" fmla="*/ 443409 h 449759"/>
                    <a:gd name="connsiteX0" fmla="*/ 4360 w 510500"/>
                    <a:gd name="connsiteY0" fmla="*/ 443409 h 454926"/>
                    <a:gd name="connsiteX1" fmla="*/ 7535 w 510500"/>
                    <a:gd name="connsiteY1" fmla="*/ 208459 h 454926"/>
                    <a:gd name="connsiteX2" fmla="*/ 23410 w 510500"/>
                    <a:gd name="connsiteY2" fmla="*/ 170359 h 454926"/>
                    <a:gd name="connsiteX3" fmla="*/ 71035 w 510500"/>
                    <a:gd name="connsiteY3" fmla="*/ 154484 h 454926"/>
                    <a:gd name="connsiteX4" fmla="*/ 172635 w 510500"/>
                    <a:gd name="connsiteY4" fmla="*/ 148134 h 454926"/>
                    <a:gd name="connsiteX5" fmla="*/ 188510 w 510500"/>
                    <a:gd name="connsiteY5" fmla="*/ 90984 h 454926"/>
                    <a:gd name="connsiteX6" fmla="*/ 201210 w 510500"/>
                    <a:gd name="connsiteY6" fmla="*/ 11609 h 454926"/>
                    <a:gd name="connsiteX7" fmla="*/ 312335 w 510500"/>
                    <a:gd name="connsiteY7" fmla="*/ 8434 h 454926"/>
                    <a:gd name="connsiteX8" fmla="*/ 312335 w 510500"/>
                    <a:gd name="connsiteY8" fmla="*/ 87809 h 454926"/>
                    <a:gd name="connsiteX9" fmla="*/ 334560 w 510500"/>
                    <a:gd name="connsiteY9" fmla="*/ 135434 h 454926"/>
                    <a:gd name="connsiteX10" fmla="*/ 445685 w 510500"/>
                    <a:gd name="connsiteY10" fmla="*/ 157659 h 454926"/>
                    <a:gd name="connsiteX11" fmla="*/ 486960 w 510500"/>
                    <a:gd name="connsiteY11" fmla="*/ 183059 h 454926"/>
                    <a:gd name="connsiteX12" fmla="*/ 509185 w 510500"/>
                    <a:gd name="connsiteY12" fmla="*/ 227509 h 454926"/>
                    <a:gd name="connsiteX13" fmla="*/ 506010 w 510500"/>
                    <a:gd name="connsiteY13" fmla="*/ 449759 h 454926"/>
                    <a:gd name="connsiteX14" fmla="*/ 4360 w 510500"/>
                    <a:gd name="connsiteY14" fmla="*/ 443409 h 454926"/>
                    <a:gd name="connsiteX0" fmla="*/ 6473 w 512613"/>
                    <a:gd name="connsiteY0" fmla="*/ 443409 h 454926"/>
                    <a:gd name="connsiteX1" fmla="*/ 9648 w 512613"/>
                    <a:gd name="connsiteY1" fmla="*/ 208459 h 454926"/>
                    <a:gd name="connsiteX2" fmla="*/ 73148 w 512613"/>
                    <a:gd name="connsiteY2" fmla="*/ 154484 h 454926"/>
                    <a:gd name="connsiteX3" fmla="*/ 174748 w 512613"/>
                    <a:gd name="connsiteY3" fmla="*/ 148134 h 454926"/>
                    <a:gd name="connsiteX4" fmla="*/ 190623 w 512613"/>
                    <a:gd name="connsiteY4" fmla="*/ 90984 h 454926"/>
                    <a:gd name="connsiteX5" fmla="*/ 203323 w 512613"/>
                    <a:gd name="connsiteY5" fmla="*/ 11609 h 454926"/>
                    <a:gd name="connsiteX6" fmla="*/ 314448 w 512613"/>
                    <a:gd name="connsiteY6" fmla="*/ 8434 h 454926"/>
                    <a:gd name="connsiteX7" fmla="*/ 314448 w 512613"/>
                    <a:gd name="connsiteY7" fmla="*/ 87809 h 454926"/>
                    <a:gd name="connsiteX8" fmla="*/ 336673 w 512613"/>
                    <a:gd name="connsiteY8" fmla="*/ 135434 h 454926"/>
                    <a:gd name="connsiteX9" fmla="*/ 447798 w 512613"/>
                    <a:gd name="connsiteY9" fmla="*/ 157659 h 454926"/>
                    <a:gd name="connsiteX10" fmla="*/ 489073 w 512613"/>
                    <a:gd name="connsiteY10" fmla="*/ 183059 h 454926"/>
                    <a:gd name="connsiteX11" fmla="*/ 511298 w 512613"/>
                    <a:gd name="connsiteY11" fmla="*/ 227509 h 454926"/>
                    <a:gd name="connsiteX12" fmla="*/ 508123 w 512613"/>
                    <a:gd name="connsiteY12" fmla="*/ 449759 h 454926"/>
                    <a:gd name="connsiteX13" fmla="*/ 6473 w 512613"/>
                    <a:gd name="connsiteY13" fmla="*/ 443409 h 454926"/>
                    <a:gd name="connsiteX0" fmla="*/ 4049 w 510189"/>
                    <a:gd name="connsiteY0" fmla="*/ 443409 h 454926"/>
                    <a:gd name="connsiteX1" fmla="*/ 7224 w 510189"/>
                    <a:gd name="connsiteY1" fmla="*/ 208459 h 454926"/>
                    <a:gd name="connsiteX2" fmla="*/ 70724 w 510189"/>
                    <a:gd name="connsiteY2" fmla="*/ 154484 h 454926"/>
                    <a:gd name="connsiteX3" fmla="*/ 172324 w 510189"/>
                    <a:gd name="connsiteY3" fmla="*/ 148134 h 454926"/>
                    <a:gd name="connsiteX4" fmla="*/ 188199 w 510189"/>
                    <a:gd name="connsiteY4" fmla="*/ 90984 h 454926"/>
                    <a:gd name="connsiteX5" fmla="*/ 200899 w 510189"/>
                    <a:gd name="connsiteY5" fmla="*/ 11609 h 454926"/>
                    <a:gd name="connsiteX6" fmla="*/ 312024 w 510189"/>
                    <a:gd name="connsiteY6" fmla="*/ 8434 h 454926"/>
                    <a:gd name="connsiteX7" fmla="*/ 312024 w 510189"/>
                    <a:gd name="connsiteY7" fmla="*/ 87809 h 454926"/>
                    <a:gd name="connsiteX8" fmla="*/ 334249 w 510189"/>
                    <a:gd name="connsiteY8" fmla="*/ 135434 h 454926"/>
                    <a:gd name="connsiteX9" fmla="*/ 445374 w 510189"/>
                    <a:gd name="connsiteY9" fmla="*/ 157659 h 454926"/>
                    <a:gd name="connsiteX10" fmla="*/ 486649 w 510189"/>
                    <a:gd name="connsiteY10" fmla="*/ 183059 h 454926"/>
                    <a:gd name="connsiteX11" fmla="*/ 508874 w 510189"/>
                    <a:gd name="connsiteY11" fmla="*/ 227509 h 454926"/>
                    <a:gd name="connsiteX12" fmla="*/ 505699 w 510189"/>
                    <a:gd name="connsiteY12" fmla="*/ 449759 h 454926"/>
                    <a:gd name="connsiteX13" fmla="*/ 4049 w 510189"/>
                    <a:gd name="connsiteY13" fmla="*/ 443409 h 454926"/>
                    <a:gd name="connsiteX0" fmla="*/ 4049 w 510189"/>
                    <a:gd name="connsiteY0" fmla="*/ 443409 h 454926"/>
                    <a:gd name="connsiteX1" fmla="*/ 7224 w 510189"/>
                    <a:gd name="connsiteY1" fmla="*/ 208459 h 454926"/>
                    <a:gd name="connsiteX2" fmla="*/ 70724 w 510189"/>
                    <a:gd name="connsiteY2" fmla="*/ 154484 h 454926"/>
                    <a:gd name="connsiteX3" fmla="*/ 172324 w 510189"/>
                    <a:gd name="connsiteY3" fmla="*/ 148134 h 454926"/>
                    <a:gd name="connsiteX4" fmla="*/ 188199 w 510189"/>
                    <a:gd name="connsiteY4" fmla="*/ 90984 h 454926"/>
                    <a:gd name="connsiteX5" fmla="*/ 200899 w 510189"/>
                    <a:gd name="connsiteY5" fmla="*/ 11609 h 454926"/>
                    <a:gd name="connsiteX6" fmla="*/ 312024 w 510189"/>
                    <a:gd name="connsiteY6" fmla="*/ 8434 h 454926"/>
                    <a:gd name="connsiteX7" fmla="*/ 312024 w 510189"/>
                    <a:gd name="connsiteY7" fmla="*/ 87809 h 454926"/>
                    <a:gd name="connsiteX8" fmla="*/ 334249 w 510189"/>
                    <a:gd name="connsiteY8" fmla="*/ 135434 h 454926"/>
                    <a:gd name="connsiteX9" fmla="*/ 445374 w 510189"/>
                    <a:gd name="connsiteY9" fmla="*/ 157659 h 454926"/>
                    <a:gd name="connsiteX10" fmla="*/ 508874 w 510189"/>
                    <a:gd name="connsiteY10" fmla="*/ 227509 h 454926"/>
                    <a:gd name="connsiteX11" fmla="*/ 505699 w 510189"/>
                    <a:gd name="connsiteY11" fmla="*/ 449759 h 454926"/>
                    <a:gd name="connsiteX12" fmla="*/ 4049 w 510189"/>
                    <a:gd name="connsiteY12" fmla="*/ 443409 h 454926"/>
                    <a:gd name="connsiteX0" fmla="*/ 4049 w 510189"/>
                    <a:gd name="connsiteY0" fmla="*/ 443409 h 454926"/>
                    <a:gd name="connsiteX1" fmla="*/ 7224 w 510189"/>
                    <a:gd name="connsiteY1" fmla="*/ 208459 h 454926"/>
                    <a:gd name="connsiteX2" fmla="*/ 70724 w 510189"/>
                    <a:gd name="connsiteY2" fmla="*/ 154484 h 454926"/>
                    <a:gd name="connsiteX3" fmla="*/ 172324 w 510189"/>
                    <a:gd name="connsiteY3" fmla="*/ 148134 h 454926"/>
                    <a:gd name="connsiteX4" fmla="*/ 188199 w 510189"/>
                    <a:gd name="connsiteY4" fmla="*/ 90984 h 454926"/>
                    <a:gd name="connsiteX5" fmla="*/ 200899 w 510189"/>
                    <a:gd name="connsiteY5" fmla="*/ 11609 h 454926"/>
                    <a:gd name="connsiteX6" fmla="*/ 312024 w 510189"/>
                    <a:gd name="connsiteY6" fmla="*/ 8434 h 454926"/>
                    <a:gd name="connsiteX7" fmla="*/ 312024 w 510189"/>
                    <a:gd name="connsiteY7" fmla="*/ 87809 h 454926"/>
                    <a:gd name="connsiteX8" fmla="*/ 334249 w 510189"/>
                    <a:gd name="connsiteY8" fmla="*/ 135434 h 454926"/>
                    <a:gd name="connsiteX9" fmla="*/ 445374 w 510189"/>
                    <a:gd name="connsiteY9" fmla="*/ 157659 h 454926"/>
                    <a:gd name="connsiteX10" fmla="*/ 508874 w 510189"/>
                    <a:gd name="connsiteY10" fmla="*/ 227509 h 454926"/>
                    <a:gd name="connsiteX11" fmla="*/ 505699 w 510189"/>
                    <a:gd name="connsiteY11" fmla="*/ 449759 h 454926"/>
                    <a:gd name="connsiteX12" fmla="*/ 4049 w 510189"/>
                    <a:gd name="connsiteY12" fmla="*/ 443409 h 454926"/>
                    <a:gd name="connsiteX0" fmla="*/ 5987 w 512127"/>
                    <a:gd name="connsiteY0" fmla="*/ 443409 h 454926"/>
                    <a:gd name="connsiteX1" fmla="*/ 2812 w 512127"/>
                    <a:gd name="connsiteY1" fmla="*/ 217984 h 454926"/>
                    <a:gd name="connsiteX2" fmla="*/ 72662 w 512127"/>
                    <a:gd name="connsiteY2" fmla="*/ 154484 h 454926"/>
                    <a:gd name="connsiteX3" fmla="*/ 174262 w 512127"/>
                    <a:gd name="connsiteY3" fmla="*/ 148134 h 454926"/>
                    <a:gd name="connsiteX4" fmla="*/ 190137 w 512127"/>
                    <a:gd name="connsiteY4" fmla="*/ 90984 h 454926"/>
                    <a:gd name="connsiteX5" fmla="*/ 202837 w 512127"/>
                    <a:gd name="connsiteY5" fmla="*/ 11609 h 454926"/>
                    <a:gd name="connsiteX6" fmla="*/ 313962 w 512127"/>
                    <a:gd name="connsiteY6" fmla="*/ 8434 h 454926"/>
                    <a:gd name="connsiteX7" fmla="*/ 313962 w 512127"/>
                    <a:gd name="connsiteY7" fmla="*/ 87809 h 454926"/>
                    <a:gd name="connsiteX8" fmla="*/ 336187 w 512127"/>
                    <a:gd name="connsiteY8" fmla="*/ 135434 h 454926"/>
                    <a:gd name="connsiteX9" fmla="*/ 447312 w 512127"/>
                    <a:gd name="connsiteY9" fmla="*/ 157659 h 454926"/>
                    <a:gd name="connsiteX10" fmla="*/ 510812 w 512127"/>
                    <a:gd name="connsiteY10" fmla="*/ 227509 h 454926"/>
                    <a:gd name="connsiteX11" fmla="*/ 507637 w 512127"/>
                    <a:gd name="connsiteY11" fmla="*/ 449759 h 454926"/>
                    <a:gd name="connsiteX12" fmla="*/ 5987 w 512127"/>
                    <a:gd name="connsiteY12" fmla="*/ 443409 h 454926"/>
                    <a:gd name="connsiteX0" fmla="*/ 9762 w 515902"/>
                    <a:gd name="connsiteY0" fmla="*/ 443409 h 454926"/>
                    <a:gd name="connsiteX1" fmla="*/ 6587 w 515902"/>
                    <a:gd name="connsiteY1" fmla="*/ 217984 h 454926"/>
                    <a:gd name="connsiteX2" fmla="*/ 76437 w 515902"/>
                    <a:gd name="connsiteY2" fmla="*/ 154484 h 454926"/>
                    <a:gd name="connsiteX3" fmla="*/ 178037 w 515902"/>
                    <a:gd name="connsiteY3" fmla="*/ 148134 h 454926"/>
                    <a:gd name="connsiteX4" fmla="*/ 193912 w 515902"/>
                    <a:gd name="connsiteY4" fmla="*/ 90984 h 454926"/>
                    <a:gd name="connsiteX5" fmla="*/ 206612 w 515902"/>
                    <a:gd name="connsiteY5" fmla="*/ 11609 h 454926"/>
                    <a:gd name="connsiteX6" fmla="*/ 317737 w 515902"/>
                    <a:gd name="connsiteY6" fmla="*/ 8434 h 454926"/>
                    <a:gd name="connsiteX7" fmla="*/ 317737 w 515902"/>
                    <a:gd name="connsiteY7" fmla="*/ 87809 h 454926"/>
                    <a:gd name="connsiteX8" fmla="*/ 339962 w 515902"/>
                    <a:gd name="connsiteY8" fmla="*/ 135434 h 454926"/>
                    <a:gd name="connsiteX9" fmla="*/ 451087 w 515902"/>
                    <a:gd name="connsiteY9" fmla="*/ 157659 h 454926"/>
                    <a:gd name="connsiteX10" fmla="*/ 514587 w 515902"/>
                    <a:gd name="connsiteY10" fmla="*/ 227509 h 454926"/>
                    <a:gd name="connsiteX11" fmla="*/ 511412 w 515902"/>
                    <a:gd name="connsiteY11" fmla="*/ 449759 h 454926"/>
                    <a:gd name="connsiteX12" fmla="*/ 9762 w 515902"/>
                    <a:gd name="connsiteY12" fmla="*/ 443409 h 454926"/>
                    <a:gd name="connsiteX0" fmla="*/ 9762 w 515902"/>
                    <a:gd name="connsiteY0" fmla="*/ 443409 h 454926"/>
                    <a:gd name="connsiteX1" fmla="*/ 6587 w 515902"/>
                    <a:gd name="connsiteY1" fmla="*/ 217984 h 454926"/>
                    <a:gd name="connsiteX2" fmla="*/ 76437 w 515902"/>
                    <a:gd name="connsiteY2" fmla="*/ 154484 h 454926"/>
                    <a:gd name="connsiteX3" fmla="*/ 178037 w 515902"/>
                    <a:gd name="connsiteY3" fmla="*/ 148134 h 454926"/>
                    <a:gd name="connsiteX4" fmla="*/ 193912 w 515902"/>
                    <a:gd name="connsiteY4" fmla="*/ 90984 h 454926"/>
                    <a:gd name="connsiteX5" fmla="*/ 206612 w 515902"/>
                    <a:gd name="connsiteY5" fmla="*/ 11609 h 454926"/>
                    <a:gd name="connsiteX6" fmla="*/ 317737 w 515902"/>
                    <a:gd name="connsiteY6" fmla="*/ 8434 h 454926"/>
                    <a:gd name="connsiteX7" fmla="*/ 317737 w 515902"/>
                    <a:gd name="connsiteY7" fmla="*/ 87809 h 454926"/>
                    <a:gd name="connsiteX8" fmla="*/ 339962 w 515902"/>
                    <a:gd name="connsiteY8" fmla="*/ 135434 h 454926"/>
                    <a:gd name="connsiteX9" fmla="*/ 451087 w 515902"/>
                    <a:gd name="connsiteY9" fmla="*/ 157659 h 454926"/>
                    <a:gd name="connsiteX10" fmla="*/ 514587 w 515902"/>
                    <a:gd name="connsiteY10" fmla="*/ 227509 h 454926"/>
                    <a:gd name="connsiteX11" fmla="*/ 511412 w 515902"/>
                    <a:gd name="connsiteY11" fmla="*/ 449759 h 454926"/>
                    <a:gd name="connsiteX12" fmla="*/ 9762 w 515902"/>
                    <a:gd name="connsiteY12" fmla="*/ 443409 h 454926"/>
                    <a:gd name="connsiteX0" fmla="*/ 9762 w 515902"/>
                    <a:gd name="connsiteY0" fmla="*/ 443409 h 454926"/>
                    <a:gd name="connsiteX1" fmla="*/ 6587 w 515902"/>
                    <a:gd name="connsiteY1" fmla="*/ 217984 h 454926"/>
                    <a:gd name="connsiteX2" fmla="*/ 76437 w 515902"/>
                    <a:gd name="connsiteY2" fmla="*/ 154484 h 454926"/>
                    <a:gd name="connsiteX3" fmla="*/ 193912 w 515902"/>
                    <a:gd name="connsiteY3" fmla="*/ 90984 h 454926"/>
                    <a:gd name="connsiteX4" fmla="*/ 206612 w 515902"/>
                    <a:gd name="connsiteY4" fmla="*/ 11609 h 454926"/>
                    <a:gd name="connsiteX5" fmla="*/ 317737 w 515902"/>
                    <a:gd name="connsiteY5" fmla="*/ 8434 h 454926"/>
                    <a:gd name="connsiteX6" fmla="*/ 317737 w 515902"/>
                    <a:gd name="connsiteY6" fmla="*/ 87809 h 454926"/>
                    <a:gd name="connsiteX7" fmla="*/ 339962 w 515902"/>
                    <a:gd name="connsiteY7" fmla="*/ 135434 h 454926"/>
                    <a:gd name="connsiteX8" fmla="*/ 451087 w 515902"/>
                    <a:gd name="connsiteY8" fmla="*/ 157659 h 454926"/>
                    <a:gd name="connsiteX9" fmla="*/ 514587 w 515902"/>
                    <a:gd name="connsiteY9" fmla="*/ 227509 h 454926"/>
                    <a:gd name="connsiteX10" fmla="*/ 511412 w 515902"/>
                    <a:gd name="connsiteY10" fmla="*/ 449759 h 454926"/>
                    <a:gd name="connsiteX11" fmla="*/ 9762 w 515902"/>
                    <a:gd name="connsiteY11" fmla="*/ 443409 h 454926"/>
                    <a:gd name="connsiteX0" fmla="*/ 9762 w 515902"/>
                    <a:gd name="connsiteY0" fmla="*/ 446099 h 457616"/>
                    <a:gd name="connsiteX1" fmla="*/ 6587 w 515902"/>
                    <a:gd name="connsiteY1" fmla="*/ 220674 h 457616"/>
                    <a:gd name="connsiteX2" fmla="*/ 76437 w 515902"/>
                    <a:gd name="connsiteY2" fmla="*/ 157174 h 457616"/>
                    <a:gd name="connsiteX3" fmla="*/ 190737 w 515902"/>
                    <a:gd name="connsiteY3" fmla="*/ 138124 h 457616"/>
                    <a:gd name="connsiteX4" fmla="*/ 206612 w 515902"/>
                    <a:gd name="connsiteY4" fmla="*/ 14299 h 457616"/>
                    <a:gd name="connsiteX5" fmla="*/ 317737 w 515902"/>
                    <a:gd name="connsiteY5" fmla="*/ 11124 h 457616"/>
                    <a:gd name="connsiteX6" fmla="*/ 317737 w 515902"/>
                    <a:gd name="connsiteY6" fmla="*/ 90499 h 457616"/>
                    <a:gd name="connsiteX7" fmla="*/ 339962 w 515902"/>
                    <a:gd name="connsiteY7" fmla="*/ 138124 h 457616"/>
                    <a:gd name="connsiteX8" fmla="*/ 451087 w 515902"/>
                    <a:gd name="connsiteY8" fmla="*/ 160349 h 457616"/>
                    <a:gd name="connsiteX9" fmla="*/ 514587 w 515902"/>
                    <a:gd name="connsiteY9" fmla="*/ 230199 h 457616"/>
                    <a:gd name="connsiteX10" fmla="*/ 511412 w 515902"/>
                    <a:gd name="connsiteY10" fmla="*/ 452449 h 457616"/>
                    <a:gd name="connsiteX11" fmla="*/ 9762 w 515902"/>
                    <a:gd name="connsiteY11" fmla="*/ 446099 h 457616"/>
                    <a:gd name="connsiteX0" fmla="*/ 9762 w 515902"/>
                    <a:gd name="connsiteY0" fmla="*/ 446099 h 457616"/>
                    <a:gd name="connsiteX1" fmla="*/ 6587 w 515902"/>
                    <a:gd name="connsiteY1" fmla="*/ 220674 h 457616"/>
                    <a:gd name="connsiteX2" fmla="*/ 76437 w 515902"/>
                    <a:gd name="connsiteY2" fmla="*/ 157174 h 457616"/>
                    <a:gd name="connsiteX3" fmla="*/ 190737 w 515902"/>
                    <a:gd name="connsiteY3" fmla="*/ 138124 h 457616"/>
                    <a:gd name="connsiteX4" fmla="*/ 206612 w 515902"/>
                    <a:gd name="connsiteY4" fmla="*/ 14299 h 457616"/>
                    <a:gd name="connsiteX5" fmla="*/ 317737 w 515902"/>
                    <a:gd name="connsiteY5" fmla="*/ 11124 h 457616"/>
                    <a:gd name="connsiteX6" fmla="*/ 317737 w 515902"/>
                    <a:gd name="connsiteY6" fmla="*/ 90499 h 457616"/>
                    <a:gd name="connsiteX7" fmla="*/ 451087 w 515902"/>
                    <a:gd name="connsiteY7" fmla="*/ 160349 h 457616"/>
                    <a:gd name="connsiteX8" fmla="*/ 514587 w 515902"/>
                    <a:gd name="connsiteY8" fmla="*/ 230199 h 457616"/>
                    <a:gd name="connsiteX9" fmla="*/ 511412 w 515902"/>
                    <a:gd name="connsiteY9" fmla="*/ 452449 h 457616"/>
                    <a:gd name="connsiteX10" fmla="*/ 9762 w 515902"/>
                    <a:gd name="connsiteY10" fmla="*/ 446099 h 457616"/>
                    <a:gd name="connsiteX0" fmla="*/ 9762 w 515902"/>
                    <a:gd name="connsiteY0" fmla="*/ 447482 h 458999"/>
                    <a:gd name="connsiteX1" fmla="*/ 6587 w 515902"/>
                    <a:gd name="connsiteY1" fmla="*/ 222057 h 458999"/>
                    <a:gd name="connsiteX2" fmla="*/ 76437 w 515902"/>
                    <a:gd name="connsiteY2" fmla="*/ 158557 h 458999"/>
                    <a:gd name="connsiteX3" fmla="*/ 190737 w 515902"/>
                    <a:gd name="connsiteY3" fmla="*/ 139507 h 458999"/>
                    <a:gd name="connsiteX4" fmla="*/ 206612 w 515902"/>
                    <a:gd name="connsiteY4" fmla="*/ 15682 h 458999"/>
                    <a:gd name="connsiteX5" fmla="*/ 317737 w 515902"/>
                    <a:gd name="connsiteY5" fmla="*/ 12507 h 458999"/>
                    <a:gd name="connsiteX6" fmla="*/ 330437 w 515902"/>
                    <a:gd name="connsiteY6" fmla="*/ 114107 h 458999"/>
                    <a:gd name="connsiteX7" fmla="*/ 451087 w 515902"/>
                    <a:gd name="connsiteY7" fmla="*/ 161732 h 458999"/>
                    <a:gd name="connsiteX8" fmla="*/ 514587 w 515902"/>
                    <a:gd name="connsiteY8" fmla="*/ 231582 h 458999"/>
                    <a:gd name="connsiteX9" fmla="*/ 511412 w 515902"/>
                    <a:gd name="connsiteY9" fmla="*/ 453832 h 458999"/>
                    <a:gd name="connsiteX10" fmla="*/ 9762 w 515902"/>
                    <a:gd name="connsiteY10" fmla="*/ 447482 h 458999"/>
                    <a:gd name="connsiteX0" fmla="*/ 9762 w 515902"/>
                    <a:gd name="connsiteY0" fmla="*/ 446348 h 457865"/>
                    <a:gd name="connsiteX1" fmla="*/ 6587 w 515902"/>
                    <a:gd name="connsiteY1" fmla="*/ 220923 h 457865"/>
                    <a:gd name="connsiteX2" fmla="*/ 76437 w 515902"/>
                    <a:gd name="connsiteY2" fmla="*/ 157423 h 457865"/>
                    <a:gd name="connsiteX3" fmla="*/ 200262 w 515902"/>
                    <a:gd name="connsiteY3" fmla="*/ 119323 h 457865"/>
                    <a:gd name="connsiteX4" fmla="*/ 206612 w 515902"/>
                    <a:gd name="connsiteY4" fmla="*/ 14548 h 457865"/>
                    <a:gd name="connsiteX5" fmla="*/ 317737 w 515902"/>
                    <a:gd name="connsiteY5" fmla="*/ 11373 h 457865"/>
                    <a:gd name="connsiteX6" fmla="*/ 330437 w 515902"/>
                    <a:gd name="connsiteY6" fmla="*/ 112973 h 457865"/>
                    <a:gd name="connsiteX7" fmla="*/ 451087 w 515902"/>
                    <a:gd name="connsiteY7" fmla="*/ 160598 h 457865"/>
                    <a:gd name="connsiteX8" fmla="*/ 514587 w 515902"/>
                    <a:gd name="connsiteY8" fmla="*/ 230448 h 457865"/>
                    <a:gd name="connsiteX9" fmla="*/ 511412 w 515902"/>
                    <a:gd name="connsiteY9" fmla="*/ 452698 h 457865"/>
                    <a:gd name="connsiteX10" fmla="*/ 9762 w 515902"/>
                    <a:gd name="connsiteY10" fmla="*/ 446348 h 457865"/>
                    <a:gd name="connsiteX0" fmla="*/ 9762 w 515902"/>
                    <a:gd name="connsiteY0" fmla="*/ 446681 h 458198"/>
                    <a:gd name="connsiteX1" fmla="*/ 6587 w 515902"/>
                    <a:gd name="connsiteY1" fmla="*/ 221256 h 458198"/>
                    <a:gd name="connsiteX2" fmla="*/ 76437 w 515902"/>
                    <a:gd name="connsiteY2" fmla="*/ 157756 h 458198"/>
                    <a:gd name="connsiteX3" fmla="*/ 200262 w 515902"/>
                    <a:gd name="connsiteY3" fmla="*/ 119656 h 458198"/>
                    <a:gd name="connsiteX4" fmla="*/ 206612 w 515902"/>
                    <a:gd name="connsiteY4" fmla="*/ 14881 h 458198"/>
                    <a:gd name="connsiteX5" fmla="*/ 317737 w 515902"/>
                    <a:gd name="connsiteY5" fmla="*/ 11706 h 458198"/>
                    <a:gd name="connsiteX6" fmla="*/ 311502 w 515902"/>
                    <a:gd name="connsiteY6" fmla="*/ 118302 h 458198"/>
                    <a:gd name="connsiteX7" fmla="*/ 451087 w 515902"/>
                    <a:gd name="connsiteY7" fmla="*/ 160931 h 458198"/>
                    <a:gd name="connsiteX8" fmla="*/ 514587 w 515902"/>
                    <a:gd name="connsiteY8" fmla="*/ 230781 h 458198"/>
                    <a:gd name="connsiteX9" fmla="*/ 511412 w 515902"/>
                    <a:gd name="connsiteY9" fmla="*/ 453031 h 458198"/>
                    <a:gd name="connsiteX10" fmla="*/ 9762 w 515902"/>
                    <a:gd name="connsiteY10" fmla="*/ 446681 h 458198"/>
                    <a:gd name="connsiteX0" fmla="*/ 9762 w 515902"/>
                    <a:gd name="connsiteY0" fmla="*/ 446681 h 458198"/>
                    <a:gd name="connsiteX1" fmla="*/ 6587 w 515902"/>
                    <a:gd name="connsiteY1" fmla="*/ 221256 h 458198"/>
                    <a:gd name="connsiteX2" fmla="*/ 76437 w 515902"/>
                    <a:gd name="connsiteY2" fmla="*/ 157756 h 458198"/>
                    <a:gd name="connsiteX3" fmla="*/ 200262 w 515902"/>
                    <a:gd name="connsiteY3" fmla="*/ 119656 h 458198"/>
                    <a:gd name="connsiteX4" fmla="*/ 206612 w 515902"/>
                    <a:gd name="connsiteY4" fmla="*/ 14881 h 458198"/>
                    <a:gd name="connsiteX5" fmla="*/ 301506 w 515902"/>
                    <a:gd name="connsiteY5" fmla="*/ 11706 h 458198"/>
                    <a:gd name="connsiteX6" fmla="*/ 311502 w 515902"/>
                    <a:gd name="connsiteY6" fmla="*/ 118302 h 458198"/>
                    <a:gd name="connsiteX7" fmla="*/ 451087 w 515902"/>
                    <a:gd name="connsiteY7" fmla="*/ 160931 h 458198"/>
                    <a:gd name="connsiteX8" fmla="*/ 514587 w 515902"/>
                    <a:gd name="connsiteY8" fmla="*/ 230781 h 458198"/>
                    <a:gd name="connsiteX9" fmla="*/ 511412 w 515902"/>
                    <a:gd name="connsiteY9" fmla="*/ 453031 h 458198"/>
                    <a:gd name="connsiteX10" fmla="*/ 9762 w 515902"/>
                    <a:gd name="connsiteY10" fmla="*/ 446681 h 458198"/>
                    <a:gd name="connsiteX0" fmla="*/ 9762 w 515902"/>
                    <a:gd name="connsiteY0" fmla="*/ 446681 h 458198"/>
                    <a:gd name="connsiteX1" fmla="*/ 6587 w 515902"/>
                    <a:gd name="connsiteY1" fmla="*/ 221256 h 458198"/>
                    <a:gd name="connsiteX2" fmla="*/ 76437 w 515902"/>
                    <a:gd name="connsiteY2" fmla="*/ 157756 h 458198"/>
                    <a:gd name="connsiteX3" fmla="*/ 200262 w 515902"/>
                    <a:gd name="connsiteY3" fmla="*/ 119656 h 458198"/>
                    <a:gd name="connsiteX4" fmla="*/ 206612 w 515902"/>
                    <a:gd name="connsiteY4" fmla="*/ 14881 h 458198"/>
                    <a:gd name="connsiteX5" fmla="*/ 301506 w 515902"/>
                    <a:gd name="connsiteY5" fmla="*/ 11706 h 458198"/>
                    <a:gd name="connsiteX6" fmla="*/ 311502 w 515902"/>
                    <a:gd name="connsiteY6" fmla="*/ 118302 h 458198"/>
                    <a:gd name="connsiteX7" fmla="*/ 442972 w 515902"/>
                    <a:gd name="connsiteY7" fmla="*/ 180912 h 458198"/>
                    <a:gd name="connsiteX8" fmla="*/ 514587 w 515902"/>
                    <a:gd name="connsiteY8" fmla="*/ 230781 h 458198"/>
                    <a:gd name="connsiteX9" fmla="*/ 511412 w 515902"/>
                    <a:gd name="connsiteY9" fmla="*/ 453031 h 458198"/>
                    <a:gd name="connsiteX10" fmla="*/ 9762 w 515902"/>
                    <a:gd name="connsiteY10" fmla="*/ 446681 h 458198"/>
                    <a:gd name="connsiteX0" fmla="*/ 9762 w 511905"/>
                    <a:gd name="connsiteY0" fmla="*/ 446681 h 458198"/>
                    <a:gd name="connsiteX1" fmla="*/ 6587 w 511905"/>
                    <a:gd name="connsiteY1" fmla="*/ 221256 h 458198"/>
                    <a:gd name="connsiteX2" fmla="*/ 76437 w 511905"/>
                    <a:gd name="connsiteY2" fmla="*/ 157756 h 458198"/>
                    <a:gd name="connsiteX3" fmla="*/ 200262 w 511905"/>
                    <a:gd name="connsiteY3" fmla="*/ 119656 h 458198"/>
                    <a:gd name="connsiteX4" fmla="*/ 206612 w 511905"/>
                    <a:gd name="connsiteY4" fmla="*/ 14881 h 458198"/>
                    <a:gd name="connsiteX5" fmla="*/ 301506 w 511905"/>
                    <a:gd name="connsiteY5" fmla="*/ 11706 h 458198"/>
                    <a:gd name="connsiteX6" fmla="*/ 311502 w 511905"/>
                    <a:gd name="connsiteY6" fmla="*/ 118302 h 458198"/>
                    <a:gd name="connsiteX7" fmla="*/ 442972 w 511905"/>
                    <a:gd name="connsiteY7" fmla="*/ 180912 h 458198"/>
                    <a:gd name="connsiteX8" fmla="*/ 498357 w 511905"/>
                    <a:gd name="connsiteY8" fmla="*/ 250762 h 458198"/>
                    <a:gd name="connsiteX9" fmla="*/ 511412 w 511905"/>
                    <a:gd name="connsiteY9" fmla="*/ 453031 h 458198"/>
                    <a:gd name="connsiteX10" fmla="*/ 9762 w 511905"/>
                    <a:gd name="connsiteY10" fmla="*/ 446681 h 458198"/>
                    <a:gd name="connsiteX0" fmla="*/ 9762 w 511905"/>
                    <a:gd name="connsiteY0" fmla="*/ 446681 h 458198"/>
                    <a:gd name="connsiteX1" fmla="*/ 6587 w 511905"/>
                    <a:gd name="connsiteY1" fmla="*/ 221256 h 458198"/>
                    <a:gd name="connsiteX2" fmla="*/ 76437 w 511905"/>
                    <a:gd name="connsiteY2" fmla="*/ 157756 h 458198"/>
                    <a:gd name="connsiteX3" fmla="*/ 200262 w 511905"/>
                    <a:gd name="connsiteY3" fmla="*/ 119656 h 458198"/>
                    <a:gd name="connsiteX4" fmla="*/ 206612 w 511905"/>
                    <a:gd name="connsiteY4" fmla="*/ 14881 h 458198"/>
                    <a:gd name="connsiteX5" fmla="*/ 301506 w 511905"/>
                    <a:gd name="connsiteY5" fmla="*/ 11706 h 458198"/>
                    <a:gd name="connsiteX6" fmla="*/ 311502 w 511905"/>
                    <a:gd name="connsiteY6" fmla="*/ 118302 h 458198"/>
                    <a:gd name="connsiteX7" fmla="*/ 437562 w 511905"/>
                    <a:gd name="connsiteY7" fmla="*/ 198396 h 458198"/>
                    <a:gd name="connsiteX8" fmla="*/ 498357 w 511905"/>
                    <a:gd name="connsiteY8" fmla="*/ 250762 h 458198"/>
                    <a:gd name="connsiteX9" fmla="*/ 511412 w 511905"/>
                    <a:gd name="connsiteY9" fmla="*/ 453031 h 458198"/>
                    <a:gd name="connsiteX10" fmla="*/ 9762 w 511905"/>
                    <a:gd name="connsiteY10" fmla="*/ 446681 h 458198"/>
                    <a:gd name="connsiteX0" fmla="*/ 9762 w 511905"/>
                    <a:gd name="connsiteY0" fmla="*/ 446681 h 458198"/>
                    <a:gd name="connsiteX1" fmla="*/ 6587 w 511905"/>
                    <a:gd name="connsiteY1" fmla="*/ 221256 h 458198"/>
                    <a:gd name="connsiteX2" fmla="*/ 76437 w 511905"/>
                    <a:gd name="connsiteY2" fmla="*/ 157756 h 458198"/>
                    <a:gd name="connsiteX3" fmla="*/ 200262 w 511905"/>
                    <a:gd name="connsiteY3" fmla="*/ 119656 h 458198"/>
                    <a:gd name="connsiteX4" fmla="*/ 206612 w 511905"/>
                    <a:gd name="connsiteY4" fmla="*/ 14881 h 458198"/>
                    <a:gd name="connsiteX5" fmla="*/ 301506 w 511905"/>
                    <a:gd name="connsiteY5" fmla="*/ 11706 h 458198"/>
                    <a:gd name="connsiteX6" fmla="*/ 311502 w 511905"/>
                    <a:gd name="connsiteY6" fmla="*/ 118302 h 458198"/>
                    <a:gd name="connsiteX7" fmla="*/ 451087 w 511905"/>
                    <a:gd name="connsiteY7" fmla="*/ 188406 h 458198"/>
                    <a:gd name="connsiteX8" fmla="*/ 498357 w 511905"/>
                    <a:gd name="connsiteY8" fmla="*/ 250762 h 458198"/>
                    <a:gd name="connsiteX9" fmla="*/ 511412 w 511905"/>
                    <a:gd name="connsiteY9" fmla="*/ 453031 h 458198"/>
                    <a:gd name="connsiteX10" fmla="*/ 9762 w 511905"/>
                    <a:gd name="connsiteY10" fmla="*/ 446681 h 458198"/>
                    <a:gd name="connsiteX0" fmla="*/ 9762 w 511905"/>
                    <a:gd name="connsiteY0" fmla="*/ 447695 h 459212"/>
                    <a:gd name="connsiteX1" fmla="*/ 6587 w 511905"/>
                    <a:gd name="connsiteY1" fmla="*/ 222270 h 459212"/>
                    <a:gd name="connsiteX2" fmla="*/ 76437 w 511905"/>
                    <a:gd name="connsiteY2" fmla="*/ 158770 h 459212"/>
                    <a:gd name="connsiteX3" fmla="*/ 200262 w 511905"/>
                    <a:gd name="connsiteY3" fmla="*/ 120670 h 459212"/>
                    <a:gd name="connsiteX4" fmla="*/ 206612 w 511905"/>
                    <a:gd name="connsiteY4" fmla="*/ 15895 h 459212"/>
                    <a:gd name="connsiteX5" fmla="*/ 301506 w 511905"/>
                    <a:gd name="connsiteY5" fmla="*/ 12720 h 459212"/>
                    <a:gd name="connsiteX6" fmla="*/ 311502 w 511905"/>
                    <a:gd name="connsiteY6" fmla="*/ 134302 h 459212"/>
                    <a:gd name="connsiteX7" fmla="*/ 451087 w 511905"/>
                    <a:gd name="connsiteY7" fmla="*/ 189420 h 459212"/>
                    <a:gd name="connsiteX8" fmla="*/ 498357 w 511905"/>
                    <a:gd name="connsiteY8" fmla="*/ 251776 h 459212"/>
                    <a:gd name="connsiteX9" fmla="*/ 511412 w 511905"/>
                    <a:gd name="connsiteY9" fmla="*/ 454045 h 459212"/>
                    <a:gd name="connsiteX10" fmla="*/ 9762 w 511905"/>
                    <a:gd name="connsiteY10" fmla="*/ 447695 h 459212"/>
                    <a:gd name="connsiteX0" fmla="*/ 4227 w 522600"/>
                    <a:gd name="connsiteY0" fmla="*/ 455188 h 463021"/>
                    <a:gd name="connsiteX1" fmla="*/ 17282 w 522600"/>
                    <a:gd name="connsiteY1" fmla="*/ 222270 h 463021"/>
                    <a:gd name="connsiteX2" fmla="*/ 87132 w 522600"/>
                    <a:gd name="connsiteY2" fmla="*/ 158770 h 463021"/>
                    <a:gd name="connsiteX3" fmla="*/ 210957 w 522600"/>
                    <a:gd name="connsiteY3" fmla="*/ 120670 h 463021"/>
                    <a:gd name="connsiteX4" fmla="*/ 217307 w 522600"/>
                    <a:gd name="connsiteY4" fmla="*/ 15895 h 463021"/>
                    <a:gd name="connsiteX5" fmla="*/ 312201 w 522600"/>
                    <a:gd name="connsiteY5" fmla="*/ 12720 h 463021"/>
                    <a:gd name="connsiteX6" fmla="*/ 322197 w 522600"/>
                    <a:gd name="connsiteY6" fmla="*/ 134302 h 463021"/>
                    <a:gd name="connsiteX7" fmla="*/ 461782 w 522600"/>
                    <a:gd name="connsiteY7" fmla="*/ 189420 h 463021"/>
                    <a:gd name="connsiteX8" fmla="*/ 509052 w 522600"/>
                    <a:gd name="connsiteY8" fmla="*/ 251776 h 463021"/>
                    <a:gd name="connsiteX9" fmla="*/ 522107 w 522600"/>
                    <a:gd name="connsiteY9" fmla="*/ 454045 h 463021"/>
                    <a:gd name="connsiteX10" fmla="*/ 4227 w 522600"/>
                    <a:gd name="connsiteY10" fmla="*/ 455188 h 463021"/>
                    <a:gd name="connsiteX0" fmla="*/ 4227 w 522600"/>
                    <a:gd name="connsiteY0" fmla="*/ 455188 h 457596"/>
                    <a:gd name="connsiteX1" fmla="*/ 17282 w 522600"/>
                    <a:gd name="connsiteY1" fmla="*/ 222270 h 457596"/>
                    <a:gd name="connsiteX2" fmla="*/ 87132 w 522600"/>
                    <a:gd name="connsiteY2" fmla="*/ 158770 h 457596"/>
                    <a:gd name="connsiteX3" fmla="*/ 210957 w 522600"/>
                    <a:gd name="connsiteY3" fmla="*/ 120670 h 457596"/>
                    <a:gd name="connsiteX4" fmla="*/ 217307 w 522600"/>
                    <a:gd name="connsiteY4" fmla="*/ 15895 h 457596"/>
                    <a:gd name="connsiteX5" fmla="*/ 312201 w 522600"/>
                    <a:gd name="connsiteY5" fmla="*/ 12720 h 457596"/>
                    <a:gd name="connsiteX6" fmla="*/ 322197 w 522600"/>
                    <a:gd name="connsiteY6" fmla="*/ 134302 h 457596"/>
                    <a:gd name="connsiteX7" fmla="*/ 461782 w 522600"/>
                    <a:gd name="connsiteY7" fmla="*/ 189420 h 457596"/>
                    <a:gd name="connsiteX8" fmla="*/ 509052 w 522600"/>
                    <a:gd name="connsiteY8" fmla="*/ 251776 h 457596"/>
                    <a:gd name="connsiteX9" fmla="*/ 522107 w 522600"/>
                    <a:gd name="connsiteY9" fmla="*/ 454045 h 457596"/>
                    <a:gd name="connsiteX10" fmla="*/ 4227 w 522600"/>
                    <a:gd name="connsiteY10" fmla="*/ 455188 h 457596"/>
                    <a:gd name="connsiteX0" fmla="*/ 12757 w 531130"/>
                    <a:gd name="connsiteY0" fmla="*/ 455188 h 457596"/>
                    <a:gd name="connsiteX1" fmla="*/ 6876 w 531130"/>
                    <a:gd name="connsiteY1" fmla="*/ 237256 h 457596"/>
                    <a:gd name="connsiteX2" fmla="*/ 95662 w 531130"/>
                    <a:gd name="connsiteY2" fmla="*/ 158770 h 457596"/>
                    <a:gd name="connsiteX3" fmla="*/ 219487 w 531130"/>
                    <a:gd name="connsiteY3" fmla="*/ 120670 h 457596"/>
                    <a:gd name="connsiteX4" fmla="*/ 225837 w 531130"/>
                    <a:gd name="connsiteY4" fmla="*/ 15895 h 457596"/>
                    <a:gd name="connsiteX5" fmla="*/ 320731 w 531130"/>
                    <a:gd name="connsiteY5" fmla="*/ 12720 h 457596"/>
                    <a:gd name="connsiteX6" fmla="*/ 330727 w 531130"/>
                    <a:gd name="connsiteY6" fmla="*/ 134302 h 457596"/>
                    <a:gd name="connsiteX7" fmla="*/ 470312 w 531130"/>
                    <a:gd name="connsiteY7" fmla="*/ 189420 h 457596"/>
                    <a:gd name="connsiteX8" fmla="*/ 517582 w 531130"/>
                    <a:gd name="connsiteY8" fmla="*/ 251776 h 457596"/>
                    <a:gd name="connsiteX9" fmla="*/ 530637 w 531130"/>
                    <a:gd name="connsiteY9" fmla="*/ 454045 h 457596"/>
                    <a:gd name="connsiteX10" fmla="*/ 12757 w 531130"/>
                    <a:gd name="connsiteY10" fmla="*/ 455188 h 457596"/>
                    <a:gd name="connsiteX0" fmla="*/ 7226 w 536419"/>
                    <a:gd name="connsiteY0" fmla="*/ 447695 h 456315"/>
                    <a:gd name="connsiteX1" fmla="*/ 12165 w 536419"/>
                    <a:gd name="connsiteY1" fmla="*/ 237256 h 456315"/>
                    <a:gd name="connsiteX2" fmla="*/ 100951 w 536419"/>
                    <a:gd name="connsiteY2" fmla="*/ 158770 h 456315"/>
                    <a:gd name="connsiteX3" fmla="*/ 224776 w 536419"/>
                    <a:gd name="connsiteY3" fmla="*/ 120670 h 456315"/>
                    <a:gd name="connsiteX4" fmla="*/ 231126 w 536419"/>
                    <a:gd name="connsiteY4" fmla="*/ 15895 h 456315"/>
                    <a:gd name="connsiteX5" fmla="*/ 326020 w 536419"/>
                    <a:gd name="connsiteY5" fmla="*/ 12720 h 456315"/>
                    <a:gd name="connsiteX6" fmla="*/ 336016 w 536419"/>
                    <a:gd name="connsiteY6" fmla="*/ 134302 h 456315"/>
                    <a:gd name="connsiteX7" fmla="*/ 475601 w 536419"/>
                    <a:gd name="connsiteY7" fmla="*/ 189420 h 456315"/>
                    <a:gd name="connsiteX8" fmla="*/ 522871 w 536419"/>
                    <a:gd name="connsiteY8" fmla="*/ 251776 h 456315"/>
                    <a:gd name="connsiteX9" fmla="*/ 535926 w 536419"/>
                    <a:gd name="connsiteY9" fmla="*/ 454045 h 456315"/>
                    <a:gd name="connsiteX10" fmla="*/ 7226 w 536419"/>
                    <a:gd name="connsiteY10" fmla="*/ 447695 h 456315"/>
                    <a:gd name="connsiteX0" fmla="*/ 7226 w 528834"/>
                    <a:gd name="connsiteY0" fmla="*/ 447695 h 456315"/>
                    <a:gd name="connsiteX1" fmla="*/ 12165 w 528834"/>
                    <a:gd name="connsiteY1" fmla="*/ 237256 h 456315"/>
                    <a:gd name="connsiteX2" fmla="*/ 100951 w 528834"/>
                    <a:gd name="connsiteY2" fmla="*/ 158770 h 456315"/>
                    <a:gd name="connsiteX3" fmla="*/ 224776 w 528834"/>
                    <a:gd name="connsiteY3" fmla="*/ 120670 h 456315"/>
                    <a:gd name="connsiteX4" fmla="*/ 231126 w 528834"/>
                    <a:gd name="connsiteY4" fmla="*/ 15895 h 456315"/>
                    <a:gd name="connsiteX5" fmla="*/ 326020 w 528834"/>
                    <a:gd name="connsiteY5" fmla="*/ 12720 h 456315"/>
                    <a:gd name="connsiteX6" fmla="*/ 336016 w 528834"/>
                    <a:gd name="connsiteY6" fmla="*/ 134302 h 456315"/>
                    <a:gd name="connsiteX7" fmla="*/ 475601 w 528834"/>
                    <a:gd name="connsiteY7" fmla="*/ 189420 h 456315"/>
                    <a:gd name="connsiteX8" fmla="*/ 522871 w 528834"/>
                    <a:gd name="connsiteY8" fmla="*/ 251776 h 456315"/>
                    <a:gd name="connsiteX9" fmla="*/ 527811 w 528834"/>
                    <a:gd name="connsiteY9" fmla="*/ 454045 h 456315"/>
                    <a:gd name="connsiteX10" fmla="*/ 7226 w 528834"/>
                    <a:gd name="connsiteY10" fmla="*/ 447695 h 456315"/>
                    <a:gd name="connsiteX0" fmla="*/ 7226 w 528834"/>
                    <a:gd name="connsiteY0" fmla="*/ 447695 h 456315"/>
                    <a:gd name="connsiteX1" fmla="*/ 12165 w 528834"/>
                    <a:gd name="connsiteY1" fmla="*/ 237256 h 456315"/>
                    <a:gd name="connsiteX2" fmla="*/ 100951 w 528834"/>
                    <a:gd name="connsiteY2" fmla="*/ 158770 h 456315"/>
                    <a:gd name="connsiteX3" fmla="*/ 224776 w 528834"/>
                    <a:gd name="connsiteY3" fmla="*/ 120670 h 456315"/>
                    <a:gd name="connsiteX4" fmla="*/ 231126 w 528834"/>
                    <a:gd name="connsiteY4" fmla="*/ 15895 h 456315"/>
                    <a:gd name="connsiteX5" fmla="*/ 326020 w 528834"/>
                    <a:gd name="connsiteY5" fmla="*/ 12720 h 456315"/>
                    <a:gd name="connsiteX6" fmla="*/ 336016 w 528834"/>
                    <a:gd name="connsiteY6" fmla="*/ 134302 h 456315"/>
                    <a:gd name="connsiteX7" fmla="*/ 462076 w 528834"/>
                    <a:gd name="connsiteY7" fmla="*/ 184425 h 456315"/>
                    <a:gd name="connsiteX8" fmla="*/ 522871 w 528834"/>
                    <a:gd name="connsiteY8" fmla="*/ 251776 h 456315"/>
                    <a:gd name="connsiteX9" fmla="*/ 527811 w 528834"/>
                    <a:gd name="connsiteY9" fmla="*/ 454045 h 456315"/>
                    <a:gd name="connsiteX10" fmla="*/ 7226 w 528834"/>
                    <a:gd name="connsiteY10" fmla="*/ 447695 h 456315"/>
                    <a:gd name="connsiteX0" fmla="*/ 8515 w 530123"/>
                    <a:gd name="connsiteY0" fmla="*/ 447695 h 456315"/>
                    <a:gd name="connsiteX1" fmla="*/ 10749 w 530123"/>
                    <a:gd name="connsiteY1" fmla="*/ 244749 h 456315"/>
                    <a:gd name="connsiteX2" fmla="*/ 102240 w 530123"/>
                    <a:gd name="connsiteY2" fmla="*/ 158770 h 456315"/>
                    <a:gd name="connsiteX3" fmla="*/ 226065 w 530123"/>
                    <a:gd name="connsiteY3" fmla="*/ 120670 h 456315"/>
                    <a:gd name="connsiteX4" fmla="*/ 232415 w 530123"/>
                    <a:gd name="connsiteY4" fmla="*/ 15895 h 456315"/>
                    <a:gd name="connsiteX5" fmla="*/ 327309 w 530123"/>
                    <a:gd name="connsiteY5" fmla="*/ 12720 h 456315"/>
                    <a:gd name="connsiteX6" fmla="*/ 337305 w 530123"/>
                    <a:gd name="connsiteY6" fmla="*/ 134302 h 456315"/>
                    <a:gd name="connsiteX7" fmla="*/ 463365 w 530123"/>
                    <a:gd name="connsiteY7" fmla="*/ 184425 h 456315"/>
                    <a:gd name="connsiteX8" fmla="*/ 524160 w 530123"/>
                    <a:gd name="connsiteY8" fmla="*/ 251776 h 456315"/>
                    <a:gd name="connsiteX9" fmla="*/ 529100 w 530123"/>
                    <a:gd name="connsiteY9" fmla="*/ 454045 h 456315"/>
                    <a:gd name="connsiteX10" fmla="*/ 8515 w 530123"/>
                    <a:gd name="connsiteY10" fmla="*/ 447695 h 456315"/>
                    <a:gd name="connsiteX0" fmla="*/ 7671 w 529279"/>
                    <a:gd name="connsiteY0" fmla="*/ 447695 h 456315"/>
                    <a:gd name="connsiteX1" fmla="*/ 9905 w 529279"/>
                    <a:gd name="connsiteY1" fmla="*/ 244749 h 456315"/>
                    <a:gd name="connsiteX2" fmla="*/ 87870 w 529279"/>
                    <a:gd name="connsiteY2" fmla="*/ 166263 h 456315"/>
                    <a:gd name="connsiteX3" fmla="*/ 225221 w 529279"/>
                    <a:gd name="connsiteY3" fmla="*/ 120670 h 456315"/>
                    <a:gd name="connsiteX4" fmla="*/ 231571 w 529279"/>
                    <a:gd name="connsiteY4" fmla="*/ 15895 h 456315"/>
                    <a:gd name="connsiteX5" fmla="*/ 326465 w 529279"/>
                    <a:gd name="connsiteY5" fmla="*/ 12720 h 456315"/>
                    <a:gd name="connsiteX6" fmla="*/ 336461 w 529279"/>
                    <a:gd name="connsiteY6" fmla="*/ 134302 h 456315"/>
                    <a:gd name="connsiteX7" fmla="*/ 462521 w 529279"/>
                    <a:gd name="connsiteY7" fmla="*/ 184425 h 456315"/>
                    <a:gd name="connsiteX8" fmla="*/ 523316 w 529279"/>
                    <a:gd name="connsiteY8" fmla="*/ 251776 h 456315"/>
                    <a:gd name="connsiteX9" fmla="*/ 528256 w 529279"/>
                    <a:gd name="connsiteY9" fmla="*/ 454045 h 456315"/>
                    <a:gd name="connsiteX10" fmla="*/ 7671 w 529279"/>
                    <a:gd name="connsiteY10" fmla="*/ 447695 h 456315"/>
                    <a:gd name="connsiteX0" fmla="*/ 7671 w 529279"/>
                    <a:gd name="connsiteY0" fmla="*/ 447558 h 456178"/>
                    <a:gd name="connsiteX1" fmla="*/ 9905 w 529279"/>
                    <a:gd name="connsiteY1" fmla="*/ 244612 h 456178"/>
                    <a:gd name="connsiteX2" fmla="*/ 87870 w 529279"/>
                    <a:gd name="connsiteY2" fmla="*/ 166126 h 456178"/>
                    <a:gd name="connsiteX3" fmla="*/ 206285 w 529279"/>
                    <a:gd name="connsiteY3" fmla="*/ 118035 h 456178"/>
                    <a:gd name="connsiteX4" fmla="*/ 231571 w 529279"/>
                    <a:gd name="connsiteY4" fmla="*/ 15758 h 456178"/>
                    <a:gd name="connsiteX5" fmla="*/ 326465 w 529279"/>
                    <a:gd name="connsiteY5" fmla="*/ 12583 h 456178"/>
                    <a:gd name="connsiteX6" fmla="*/ 336461 w 529279"/>
                    <a:gd name="connsiteY6" fmla="*/ 134165 h 456178"/>
                    <a:gd name="connsiteX7" fmla="*/ 462521 w 529279"/>
                    <a:gd name="connsiteY7" fmla="*/ 184288 h 456178"/>
                    <a:gd name="connsiteX8" fmla="*/ 523316 w 529279"/>
                    <a:gd name="connsiteY8" fmla="*/ 251639 h 456178"/>
                    <a:gd name="connsiteX9" fmla="*/ 528256 w 529279"/>
                    <a:gd name="connsiteY9" fmla="*/ 453908 h 456178"/>
                    <a:gd name="connsiteX10" fmla="*/ 7671 w 529279"/>
                    <a:gd name="connsiteY10" fmla="*/ 447558 h 456178"/>
                    <a:gd name="connsiteX0" fmla="*/ 14544 w 536152"/>
                    <a:gd name="connsiteY0" fmla="*/ 447558 h 456178"/>
                    <a:gd name="connsiteX1" fmla="*/ 5958 w 536152"/>
                    <a:gd name="connsiteY1" fmla="*/ 247109 h 456178"/>
                    <a:gd name="connsiteX2" fmla="*/ 94743 w 536152"/>
                    <a:gd name="connsiteY2" fmla="*/ 166126 h 456178"/>
                    <a:gd name="connsiteX3" fmla="*/ 213158 w 536152"/>
                    <a:gd name="connsiteY3" fmla="*/ 118035 h 456178"/>
                    <a:gd name="connsiteX4" fmla="*/ 238444 w 536152"/>
                    <a:gd name="connsiteY4" fmla="*/ 15758 h 456178"/>
                    <a:gd name="connsiteX5" fmla="*/ 333338 w 536152"/>
                    <a:gd name="connsiteY5" fmla="*/ 12583 h 456178"/>
                    <a:gd name="connsiteX6" fmla="*/ 343334 w 536152"/>
                    <a:gd name="connsiteY6" fmla="*/ 134165 h 456178"/>
                    <a:gd name="connsiteX7" fmla="*/ 469394 w 536152"/>
                    <a:gd name="connsiteY7" fmla="*/ 184288 h 456178"/>
                    <a:gd name="connsiteX8" fmla="*/ 530189 w 536152"/>
                    <a:gd name="connsiteY8" fmla="*/ 251639 h 456178"/>
                    <a:gd name="connsiteX9" fmla="*/ 535129 w 536152"/>
                    <a:gd name="connsiteY9" fmla="*/ 453908 h 456178"/>
                    <a:gd name="connsiteX10" fmla="*/ 14544 w 536152"/>
                    <a:gd name="connsiteY10" fmla="*/ 447558 h 456178"/>
                    <a:gd name="connsiteX0" fmla="*/ 7226 w 542359"/>
                    <a:gd name="connsiteY0" fmla="*/ 450055 h 456488"/>
                    <a:gd name="connsiteX1" fmla="*/ 12165 w 542359"/>
                    <a:gd name="connsiteY1" fmla="*/ 247109 h 456488"/>
                    <a:gd name="connsiteX2" fmla="*/ 100950 w 542359"/>
                    <a:gd name="connsiteY2" fmla="*/ 166126 h 456488"/>
                    <a:gd name="connsiteX3" fmla="*/ 219365 w 542359"/>
                    <a:gd name="connsiteY3" fmla="*/ 118035 h 456488"/>
                    <a:gd name="connsiteX4" fmla="*/ 244651 w 542359"/>
                    <a:gd name="connsiteY4" fmla="*/ 15758 h 456488"/>
                    <a:gd name="connsiteX5" fmla="*/ 339545 w 542359"/>
                    <a:gd name="connsiteY5" fmla="*/ 12583 h 456488"/>
                    <a:gd name="connsiteX6" fmla="*/ 349541 w 542359"/>
                    <a:gd name="connsiteY6" fmla="*/ 134165 h 456488"/>
                    <a:gd name="connsiteX7" fmla="*/ 475601 w 542359"/>
                    <a:gd name="connsiteY7" fmla="*/ 184288 h 456488"/>
                    <a:gd name="connsiteX8" fmla="*/ 536396 w 542359"/>
                    <a:gd name="connsiteY8" fmla="*/ 251639 h 456488"/>
                    <a:gd name="connsiteX9" fmla="*/ 541336 w 542359"/>
                    <a:gd name="connsiteY9" fmla="*/ 453908 h 456488"/>
                    <a:gd name="connsiteX10" fmla="*/ 7226 w 542359"/>
                    <a:gd name="connsiteY10" fmla="*/ 450055 h 456488"/>
                    <a:gd name="connsiteX0" fmla="*/ 7226 w 542359"/>
                    <a:gd name="connsiteY0" fmla="*/ 450055 h 456488"/>
                    <a:gd name="connsiteX1" fmla="*/ 12165 w 542359"/>
                    <a:gd name="connsiteY1" fmla="*/ 247109 h 456488"/>
                    <a:gd name="connsiteX2" fmla="*/ 100950 w 542359"/>
                    <a:gd name="connsiteY2" fmla="*/ 166126 h 456488"/>
                    <a:gd name="connsiteX3" fmla="*/ 219365 w 542359"/>
                    <a:gd name="connsiteY3" fmla="*/ 118035 h 456488"/>
                    <a:gd name="connsiteX4" fmla="*/ 244651 w 542359"/>
                    <a:gd name="connsiteY4" fmla="*/ 15758 h 456488"/>
                    <a:gd name="connsiteX5" fmla="*/ 331430 w 542359"/>
                    <a:gd name="connsiteY5" fmla="*/ 12583 h 456488"/>
                    <a:gd name="connsiteX6" fmla="*/ 349541 w 542359"/>
                    <a:gd name="connsiteY6" fmla="*/ 134165 h 456488"/>
                    <a:gd name="connsiteX7" fmla="*/ 475601 w 542359"/>
                    <a:gd name="connsiteY7" fmla="*/ 184288 h 456488"/>
                    <a:gd name="connsiteX8" fmla="*/ 536396 w 542359"/>
                    <a:gd name="connsiteY8" fmla="*/ 251639 h 456488"/>
                    <a:gd name="connsiteX9" fmla="*/ 541336 w 542359"/>
                    <a:gd name="connsiteY9" fmla="*/ 453908 h 456488"/>
                    <a:gd name="connsiteX10" fmla="*/ 7226 w 542359"/>
                    <a:gd name="connsiteY10" fmla="*/ 450055 h 456488"/>
                    <a:gd name="connsiteX0" fmla="*/ 7226 w 542359"/>
                    <a:gd name="connsiteY0" fmla="*/ 450055 h 456488"/>
                    <a:gd name="connsiteX1" fmla="*/ 12165 w 542359"/>
                    <a:gd name="connsiteY1" fmla="*/ 247109 h 456488"/>
                    <a:gd name="connsiteX2" fmla="*/ 100950 w 542359"/>
                    <a:gd name="connsiteY2" fmla="*/ 166126 h 456488"/>
                    <a:gd name="connsiteX3" fmla="*/ 219365 w 542359"/>
                    <a:gd name="connsiteY3" fmla="*/ 118035 h 456488"/>
                    <a:gd name="connsiteX4" fmla="*/ 244651 w 542359"/>
                    <a:gd name="connsiteY4" fmla="*/ 15758 h 456488"/>
                    <a:gd name="connsiteX5" fmla="*/ 331430 w 542359"/>
                    <a:gd name="connsiteY5" fmla="*/ 12583 h 456488"/>
                    <a:gd name="connsiteX6" fmla="*/ 349541 w 542359"/>
                    <a:gd name="connsiteY6" fmla="*/ 134165 h 456488"/>
                    <a:gd name="connsiteX7" fmla="*/ 483716 w 542359"/>
                    <a:gd name="connsiteY7" fmla="*/ 179293 h 456488"/>
                    <a:gd name="connsiteX8" fmla="*/ 536396 w 542359"/>
                    <a:gd name="connsiteY8" fmla="*/ 251639 h 456488"/>
                    <a:gd name="connsiteX9" fmla="*/ 541336 w 542359"/>
                    <a:gd name="connsiteY9" fmla="*/ 453908 h 456488"/>
                    <a:gd name="connsiteX10" fmla="*/ 7226 w 542359"/>
                    <a:gd name="connsiteY10" fmla="*/ 450055 h 456488"/>
                    <a:gd name="connsiteX0" fmla="*/ 6630 w 541763"/>
                    <a:gd name="connsiteY0" fmla="*/ 450055 h 456488"/>
                    <a:gd name="connsiteX1" fmla="*/ 11569 w 541763"/>
                    <a:gd name="connsiteY1" fmla="*/ 247109 h 456488"/>
                    <a:gd name="connsiteX2" fmla="*/ 89534 w 541763"/>
                    <a:gd name="connsiteY2" fmla="*/ 166126 h 456488"/>
                    <a:gd name="connsiteX3" fmla="*/ 218769 w 541763"/>
                    <a:gd name="connsiteY3" fmla="*/ 118035 h 456488"/>
                    <a:gd name="connsiteX4" fmla="*/ 244055 w 541763"/>
                    <a:gd name="connsiteY4" fmla="*/ 15758 h 456488"/>
                    <a:gd name="connsiteX5" fmla="*/ 330834 w 541763"/>
                    <a:gd name="connsiteY5" fmla="*/ 12583 h 456488"/>
                    <a:gd name="connsiteX6" fmla="*/ 348945 w 541763"/>
                    <a:gd name="connsiteY6" fmla="*/ 134165 h 456488"/>
                    <a:gd name="connsiteX7" fmla="*/ 483120 w 541763"/>
                    <a:gd name="connsiteY7" fmla="*/ 179293 h 456488"/>
                    <a:gd name="connsiteX8" fmla="*/ 535800 w 541763"/>
                    <a:gd name="connsiteY8" fmla="*/ 251639 h 456488"/>
                    <a:gd name="connsiteX9" fmla="*/ 540740 w 541763"/>
                    <a:gd name="connsiteY9" fmla="*/ 453908 h 456488"/>
                    <a:gd name="connsiteX10" fmla="*/ 6630 w 541763"/>
                    <a:gd name="connsiteY10" fmla="*/ 450055 h 456488"/>
                    <a:gd name="connsiteX0" fmla="*/ 4856 w 539989"/>
                    <a:gd name="connsiteY0" fmla="*/ 450055 h 456488"/>
                    <a:gd name="connsiteX1" fmla="*/ 15205 w 539989"/>
                    <a:gd name="connsiteY1" fmla="*/ 227128 h 456488"/>
                    <a:gd name="connsiteX2" fmla="*/ 87760 w 539989"/>
                    <a:gd name="connsiteY2" fmla="*/ 166126 h 456488"/>
                    <a:gd name="connsiteX3" fmla="*/ 216995 w 539989"/>
                    <a:gd name="connsiteY3" fmla="*/ 118035 h 456488"/>
                    <a:gd name="connsiteX4" fmla="*/ 242281 w 539989"/>
                    <a:gd name="connsiteY4" fmla="*/ 15758 h 456488"/>
                    <a:gd name="connsiteX5" fmla="*/ 329060 w 539989"/>
                    <a:gd name="connsiteY5" fmla="*/ 12583 h 456488"/>
                    <a:gd name="connsiteX6" fmla="*/ 347171 w 539989"/>
                    <a:gd name="connsiteY6" fmla="*/ 134165 h 456488"/>
                    <a:gd name="connsiteX7" fmla="*/ 481346 w 539989"/>
                    <a:gd name="connsiteY7" fmla="*/ 179293 h 456488"/>
                    <a:gd name="connsiteX8" fmla="*/ 534026 w 539989"/>
                    <a:gd name="connsiteY8" fmla="*/ 251639 h 456488"/>
                    <a:gd name="connsiteX9" fmla="*/ 538966 w 539989"/>
                    <a:gd name="connsiteY9" fmla="*/ 453908 h 456488"/>
                    <a:gd name="connsiteX10" fmla="*/ 4856 w 539989"/>
                    <a:gd name="connsiteY10" fmla="*/ 450055 h 4564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39989" h="456488">
                      <a:moveTo>
                        <a:pt x="4856" y="450055"/>
                      </a:moveTo>
                      <a:cubicBezTo>
                        <a:pt x="-5198" y="385497"/>
                        <a:pt x="1388" y="274449"/>
                        <a:pt x="15205" y="227128"/>
                      </a:cubicBezTo>
                      <a:cubicBezTo>
                        <a:pt x="29022" y="179807"/>
                        <a:pt x="54128" y="184308"/>
                        <a:pt x="87760" y="166126"/>
                      </a:cubicBezTo>
                      <a:cubicBezTo>
                        <a:pt x="121392" y="147944"/>
                        <a:pt x="191242" y="143096"/>
                        <a:pt x="216995" y="118035"/>
                      </a:cubicBezTo>
                      <a:cubicBezTo>
                        <a:pt x="242748" y="92974"/>
                        <a:pt x="223604" y="33333"/>
                        <a:pt x="242281" y="15758"/>
                      </a:cubicBezTo>
                      <a:cubicBezTo>
                        <a:pt x="260958" y="-1817"/>
                        <a:pt x="311578" y="-7151"/>
                        <a:pt x="329060" y="12583"/>
                      </a:cubicBezTo>
                      <a:cubicBezTo>
                        <a:pt x="346542" y="32317"/>
                        <a:pt x="321790" y="106380"/>
                        <a:pt x="347171" y="134165"/>
                      </a:cubicBezTo>
                      <a:cubicBezTo>
                        <a:pt x="372552" y="161950"/>
                        <a:pt x="450204" y="159714"/>
                        <a:pt x="481346" y="179293"/>
                      </a:cubicBezTo>
                      <a:cubicBezTo>
                        <a:pt x="512489" y="198872"/>
                        <a:pt x="523972" y="202956"/>
                        <a:pt x="534026" y="251639"/>
                      </a:cubicBezTo>
                      <a:cubicBezTo>
                        <a:pt x="537201" y="301381"/>
                        <a:pt x="542141" y="328496"/>
                        <a:pt x="538966" y="453908"/>
                      </a:cubicBezTo>
                      <a:cubicBezTo>
                        <a:pt x="307191" y="461845"/>
                        <a:pt x="250800" y="448827"/>
                        <a:pt x="4856" y="450055"/>
                      </a:cubicBezTo>
                      <a:close/>
                    </a:path>
                  </a:pathLst>
                </a:custGeom>
                <a:solidFill>
                  <a:schemeClr val="bg1"/>
                </a:solidFill>
                <a:ln w="57150">
                  <a:solidFill>
                    <a:schemeClr val="tx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98" name="Oval 97">
                  <a:extLst>
                    <a:ext uri="{FF2B5EF4-FFF2-40B4-BE49-F238E27FC236}">
                      <a16:creationId xmlns:a16="http://schemas.microsoft.com/office/drawing/2014/main" id="{2B6676E5-12EC-5A48-AADA-21C67B336460}"/>
                    </a:ext>
                  </a:extLst>
                </p:cNvPr>
                <p:cNvSpPr/>
                <p:nvPr/>
              </p:nvSpPr>
              <p:spPr>
                <a:xfrm>
                  <a:off x="1964431" y="3500843"/>
                  <a:ext cx="259337" cy="299858"/>
                </a:xfrm>
                <a:prstGeom prst="ellipse">
                  <a:avLst/>
                </a:prstGeom>
                <a:solidFill>
                  <a:schemeClr val="bg1"/>
                </a:solidFill>
                <a:ln w="57150">
                  <a:solidFill>
                    <a:schemeClr val="tx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grpSp>
        </p:grpSp>
        <p:grpSp>
          <p:nvGrpSpPr>
            <p:cNvPr id="89" name="Group 88">
              <a:extLst>
                <a:ext uri="{FF2B5EF4-FFF2-40B4-BE49-F238E27FC236}">
                  <a16:creationId xmlns:a16="http://schemas.microsoft.com/office/drawing/2014/main" id="{B7293541-9DF4-6948-945F-6620C036BA12}"/>
                </a:ext>
              </a:extLst>
            </p:cNvPr>
            <p:cNvGrpSpPr/>
            <p:nvPr/>
          </p:nvGrpSpPr>
          <p:grpSpPr>
            <a:xfrm>
              <a:off x="2495712" y="4589934"/>
              <a:ext cx="1256698" cy="510604"/>
              <a:chOff x="2495712" y="4589934"/>
              <a:chExt cx="1256698" cy="510604"/>
            </a:xfrm>
            <a:solidFill>
              <a:schemeClr val="tx1">
                <a:lumMod val="50000"/>
              </a:schemeClr>
            </a:solidFill>
          </p:grpSpPr>
          <p:sp>
            <p:nvSpPr>
              <p:cNvPr id="91" name="Rounded Rectangle 90">
                <a:extLst>
                  <a:ext uri="{FF2B5EF4-FFF2-40B4-BE49-F238E27FC236}">
                    <a16:creationId xmlns:a16="http://schemas.microsoft.com/office/drawing/2014/main" id="{848548F6-ABD7-2A42-8755-CFD5079A4E6C}"/>
                  </a:ext>
                </a:extLst>
              </p:cNvPr>
              <p:cNvSpPr/>
              <p:nvPr/>
            </p:nvSpPr>
            <p:spPr>
              <a:xfrm>
                <a:off x="2495712" y="4589934"/>
                <a:ext cx="1256697" cy="251941"/>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92" name="Rectangle 91">
                <a:extLst>
                  <a:ext uri="{FF2B5EF4-FFF2-40B4-BE49-F238E27FC236}">
                    <a16:creationId xmlns:a16="http://schemas.microsoft.com/office/drawing/2014/main" id="{058F4319-33F8-1C48-B81A-AD934A584371}"/>
                  </a:ext>
                </a:extLst>
              </p:cNvPr>
              <p:cNvSpPr/>
              <p:nvPr/>
            </p:nvSpPr>
            <p:spPr>
              <a:xfrm>
                <a:off x="2498725" y="4797790"/>
                <a:ext cx="1253685" cy="13315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93" name="Rectangle 92">
                <a:extLst>
                  <a:ext uri="{FF2B5EF4-FFF2-40B4-BE49-F238E27FC236}">
                    <a16:creationId xmlns:a16="http://schemas.microsoft.com/office/drawing/2014/main" id="{55DFAFA2-68B5-2D41-816C-B31204028800}"/>
                  </a:ext>
                </a:extLst>
              </p:cNvPr>
              <p:cNvSpPr/>
              <p:nvPr/>
            </p:nvSpPr>
            <p:spPr>
              <a:xfrm>
                <a:off x="2546350" y="4923041"/>
                <a:ext cx="109152" cy="17749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94" name="Rectangle 93">
                <a:extLst>
                  <a:ext uri="{FF2B5EF4-FFF2-40B4-BE49-F238E27FC236}">
                    <a16:creationId xmlns:a16="http://schemas.microsoft.com/office/drawing/2014/main" id="{580C79DA-C793-864D-9303-9FD1A2155700}"/>
                  </a:ext>
                </a:extLst>
              </p:cNvPr>
              <p:cNvSpPr/>
              <p:nvPr/>
            </p:nvSpPr>
            <p:spPr>
              <a:xfrm>
                <a:off x="3610945" y="4923041"/>
                <a:ext cx="109152" cy="17749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grpSp>
        <p:sp>
          <p:nvSpPr>
            <p:cNvPr id="90" name="Trapezoid 89">
              <a:extLst>
                <a:ext uri="{FF2B5EF4-FFF2-40B4-BE49-F238E27FC236}">
                  <a16:creationId xmlns:a16="http://schemas.microsoft.com/office/drawing/2014/main" id="{4788C89A-223B-EC4D-8BE8-E374E1C69D95}"/>
                </a:ext>
              </a:extLst>
            </p:cNvPr>
            <p:cNvSpPr/>
            <p:nvPr/>
          </p:nvSpPr>
          <p:spPr>
            <a:xfrm>
              <a:off x="2655502" y="4181475"/>
              <a:ext cx="958850" cy="363303"/>
            </a:xfrm>
            <a:prstGeom prst="trapezoid">
              <a:avLst/>
            </a:prstGeom>
            <a:solidFill>
              <a:schemeClr val="tx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grpSp>
      <p:grpSp>
        <p:nvGrpSpPr>
          <p:cNvPr id="101" name="Group 100">
            <a:extLst>
              <a:ext uri="{FF2B5EF4-FFF2-40B4-BE49-F238E27FC236}">
                <a16:creationId xmlns:a16="http://schemas.microsoft.com/office/drawing/2014/main" id="{69F0B2E4-8AF2-CC40-95E8-E9159AEDF6BD}"/>
              </a:ext>
            </a:extLst>
          </p:cNvPr>
          <p:cNvGrpSpPr/>
          <p:nvPr/>
        </p:nvGrpSpPr>
        <p:grpSpPr>
          <a:xfrm>
            <a:off x="11648342" y="2683659"/>
            <a:ext cx="1025213" cy="1261037"/>
            <a:chOff x="2441771" y="3385414"/>
            <a:chExt cx="1325481" cy="1781019"/>
          </a:xfrm>
        </p:grpSpPr>
        <p:pic>
          <p:nvPicPr>
            <p:cNvPr id="102" name="Picture 101">
              <a:extLst>
                <a:ext uri="{FF2B5EF4-FFF2-40B4-BE49-F238E27FC236}">
                  <a16:creationId xmlns:a16="http://schemas.microsoft.com/office/drawing/2014/main" id="{16D8AA6E-1AB4-FB4A-B7E2-E33B448D0316}"/>
                </a:ext>
              </a:extLst>
            </p:cNvPr>
            <p:cNvPicPr>
              <a:picLocks noChangeAspect="1"/>
            </p:cNvPicPr>
            <p:nvPr/>
          </p:nvPicPr>
          <p:blipFill rotWithShape="1">
            <a:blip r:embed="rId2"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a:xfrm>
              <a:off x="2441771" y="3385414"/>
              <a:ext cx="1325481" cy="1781019"/>
            </a:xfrm>
            <a:prstGeom prst="rect">
              <a:avLst/>
            </a:prstGeom>
          </p:spPr>
        </p:pic>
        <p:sp>
          <p:nvSpPr>
            <p:cNvPr id="103" name="Rounded Rectangle 102">
              <a:extLst>
                <a:ext uri="{FF2B5EF4-FFF2-40B4-BE49-F238E27FC236}">
                  <a16:creationId xmlns:a16="http://schemas.microsoft.com/office/drawing/2014/main" id="{4C8296AB-8B4F-A247-92F2-5844E73B63D5}"/>
                </a:ext>
              </a:extLst>
            </p:cNvPr>
            <p:cNvSpPr/>
            <p:nvPr/>
          </p:nvSpPr>
          <p:spPr>
            <a:xfrm>
              <a:off x="2655502" y="3670300"/>
              <a:ext cx="958850" cy="436656"/>
            </a:xfrm>
            <a:prstGeom prst="roundRect">
              <a:avLst/>
            </a:prstGeom>
            <a:solidFill>
              <a:schemeClr val="tx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grpSp>
          <p:nvGrpSpPr>
            <p:cNvPr id="104" name="Group 103">
              <a:extLst>
                <a:ext uri="{FF2B5EF4-FFF2-40B4-BE49-F238E27FC236}">
                  <a16:creationId xmlns:a16="http://schemas.microsoft.com/office/drawing/2014/main" id="{06C8C480-D88F-3D4E-BB3E-11B0CF444C7A}"/>
                </a:ext>
              </a:extLst>
            </p:cNvPr>
            <p:cNvGrpSpPr/>
            <p:nvPr/>
          </p:nvGrpSpPr>
          <p:grpSpPr>
            <a:xfrm>
              <a:off x="2776471" y="3456093"/>
              <a:ext cx="748710" cy="1056883"/>
              <a:chOff x="1496718" y="3334932"/>
              <a:chExt cx="748710" cy="1056883"/>
            </a:xfrm>
          </p:grpSpPr>
          <p:grpSp>
            <p:nvGrpSpPr>
              <p:cNvPr id="111" name="Group 110">
                <a:extLst>
                  <a:ext uri="{FF2B5EF4-FFF2-40B4-BE49-F238E27FC236}">
                    <a16:creationId xmlns:a16="http://schemas.microsoft.com/office/drawing/2014/main" id="{8A997402-D71C-0C4F-86D3-91829FDBB220}"/>
                  </a:ext>
                </a:extLst>
              </p:cNvPr>
              <p:cNvGrpSpPr/>
              <p:nvPr/>
            </p:nvGrpSpPr>
            <p:grpSpPr>
              <a:xfrm>
                <a:off x="1496718" y="3334932"/>
                <a:ext cx="748710" cy="1056883"/>
                <a:chOff x="1843570" y="3508300"/>
                <a:chExt cx="514980" cy="727982"/>
              </a:xfrm>
              <a:solidFill>
                <a:schemeClr val="bg1"/>
              </a:solidFill>
            </p:grpSpPr>
            <p:sp>
              <p:nvSpPr>
                <p:cNvPr id="115" name="Freeform 114">
                  <a:extLst>
                    <a:ext uri="{FF2B5EF4-FFF2-40B4-BE49-F238E27FC236}">
                      <a16:creationId xmlns:a16="http://schemas.microsoft.com/office/drawing/2014/main" id="{89CE2BFB-642F-A24D-85DE-F9D55747C0D9}"/>
                    </a:ext>
                  </a:extLst>
                </p:cNvPr>
                <p:cNvSpPr/>
                <p:nvPr/>
              </p:nvSpPr>
              <p:spPr>
                <a:xfrm>
                  <a:off x="1843570" y="3787509"/>
                  <a:ext cx="514980" cy="448773"/>
                </a:xfrm>
                <a:custGeom>
                  <a:avLst/>
                  <a:gdLst>
                    <a:gd name="connsiteX0" fmla="*/ 36807 w 576731"/>
                    <a:gd name="connsiteY0" fmla="*/ 449906 h 505924"/>
                    <a:gd name="connsiteX1" fmla="*/ 39982 w 576731"/>
                    <a:gd name="connsiteY1" fmla="*/ 214956 h 505924"/>
                    <a:gd name="connsiteX2" fmla="*/ 55857 w 576731"/>
                    <a:gd name="connsiteY2" fmla="*/ 176856 h 505924"/>
                    <a:gd name="connsiteX3" fmla="*/ 103482 w 576731"/>
                    <a:gd name="connsiteY3" fmla="*/ 160981 h 505924"/>
                    <a:gd name="connsiteX4" fmla="*/ 205082 w 576731"/>
                    <a:gd name="connsiteY4" fmla="*/ 154631 h 505924"/>
                    <a:gd name="connsiteX5" fmla="*/ 230482 w 576731"/>
                    <a:gd name="connsiteY5" fmla="*/ 151456 h 505924"/>
                    <a:gd name="connsiteX6" fmla="*/ 233657 w 576731"/>
                    <a:gd name="connsiteY6" fmla="*/ 18106 h 505924"/>
                    <a:gd name="connsiteX7" fmla="*/ 344782 w 576731"/>
                    <a:gd name="connsiteY7" fmla="*/ 14931 h 505924"/>
                    <a:gd name="connsiteX8" fmla="*/ 344782 w 576731"/>
                    <a:gd name="connsiteY8" fmla="*/ 145106 h 505924"/>
                    <a:gd name="connsiteX9" fmla="*/ 386057 w 576731"/>
                    <a:gd name="connsiteY9" fmla="*/ 151456 h 505924"/>
                    <a:gd name="connsiteX10" fmla="*/ 478132 w 576731"/>
                    <a:gd name="connsiteY10" fmla="*/ 164156 h 505924"/>
                    <a:gd name="connsiteX11" fmla="*/ 519407 w 576731"/>
                    <a:gd name="connsiteY11" fmla="*/ 189556 h 505924"/>
                    <a:gd name="connsiteX12" fmla="*/ 541632 w 576731"/>
                    <a:gd name="connsiteY12" fmla="*/ 234006 h 505924"/>
                    <a:gd name="connsiteX13" fmla="*/ 538457 w 576731"/>
                    <a:gd name="connsiteY13" fmla="*/ 488006 h 505924"/>
                    <a:gd name="connsiteX14" fmla="*/ 36807 w 576731"/>
                    <a:gd name="connsiteY14" fmla="*/ 449906 h 505924"/>
                    <a:gd name="connsiteX0" fmla="*/ 5769 w 545693"/>
                    <a:gd name="connsiteY0" fmla="*/ 449906 h 505924"/>
                    <a:gd name="connsiteX1" fmla="*/ 8944 w 545693"/>
                    <a:gd name="connsiteY1" fmla="*/ 214956 h 505924"/>
                    <a:gd name="connsiteX2" fmla="*/ 24819 w 545693"/>
                    <a:gd name="connsiteY2" fmla="*/ 176856 h 505924"/>
                    <a:gd name="connsiteX3" fmla="*/ 72444 w 545693"/>
                    <a:gd name="connsiteY3" fmla="*/ 160981 h 505924"/>
                    <a:gd name="connsiteX4" fmla="*/ 174044 w 545693"/>
                    <a:gd name="connsiteY4" fmla="*/ 154631 h 505924"/>
                    <a:gd name="connsiteX5" fmla="*/ 199444 w 545693"/>
                    <a:gd name="connsiteY5" fmla="*/ 151456 h 505924"/>
                    <a:gd name="connsiteX6" fmla="*/ 202619 w 545693"/>
                    <a:gd name="connsiteY6" fmla="*/ 18106 h 505924"/>
                    <a:gd name="connsiteX7" fmla="*/ 313744 w 545693"/>
                    <a:gd name="connsiteY7" fmla="*/ 14931 h 505924"/>
                    <a:gd name="connsiteX8" fmla="*/ 313744 w 545693"/>
                    <a:gd name="connsiteY8" fmla="*/ 145106 h 505924"/>
                    <a:gd name="connsiteX9" fmla="*/ 355019 w 545693"/>
                    <a:gd name="connsiteY9" fmla="*/ 151456 h 505924"/>
                    <a:gd name="connsiteX10" fmla="*/ 447094 w 545693"/>
                    <a:gd name="connsiteY10" fmla="*/ 164156 h 505924"/>
                    <a:gd name="connsiteX11" fmla="*/ 488369 w 545693"/>
                    <a:gd name="connsiteY11" fmla="*/ 189556 h 505924"/>
                    <a:gd name="connsiteX12" fmla="*/ 510594 w 545693"/>
                    <a:gd name="connsiteY12" fmla="*/ 234006 h 505924"/>
                    <a:gd name="connsiteX13" fmla="*/ 507419 w 545693"/>
                    <a:gd name="connsiteY13" fmla="*/ 488006 h 505924"/>
                    <a:gd name="connsiteX14" fmla="*/ 5769 w 545693"/>
                    <a:gd name="connsiteY14" fmla="*/ 449906 h 505924"/>
                    <a:gd name="connsiteX0" fmla="*/ 21286 w 561210"/>
                    <a:gd name="connsiteY0" fmla="*/ 449906 h 508025"/>
                    <a:gd name="connsiteX1" fmla="*/ 24461 w 561210"/>
                    <a:gd name="connsiteY1" fmla="*/ 214956 h 508025"/>
                    <a:gd name="connsiteX2" fmla="*/ 40336 w 561210"/>
                    <a:gd name="connsiteY2" fmla="*/ 176856 h 508025"/>
                    <a:gd name="connsiteX3" fmla="*/ 87961 w 561210"/>
                    <a:gd name="connsiteY3" fmla="*/ 160981 h 508025"/>
                    <a:gd name="connsiteX4" fmla="*/ 189561 w 561210"/>
                    <a:gd name="connsiteY4" fmla="*/ 154631 h 508025"/>
                    <a:gd name="connsiteX5" fmla="*/ 214961 w 561210"/>
                    <a:gd name="connsiteY5" fmla="*/ 151456 h 508025"/>
                    <a:gd name="connsiteX6" fmla="*/ 218136 w 561210"/>
                    <a:gd name="connsiteY6" fmla="*/ 18106 h 508025"/>
                    <a:gd name="connsiteX7" fmla="*/ 329261 w 561210"/>
                    <a:gd name="connsiteY7" fmla="*/ 14931 h 508025"/>
                    <a:gd name="connsiteX8" fmla="*/ 329261 w 561210"/>
                    <a:gd name="connsiteY8" fmla="*/ 145106 h 508025"/>
                    <a:gd name="connsiteX9" fmla="*/ 370536 w 561210"/>
                    <a:gd name="connsiteY9" fmla="*/ 151456 h 508025"/>
                    <a:gd name="connsiteX10" fmla="*/ 462611 w 561210"/>
                    <a:gd name="connsiteY10" fmla="*/ 164156 h 508025"/>
                    <a:gd name="connsiteX11" fmla="*/ 503886 w 561210"/>
                    <a:gd name="connsiteY11" fmla="*/ 189556 h 508025"/>
                    <a:gd name="connsiteX12" fmla="*/ 526111 w 561210"/>
                    <a:gd name="connsiteY12" fmla="*/ 234006 h 508025"/>
                    <a:gd name="connsiteX13" fmla="*/ 522936 w 561210"/>
                    <a:gd name="connsiteY13" fmla="*/ 488006 h 508025"/>
                    <a:gd name="connsiteX14" fmla="*/ 21286 w 561210"/>
                    <a:gd name="connsiteY14" fmla="*/ 449906 h 508025"/>
                    <a:gd name="connsiteX0" fmla="*/ 21286 w 561210"/>
                    <a:gd name="connsiteY0" fmla="*/ 449906 h 508025"/>
                    <a:gd name="connsiteX1" fmla="*/ 24461 w 561210"/>
                    <a:gd name="connsiteY1" fmla="*/ 214956 h 508025"/>
                    <a:gd name="connsiteX2" fmla="*/ 40336 w 561210"/>
                    <a:gd name="connsiteY2" fmla="*/ 176856 h 508025"/>
                    <a:gd name="connsiteX3" fmla="*/ 87961 w 561210"/>
                    <a:gd name="connsiteY3" fmla="*/ 160981 h 508025"/>
                    <a:gd name="connsiteX4" fmla="*/ 189561 w 561210"/>
                    <a:gd name="connsiteY4" fmla="*/ 154631 h 508025"/>
                    <a:gd name="connsiteX5" fmla="*/ 214961 w 561210"/>
                    <a:gd name="connsiteY5" fmla="*/ 151456 h 508025"/>
                    <a:gd name="connsiteX6" fmla="*/ 218136 w 561210"/>
                    <a:gd name="connsiteY6" fmla="*/ 18106 h 508025"/>
                    <a:gd name="connsiteX7" fmla="*/ 329261 w 561210"/>
                    <a:gd name="connsiteY7" fmla="*/ 14931 h 508025"/>
                    <a:gd name="connsiteX8" fmla="*/ 329261 w 561210"/>
                    <a:gd name="connsiteY8" fmla="*/ 145106 h 508025"/>
                    <a:gd name="connsiteX9" fmla="*/ 370536 w 561210"/>
                    <a:gd name="connsiteY9" fmla="*/ 151456 h 508025"/>
                    <a:gd name="connsiteX10" fmla="*/ 462611 w 561210"/>
                    <a:gd name="connsiteY10" fmla="*/ 164156 h 508025"/>
                    <a:gd name="connsiteX11" fmla="*/ 503886 w 561210"/>
                    <a:gd name="connsiteY11" fmla="*/ 189556 h 508025"/>
                    <a:gd name="connsiteX12" fmla="*/ 526111 w 561210"/>
                    <a:gd name="connsiteY12" fmla="*/ 234006 h 508025"/>
                    <a:gd name="connsiteX13" fmla="*/ 522936 w 561210"/>
                    <a:gd name="connsiteY13" fmla="*/ 488006 h 508025"/>
                    <a:gd name="connsiteX14" fmla="*/ 21286 w 561210"/>
                    <a:gd name="connsiteY14" fmla="*/ 449906 h 508025"/>
                    <a:gd name="connsiteX0" fmla="*/ 4360 w 544284"/>
                    <a:gd name="connsiteY0" fmla="*/ 449906 h 508025"/>
                    <a:gd name="connsiteX1" fmla="*/ 7535 w 544284"/>
                    <a:gd name="connsiteY1" fmla="*/ 214956 h 508025"/>
                    <a:gd name="connsiteX2" fmla="*/ 23410 w 544284"/>
                    <a:gd name="connsiteY2" fmla="*/ 176856 h 508025"/>
                    <a:gd name="connsiteX3" fmla="*/ 71035 w 544284"/>
                    <a:gd name="connsiteY3" fmla="*/ 160981 h 508025"/>
                    <a:gd name="connsiteX4" fmla="*/ 172635 w 544284"/>
                    <a:gd name="connsiteY4" fmla="*/ 154631 h 508025"/>
                    <a:gd name="connsiteX5" fmla="*/ 198035 w 544284"/>
                    <a:gd name="connsiteY5" fmla="*/ 151456 h 508025"/>
                    <a:gd name="connsiteX6" fmla="*/ 201210 w 544284"/>
                    <a:gd name="connsiteY6" fmla="*/ 18106 h 508025"/>
                    <a:gd name="connsiteX7" fmla="*/ 312335 w 544284"/>
                    <a:gd name="connsiteY7" fmla="*/ 14931 h 508025"/>
                    <a:gd name="connsiteX8" fmla="*/ 312335 w 544284"/>
                    <a:gd name="connsiteY8" fmla="*/ 145106 h 508025"/>
                    <a:gd name="connsiteX9" fmla="*/ 353610 w 544284"/>
                    <a:gd name="connsiteY9" fmla="*/ 151456 h 508025"/>
                    <a:gd name="connsiteX10" fmla="*/ 445685 w 544284"/>
                    <a:gd name="connsiteY10" fmla="*/ 164156 h 508025"/>
                    <a:gd name="connsiteX11" fmla="*/ 486960 w 544284"/>
                    <a:gd name="connsiteY11" fmla="*/ 189556 h 508025"/>
                    <a:gd name="connsiteX12" fmla="*/ 509185 w 544284"/>
                    <a:gd name="connsiteY12" fmla="*/ 234006 h 508025"/>
                    <a:gd name="connsiteX13" fmla="*/ 506010 w 544284"/>
                    <a:gd name="connsiteY13" fmla="*/ 488006 h 508025"/>
                    <a:gd name="connsiteX14" fmla="*/ 4360 w 544284"/>
                    <a:gd name="connsiteY14" fmla="*/ 449906 h 508025"/>
                    <a:gd name="connsiteX0" fmla="*/ 4360 w 544284"/>
                    <a:gd name="connsiteY0" fmla="*/ 449906 h 500804"/>
                    <a:gd name="connsiteX1" fmla="*/ 7535 w 544284"/>
                    <a:gd name="connsiteY1" fmla="*/ 214956 h 500804"/>
                    <a:gd name="connsiteX2" fmla="*/ 23410 w 544284"/>
                    <a:gd name="connsiteY2" fmla="*/ 176856 h 500804"/>
                    <a:gd name="connsiteX3" fmla="*/ 71035 w 544284"/>
                    <a:gd name="connsiteY3" fmla="*/ 160981 h 500804"/>
                    <a:gd name="connsiteX4" fmla="*/ 172635 w 544284"/>
                    <a:gd name="connsiteY4" fmla="*/ 154631 h 500804"/>
                    <a:gd name="connsiteX5" fmla="*/ 198035 w 544284"/>
                    <a:gd name="connsiteY5" fmla="*/ 151456 h 500804"/>
                    <a:gd name="connsiteX6" fmla="*/ 201210 w 544284"/>
                    <a:gd name="connsiteY6" fmla="*/ 18106 h 500804"/>
                    <a:gd name="connsiteX7" fmla="*/ 312335 w 544284"/>
                    <a:gd name="connsiteY7" fmla="*/ 14931 h 500804"/>
                    <a:gd name="connsiteX8" fmla="*/ 312335 w 544284"/>
                    <a:gd name="connsiteY8" fmla="*/ 145106 h 500804"/>
                    <a:gd name="connsiteX9" fmla="*/ 353610 w 544284"/>
                    <a:gd name="connsiteY9" fmla="*/ 151456 h 500804"/>
                    <a:gd name="connsiteX10" fmla="*/ 445685 w 544284"/>
                    <a:gd name="connsiteY10" fmla="*/ 164156 h 500804"/>
                    <a:gd name="connsiteX11" fmla="*/ 486960 w 544284"/>
                    <a:gd name="connsiteY11" fmla="*/ 189556 h 500804"/>
                    <a:gd name="connsiteX12" fmla="*/ 509185 w 544284"/>
                    <a:gd name="connsiteY12" fmla="*/ 234006 h 500804"/>
                    <a:gd name="connsiteX13" fmla="*/ 506010 w 544284"/>
                    <a:gd name="connsiteY13" fmla="*/ 488006 h 500804"/>
                    <a:gd name="connsiteX14" fmla="*/ 4360 w 544284"/>
                    <a:gd name="connsiteY14" fmla="*/ 449906 h 500804"/>
                    <a:gd name="connsiteX0" fmla="*/ 4360 w 544284"/>
                    <a:gd name="connsiteY0" fmla="*/ 449906 h 500804"/>
                    <a:gd name="connsiteX1" fmla="*/ 7535 w 544284"/>
                    <a:gd name="connsiteY1" fmla="*/ 214956 h 500804"/>
                    <a:gd name="connsiteX2" fmla="*/ 23410 w 544284"/>
                    <a:gd name="connsiteY2" fmla="*/ 176856 h 500804"/>
                    <a:gd name="connsiteX3" fmla="*/ 71035 w 544284"/>
                    <a:gd name="connsiteY3" fmla="*/ 160981 h 500804"/>
                    <a:gd name="connsiteX4" fmla="*/ 172635 w 544284"/>
                    <a:gd name="connsiteY4" fmla="*/ 154631 h 500804"/>
                    <a:gd name="connsiteX5" fmla="*/ 198035 w 544284"/>
                    <a:gd name="connsiteY5" fmla="*/ 151456 h 500804"/>
                    <a:gd name="connsiteX6" fmla="*/ 201210 w 544284"/>
                    <a:gd name="connsiteY6" fmla="*/ 18106 h 500804"/>
                    <a:gd name="connsiteX7" fmla="*/ 312335 w 544284"/>
                    <a:gd name="connsiteY7" fmla="*/ 14931 h 500804"/>
                    <a:gd name="connsiteX8" fmla="*/ 312335 w 544284"/>
                    <a:gd name="connsiteY8" fmla="*/ 145106 h 500804"/>
                    <a:gd name="connsiteX9" fmla="*/ 353610 w 544284"/>
                    <a:gd name="connsiteY9" fmla="*/ 151456 h 500804"/>
                    <a:gd name="connsiteX10" fmla="*/ 445685 w 544284"/>
                    <a:gd name="connsiteY10" fmla="*/ 164156 h 500804"/>
                    <a:gd name="connsiteX11" fmla="*/ 486960 w 544284"/>
                    <a:gd name="connsiteY11" fmla="*/ 189556 h 500804"/>
                    <a:gd name="connsiteX12" fmla="*/ 509185 w 544284"/>
                    <a:gd name="connsiteY12" fmla="*/ 234006 h 500804"/>
                    <a:gd name="connsiteX13" fmla="*/ 506010 w 544284"/>
                    <a:gd name="connsiteY13" fmla="*/ 488006 h 500804"/>
                    <a:gd name="connsiteX14" fmla="*/ 4360 w 544284"/>
                    <a:gd name="connsiteY14" fmla="*/ 449906 h 500804"/>
                    <a:gd name="connsiteX0" fmla="*/ 4360 w 519024"/>
                    <a:gd name="connsiteY0" fmla="*/ 449906 h 500804"/>
                    <a:gd name="connsiteX1" fmla="*/ 7535 w 519024"/>
                    <a:gd name="connsiteY1" fmla="*/ 214956 h 500804"/>
                    <a:gd name="connsiteX2" fmla="*/ 23410 w 519024"/>
                    <a:gd name="connsiteY2" fmla="*/ 176856 h 500804"/>
                    <a:gd name="connsiteX3" fmla="*/ 71035 w 519024"/>
                    <a:gd name="connsiteY3" fmla="*/ 160981 h 500804"/>
                    <a:gd name="connsiteX4" fmla="*/ 172635 w 519024"/>
                    <a:gd name="connsiteY4" fmla="*/ 154631 h 500804"/>
                    <a:gd name="connsiteX5" fmla="*/ 198035 w 519024"/>
                    <a:gd name="connsiteY5" fmla="*/ 151456 h 500804"/>
                    <a:gd name="connsiteX6" fmla="*/ 201210 w 519024"/>
                    <a:gd name="connsiteY6" fmla="*/ 18106 h 500804"/>
                    <a:gd name="connsiteX7" fmla="*/ 312335 w 519024"/>
                    <a:gd name="connsiteY7" fmla="*/ 14931 h 500804"/>
                    <a:gd name="connsiteX8" fmla="*/ 312335 w 519024"/>
                    <a:gd name="connsiteY8" fmla="*/ 145106 h 500804"/>
                    <a:gd name="connsiteX9" fmla="*/ 353610 w 519024"/>
                    <a:gd name="connsiteY9" fmla="*/ 151456 h 500804"/>
                    <a:gd name="connsiteX10" fmla="*/ 445685 w 519024"/>
                    <a:gd name="connsiteY10" fmla="*/ 164156 h 500804"/>
                    <a:gd name="connsiteX11" fmla="*/ 486960 w 519024"/>
                    <a:gd name="connsiteY11" fmla="*/ 189556 h 500804"/>
                    <a:gd name="connsiteX12" fmla="*/ 509185 w 519024"/>
                    <a:gd name="connsiteY12" fmla="*/ 234006 h 500804"/>
                    <a:gd name="connsiteX13" fmla="*/ 506010 w 519024"/>
                    <a:gd name="connsiteY13" fmla="*/ 488006 h 500804"/>
                    <a:gd name="connsiteX14" fmla="*/ 4360 w 519024"/>
                    <a:gd name="connsiteY14" fmla="*/ 449906 h 500804"/>
                    <a:gd name="connsiteX0" fmla="*/ 4360 w 519024"/>
                    <a:gd name="connsiteY0" fmla="*/ 449906 h 488006"/>
                    <a:gd name="connsiteX1" fmla="*/ 7535 w 519024"/>
                    <a:gd name="connsiteY1" fmla="*/ 214956 h 488006"/>
                    <a:gd name="connsiteX2" fmla="*/ 23410 w 519024"/>
                    <a:gd name="connsiteY2" fmla="*/ 176856 h 488006"/>
                    <a:gd name="connsiteX3" fmla="*/ 71035 w 519024"/>
                    <a:gd name="connsiteY3" fmla="*/ 160981 h 488006"/>
                    <a:gd name="connsiteX4" fmla="*/ 172635 w 519024"/>
                    <a:gd name="connsiteY4" fmla="*/ 154631 h 488006"/>
                    <a:gd name="connsiteX5" fmla="*/ 198035 w 519024"/>
                    <a:gd name="connsiteY5" fmla="*/ 151456 h 488006"/>
                    <a:gd name="connsiteX6" fmla="*/ 201210 w 519024"/>
                    <a:gd name="connsiteY6" fmla="*/ 18106 h 488006"/>
                    <a:gd name="connsiteX7" fmla="*/ 312335 w 519024"/>
                    <a:gd name="connsiteY7" fmla="*/ 14931 h 488006"/>
                    <a:gd name="connsiteX8" fmla="*/ 312335 w 519024"/>
                    <a:gd name="connsiteY8" fmla="*/ 145106 h 488006"/>
                    <a:gd name="connsiteX9" fmla="*/ 353610 w 519024"/>
                    <a:gd name="connsiteY9" fmla="*/ 151456 h 488006"/>
                    <a:gd name="connsiteX10" fmla="*/ 445685 w 519024"/>
                    <a:gd name="connsiteY10" fmla="*/ 164156 h 488006"/>
                    <a:gd name="connsiteX11" fmla="*/ 486960 w 519024"/>
                    <a:gd name="connsiteY11" fmla="*/ 189556 h 488006"/>
                    <a:gd name="connsiteX12" fmla="*/ 509185 w 519024"/>
                    <a:gd name="connsiteY12" fmla="*/ 234006 h 488006"/>
                    <a:gd name="connsiteX13" fmla="*/ 506010 w 519024"/>
                    <a:gd name="connsiteY13" fmla="*/ 488006 h 488006"/>
                    <a:gd name="connsiteX14" fmla="*/ 4360 w 519024"/>
                    <a:gd name="connsiteY14" fmla="*/ 449906 h 488006"/>
                    <a:gd name="connsiteX0" fmla="*/ 4360 w 523534"/>
                    <a:gd name="connsiteY0" fmla="*/ 449906 h 472131"/>
                    <a:gd name="connsiteX1" fmla="*/ 7535 w 523534"/>
                    <a:gd name="connsiteY1" fmla="*/ 214956 h 472131"/>
                    <a:gd name="connsiteX2" fmla="*/ 23410 w 523534"/>
                    <a:gd name="connsiteY2" fmla="*/ 176856 h 472131"/>
                    <a:gd name="connsiteX3" fmla="*/ 71035 w 523534"/>
                    <a:gd name="connsiteY3" fmla="*/ 160981 h 472131"/>
                    <a:gd name="connsiteX4" fmla="*/ 172635 w 523534"/>
                    <a:gd name="connsiteY4" fmla="*/ 154631 h 472131"/>
                    <a:gd name="connsiteX5" fmla="*/ 198035 w 523534"/>
                    <a:gd name="connsiteY5" fmla="*/ 151456 h 472131"/>
                    <a:gd name="connsiteX6" fmla="*/ 201210 w 523534"/>
                    <a:gd name="connsiteY6" fmla="*/ 18106 h 472131"/>
                    <a:gd name="connsiteX7" fmla="*/ 312335 w 523534"/>
                    <a:gd name="connsiteY7" fmla="*/ 14931 h 472131"/>
                    <a:gd name="connsiteX8" fmla="*/ 312335 w 523534"/>
                    <a:gd name="connsiteY8" fmla="*/ 145106 h 472131"/>
                    <a:gd name="connsiteX9" fmla="*/ 353610 w 523534"/>
                    <a:gd name="connsiteY9" fmla="*/ 151456 h 472131"/>
                    <a:gd name="connsiteX10" fmla="*/ 445685 w 523534"/>
                    <a:gd name="connsiteY10" fmla="*/ 164156 h 472131"/>
                    <a:gd name="connsiteX11" fmla="*/ 486960 w 523534"/>
                    <a:gd name="connsiteY11" fmla="*/ 189556 h 472131"/>
                    <a:gd name="connsiteX12" fmla="*/ 509185 w 523534"/>
                    <a:gd name="connsiteY12" fmla="*/ 234006 h 472131"/>
                    <a:gd name="connsiteX13" fmla="*/ 512360 w 523534"/>
                    <a:gd name="connsiteY13" fmla="*/ 472131 h 472131"/>
                    <a:gd name="connsiteX14" fmla="*/ 4360 w 523534"/>
                    <a:gd name="connsiteY14" fmla="*/ 449906 h 472131"/>
                    <a:gd name="connsiteX0" fmla="*/ 4360 w 513675"/>
                    <a:gd name="connsiteY0" fmla="*/ 449906 h 472131"/>
                    <a:gd name="connsiteX1" fmla="*/ 7535 w 513675"/>
                    <a:gd name="connsiteY1" fmla="*/ 214956 h 472131"/>
                    <a:gd name="connsiteX2" fmla="*/ 23410 w 513675"/>
                    <a:gd name="connsiteY2" fmla="*/ 176856 h 472131"/>
                    <a:gd name="connsiteX3" fmla="*/ 71035 w 513675"/>
                    <a:gd name="connsiteY3" fmla="*/ 160981 h 472131"/>
                    <a:gd name="connsiteX4" fmla="*/ 172635 w 513675"/>
                    <a:gd name="connsiteY4" fmla="*/ 154631 h 472131"/>
                    <a:gd name="connsiteX5" fmla="*/ 198035 w 513675"/>
                    <a:gd name="connsiteY5" fmla="*/ 151456 h 472131"/>
                    <a:gd name="connsiteX6" fmla="*/ 201210 w 513675"/>
                    <a:gd name="connsiteY6" fmla="*/ 18106 h 472131"/>
                    <a:gd name="connsiteX7" fmla="*/ 312335 w 513675"/>
                    <a:gd name="connsiteY7" fmla="*/ 14931 h 472131"/>
                    <a:gd name="connsiteX8" fmla="*/ 312335 w 513675"/>
                    <a:gd name="connsiteY8" fmla="*/ 145106 h 472131"/>
                    <a:gd name="connsiteX9" fmla="*/ 353610 w 513675"/>
                    <a:gd name="connsiteY9" fmla="*/ 151456 h 472131"/>
                    <a:gd name="connsiteX10" fmla="*/ 445685 w 513675"/>
                    <a:gd name="connsiteY10" fmla="*/ 164156 h 472131"/>
                    <a:gd name="connsiteX11" fmla="*/ 486960 w 513675"/>
                    <a:gd name="connsiteY11" fmla="*/ 189556 h 472131"/>
                    <a:gd name="connsiteX12" fmla="*/ 509185 w 513675"/>
                    <a:gd name="connsiteY12" fmla="*/ 234006 h 472131"/>
                    <a:gd name="connsiteX13" fmla="*/ 512360 w 513675"/>
                    <a:gd name="connsiteY13" fmla="*/ 472131 h 472131"/>
                    <a:gd name="connsiteX14" fmla="*/ 4360 w 513675"/>
                    <a:gd name="connsiteY14" fmla="*/ 449906 h 472131"/>
                    <a:gd name="connsiteX0" fmla="*/ 4360 w 513675"/>
                    <a:gd name="connsiteY0" fmla="*/ 446969 h 469194"/>
                    <a:gd name="connsiteX1" fmla="*/ 7535 w 513675"/>
                    <a:gd name="connsiteY1" fmla="*/ 212019 h 469194"/>
                    <a:gd name="connsiteX2" fmla="*/ 23410 w 513675"/>
                    <a:gd name="connsiteY2" fmla="*/ 173919 h 469194"/>
                    <a:gd name="connsiteX3" fmla="*/ 71035 w 513675"/>
                    <a:gd name="connsiteY3" fmla="*/ 158044 h 469194"/>
                    <a:gd name="connsiteX4" fmla="*/ 172635 w 513675"/>
                    <a:gd name="connsiteY4" fmla="*/ 151694 h 469194"/>
                    <a:gd name="connsiteX5" fmla="*/ 188510 w 513675"/>
                    <a:gd name="connsiteY5" fmla="*/ 94544 h 469194"/>
                    <a:gd name="connsiteX6" fmla="*/ 201210 w 513675"/>
                    <a:gd name="connsiteY6" fmla="*/ 15169 h 469194"/>
                    <a:gd name="connsiteX7" fmla="*/ 312335 w 513675"/>
                    <a:gd name="connsiteY7" fmla="*/ 11994 h 469194"/>
                    <a:gd name="connsiteX8" fmla="*/ 312335 w 513675"/>
                    <a:gd name="connsiteY8" fmla="*/ 142169 h 469194"/>
                    <a:gd name="connsiteX9" fmla="*/ 353610 w 513675"/>
                    <a:gd name="connsiteY9" fmla="*/ 148519 h 469194"/>
                    <a:gd name="connsiteX10" fmla="*/ 445685 w 513675"/>
                    <a:gd name="connsiteY10" fmla="*/ 161219 h 469194"/>
                    <a:gd name="connsiteX11" fmla="*/ 486960 w 513675"/>
                    <a:gd name="connsiteY11" fmla="*/ 186619 h 469194"/>
                    <a:gd name="connsiteX12" fmla="*/ 509185 w 513675"/>
                    <a:gd name="connsiteY12" fmla="*/ 231069 h 469194"/>
                    <a:gd name="connsiteX13" fmla="*/ 512360 w 513675"/>
                    <a:gd name="connsiteY13" fmla="*/ 469194 h 469194"/>
                    <a:gd name="connsiteX14" fmla="*/ 4360 w 513675"/>
                    <a:gd name="connsiteY14" fmla="*/ 446969 h 469194"/>
                    <a:gd name="connsiteX0" fmla="*/ 4360 w 513675"/>
                    <a:gd name="connsiteY0" fmla="*/ 443409 h 465634"/>
                    <a:gd name="connsiteX1" fmla="*/ 7535 w 513675"/>
                    <a:gd name="connsiteY1" fmla="*/ 208459 h 465634"/>
                    <a:gd name="connsiteX2" fmla="*/ 23410 w 513675"/>
                    <a:gd name="connsiteY2" fmla="*/ 170359 h 465634"/>
                    <a:gd name="connsiteX3" fmla="*/ 71035 w 513675"/>
                    <a:gd name="connsiteY3" fmla="*/ 154484 h 465634"/>
                    <a:gd name="connsiteX4" fmla="*/ 172635 w 513675"/>
                    <a:gd name="connsiteY4" fmla="*/ 148134 h 465634"/>
                    <a:gd name="connsiteX5" fmla="*/ 188510 w 513675"/>
                    <a:gd name="connsiteY5" fmla="*/ 90984 h 465634"/>
                    <a:gd name="connsiteX6" fmla="*/ 201210 w 513675"/>
                    <a:gd name="connsiteY6" fmla="*/ 11609 h 465634"/>
                    <a:gd name="connsiteX7" fmla="*/ 312335 w 513675"/>
                    <a:gd name="connsiteY7" fmla="*/ 8434 h 465634"/>
                    <a:gd name="connsiteX8" fmla="*/ 312335 w 513675"/>
                    <a:gd name="connsiteY8" fmla="*/ 87809 h 465634"/>
                    <a:gd name="connsiteX9" fmla="*/ 353610 w 513675"/>
                    <a:gd name="connsiteY9" fmla="*/ 144959 h 465634"/>
                    <a:gd name="connsiteX10" fmla="*/ 445685 w 513675"/>
                    <a:gd name="connsiteY10" fmla="*/ 157659 h 465634"/>
                    <a:gd name="connsiteX11" fmla="*/ 486960 w 513675"/>
                    <a:gd name="connsiteY11" fmla="*/ 183059 h 465634"/>
                    <a:gd name="connsiteX12" fmla="*/ 509185 w 513675"/>
                    <a:gd name="connsiteY12" fmla="*/ 227509 h 465634"/>
                    <a:gd name="connsiteX13" fmla="*/ 512360 w 513675"/>
                    <a:gd name="connsiteY13" fmla="*/ 465634 h 465634"/>
                    <a:gd name="connsiteX14" fmla="*/ 4360 w 513675"/>
                    <a:gd name="connsiteY14" fmla="*/ 443409 h 465634"/>
                    <a:gd name="connsiteX0" fmla="*/ 4360 w 513675"/>
                    <a:gd name="connsiteY0" fmla="*/ 443409 h 465634"/>
                    <a:gd name="connsiteX1" fmla="*/ 7535 w 513675"/>
                    <a:gd name="connsiteY1" fmla="*/ 208459 h 465634"/>
                    <a:gd name="connsiteX2" fmla="*/ 23410 w 513675"/>
                    <a:gd name="connsiteY2" fmla="*/ 170359 h 465634"/>
                    <a:gd name="connsiteX3" fmla="*/ 71035 w 513675"/>
                    <a:gd name="connsiteY3" fmla="*/ 154484 h 465634"/>
                    <a:gd name="connsiteX4" fmla="*/ 172635 w 513675"/>
                    <a:gd name="connsiteY4" fmla="*/ 148134 h 465634"/>
                    <a:gd name="connsiteX5" fmla="*/ 188510 w 513675"/>
                    <a:gd name="connsiteY5" fmla="*/ 90984 h 465634"/>
                    <a:gd name="connsiteX6" fmla="*/ 201210 w 513675"/>
                    <a:gd name="connsiteY6" fmla="*/ 11609 h 465634"/>
                    <a:gd name="connsiteX7" fmla="*/ 312335 w 513675"/>
                    <a:gd name="connsiteY7" fmla="*/ 8434 h 465634"/>
                    <a:gd name="connsiteX8" fmla="*/ 312335 w 513675"/>
                    <a:gd name="connsiteY8" fmla="*/ 87809 h 465634"/>
                    <a:gd name="connsiteX9" fmla="*/ 334560 w 513675"/>
                    <a:gd name="connsiteY9" fmla="*/ 135434 h 465634"/>
                    <a:gd name="connsiteX10" fmla="*/ 445685 w 513675"/>
                    <a:gd name="connsiteY10" fmla="*/ 157659 h 465634"/>
                    <a:gd name="connsiteX11" fmla="*/ 486960 w 513675"/>
                    <a:gd name="connsiteY11" fmla="*/ 183059 h 465634"/>
                    <a:gd name="connsiteX12" fmla="*/ 509185 w 513675"/>
                    <a:gd name="connsiteY12" fmla="*/ 227509 h 465634"/>
                    <a:gd name="connsiteX13" fmla="*/ 512360 w 513675"/>
                    <a:gd name="connsiteY13" fmla="*/ 465634 h 465634"/>
                    <a:gd name="connsiteX14" fmla="*/ 4360 w 513675"/>
                    <a:gd name="connsiteY14" fmla="*/ 443409 h 465634"/>
                    <a:gd name="connsiteX0" fmla="*/ 4360 w 510500"/>
                    <a:gd name="connsiteY0" fmla="*/ 443409 h 449759"/>
                    <a:gd name="connsiteX1" fmla="*/ 7535 w 510500"/>
                    <a:gd name="connsiteY1" fmla="*/ 208459 h 449759"/>
                    <a:gd name="connsiteX2" fmla="*/ 23410 w 510500"/>
                    <a:gd name="connsiteY2" fmla="*/ 170359 h 449759"/>
                    <a:gd name="connsiteX3" fmla="*/ 71035 w 510500"/>
                    <a:gd name="connsiteY3" fmla="*/ 154484 h 449759"/>
                    <a:gd name="connsiteX4" fmla="*/ 172635 w 510500"/>
                    <a:gd name="connsiteY4" fmla="*/ 148134 h 449759"/>
                    <a:gd name="connsiteX5" fmla="*/ 188510 w 510500"/>
                    <a:gd name="connsiteY5" fmla="*/ 90984 h 449759"/>
                    <a:gd name="connsiteX6" fmla="*/ 201210 w 510500"/>
                    <a:gd name="connsiteY6" fmla="*/ 11609 h 449759"/>
                    <a:gd name="connsiteX7" fmla="*/ 312335 w 510500"/>
                    <a:gd name="connsiteY7" fmla="*/ 8434 h 449759"/>
                    <a:gd name="connsiteX8" fmla="*/ 312335 w 510500"/>
                    <a:gd name="connsiteY8" fmla="*/ 87809 h 449759"/>
                    <a:gd name="connsiteX9" fmla="*/ 334560 w 510500"/>
                    <a:gd name="connsiteY9" fmla="*/ 135434 h 449759"/>
                    <a:gd name="connsiteX10" fmla="*/ 445685 w 510500"/>
                    <a:gd name="connsiteY10" fmla="*/ 157659 h 449759"/>
                    <a:gd name="connsiteX11" fmla="*/ 486960 w 510500"/>
                    <a:gd name="connsiteY11" fmla="*/ 183059 h 449759"/>
                    <a:gd name="connsiteX12" fmla="*/ 509185 w 510500"/>
                    <a:gd name="connsiteY12" fmla="*/ 227509 h 449759"/>
                    <a:gd name="connsiteX13" fmla="*/ 506010 w 510500"/>
                    <a:gd name="connsiteY13" fmla="*/ 449759 h 449759"/>
                    <a:gd name="connsiteX14" fmla="*/ 4360 w 510500"/>
                    <a:gd name="connsiteY14" fmla="*/ 443409 h 449759"/>
                    <a:gd name="connsiteX0" fmla="*/ 4360 w 510500"/>
                    <a:gd name="connsiteY0" fmla="*/ 443409 h 454926"/>
                    <a:gd name="connsiteX1" fmla="*/ 7535 w 510500"/>
                    <a:gd name="connsiteY1" fmla="*/ 208459 h 454926"/>
                    <a:gd name="connsiteX2" fmla="*/ 23410 w 510500"/>
                    <a:gd name="connsiteY2" fmla="*/ 170359 h 454926"/>
                    <a:gd name="connsiteX3" fmla="*/ 71035 w 510500"/>
                    <a:gd name="connsiteY3" fmla="*/ 154484 h 454926"/>
                    <a:gd name="connsiteX4" fmla="*/ 172635 w 510500"/>
                    <a:gd name="connsiteY4" fmla="*/ 148134 h 454926"/>
                    <a:gd name="connsiteX5" fmla="*/ 188510 w 510500"/>
                    <a:gd name="connsiteY5" fmla="*/ 90984 h 454926"/>
                    <a:gd name="connsiteX6" fmla="*/ 201210 w 510500"/>
                    <a:gd name="connsiteY6" fmla="*/ 11609 h 454926"/>
                    <a:gd name="connsiteX7" fmla="*/ 312335 w 510500"/>
                    <a:gd name="connsiteY7" fmla="*/ 8434 h 454926"/>
                    <a:gd name="connsiteX8" fmla="*/ 312335 w 510500"/>
                    <a:gd name="connsiteY8" fmla="*/ 87809 h 454926"/>
                    <a:gd name="connsiteX9" fmla="*/ 334560 w 510500"/>
                    <a:gd name="connsiteY9" fmla="*/ 135434 h 454926"/>
                    <a:gd name="connsiteX10" fmla="*/ 445685 w 510500"/>
                    <a:gd name="connsiteY10" fmla="*/ 157659 h 454926"/>
                    <a:gd name="connsiteX11" fmla="*/ 486960 w 510500"/>
                    <a:gd name="connsiteY11" fmla="*/ 183059 h 454926"/>
                    <a:gd name="connsiteX12" fmla="*/ 509185 w 510500"/>
                    <a:gd name="connsiteY12" fmla="*/ 227509 h 454926"/>
                    <a:gd name="connsiteX13" fmla="*/ 506010 w 510500"/>
                    <a:gd name="connsiteY13" fmla="*/ 449759 h 454926"/>
                    <a:gd name="connsiteX14" fmla="*/ 4360 w 510500"/>
                    <a:gd name="connsiteY14" fmla="*/ 443409 h 454926"/>
                    <a:gd name="connsiteX0" fmla="*/ 6473 w 512613"/>
                    <a:gd name="connsiteY0" fmla="*/ 443409 h 454926"/>
                    <a:gd name="connsiteX1" fmla="*/ 9648 w 512613"/>
                    <a:gd name="connsiteY1" fmla="*/ 208459 h 454926"/>
                    <a:gd name="connsiteX2" fmla="*/ 73148 w 512613"/>
                    <a:gd name="connsiteY2" fmla="*/ 154484 h 454926"/>
                    <a:gd name="connsiteX3" fmla="*/ 174748 w 512613"/>
                    <a:gd name="connsiteY3" fmla="*/ 148134 h 454926"/>
                    <a:gd name="connsiteX4" fmla="*/ 190623 w 512613"/>
                    <a:gd name="connsiteY4" fmla="*/ 90984 h 454926"/>
                    <a:gd name="connsiteX5" fmla="*/ 203323 w 512613"/>
                    <a:gd name="connsiteY5" fmla="*/ 11609 h 454926"/>
                    <a:gd name="connsiteX6" fmla="*/ 314448 w 512613"/>
                    <a:gd name="connsiteY6" fmla="*/ 8434 h 454926"/>
                    <a:gd name="connsiteX7" fmla="*/ 314448 w 512613"/>
                    <a:gd name="connsiteY7" fmla="*/ 87809 h 454926"/>
                    <a:gd name="connsiteX8" fmla="*/ 336673 w 512613"/>
                    <a:gd name="connsiteY8" fmla="*/ 135434 h 454926"/>
                    <a:gd name="connsiteX9" fmla="*/ 447798 w 512613"/>
                    <a:gd name="connsiteY9" fmla="*/ 157659 h 454926"/>
                    <a:gd name="connsiteX10" fmla="*/ 489073 w 512613"/>
                    <a:gd name="connsiteY10" fmla="*/ 183059 h 454926"/>
                    <a:gd name="connsiteX11" fmla="*/ 511298 w 512613"/>
                    <a:gd name="connsiteY11" fmla="*/ 227509 h 454926"/>
                    <a:gd name="connsiteX12" fmla="*/ 508123 w 512613"/>
                    <a:gd name="connsiteY12" fmla="*/ 449759 h 454926"/>
                    <a:gd name="connsiteX13" fmla="*/ 6473 w 512613"/>
                    <a:gd name="connsiteY13" fmla="*/ 443409 h 454926"/>
                    <a:gd name="connsiteX0" fmla="*/ 4049 w 510189"/>
                    <a:gd name="connsiteY0" fmla="*/ 443409 h 454926"/>
                    <a:gd name="connsiteX1" fmla="*/ 7224 w 510189"/>
                    <a:gd name="connsiteY1" fmla="*/ 208459 h 454926"/>
                    <a:gd name="connsiteX2" fmla="*/ 70724 w 510189"/>
                    <a:gd name="connsiteY2" fmla="*/ 154484 h 454926"/>
                    <a:gd name="connsiteX3" fmla="*/ 172324 w 510189"/>
                    <a:gd name="connsiteY3" fmla="*/ 148134 h 454926"/>
                    <a:gd name="connsiteX4" fmla="*/ 188199 w 510189"/>
                    <a:gd name="connsiteY4" fmla="*/ 90984 h 454926"/>
                    <a:gd name="connsiteX5" fmla="*/ 200899 w 510189"/>
                    <a:gd name="connsiteY5" fmla="*/ 11609 h 454926"/>
                    <a:gd name="connsiteX6" fmla="*/ 312024 w 510189"/>
                    <a:gd name="connsiteY6" fmla="*/ 8434 h 454926"/>
                    <a:gd name="connsiteX7" fmla="*/ 312024 w 510189"/>
                    <a:gd name="connsiteY7" fmla="*/ 87809 h 454926"/>
                    <a:gd name="connsiteX8" fmla="*/ 334249 w 510189"/>
                    <a:gd name="connsiteY8" fmla="*/ 135434 h 454926"/>
                    <a:gd name="connsiteX9" fmla="*/ 445374 w 510189"/>
                    <a:gd name="connsiteY9" fmla="*/ 157659 h 454926"/>
                    <a:gd name="connsiteX10" fmla="*/ 486649 w 510189"/>
                    <a:gd name="connsiteY10" fmla="*/ 183059 h 454926"/>
                    <a:gd name="connsiteX11" fmla="*/ 508874 w 510189"/>
                    <a:gd name="connsiteY11" fmla="*/ 227509 h 454926"/>
                    <a:gd name="connsiteX12" fmla="*/ 505699 w 510189"/>
                    <a:gd name="connsiteY12" fmla="*/ 449759 h 454926"/>
                    <a:gd name="connsiteX13" fmla="*/ 4049 w 510189"/>
                    <a:gd name="connsiteY13" fmla="*/ 443409 h 454926"/>
                    <a:gd name="connsiteX0" fmla="*/ 4049 w 510189"/>
                    <a:gd name="connsiteY0" fmla="*/ 443409 h 454926"/>
                    <a:gd name="connsiteX1" fmla="*/ 7224 w 510189"/>
                    <a:gd name="connsiteY1" fmla="*/ 208459 h 454926"/>
                    <a:gd name="connsiteX2" fmla="*/ 70724 w 510189"/>
                    <a:gd name="connsiteY2" fmla="*/ 154484 h 454926"/>
                    <a:gd name="connsiteX3" fmla="*/ 172324 w 510189"/>
                    <a:gd name="connsiteY3" fmla="*/ 148134 h 454926"/>
                    <a:gd name="connsiteX4" fmla="*/ 188199 w 510189"/>
                    <a:gd name="connsiteY4" fmla="*/ 90984 h 454926"/>
                    <a:gd name="connsiteX5" fmla="*/ 200899 w 510189"/>
                    <a:gd name="connsiteY5" fmla="*/ 11609 h 454926"/>
                    <a:gd name="connsiteX6" fmla="*/ 312024 w 510189"/>
                    <a:gd name="connsiteY6" fmla="*/ 8434 h 454926"/>
                    <a:gd name="connsiteX7" fmla="*/ 312024 w 510189"/>
                    <a:gd name="connsiteY7" fmla="*/ 87809 h 454926"/>
                    <a:gd name="connsiteX8" fmla="*/ 334249 w 510189"/>
                    <a:gd name="connsiteY8" fmla="*/ 135434 h 454926"/>
                    <a:gd name="connsiteX9" fmla="*/ 445374 w 510189"/>
                    <a:gd name="connsiteY9" fmla="*/ 157659 h 454926"/>
                    <a:gd name="connsiteX10" fmla="*/ 508874 w 510189"/>
                    <a:gd name="connsiteY10" fmla="*/ 227509 h 454926"/>
                    <a:gd name="connsiteX11" fmla="*/ 505699 w 510189"/>
                    <a:gd name="connsiteY11" fmla="*/ 449759 h 454926"/>
                    <a:gd name="connsiteX12" fmla="*/ 4049 w 510189"/>
                    <a:gd name="connsiteY12" fmla="*/ 443409 h 454926"/>
                    <a:gd name="connsiteX0" fmla="*/ 4049 w 510189"/>
                    <a:gd name="connsiteY0" fmla="*/ 443409 h 454926"/>
                    <a:gd name="connsiteX1" fmla="*/ 7224 w 510189"/>
                    <a:gd name="connsiteY1" fmla="*/ 208459 h 454926"/>
                    <a:gd name="connsiteX2" fmla="*/ 70724 w 510189"/>
                    <a:gd name="connsiteY2" fmla="*/ 154484 h 454926"/>
                    <a:gd name="connsiteX3" fmla="*/ 172324 w 510189"/>
                    <a:gd name="connsiteY3" fmla="*/ 148134 h 454926"/>
                    <a:gd name="connsiteX4" fmla="*/ 188199 w 510189"/>
                    <a:gd name="connsiteY4" fmla="*/ 90984 h 454926"/>
                    <a:gd name="connsiteX5" fmla="*/ 200899 w 510189"/>
                    <a:gd name="connsiteY5" fmla="*/ 11609 h 454926"/>
                    <a:gd name="connsiteX6" fmla="*/ 312024 w 510189"/>
                    <a:gd name="connsiteY6" fmla="*/ 8434 h 454926"/>
                    <a:gd name="connsiteX7" fmla="*/ 312024 w 510189"/>
                    <a:gd name="connsiteY7" fmla="*/ 87809 h 454926"/>
                    <a:gd name="connsiteX8" fmla="*/ 334249 w 510189"/>
                    <a:gd name="connsiteY8" fmla="*/ 135434 h 454926"/>
                    <a:gd name="connsiteX9" fmla="*/ 445374 w 510189"/>
                    <a:gd name="connsiteY9" fmla="*/ 157659 h 454926"/>
                    <a:gd name="connsiteX10" fmla="*/ 508874 w 510189"/>
                    <a:gd name="connsiteY10" fmla="*/ 227509 h 454926"/>
                    <a:gd name="connsiteX11" fmla="*/ 505699 w 510189"/>
                    <a:gd name="connsiteY11" fmla="*/ 449759 h 454926"/>
                    <a:gd name="connsiteX12" fmla="*/ 4049 w 510189"/>
                    <a:gd name="connsiteY12" fmla="*/ 443409 h 454926"/>
                    <a:gd name="connsiteX0" fmla="*/ 5987 w 512127"/>
                    <a:gd name="connsiteY0" fmla="*/ 443409 h 454926"/>
                    <a:gd name="connsiteX1" fmla="*/ 2812 w 512127"/>
                    <a:gd name="connsiteY1" fmla="*/ 217984 h 454926"/>
                    <a:gd name="connsiteX2" fmla="*/ 72662 w 512127"/>
                    <a:gd name="connsiteY2" fmla="*/ 154484 h 454926"/>
                    <a:gd name="connsiteX3" fmla="*/ 174262 w 512127"/>
                    <a:gd name="connsiteY3" fmla="*/ 148134 h 454926"/>
                    <a:gd name="connsiteX4" fmla="*/ 190137 w 512127"/>
                    <a:gd name="connsiteY4" fmla="*/ 90984 h 454926"/>
                    <a:gd name="connsiteX5" fmla="*/ 202837 w 512127"/>
                    <a:gd name="connsiteY5" fmla="*/ 11609 h 454926"/>
                    <a:gd name="connsiteX6" fmla="*/ 313962 w 512127"/>
                    <a:gd name="connsiteY6" fmla="*/ 8434 h 454926"/>
                    <a:gd name="connsiteX7" fmla="*/ 313962 w 512127"/>
                    <a:gd name="connsiteY7" fmla="*/ 87809 h 454926"/>
                    <a:gd name="connsiteX8" fmla="*/ 336187 w 512127"/>
                    <a:gd name="connsiteY8" fmla="*/ 135434 h 454926"/>
                    <a:gd name="connsiteX9" fmla="*/ 447312 w 512127"/>
                    <a:gd name="connsiteY9" fmla="*/ 157659 h 454926"/>
                    <a:gd name="connsiteX10" fmla="*/ 510812 w 512127"/>
                    <a:gd name="connsiteY10" fmla="*/ 227509 h 454926"/>
                    <a:gd name="connsiteX11" fmla="*/ 507637 w 512127"/>
                    <a:gd name="connsiteY11" fmla="*/ 449759 h 454926"/>
                    <a:gd name="connsiteX12" fmla="*/ 5987 w 512127"/>
                    <a:gd name="connsiteY12" fmla="*/ 443409 h 454926"/>
                    <a:gd name="connsiteX0" fmla="*/ 9762 w 515902"/>
                    <a:gd name="connsiteY0" fmla="*/ 443409 h 454926"/>
                    <a:gd name="connsiteX1" fmla="*/ 6587 w 515902"/>
                    <a:gd name="connsiteY1" fmla="*/ 217984 h 454926"/>
                    <a:gd name="connsiteX2" fmla="*/ 76437 w 515902"/>
                    <a:gd name="connsiteY2" fmla="*/ 154484 h 454926"/>
                    <a:gd name="connsiteX3" fmla="*/ 178037 w 515902"/>
                    <a:gd name="connsiteY3" fmla="*/ 148134 h 454926"/>
                    <a:gd name="connsiteX4" fmla="*/ 193912 w 515902"/>
                    <a:gd name="connsiteY4" fmla="*/ 90984 h 454926"/>
                    <a:gd name="connsiteX5" fmla="*/ 206612 w 515902"/>
                    <a:gd name="connsiteY5" fmla="*/ 11609 h 454926"/>
                    <a:gd name="connsiteX6" fmla="*/ 317737 w 515902"/>
                    <a:gd name="connsiteY6" fmla="*/ 8434 h 454926"/>
                    <a:gd name="connsiteX7" fmla="*/ 317737 w 515902"/>
                    <a:gd name="connsiteY7" fmla="*/ 87809 h 454926"/>
                    <a:gd name="connsiteX8" fmla="*/ 339962 w 515902"/>
                    <a:gd name="connsiteY8" fmla="*/ 135434 h 454926"/>
                    <a:gd name="connsiteX9" fmla="*/ 451087 w 515902"/>
                    <a:gd name="connsiteY9" fmla="*/ 157659 h 454926"/>
                    <a:gd name="connsiteX10" fmla="*/ 514587 w 515902"/>
                    <a:gd name="connsiteY10" fmla="*/ 227509 h 454926"/>
                    <a:gd name="connsiteX11" fmla="*/ 511412 w 515902"/>
                    <a:gd name="connsiteY11" fmla="*/ 449759 h 454926"/>
                    <a:gd name="connsiteX12" fmla="*/ 9762 w 515902"/>
                    <a:gd name="connsiteY12" fmla="*/ 443409 h 454926"/>
                    <a:gd name="connsiteX0" fmla="*/ 9762 w 515902"/>
                    <a:gd name="connsiteY0" fmla="*/ 443409 h 454926"/>
                    <a:gd name="connsiteX1" fmla="*/ 6587 w 515902"/>
                    <a:gd name="connsiteY1" fmla="*/ 217984 h 454926"/>
                    <a:gd name="connsiteX2" fmla="*/ 76437 w 515902"/>
                    <a:gd name="connsiteY2" fmla="*/ 154484 h 454926"/>
                    <a:gd name="connsiteX3" fmla="*/ 178037 w 515902"/>
                    <a:gd name="connsiteY3" fmla="*/ 148134 h 454926"/>
                    <a:gd name="connsiteX4" fmla="*/ 193912 w 515902"/>
                    <a:gd name="connsiteY4" fmla="*/ 90984 h 454926"/>
                    <a:gd name="connsiteX5" fmla="*/ 206612 w 515902"/>
                    <a:gd name="connsiteY5" fmla="*/ 11609 h 454926"/>
                    <a:gd name="connsiteX6" fmla="*/ 317737 w 515902"/>
                    <a:gd name="connsiteY6" fmla="*/ 8434 h 454926"/>
                    <a:gd name="connsiteX7" fmla="*/ 317737 w 515902"/>
                    <a:gd name="connsiteY7" fmla="*/ 87809 h 454926"/>
                    <a:gd name="connsiteX8" fmla="*/ 339962 w 515902"/>
                    <a:gd name="connsiteY8" fmla="*/ 135434 h 454926"/>
                    <a:gd name="connsiteX9" fmla="*/ 451087 w 515902"/>
                    <a:gd name="connsiteY9" fmla="*/ 157659 h 454926"/>
                    <a:gd name="connsiteX10" fmla="*/ 514587 w 515902"/>
                    <a:gd name="connsiteY10" fmla="*/ 227509 h 454926"/>
                    <a:gd name="connsiteX11" fmla="*/ 511412 w 515902"/>
                    <a:gd name="connsiteY11" fmla="*/ 449759 h 454926"/>
                    <a:gd name="connsiteX12" fmla="*/ 9762 w 515902"/>
                    <a:gd name="connsiteY12" fmla="*/ 443409 h 454926"/>
                    <a:gd name="connsiteX0" fmla="*/ 9762 w 515902"/>
                    <a:gd name="connsiteY0" fmla="*/ 443409 h 454926"/>
                    <a:gd name="connsiteX1" fmla="*/ 6587 w 515902"/>
                    <a:gd name="connsiteY1" fmla="*/ 217984 h 454926"/>
                    <a:gd name="connsiteX2" fmla="*/ 76437 w 515902"/>
                    <a:gd name="connsiteY2" fmla="*/ 154484 h 454926"/>
                    <a:gd name="connsiteX3" fmla="*/ 193912 w 515902"/>
                    <a:gd name="connsiteY3" fmla="*/ 90984 h 454926"/>
                    <a:gd name="connsiteX4" fmla="*/ 206612 w 515902"/>
                    <a:gd name="connsiteY4" fmla="*/ 11609 h 454926"/>
                    <a:gd name="connsiteX5" fmla="*/ 317737 w 515902"/>
                    <a:gd name="connsiteY5" fmla="*/ 8434 h 454926"/>
                    <a:gd name="connsiteX6" fmla="*/ 317737 w 515902"/>
                    <a:gd name="connsiteY6" fmla="*/ 87809 h 454926"/>
                    <a:gd name="connsiteX7" fmla="*/ 339962 w 515902"/>
                    <a:gd name="connsiteY7" fmla="*/ 135434 h 454926"/>
                    <a:gd name="connsiteX8" fmla="*/ 451087 w 515902"/>
                    <a:gd name="connsiteY8" fmla="*/ 157659 h 454926"/>
                    <a:gd name="connsiteX9" fmla="*/ 514587 w 515902"/>
                    <a:gd name="connsiteY9" fmla="*/ 227509 h 454926"/>
                    <a:gd name="connsiteX10" fmla="*/ 511412 w 515902"/>
                    <a:gd name="connsiteY10" fmla="*/ 449759 h 454926"/>
                    <a:gd name="connsiteX11" fmla="*/ 9762 w 515902"/>
                    <a:gd name="connsiteY11" fmla="*/ 443409 h 454926"/>
                    <a:gd name="connsiteX0" fmla="*/ 9762 w 515902"/>
                    <a:gd name="connsiteY0" fmla="*/ 446099 h 457616"/>
                    <a:gd name="connsiteX1" fmla="*/ 6587 w 515902"/>
                    <a:gd name="connsiteY1" fmla="*/ 220674 h 457616"/>
                    <a:gd name="connsiteX2" fmla="*/ 76437 w 515902"/>
                    <a:gd name="connsiteY2" fmla="*/ 157174 h 457616"/>
                    <a:gd name="connsiteX3" fmla="*/ 190737 w 515902"/>
                    <a:gd name="connsiteY3" fmla="*/ 138124 h 457616"/>
                    <a:gd name="connsiteX4" fmla="*/ 206612 w 515902"/>
                    <a:gd name="connsiteY4" fmla="*/ 14299 h 457616"/>
                    <a:gd name="connsiteX5" fmla="*/ 317737 w 515902"/>
                    <a:gd name="connsiteY5" fmla="*/ 11124 h 457616"/>
                    <a:gd name="connsiteX6" fmla="*/ 317737 w 515902"/>
                    <a:gd name="connsiteY6" fmla="*/ 90499 h 457616"/>
                    <a:gd name="connsiteX7" fmla="*/ 339962 w 515902"/>
                    <a:gd name="connsiteY7" fmla="*/ 138124 h 457616"/>
                    <a:gd name="connsiteX8" fmla="*/ 451087 w 515902"/>
                    <a:gd name="connsiteY8" fmla="*/ 160349 h 457616"/>
                    <a:gd name="connsiteX9" fmla="*/ 514587 w 515902"/>
                    <a:gd name="connsiteY9" fmla="*/ 230199 h 457616"/>
                    <a:gd name="connsiteX10" fmla="*/ 511412 w 515902"/>
                    <a:gd name="connsiteY10" fmla="*/ 452449 h 457616"/>
                    <a:gd name="connsiteX11" fmla="*/ 9762 w 515902"/>
                    <a:gd name="connsiteY11" fmla="*/ 446099 h 457616"/>
                    <a:gd name="connsiteX0" fmla="*/ 9762 w 515902"/>
                    <a:gd name="connsiteY0" fmla="*/ 446099 h 457616"/>
                    <a:gd name="connsiteX1" fmla="*/ 6587 w 515902"/>
                    <a:gd name="connsiteY1" fmla="*/ 220674 h 457616"/>
                    <a:gd name="connsiteX2" fmla="*/ 76437 w 515902"/>
                    <a:gd name="connsiteY2" fmla="*/ 157174 h 457616"/>
                    <a:gd name="connsiteX3" fmla="*/ 190737 w 515902"/>
                    <a:gd name="connsiteY3" fmla="*/ 138124 h 457616"/>
                    <a:gd name="connsiteX4" fmla="*/ 206612 w 515902"/>
                    <a:gd name="connsiteY4" fmla="*/ 14299 h 457616"/>
                    <a:gd name="connsiteX5" fmla="*/ 317737 w 515902"/>
                    <a:gd name="connsiteY5" fmla="*/ 11124 h 457616"/>
                    <a:gd name="connsiteX6" fmla="*/ 317737 w 515902"/>
                    <a:gd name="connsiteY6" fmla="*/ 90499 h 457616"/>
                    <a:gd name="connsiteX7" fmla="*/ 451087 w 515902"/>
                    <a:gd name="connsiteY7" fmla="*/ 160349 h 457616"/>
                    <a:gd name="connsiteX8" fmla="*/ 514587 w 515902"/>
                    <a:gd name="connsiteY8" fmla="*/ 230199 h 457616"/>
                    <a:gd name="connsiteX9" fmla="*/ 511412 w 515902"/>
                    <a:gd name="connsiteY9" fmla="*/ 452449 h 457616"/>
                    <a:gd name="connsiteX10" fmla="*/ 9762 w 515902"/>
                    <a:gd name="connsiteY10" fmla="*/ 446099 h 457616"/>
                    <a:gd name="connsiteX0" fmla="*/ 9762 w 515902"/>
                    <a:gd name="connsiteY0" fmla="*/ 447482 h 458999"/>
                    <a:gd name="connsiteX1" fmla="*/ 6587 w 515902"/>
                    <a:gd name="connsiteY1" fmla="*/ 222057 h 458999"/>
                    <a:gd name="connsiteX2" fmla="*/ 76437 w 515902"/>
                    <a:gd name="connsiteY2" fmla="*/ 158557 h 458999"/>
                    <a:gd name="connsiteX3" fmla="*/ 190737 w 515902"/>
                    <a:gd name="connsiteY3" fmla="*/ 139507 h 458999"/>
                    <a:gd name="connsiteX4" fmla="*/ 206612 w 515902"/>
                    <a:gd name="connsiteY4" fmla="*/ 15682 h 458999"/>
                    <a:gd name="connsiteX5" fmla="*/ 317737 w 515902"/>
                    <a:gd name="connsiteY5" fmla="*/ 12507 h 458999"/>
                    <a:gd name="connsiteX6" fmla="*/ 330437 w 515902"/>
                    <a:gd name="connsiteY6" fmla="*/ 114107 h 458999"/>
                    <a:gd name="connsiteX7" fmla="*/ 451087 w 515902"/>
                    <a:gd name="connsiteY7" fmla="*/ 161732 h 458999"/>
                    <a:gd name="connsiteX8" fmla="*/ 514587 w 515902"/>
                    <a:gd name="connsiteY8" fmla="*/ 231582 h 458999"/>
                    <a:gd name="connsiteX9" fmla="*/ 511412 w 515902"/>
                    <a:gd name="connsiteY9" fmla="*/ 453832 h 458999"/>
                    <a:gd name="connsiteX10" fmla="*/ 9762 w 515902"/>
                    <a:gd name="connsiteY10" fmla="*/ 447482 h 458999"/>
                    <a:gd name="connsiteX0" fmla="*/ 9762 w 515902"/>
                    <a:gd name="connsiteY0" fmla="*/ 446348 h 457865"/>
                    <a:gd name="connsiteX1" fmla="*/ 6587 w 515902"/>
                    <a:gd name="connsiteY1" fmla="*/ 220923 h 457865"/>
                    <a:gd name="connsiteX2" fmla="*/ 76437 w 515902"/>
                    <a:gd name="connsiteY2" fmla="*/ 157423 h 457865"/>
                    <a:gd name="connsiteX3" fmla="*/ 200262 w 515902"/>
                    <a:gd name="connsiteY3" fmla="*/ 119323 h 457865"/>
                    <a:gd name="connsiteX4" fmla="*/ 206612 w 515902"/>
                    <a:gd name="connsiteY4" fmla="*/ 14548 h 457865"/>
                    <a:gd name="connsiteX5" fmla="*/ 317737 w 515902"/>
                    <a:gd name="connsiteY5" fmla="*/ 11373 h 457865"/>
                    <a:gd name="connsiteX6" fmla="*/ 330437 w 515902"/>
                    <a:gd name="connsiteY6" fmla="*/ 112973 h 457865"/>
                    <a:gd name="connsiteX7" fmla="*/ 451087 w 515902"/>
                    <a:gd name="connsiteY7" fmla="*/ 160598 h 457865"/>
                    <a:gd name="connsiteX8" fmla="*/ 514587 w 515902"/>
                    <a:gd name="connsiteY8" fmla="*/ 230448 h 457865"/>
                    <a:gd name="connsiteX9" fmla="*/ 511412 w 515902"/>
                    <a:gd name="connsiteY9" fmla="*/ 452698 h 457865"/>
                    <a:gd name="connsiteX10" fmla="*/ 9762 w 515902"/>
                    <a:gd name="connsiteY10" fmla="*/ 446348 h 457865"/>
                    <a:gd name="connsiteX0" fmla="*/ 8840 w 514980"/>
                    <a:gd name="connsiteY0" fmla="*/ 446348 h 457865"/>
                    <a:gd name="connsiteX1" fmla="*/ 5665 w 514980"/>
                    <a:gd name="connsiteY1" fmla="*/ 220923 h 457865"/>
                    <a:gd name="connsiteX2" fmla="*/ 62412 w 514980"/>
                    <a:gd name="connsiteY2" fmla="*/ 133367 h 457865"/>
                    <a:gd name="connsiteX3" fmla="*/ 199340 w 514980"/>
                    <a:gd name="connsiteY3" fmla="*/ 119323 h 457865"/>
                    <a:gd name="connsiteX4" fmla="*/ 205690 w 514980"/>
                    <a:gd name="connsiteY4" fmla="*/ 14548 h 457865"/>
                    <a:gd name="connsiteX5" fmla="*/ 316815 w 514980"/>
                    <a:gd name="connsiteY5" fmla="*/ 11373 h 457865"/>
                    <a:gd name="connsiteX6" fmla="*/ 329515 w 514980"/>
                    <a:gd name="connsiteY6" fmla="*/ 112973 h 457865"/>
                    <a:gd name="connsiteX7" fmla="*/ 450165 w 514980"/>
                    <a:gd name="connsiteY7" fmla="*/ 160598 h 457865"/>
                    <a:gd name="connsiteX8" fmla="*/ 513665 w 514980"/>
                    <a:gd name="connsiteY8" fmla="*/ 230448 h 457865"/>
                    <a:gd name="connsiteX9" fmla="*/ 510490 w 514980"/>
                    <a:gd name="connsiteY9" fmla="*/ 452698 h 457865"/>
                    <a:gd name="connsiteX10" fmla="*/ 8840 w 514980"/>
                    <a:gd name="connsiteY10" fmla="*/ 446348 h 457865"/>
                    <a:gd name="connsiteX0" fmla="*/ 8840 w 514980"/>
                    <a:gd name="connsiteY0" fmla="*/ 445015 h 456532"/>
                    <a:gd name="connsiteX1" fmla="*/ 5665 w 514980"/>
                    <a:gd name="connsiteY1" fmla="*/ 219590 h 456532"/>
                    <a:gd name="connsiteX2" fmla="*/ 62412 w 514980"/>
                    <a:gd name="connsiteY2" fmla="*/ 132034 h 456532"/>
                    <a:gd name="connsiteX3" fmla="*/ 186237 w 514980"/>
                    <a:gd name="connsiteY3" fmla="*/ 93934 h 456532"/>
                    <a:gd name="connsiteX4" fmla="*/ 205690 w 514980"/>
                    <a:gd name="connsiteY4" fmla="*/ 13215 h 456532"/>
                    <a:gd name="connsiteX5" fmla="*/ 316815 w 514980"/>
                    <a:gd name="connsiteY5" fmla="*/ 10040 h 456532"/>
                    <a:gd name="connsiteX6" fmla="*/ 329515 w 514980"/>
                    <a:gd name="connsiteY6" fmla="*/ 111640 h 456532"/>
                    <a:gd name="connsiteX7" fmla="*/ 450165 w 514980"/>
                    <a:gd name="connsiteY7" fmla="*/ 159265 h 456532"/>
                    <a:gd name="connsiteX8" fmla="*/ 513665 w 514980"/>
                    <a:gd name="connsiteY8" fmla="*/ 229115 h 456532"/>
                    <a:gd name="connsiteX9" fmla="*/ 510490 w 514980"/>
                    <a:gd name="connsiteY9" fmla="*/ 451365 h 456532"/>
                    <a:gd name="connsiteX10" fmla="*/ 8840 w 514980"/>
                    <a:gd name="connsiteY10" fmla="*/ 445015 h 456532"/>
                    <a:gd name="connsiteX0" fmla="*/ 8840 w 514980"/>
                    <a:gd name="connsiteY0" fmla="*/ 445015 h 456532"/>
                    <a:gd name="connsiteX1" fmla="*/ 5665 w 514980"/>
                    <a:gd name="connsiteY1" fmla="*/ 219590 h 456532"/>
                    <a:gd name="connsiteX2" fmla="*/ 62412 w 514980"/>
                    <a:gd name="connsiteY2" fmla="*/ 132034 h 456532"/>
                    <a:gd name="connsiteX3" fmla="*/ 186237 w 514980"/>
                    <a:gd name="connsiteY3" fmla="*/ 93934 h 456532"/>
                    <a:gd name="connsiteX4" fmla="*/ 205690 w 514980"/>
                    <a:gd name="connsiteY4" fmla="*/ 13215 h 456532"/>
                    <a:gd name="connsiteX5" fmla="*/ 316815 w 514980"/>
                    <a:gd name="connsiteY5" fmla="*/ 10040 h 456532"/>
                    <a:gd name="connsiteX6" fmla="*/ 329515 w 514980"/>
                    <a:gd name="connsiteY6" fmla="*/ 111640 h 456532"/>
                    <a:gd name="connsiteX7" fmla="*/ 461084 w 514980"/>
                    <a:gd name="connsiteY7" fmla="*/ 146143 h 456532"/>
                    <a:gd name="connsiteX8" fmla="*/ 513665 w 514980"/>
                    <a:gd name="connsiteY8" fmla="*/ 229115 h 456532"/>
                    <a:gd name="connsiteX9" fmla="*/ 510490 w 514980"/>
                    <a:gd name="connsiteY9" fmla="*/ 451365 h 456532"/>
                    <a:gd name="connsiteX10" fmla="*/ 8840 w 514980"/>
                    <a:gd name="connsiteY10" fmla="*/ 445015 h 456532"/>
                    <a:gd name="connsiteX0" fmla="*/ 8840 w 514980"/>
                    <a:gd name="connsiteY0" fmla="*/ 444105 h 455622"/>
                    <a:gd name="connsiteX1" fmla="*/ 5665 w 514980"/>
                    <a:gd name="connsiteY1" fmla="*/ 218680 h 455622"/>
                    <a:gd name="connsiteX2" fmla="*/ 62412 w 514980"/>
                    <a:gd name="connsiteY2" fmla="*/ 131124 h 455622"/>
                    <a:gd name="connsiteX3" fmla="*/ 186237 w 514980"/>
                    <a:gd name="connsiteY3" fmla="*/ 93024 h 455622"/>
                    <a:gd name="connsiteX4" fmla="*/ 205690 w 514980"/>
                    <a:gd name="connsiteY4" fmla="*/ 12305 h 455622"/>
                    <a:gd name="connsiteX5" fmla="*/ 316815 w 514980"/>
                    <a:gd name="connsiteY5" fmla="*/ 9130 h 455622"/>
                    <a:gd name="connsiteX6" fmla="*/ 351353 w 514980"/>
                    <a:gd name="connsiteY6" fmla="*/ 97608 h 455622"/>
                    <a:gd name="connsiteX7" fmla="*/ 461084 w 514980"/>
                    <a:gd name="connsiteY7" fmla="*/ 145233 h 455622"/>
                    <a:gd name="connsiteX8" fmla="*/ 513665 w 514980"/>
                    <a:gd name="connsiteY8" fmla="*/ 228205 h 455622"/>
                    <a:gd name="connsiteX9" fmla="*/ 510490 w 514980"/>
                    <a:gd name="connsiteY9" fmla="*/ 450455 h 455622"/>
                    <a:gd name="connsiteX10" fmla="*/ 8840 w 514980"/>
                    <a:gd name="connsiteY10" fmla="*/ 444105 h 455622"/>
                    <a:gd name="connsiteX0" fmla="*/ 8840 w 514980"/>
                    <a:gd name="connsiteY0" fmla="*/ 442755 h 454272"/>
                    <a:gd name="connsiteX1" fmla="*/ 5665 w 514980"/>
                    <a:gd name="connsiteY1" fmla="*/ 217330 h 454272"/>
                    <a:gd name="connsiteX2" fmla="*/ 62412 w 514980"/>
                    <a:gd name="connsiteY2" fmla="*/ 129774 h 454272"/>
                    <a:gd name="connsiteX3" fmla="*/ 186237 w 514980"/>
                    <a:gd name="connsiteY3" fmla="*/ 91674 h 454272"/>
                    <a:gd name="connsiteX4" fmla="*/ 205690 w 514980"/>
                    <a:gd name="connsiteY4" fmla="*/ 10955 h 454272"/>
                    <a:gd name="connsiteX5" fmla="*/ 325550 w 514980"/>
                    <a:gd name="connsiteY5" fmla="*/ 9967 h 454272"/>
                    <a:gd name="connsiteX6" fmla="*/ 351353 w 514980"/>
                    <a:gd name="connsiteY6" fmla="*/ 96258 h 454272"/>
                    <a:gd name="connsiteX7" fmla="*/ 461084 w 514980"/>
                    <a:gd name="connsiteY7" fmla="*/ 143883 h 454272"/>
                    <a:gd name="connsiteX8" fmla="*/ 513665 w 514980"/>
                    <a:gd name="connsiteY8" fmla="*/ 226855 h 454272"/>
                    <a:gd name="connsiteX9" fmla="*/ 510490 w 514980"/>
                    <a:gd name="connsiteY9" fmla="*/ 449105 h 454272"/>
                    <a:gd name="connsiteX10" fmla="*/ 8840 w 514980"/>
                    <a:gd name="connsiteY10" fmla="*/ 442755 h 454272"/>
                    <a:gd name="connsiteX0" fmla="*/ 8840 w 514980"/>
                    <a:gd name="connsiteY0" fmla="*/ 442755 h 454272"/>
                    <a:gd name="connsiteX1" fmla="*/ 5665 w 514980"/>
                    <a:gd name="connsiteY1" fmla="*/ 217330 h 454272"/>
                    <a:gd name="connsiteX2" fmla="*/ 62412 w 514980"/>
                    <a:gd name="connsiteY2" fmla="*/ 129774 h 454272"/>
                    <a:gd name="connsiteX3" fmla="*/ 186237 w 514980"/>
                    <a:gd name="connsiteY3" fmla="*/ 91674 h 454272"/>
                    <a:gd name="connsiteX4" fmla="*/ 205690 w 514980"/>
                    <a:gd name="connsiteY4" fmla="*/ 10955 h 454272"/>
                    <a:gd name="connsiteX5" fmla="*/ 325550 w 514980"/>
                    <a:gd name="connsiteY5" fmla="*/ 9967 h 454272"/>
                    <a:gd name="connsiteX6" fmla="*/ 351353 w 514980"/>
                    <a:gd name="connsiteY6" fmla="*/ 96258 h 454272"/>
                    <a:gd name="connsiteX7" fmla="*/ 461084 w 514980"/>
                    <a:gd name="connsiteY7" fmla="*/ 143883 h 454272"/>
                    <a:gd name="connsiteX8" fmla="*/ 513665 w 514980"/>
                    <a:gd name="connsiteY8" fmla="*/ 226855 h 454272"/>
                    <a:gd name="connsiteX9" fmla="*/ 510490 w 514980"/>
                    <a:gd name="connsiteY9" fmla="*/ 449105 h 454272"/>
                    <a:gd name="connsiteX10" fmla="*/ 8840 w 514980"/>
                    <a:gd name="connsiteY10" fmla="*/ 442755 h 454272"/>
                    <a:gd name="connsiteX0" fmla="*/ 8840 w 514980"/>
                    <a:gd name="connsiteY0" fmla="*/ 442755 h 454272"/>
                    <a:gd name="connsiteX1" fmla="*/ 5665 w 514980"/>
                    <a:gd name="connsiteY1" fmla="*/ 217330 h 454272"/>
                    <a:gd name="connsiteX2" fmla="*/ 62412 w 514980"/>
                    <a:gd name="connsiteY2" fmla="*/ 129774 h 454272"/>
                    <a:gd name="connsiteX3" fmla="*/ 186237 w 514980"/>
                    <a:gd name="connsiteY3" fmla="*/ 91674 h 454272"/>
                    <a:gd name="connsiteX4" fmla="*/ 205690 w 514980"/>
                    <a:gd name="connsiteY4" fmla="*/ 10955 h 454272"/>
                    <a:gd name="connsiteX5" fmla="*/ 325550 w 514980"/>
                    <a:gd name="connsiteY5" fmla="*/ 9967 h 454272"/>
                    <a:gd name="connsiteX6" fmla="*/ 351353 w 514980"/>
                    <a:gd name="connsiteY6" fmla="*/ 96258 h 454272"/>
                    <a:gd name="connsiteX7" fmla="*/ 461084 w 514980"/>
                    <a:gd name="connsiteY7" fmla="*/ 143883 h 454272"/>
                    <a:gd name="connsiteX8" fmla="*/ 513665 w 514980"/>
                    <a:gd name="connsiteY8" fmla="*/ 226855 h 454272"/>
                    <a:gd name="connsiteX9" fmla="*/ 510490 w 514980"/>
                    <a:gd name="connsiteY9" fmla="*/ 449105 h 454272"/>
                    <a:gd name="connsiteX10" fmla="*/ 8840 w 514980"/>
                    <a:gd name="connsiteY10" fmla="*/ 442755 h 454272"/>
                    <a:gd name="connsiteX0" fmla="*/ 8840 w 514980"/>
                    <a:gd name="connsiteY0" fmla="*/ 442755 h 454272"/>
                    <a:gd name="connsiteX1" fmla="*/ 5665 w 514980"/>
                    <a:gd name="connsiteY1" fmla="*/ 217330 h 454272"/>
                    <a:gd name="connsiteX2" fmla="*/ 62412 w 514980"/>
                    <a:gd name="connsiteY2" fmla="*/ 129774 h 454272"/>
                    <a:gd name="connsiteX3" fmla="*/ 186237 w 514980"/>
                    <a:gd name="connsiteY3" fmla="*/ 91674 h 454272"/>
                    <a:gd name="connsiteX4" fmla="*/ 205690 w 514980"/>
                    <a:gd name="connsiteY4" fmla="*/ 10955 h 454272"/>
                    <a:gd name="connsiteX5" fmla="*/ 325550 w 514980"/>
                    <a:gd name="connsiteY5" fmla="*/ 9967 h 454272"/>
                    <a:gd name="connsiteX6" fmla="*/ 351353 w 514980"/>
                    <a:gd name="connsiteY6" fmla="*/ 96258 h 454272"/>
                    <a:gd name="connsiteX7" fmla="*/ 461084 w 514980"/>
                    <a:gd name="connsiteY7" fmla="*/ 143883 h 454272"/>
                    <a:gd name="connsiteX8" fmla="*/ 513665 w 514980"/>
                    <a:gd name="connsiteY8" fmla="*/ 226855 h 454272"/>
                    <a:gd name="connsiteX9" fmla="*/ 510490 w 514980"/>
                    <a:gd name="connsiteY9" fmla="*/ 449105 h 454272"/>
                    <a:gd name="connsiteX10" fmla="*/ 8840 w 514980"/>
                    <a:gd name="connsiteY10" fmla="*/ 442755 h 454272"/>
                    <a:gd name="connsiteX0" fmla="*/ 8840 w 514980"/>
                    <a:gd name="connsiteY0" fmla="*/ 436996 h 448513"/>
                    <a:gd name="connsiteX1" fmla="*/ 5665 w 514980"/>
                    <a:gd name="connsiteY1" fmla="*/ 211571 h 448513"/>
                    <a:gd name="connsiteX2" fmla="*/ 62412 w 514980"/>
                    <a:gd name="connsiteY2" fmla="*/ 124015 h 448513"/>
                    <a:gd name="connsiteX3" fmla="*/ 186237 w 514980"/>
                    <a:gd name="connsiteY3" fmla="*/ 85915 h 448513"/>
                    <a:gd name="connsiteX4" fmla="*/ 205690 w 514980"/>
                    <a:gd name="connsiteY4" fmla="*/ 5196 h 448513"/>
                    <a:gd name="connsiteX5" fmla="*/ 325550 w 514980"/>
                    <a:gd name="connsiteY5" fmla="*/ 4208 h 448513"/>
                    <a:gd name="connsiteX6" fmla="*/ 351353 w 514980"/>
                    <a:gd name="connsiteY6" fmla="*/ 90499 h 448513"/>
                    <a:gd name="connsiteX7" fmla="*/ 461084 w 514980"/>
                    <a:gd name="connsiteY7" fmla="*/ 138124 h 448513"/>
                    <a:gd name="connsiteX8" fmla="*/ 513665 w 514980"/>
                    <a:gd name="connsiteY8" fmla="*/ 221096 h 448513"/>
                    <a:gd name="connsiteX9" fmla="*/ 510490 w 514980"/>
                    <a:gd name="connsiteY9" fmla="*/ 443346 h 448513"/>
                    <a:gd name="connsiteX10" fmla="*/ 8840 w 514980"/>
                    <a:gd name="connsiteY10" fmla="*/ 436996 h 448513"/>
                    <a:gd name="connsiteX0" fmla="*/ 8840 w 514980"/>
                    <a:gd name="connsiteY0" fmla="*/ 436996 h 448513"/>
                    <a:gd name="connsiteX1" fmla="*/ 5665 w 514980"/>
                    <a:gd name="connsiteY1" fmla="*/ 211571 h 448513"/>
                    <a:gd name="connsiteX2" fmla="*/ 62412 w 514980"/>
                    <a:gd name="connsiteY2" fmla="*/ 124015 h 448513"/>
                    <a:gd name="connsiteX3" fmla="*/ 186237 w 514980"/>
                    <a:gd name="connsiteY3" fmla="*/ 85915 h 448513"/>
                    <a:gd name="connsiteX4" fmla="*/ 205690 w 514980"/>
                    <a:gd name="connsiteY4" fmla="*/ 5196 h 448513"/>
                    <a:gd name="connsiteX5" fmla="*/ 325550 w 514980"/>
                    <a:gd name="connsiteY5" fmla="*/ 4208 h 448513"/>
                    <a:gd name="connsiteX6" fmla="*/ 351353 w 514980"/>
                    <a:gd name="connsiteY6" fmla="*/ 90499 h 448513"/>
                    <a:gd name="connsiteX7" fmla="*/ 461084 w 514980"/>
                    <a:gd name="connsiteY7" fmla="*/ 138124 h 448513"/>
                    <a:gd name="connsiteX8" fmla="*/ 513665 w 514980"/>
                    <a:gd name="connsiteY8" fmla="*/ 221096 h 448513"/>
                    <a:gd name="connsiteX9" fmla="*/ 510490 w 514980"/>
                    <a:gd name="connsiteY9" fmla="*/ 443346 h 448513"/>
                    <a:gd name="connsiteX10" fmla="*/ 8840 w 514980"/>
                    <a:gd name="connsiteY10" fmla="*/ 436996 h 448513"/>
                    <a:gd name="connsiteX0" fmla="*/ 8840 w 514980"/>
                    <a:gd name="connsiteY0" fmla="*/ 436996 h 448513"/>
                    <a:gd name="connsiteX1" fmla="*/ 5665 w 514980"/>
                    <a:gd name="connsiteY1" fmla="*/ 211571 h 448513"/>
                    <a:gd name="connsiteX2" fmla="*/ 62412 w 514980"/>
                    <a:gd name="connsiteY2" fmla="*/ 124015 h 448513"/>
                    <a:gd name="connsiteX3" fmla="*/ 186237 w 514980"/>
                    <a:gd name="connsiteY3" fmla="*/ 85915 h 448513"/>
                    <a:gd name="connsiteX4" fmla="*/ 205690 w 514980"/>
                    <a:gd name="connsiteY4" fmla="*/ 5196 h 448513"/>
                    <a:gd name="connsiteX5" fmla="*/ 325550 w 514980"/>
                    <a:gd name="connsiteY5" fmla="*/ 4208 h 448513"/>
                    <a:gd name="connsiteX6" fmla="*/ 351353 w 514980"/>
                    <a:gd name="connsiteY6" fmla="*/ 90499 h 448513"/>
                    <a:gd name="connsiteX7" fmla="*/ 461084 w 514980"/>
                    <a:gd name="connsiteY7" fmla="*/ 138124 h 448513"/>
                    <a:gd name="connsiteX8" fmla="*/ 513665 w 514980"/>
                    <a:gd name="connsiteY8" fmla="*/ 221096 h 448513"/>
                    <a:gd name="connsiteX9" fmla="*/ 510490 w 514980"/>
                    <a:gd name="connsiteY9" fmla="*/ 443346 h 448513"/>
                    <a:gd name="connsiteX10" fmla="*/ 8840 w 514980"/>
                    <a:gd name="connsiteY10" fmla="*/ 436996 h 448513"/>
                    <a:gd name="connsiteX0" fmla="*/ 8840 w 514980"/>
                    <a:gd name="connsiteY0" fmla="*/ 436996 h 448513"/>
                    <a:gd name="connsiteX1" fmla="*/ 5665 w 514980"/>
                    <a:gd name="connsiteY1" fmla="*/ 211571 h 448513"/>
                    <a:gd name="connsiteX2" fmla="*/ 62412 w 514980"/>
                    <a:gd name="connsiteY2" fmla="*/ 124015 h 448513"/>
                    <a:gd name="connsiteX3" fmla="*/ 168766 w 514980"/>
                    <a:gd name="connsiteY3" fmla="*/ 88102 h 448513"/>
                    <a:gd name="connsiteX4" fmla="*/ 205690 w 514980"/>
                    <a:gd name="connsiteY4" fmla="*/ 5196 h 448513"/>
                    <a:gd name="connsiteX5" fmla="*/ 325550 w 514980"/>
                    <a:gd name="connsiteY5" fmla="*/ 4208 h 448513"/>
                    <a:gd name="connsiteX6" fmla="*/ 351353 w 514980"/>
                    <a:gd name="connsiteY6" fmla="*/ 90499 h 448513"/>
                    <a:gd name="connsiteX7" fmla="*/ 461084 w 514980"/>
                    <a:gd name="connsiteY7" fmla="*/ 138124 h 448513"/>
                    <a:gd name="connsiteX8" fmla="*/ 513665 w 514980"/>
                    <a:gd name="connsiteY8" fmla="*/ 221096 h 448513"/>
                    <a:gd name="connsiteX9" fmla="*/ 510490 w 514980"/>
                    <a:gd name="connsiteY9" fmla="*/ 443346 h 448513"/>
                    <a:gd name="connsiteX10" fmla="*/ 8840 w 514980"/>
                    <a:gd name="connsiteY10" fmla="*/ 436996 h 448513"/>
                    <a:gd name="connsiteX0" fmla="*/ 8840 w 514980"/>
                    <a:gd name="connsiteY0" fmla="*/ 440628 h 452145"/>
                    <a:gd name="connsiteX1" fmla="*/ 5665 w 514980"/>
                    <a:gd name="connsiteY1" fmla="*/ 215203 h 452145"/>
                    <a:gd name="connsiteX2" fmla="*/ 62412 w 514980"/>
                    <a:gd name="connsiteY2" fmla="*/ 127647 h 452145"/>
                    <a:gd name="connsiteX3" fmla="*/ 168766 w 514980"/>
                    <a:gd name="connsiteY3" fmla="*/ 91734 h 452145"/>
                    <a:gd name="connsiteX4" fmla="*/ 179484 w 514980"/>
                    <a:gd name="connsiteY4" fmla="*/ 4454 h 452145"/>
                    <a:gd name="connsiteX5" fmla="*/ 325550 w 514980"/>
                    <a:gd name="connsiteY5" fmla="*/ 7840 h 452145"/>
                    <a:gd name="connsiteX6" fmla="*/ 351353 w 514980"/>
                    <a:gd name="connsiteY6" fmla="*/ 94131 h 452145"/>
                    <a:gd name="connsiteX7" fmla="*/ 461084 w 514980"/>
                    <a:gd name="connsiteY7" fmla="*/ 141756 h 452145"/>
                    <a:gd name="connsiteX8" fmla="*/ 513665 w 514980"/>
                    <a:gd name="connsiteY8" fmla="*/ 224728 h 452145"/>
                    <a:gd name="connsiteX9" fmla="*/ 510490 w 514980"/>
                    <a:gd name="connsiteY9" fmla="*/ 446978 h 452145"/>
                    <a:gd name="connsiteX10" fmla="*/ 8840 w 514980"/>
                    <a:gd name="connsiteY10" fmla="*/ 440628 h 452145"/>
                    <a:gd name="connsiteX0" fmla="*/ 8840 w 514980"/>
                    <a:gd name="connsiteY0" fmla="*/ 442422 h 453939"/>
                    <a:gd name="connsiteX1" fmla="*/ 5665 w 514980"/>
                    <a:gd name="connsiteY1" fmla="*/ 216997 h 453939"/>
                    <a:gd name="connsiteX2" fmla="*/ 62412 w 514980"/>
                    <a:gd name="connsiteY2" fmla="*/ 129441 h 453939"/>
                    <a:gd name="connsiteX3" fmla="*/ 168766 w 514980"/>
                    <a:gd name="connsiteY3" fmla="*/ 93528 h 453939"/>
                    <a:gd name="connsiteX4" fmla="*/ 179484 w 514980"/>
                    <a:gd name="connsiteY4" fmla="*/ 6248 h 453939"/>
                    <a:gd name="connsiteX5" fmla="*/ 351756 w 514980"/>
                    <a:gd name="connsiteY5" fmla="*/ 886 h 453939"/>
                    <a:gd name="connsiteX6" fmla="*/ 351353 w 514980"/>
                    <a:gd name="connsiteY6" fmla="*/ 95925 h 453939"/>
                    <a:gd name="connsiteX7" fmla="*/ 461084 w 514980"/>
                    <a:gd name="connsiteY7" fmla="*/ 143550 h 453939"/>
                    <a:gd name="connsiteX8" fmla="*/ 513665 w 514980"/>
                    <a:gd name="connsiteY8" fmla="*/ 226522 h 453939"/>
                    <a:gd name="connsiteX9" fmla="*/ 510490 w 514980"/>
                    <a:gd name="connsiteY9" fmla="*/ 448772 h 453939"/>
                    <a:gd name="connsiteX10" fmla="*/ 8840 w 514980"/>
                    <a:gd name="connsiteY10" fmla="*/ 442422 h 453939"/>
                    <a:gd name="connsiteX0" fmla="*/ 8840 w 514980"/>
                    <a:gd name="connsiteY0" fmla="*/ 442422 h 453939"/>
                    <a:gd name="connsiteX1" fmla="*/ 5665 w 514980"/>
                    <a:gd name="connsiteY1" fmla="*/ 216997 h 453939"/>
                    <a:gd name="connsiteX2" fmla="*/ 62412 w 514980"/>
                    <a:gd name="connsiteY2" fmla="*/ 129441 h 453939"/>
                    <a:gd name="connsiteX3" fmla="*/ 168766 w 514980"/>
                    <a:gd name="connsiteY3" fmla="*/ 93528 h 453939"/>
                    <a:gd name="connsiteX4" fmla="*/ 179484 w 514980"/>
                    <a:gd name="connsiteY4" fmla="*/ 6248 h 453939"/>
                    <a:gd name="connsiteX5" fmla="*/ 351756 w 514980"/>
                    <a:gd name="connsiteY5" fmla="*/ 886 h 453939"/>
                    <a:gd name="connsiteX6" fmla="*/ 366640 w 514980"/>
                    <a:gd name="connsiteY6" fmla="*/ 100299 h 453939"/>
                    <a:gd name="connsiteX7" fmla="*/ 461084 w 514980"/>
                    <a:gd name="connsiteY7" fmla="*/ 143550 h 453939"/>
                    <a:gd name="connsiteX8" fmla="*/ 513665 w 514980"/>
                    <a:gd name="connsiteY8" fmla="*/ 226522 h 453939"/>
                    <a:gd name="connsiteX9" fmla="*/ 510490 w 514980"/>
                    <a:gd name="connsiteY9" fmla="*/ 448772 h 453939"/>
                    <a:gd name="connsiteX10" fmla="*/ 8840 w 514980"/>
                    <a:gd name="connsiteY10" fmla="*/ 442422 h 453939"/>
                    <a:gd name="connsiteX0" fmla="*/ 8840 w 514980"/>
                    <a:gd name="connsiteY0" fmla="*/ 442422 h 450476"/>
                    <a:gd name="connsiteX1" fmla="*/ 5665 w 514980"/>
                    <a:gd name="connsiteY1" fmla="*/ 216997 h 450476"/>
                    <a:gd name="connsiteX2" fmla="*/ 62412 w 514980"/>
                    <a:gd name="connsiteY2" fmla="*/ 129441 h 450476"/>
                    <a:gd name="connsiteX3" fmla="*/ 168766 w 514980"/>
                    <a:gd name="connsiteY3" fmla="*/ 93528 h 450476"/>
                    <a:gd name="connsiteX4" fmla="*/ 179484 w 514980"/>
                    <a:gd name="connsiteY4" fmla="*/ 6248 h 450476"/>
                    <a:gd name="connsiteX5" fmla="*/ 351756 w 514980"/>
                    <a:gd name="connsiteY5" fmla="*/ 886 h 450476"/>
                    <a:gd name="connsiteX6" fmla="*/ 366640 w 514980"/>
                    <a:gd name="connsiteY6" fmla="*/ 100299 h 450476"/>
                    <a:gd name="connsiteX7" fmla="*/ 461084 w 514980"/>
                    <a:gd name="connsiteY7" fmla="*/ 143550 h 450476"/>
                    <a:gd name="connsiteX8" fmla="*/ 513665 w 514980"/>
                    <a:gd name="connsiteY8" fmla="*/ 226522 h 450476"/>
                    <a:gd name="connsiteX9" fmla="*/ 510490 w 514980"/>
                    <a:gd name="connsiteY9" fmla="*/ 448772 h 450476"/>
                    <a:gd name="connsiteX10" fmla="*/ 8840 w 514980"/>
                    <a:gd name="connsiteY10" fmla="*/ 442422 h 450476"/>
                    <a:gd name="connsiteX0" fmla="*/ 8840 w 514980"/>
                    <a:gd name="connsiteY0" fmla="*/ 442422 h 448772"/>
                    <a:gd name="connsiteX1" fmla="*/ 5665 w 514980"/>
                    <a:gd name="connsiteY1" fmla="*/ 216997 h 448772"/>
                    <a:gd name="connsiteX2" fmla="*/ 62412 w 514980"/>
                    <a:gd name="connsiteY2" fmla="*/ 129441 h 448772"/>
                    <a:gd name="connsiteX3" fmla="*/ 168766 w 514980"/>
                    <a:gd name="connsiteY3" fmla="*/ 93528 h 448772"/>
                    <a:gd name="connsiteX4" fmla="*/ 179484 w 514980"/>
                    <a:gd name="connsiteY4" fmla="*/ 6248 h 448772"/>
                    <a:gd name="connsiteX5" fmla="*/ 351756 w 514980"/>
                    <a:gd name="connsiteY5" fmla="*/ 886 h 448772"/>
                    <a:gd name="connsiteX6" fmla="*/ 366640 w 514980"/>
                    <a:gd name="connsiteY6" fmla="*/ 100299 h 448772"/>
                    <a:gd name="connsiteX7" fmla="*/ 461084 w 514980"/>
                    <a:gd name="connsiteY7" fmla="*/ 143550 h 448772"/>
                    <a:gd name="connsiteX8" fmla="*/ 513665 w 514980"/>
                    <a:gd name="connsiteY8" fmla="*/ 226522 h 448772"/>
                    <a:gd name="connsiteX9" fmla="*/ 510490 w 514980"/>
                    <a:gd name="connsiteY9" fmla="*/ 448772 h 448772"/>
                    <a:gd name="connsiteX10" fmla="*/ 8840 w 514980"/>
                    <a:gd name="connsiteY10" fmla="*/ 442422 h 448772"/>
                    <a:gd name="connsiteX0" fmla="*/ 8840 w 514980"/>
                    <a:gd name="connsiteY0" fmla="*/ 442422 h 448772"/>
                    <a:gd name="connsiteX1" fmla="*/ 5665 w 514980"/>
                    <a:gd name="connsiteY1" fmla="*/ 216997 h 448772"/>
                    <a:gd name="connsiteX2" fmla="*/ 62412 w 514980"/>
                    <a:gd name="connsiteY2" fmla="*/ 129441 h 448772"/>
                    <a:gd name="connsiteX3" fmla="*/ 168766 w 514980"/>
                    <a:gd name="connsiteY3" fmla="*/ 93528 h 448772"/>
                    <a:gd name="connsiteX4" fmla="*/ 179484 w 514980"/>
                    <a:gd name="connsiteY4" fmla="*/ 6248 h 448772"/>
                    <a:gd name="connsiteX5" fmla="*/ 351756 w 514980"/>
                    <a:gd name="connsiteY5" fmla="*/ 886 h 448772"/>
                    <a:gd name="connsiteX6" fmla="*/ 357905 w 514980"/>
                    <a:gd name="connsiteY6" fmla="*/ 98112 h 448772"/>
                    <a:gd name="connsiteX7" fmla="*/ 461084 w 514980"/>
                    <a:gd name="connsiteY7" fmla="*/ 143550 h 448772"/>
                    <a:gd name="connsiteX8" fmla="*/ 513665 w 514980"/>
                    <a:gd name="connsiteY8" fmla="*/ 226522 h 448772"/>
                    <a:gd name="connsiteX9" fmla="*/ 510490 w 514980"/>
                    <a:gd name="connsiteY9" fmla="*/ 448772 h 448772"/>
                    <a:gd name="connsiteX10" fmla="*/ 8840 w 514980"/>
                    <a:gd name="connsiteY10" fmla="*/ 442422 h 448772"/>
                    <a:gd name="connsiteX0" fmla="*/ 8840 w 514980"/>
                    <a:gd name="connsiteY0" fmla="*/ 442422 h 448772"/>
                    <a:gd name="connsiteX1" fmla="*/ 5665 w 514980"/>
                    <a:gd name="connsiteY1" fmla="*/ 216997 h 448772"/>
                    <a:gd name="connsiteX2" fmla="*/ 62412 w 514980"/>
                    <a:gd name="connsiteY2" fmla="*/ 129441 h 448772"/>
                    <a:gd name="connsiteX3" fmla="*/ 168766 w 514980"/>
                    <a:gd name="connsiteY3" fmla="*/ 93528 h 448772"/>
                    <a:gd name="connsiteX4" fmla="*/ 179484 w 514980"/>
                    <a:gd name="connsiteY4" fmla="*/ 6248 h 448772"/>
                    <a:gd name="connsiteX5" fmla="*/ 351756 w 514980"/>
                    <a:gd name="connsiteY5" fmla="*/ 886 h 448772"/>
                    <a:gd name="connsiteX6" fmla="*/ 357905 w 514980"/>
                    <a:gd name="connsiteY6" fmla="*/ 98112 h 448772"/>
                    <a:gd name="connsiteX7" fmla="*/ 454533 w 514980"/>
                    <a:gd name="connsiteY7" fmla="*/ 136989 h 448772"/>
                    <a:gd name="connsiteX8" fmla="*/ 513665 w 514980"/>
                    <a:gd name="connsiteY8" fmla="*/ 226522 h 448772"/>
                    <a:gd name="connsiteX9" fmla="*/ 510490 w 514980"/>
                    <a:gd name="connsiteY9" fmla="*/ 448772 h 448772"/>
                    <a:gd name="connsiteX10" fmla="*/ 8840 w 514980"/>
                    <a:gd name="connsiteY10" fmla="*/ 442422 h 448772"/>
                    <a:gd name="connsiteX0" fmla="*/ 8840 w 514980"/>
                    <a:gd name="connsiteY0" fmla="*/ 442422 h 448772"/>
                    <a:gd name="connsiteX1" fmla="*/ 5665 w 514980"/>
                    <a:gd name="connsiteY1" fmla="*/ 216997 h 448772"/>
                    <a:gd name="connsiteX2" fmla="*/ 62412 w 514980"/>
                    <a:gd name="connsiteY2" fmla="*/ 129441 h 448772"/>
                    <a:gd name="connsiteX3" fmla="*/ 168766 w 514980"/>
                    <a:gd name="connsiteY3" fmla="*/ 93528 h 448772"/>
                    <a:gd name="connsiteX4" fmla="*/ 179484 w 514980"/>
                    <a:gd name="connsiteY4" fmla="*/ 6248 h 448772"/>
                    <a:gd name="connsiteX5" fmla="*/ 351756 w 514980"/>
                    <a:gd name="connsiteY5" fmla="*/ 886 h 448772"/>
                    <a:gd name="connsiteX6" fmla="*/ 357905 w 514980"/>
                    <a:gd name="connsiteY6" fmla="*/ 98112 h 448772"/>
                    <a:gd name="connsiteX7" fmla="*/ 454533 w 514980"/>
                    <a:gd name="connsiteY7" fmla="*/ 136989 h 448772"/>
                    <a:gd name="connsiteX8" fmla="*/ 513665 w 514980"/>
                    <a:gd name="connsiteY8" fmla="*/ 226522 h 448772"/>
                    <a:gd name="connsiteX9" fmla="*/ 510490 w 514980"/>
                    <a:gd name="connsiteY9" fmla="*/ 448772 h 448772"/>
                    <a:gd name="connsiteX10" fmla="*/ 8840 w 514980"/>
                    <a:gd name="connsiteY10" fmla="*/ 442422 h 448772"/>
                    <a:gd name="connsiteX0" fmla="*/ 8840 w 514980"/>
                    <a:gd name="connsiteY0" fmla="*/ 442422 h 448772"/>
                    <a:gd name="connsiteX1" fmla="*/ 5665 w 514980"/>
                    <a:gd name="connsiteY1" fmla="*/ 216997 h 448772"/>
                    <a:gd name="connsiteX2" fmla="*/ 62412 w 514980"/>
                    <a:gd name="connsiteY2" fmla="*/ 129441 h 448772"/>
                    <a:gd name="connsiteX3" fmla="*/ 168766 w 514980"/>
                    <a:gd name="connsiteY3" fmla="*/ 93528 h 448772"/>
                    <a:gd name="connsiteX4" fmla="*/ 179484 w 514980"/>
                    <a:gd name="connsiteY4" fmla="*/ 6248 h 448772"/>
                    <a:gd name="connsiteX5" fmla="*/ 351756 w 514980"/>
                    <a:gd name="connsiteY5" fmla="*/ 886 h 448772"/>
                    <a:gd name="connsiteX6" fmla="*/ 357905 w 514980"/>
                    <a:gd name="connsiteY6" fmla="*/ 98112 h 448772"/>
                    <a:gd name="connsiteX7" fmla="*/ 454533 w 514980"/>
                    <a:gd name="connsiteY7" fmla="*/ 136989 h 448772"/>
                    <a:gd name="connsiteX8" fmla="*/ 513665 w 514980"/>
                    <a:gd name="connsiteY8" fmla="*/ 226522 h 448772"/>
                    <a:gd name="connsiteX9" fmla="*/ 510490 w 514980"/>
                    <a:gd name="connsiteY9" fmla="*/ 448772 h 448772"/>
                    <a:gd name="connsiteX10" fmla="*/ 8840 w 514980"/>
                    <a:gd name="connsiteY10" fmla="*/ 442422 h 448772"/>
                    <a:gd name="connsiteX0" fmla="*/ 8840 w 514980"/>
                    <a:gd name="connsiteY0" fmla="*/ 442422 h 448772"/>
                    <a:gd name="connsiteX1" fmla="*/ 5665 w 514980"/>
                    <a:gd name="connsiteY1" fmla="*/ 216997 h 448772"/>
                    <a:gd name="connsiteX2" fmla="*/ 62412 w 514980"/>
                    <a:gd name="connsiteY2" fmla="*/ 129441 h 448772"/>
                    <a:gd name="connsiteX3" fmla="*/ 168766 w 514980"/>
                    <a:gd name="connsiteY3" fmla="*/ 93528 h 448772"/>
                    <a:gd name="connsiteX4" fmla="*/ 179484 w 514980"/>
                    <a:gd name="connsiteY4" fmla="*/ 6248 h 448772"/>
                    <a:gd name="connsiteX5" fmla="*/ 351756 w 514980"/>
                    <a:gd name="connsiteY5" fmla="*/ 886 h 448772"/>
                    <a:gd name="connsiteX6" fmla="*/ 353538 w 514980"/>
                    <a:gd name="connsiteY6" fmla="*/ 98112 h 448772"/>
                    <a:gd name="connsiteX7" fmla="*/ 454533 w 514980"/>
                    <a:gd name="connsiteY7" fmla="*/ 136989 h 448772"/>
                    <a:gd name="connsiteX8" fmla="*/ 513665 w 514980"/>
                    <a:gd name="connsiteY8" fmla="*/ 226522 h 448772"/>
                    <a:gd name="connsiteX9" fmla="*/ 510490 w 514980"/>
                    <a:gd name="connsiteY9" fmla="*/ 448772 h 448772"/>
                    <a:gd name="connsiteX10" fmla="*/ 8840 w 514980"/>
                    <a:gd name="connsiteY10" fmla="*/ 442422 h 448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14980" h="448772">
                      <a:moveTo>
                        <a:pt x="8840" y="442422"/>
                      </a:moveTo>
                      <a:cubicBezTo>
                        <a:pt x="-1214" y="377864"/>
                        <a:pt x="-3264" y="269160"/>
                        <a:pt x="5665" y="216997"/>
                      </a:cubicBezTo>
                      <a:cubicBezTo>
                        <a:pt x="14594" y="164834"/>
                        <a:pt x="35229" y="150019"/>
                        <a:pt x="62412" y="129441"/>
                      </a:cubicBezTo>
                      <a:cubicBezTo>
                        <a:pt x="89595" y="108863"/>
                        <a:pt x="149254" y="114060"/>
                        <a:pt x="168766" y="93528"/>
                      </a:cubicBezTo>
                      <a:cubicBezTo>
                        <a:pt x="188278" y="72996"/>
                        <a:pt x="189023" y="43922"/>
                        <a:pt x="179484" y="6248"/>
                      </a:cubicBezTo>
                      <a:cubicBezTo>
                        <a:pt x="202703" y="-7370"/>
                        <a:pt x="323111" y="6352"/>
                        <a:pt x="351756" y="886"/>
                      </a:cubicBezTo>
                      <a:cubicBezTo>
                        <a:pt x="354195" y="39159"/>
                        <a:pt x="342961" y="75428"/>
                        <a:pt x="353538" y="98112"/>
                      </a:cubicBezTo>
                      <a:cubicBezTo>
                        <a:pt x="364115" y="120796"/>
                        <a:pt x="427845" y="115587"/>
                        <a:pt x="454533" y="136989"/>
                      </a:cubicBezTo>
                      <a:cubicBezTo>
                        <a:pt x="481221" y="158391"/>
                        <a:pt x="503611" y="177839"/>
                        <a:pt x="513665" y="226522"/>
                      </a:cubicBezTo>
                      <a:cubicBezTo>
                        <a:pt x="516840" y="276264"/>
                        <a:pt x="513665" y="323360"/>
                        <a:pt x="510490" y="448772"/>
                      </a:cubicBezTo>
                      <a:lnTo>
                        <a:pt x="8840" y="442422"/>
                      </a:lnTo>
                      <a:close/>
                    </a:path>
                  </a:pathLst>
                </a:custGeom>
                <a:grpFill/>
                <a:ln w="571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116" name="Oval 115">
                  <a:extLst>
                    <a:ext uri="{FF2B5EF4-FFF2-40B4-BE49-F238E27FC236}">
                      <a16:creationId xmlns:a16="http://schemas.microsoft.com/office/drawing/2014/main" id="{1FB1BDD2-1906-9E47-BD55-5E0DFEFC4AE3}"/>
                    </a:ext>
                  </a:extLst>
                </p:cNvPr>
                <p:cNvSpPr/>
                <p:nvPr/>
              </p:nvSpPr>
              <p:spPr>
                <a:xfrm>
                  <a:off x="1971467" y="3508300"/>
                  <a:ext cx="282088" cy="336550"/>
                </a:xfrm>
                <a:prstGeom prst="ellipse">
                  <a:avLst/>
                </a:prstGeom>
                <a:grpFill/>
                <a:ln w="571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grpSp>
          <p:grpSp>
            <p:nvGrpSpPr>
              <p:cNvPr id="112" name="Group 111">
                <a:extLst>
                  <a:ext uri="{FF2B5EF4-FFF2-40B4-BE49-F238E27FC236}">
                    <a16:creationId xmlns:a16="http://schemas.microsoft.com/office/drawing/2014/main" id="{34DA0904-E664-4B49-ADC1-211966C57A3A}"/>
                  </a:ext>
                </a:extLst>
              </p:cNvPr>
              <p:cNvGrpSpPr/>
              <p:nvPr/>
            </p:nvGrpSpPr>
            <p:grpSpPr>
              <a:xfrm>
                <a:off x="1553120" y="3388644"/>
                <a:ext cx="633802" cy="938165"/>
                <a:chOff x="1806977" y="3500843"/>
                <a:chExt cx="539989" cy="738018"/>
              </a:xfrm>
            </p:grpSpPr>
            <p:sp>
              <p:nvSpPr>
                <p:cNvPr id="113" name="Freeform 112">
                  <a:extLst>
                    <a:ext uri="{FF2B5EF4-FFF2-40B4-BE49-F238E27FC236}">
                      <a16:creationId xmlns:a16="http://schemas.microsoft.com/office/drawing/2014/main" id="{7FD3A11E-4DCB-B045-BA99-04555C36D750}"/>
                    </a:ext>
                  </a:extLst>
                </p:cNvPr>
                <p:cNvSpPr/>
                <p:nvPr/>
              </p:nvSpPr>
              <p:spPr>
                <a:xfrm>
                  <a:off x="1806977" y="3782373"/>
                  <a:ext cx="539989" cy="456488"/>
                </a:xfrm>
                <a:custGeom>
                  <a:avLst/>
                  <a:gdLst>
                    <a:gd name="connsiteX0" fmla="*/ 36807 w 576731"/>
                    <a:gd name="connsiteY0" fmla="*/ 449906 h 505924"/>
                    <a:gd name="connsiteX1" fmla="*/ 39982 w 576731"/>
                    <a:gd name="connsiteY1" fmla="*/ 214956 h 505924"/>
                    <a:gd name="connsiteX2" fmla="*/ 55857 w 576731"/>
                    <a:gd name="connsiteY2" fmla="*/ 176856 h 505924"/>
                    <a:gd name="connsiteX3" fmla="*/ 103482 w 576731"/>
                    <a:gd name="connsiteY3" fmla="*/ 160981 h 505924"/>
                    <a:gd name="connsiteX4" fmla="*/ 205082 w 576731"/>
                    <a:gd name="connsiteY4" fmla="*/ 154631 h 505924"/>
                    <a:gd name="connsiteX5" fmla="*/ 230482 w 576731"/>
                    <a:gd name="connsiteY5" fmla="*/ 151456 h 505924"/>
                    <a:gd name="connsiteX6" fmla="*/ 233657 w 576731"/>
                    <a:gd name="connsiteY6" fmla="*/ 18106 h 505924"/>
                    <a:gd name="connsiteX7" fmla="*/ 344782 w 576731"/>
                    <a:gd name="connsiteY7" fmla="*/ 14931 h 505924"/>
                    <a:gd name="connsiteX8" fmla="*/ 344782 w 576731"/>
                    <a:gd name="connsiteY8" fmla="*/ 145106 h 505924"/>
                    <a:gd name="connsiteX9" fmla="*/ 386057 w 576731"/>
                    <a:gd name="connsiteY9" fmla="*/ 151456 h 505924"/>
                    <a:gd name="connsiteX10" fmla="*/ 478132 w 576731"/>
                    <a:gd name="connsiteY10" fmla="*/ 164156 h 505924"/>
                    <a:gd name="connsiteX11" fmla="*/ 519407 w 576731"/>
                    <a:gd name="connsiteY11" fmla="*/ 189556 h 505924"/>
                    <a:gd name="connsiteX12" fmla="*/ 541632 w 576731"/>
                    <a:gd name="connsiteY12" fmla="*/ 234006 h 505924"/>
                    <a:gd name="connsiteX13" fmla="*/ 538457 w 576731"/>
                    <a:gd name="connsiteY13" fmla="*/ 488006 h 505924"/>
                    <a:gd name="connsiteX14" fmla="*/ 36807 w 576731"/>
                    <a:gd name="connsiteY14" fmla="*/ 449906 h 505924"/>
                    <a:gd name="connsiteX0" fmla="*/ 5769 w 545693"/>
                    <a:gd name="connsiteY0" fmla="*/ 449906 h 505924"/>
                    <a:gd name="connsiteX1" fmla="*/ 8944 w 545693"/>
                    <a:gd name="connsiteY1" fmla="*/ 214956 h 505924"/>
                    <a:gd name="connsiteX2" fmla="*/ 24819 w 545693"/>
                    <a:gd name="connsiteY2" fmla="*/ 176856 h 505924"/>
                    <a:gd name="connsiteX3" fmla="*/ 72444 w 545693"/>
                    <a:gd name="connsiteY3" fmla="*/ 160981 h 505924"/>
                    <a:gd name="connsiteX4" fmla="*/ 174044 w 545693"/>
                    <a:gd name="connsiteY4" fmla="*/ 154631 h 505924"/>
                    <a:gd name="connsiteX5" fmla="*/ 199444 w 545693"/>
                    <a:gd name="connsiteY5" fmla="*/ 151456 h 505924"/>
                    <a:gd name="connsiteX6" fmla="*/ 202619 w 545693"/>
                    <a:gd name="connsiteY6" fmla="*/ 18106 h 505924"/>
                    <a:gd name="connsiteX7" fmla="*/ 313744 w 545693"/>
                    <a:gd name="connsiteY7" fmla="*/ 14931 h 505924"/>
                    <a:gd name="connsiteX8" fmla="*/ 313744 w 545693"/>
                    <a:gd name="connsiteY8" fmla="*/ 145106 h 505924"/>
                    <a:gd name="connsiteX9" fmla="*/ 355019 w 545693"/>
                    <a:gd name="connsiteY9" fmla="*/ 151456 h 505924"/>
                    <a:gd name="connsiteX10" fmla="*/ 447094 w 545693"/>
                    <a:gd name="connsiteY10" fmla="*/ 164156 h 505924"/>
                    <a:gd name="connsiteX11" fmla="*/ 488369 w 545693"/>
                    <a:gd name="connsiteY11" fmla="*/ 189556 h 505924"/>
                    <a:gd name="connsiteX12" fmla="*/ 510594 w 545693"/>
                    <a:gd name="connsiteY12" fmla="*/ 234006 h 505924"/>
                    <a:gd name="connsiteX13" fmla="*/ 507419 w 545693"/>
                    <a:gd name="connsiteY13" fmla="*/ 488006 h 505924"/>
                    <a:gd name="connsiteX14" fmla="*/ 5769 w 545693"/>
                    <a:gd name="connsiteY14" fmla="*/ 449906 h 505924"/>
                    <a:gd name="connsiteX0" fmla="*/ 21286 w 561210"/>
                    <a:gd name="connsiteY0" fmla="*/ 449906 h 508025"/>
                    <a:gd name="connsiteX1" fmla="*/ 24461 w 561210"/>
                    <a:gd name="connsiteY1" fmla="*/ 214956 h 508025"/>
                    <a:gd name="connsiteX2" fmla="*/ 40336 w 561210"/>
                    <a:gd name="connsiteY2" fmla="*/ 176856 h 508025"/>
                    <a:gd name="connsiteX3" fmla="*/ 87961 w 561210"/>
                    <a:gd name="connsiteY3" fmla="*/ 160981 h 508025"/>
                    <a:gd name="connsiteX4" fmla="*/ 189561 w 561210"/>
                    <a:gd name="connsiteY4" fmla="*/ 154631 h 508025"/>
                    <a:gd name="connsiteX5" fmla="*/ 214961 w 561210"/>
                    <a:gd name="connsiteY5" fmla="*/ 151456 h 508025"/>
                    <a:gd name="connsiteX6" fmla="*/ 218136 w 561210"/>
                    <a:gd name="connsiteY6" fmla="*/ 18106 h 508025"/>
                    <a:gd name="connsiteX7" fmla="*/ 329261 w 561210"/>
                    <a:gd name="connsiteY7" fmla="*/ 14931 h 508025"/>
                    <a:gd name="connsiteX8" fmla="*/ 329261 w 561210"/>
                    <a:gd name="connsiteY8" fmla="*/ 145106 h 508025"/>
                    <a:gd name="connsiteX9" fmla="*/ 370536 w 561210"/>
                    <a:gd name="connsiteY9" fmla="*/ 151456 h 508025"/>
                    <a:gd name="connsiteX10" fmla="*/ 462611 w 561210"/>
                    <a:gd name="connsiteY10" fmla="*/ 164156 h 508025"/>
                    <a:gd name="connsiteX11" fmla="*/ 503886 w 561210"/>
                    <a:gd name="connsiteY11" fmla="*/ 189556 h 508025"/>
                    <a:gd name="connsiteX12" fmla="*/ 526111 w 561210"/>
                    <a:gd name="connsiteY12" fmla="*/ 234006 h 508025"/>
                    <a:gd name="connsiteX13" fmla="*/ 522936 w 561210"/>
                    <a:gd name="connsiteY13" fmla="*/ 488006 h 508025"/>
                    <a:gd name="connsiteX14" fmla="*/ 21286 w 561210"/>
                    <a:gd name="connsiteY14" fmla="*/ 449906 h 508025"/>
                    <a:gd name="connsiteX0" fmla="*/ 21286 w 561210"/>
                    <a:gd name="connsiteY0" fmla="*/ 449906 h 508025"/>
                    <a:gd name="connsiteX1" fmla="*/ 24461 w 561210"/>
                    <a:gd name="connsiteY1" fmla="*/ 214956 h 508025"/>
                    <a:gd name="connsiteX2" fmla="*/ 40336 w 561210"/>
                    <a:gd name="connsiteY2" fmla="*/ 176856 h 508025"/>
                    <a:gd name="connsiteX3" fmla="*/ 87961 w 561210"/>
                    <a:gd name="connsiteY3" fmla="*/ 160981 h 508025"/>
                    <a:gd name="connsiteX4" fmla="*/ 189561 w 561210"/>
                    <a:gd name="connsiteY4" fmla="*/ 154631 h 508025"/>
                    <a:gd name="connsiteX5" fmla="*/ 214961 w 561210"/>
                    <a:gd name="connsiteY5" fmla="*/ 151456 h 508025"/>
                    <a:gd name="connsiteX6" fmla="*/ 218136 w 561210"/>
                    <a:gd name="connsiteY6" fmla="*/ 18106 h 508025"/>
                    <a:gd name="connsiteX7" fmla="*/ 329261 w 561210"/>
                    <a:gd name="connsiteY7" fmla="*/ 14931 h 508025"/>
                    <a:gd name="connsiteX8" fmla="*/ 329261 w 561210"/>
                    <a:gd name="connsiteY8" fmla="*/ 145106 h 508025"/>
                    <a:gd name="connsiteX9" fmla="*/ 370536 w 561210"/>
                    <a:gd name="connsiteY9" fmla="*/ 151456 h 508025"/>
                    <a:gd name="connsiteX10" fmla="*/ 462611 w 561210"/>
                    <a:gd name="connsiteY10" fmla="*/ 164156 h 508025"/>
                    <a:gd name="connsiteX11" fmla="*/ 503886 w 561210"/>
                    <a:gd name="connsiteY11" fmla="*/ 189556 h 508025"/>
                    <a:gd name="connsiteX12" fmla="*/ 526111 w 561210"/>
                    <a:gd name="connsiteY12" fmla="*/ 234006 h 508025"/>
                    <a:gd name="connsiteX13" fmla="*/ 522936 w 561210"/>
                    <a:gd name="connsiteY13" fmla="*/ 488006 h 508025"/>
                    <a:gd name="connsiteX14" fmla="*/ 21286 w 561210"/>
                    <a:gd name="connsiteY14" fmla="*/ 449906 h 508025"/>
                    <a:gd name="connsiteX0" fmla="*/ 4360 w 544284"/>
                    <a:gd name="connsiteY0" fmla="*/ 449906 h 508025"/>
                    <a:gd name="connsiteX1" fmla="*/ 7535 w 544284"/>
                    <a:gd name="connsiteY1" fmla="*/ 214956 h 508025"/>
                    <a:gd name="connsiteX2" fmla="*/ 23410 w 544284"/>
                    <a:gd name="connsiteY2" fmla="*/ 176856 h 508025"/>
                    <a:gd name="connsiteX3" fmla="*/ 71035 w 544284"/>
                    <a:gd name="connsiteY3" fmla="*/ 160981 h 508025"/>
                    <a:gd name="connsiteX4" fmla="*/ 172635 w 544284"/>
                    <a:gd name="connsiteY4" fmla="*/ 154631 h 508025"/>
                    <a:gd name="connsiteX5" fmla="*/ 198035 w 544284"/>
                    <a:gd name="connsiteY5" fmla="*/ 151456 h 508025"/>
                    <a:gd name="connsiteX6" fmla="*/ 201210 w 544284"/>
                    <a:gd name="connsiteY6" fmla="*/ 18106 h 508025"/>
                    <a:gd name="connsiteX7" fmla="*/ 312335 w 544284"/>
                    <a:gd name="connsiteY7" fmla="*/ 14931 h 508025"/>
                    <a:gd name="connsiteX8" fmla="*/ 312335 w 544284"/>
                    <a:gd name="connsiteY8" fmla="*/ 145106 h 508025"/>
                    <a:gd name="connsiteX9" fmla="*/ 353610 w 544284"/>
                    <a:gd name="connsiteY9" fmla="*/ 151456 h 508025"/>
                    <a:gd name="connsiteX10" fmla="*/ 445685 w 544284"/>
                    <a:gd name="connsiteY10" fmla="*/ 164156 h 508025"/>
                    <a:gd name="connsiteX11" fmla="*/ 486960 w 544284"/>
                    <a:gd name="connsiteY11" fmla="*/ 189556 h 508025"/>
                    <a:gd name="connsiteX12" fmla="*/ 509185 w 544284"/>
                    <a:gd name="connsiteY12" fmla="*/ 234006 h 508025"/>
                    <a:gd name="connsiteX13" fmla="*/ 506010 w 544284"/>
                    <a:gd name="connsiteY13" fmla="*/ 488006 h 508025"/>
                    <a:gd name="connsiteX14" fmla="*/ 4360 w 544284"/>
                    <a:gd name="connsiteY14" fmla="*/ 449906 h 508025"/>
                    <a:gd name="connsiteX0" fmla="*/ 4360 w 544284"/>
                    <a:gd name="connsiteY0" fmla="*/ 449906 h 500804"/>
                    <a:gd name="connsiteX1" fmla="*/ 7535 w 544284"/>
                    <a:gd name="connsiteY1" fmla="*/ 214956 h 500804"/>
                    <a:gd name="connsiteX2" fmla="*/ 23410 w 544284"/>
                    <a:gd name="connsiteY2" fmla="*/ 176856 h 500804"/>
                    <a:gd name="connsiteX3" fmla="*/ 71035 w 544284"/>
                    <a:gd name="connsiteY3" fmla="*/ 160981 h 500804"/>
                    <a:gd name="connsiteX4" fmla="*/ 172635 w 544284"/>
                    <a:gd name="connsiteY4" fmla="*/ 154631 h 500804"/>
                    <a:gd name="connsiteX5" fmla="*/ 198035 w 544284"/>
                    <a:gd name="connsiteY5" fmla="*/ 151456 h 500804"/>
                    <a:gd name="connsiteX6" fmla="*/ 201210 w 544284"/>
                    <a:gd name="connsiteY6" fmla="*/ 18106 h 500804"/>
                    <a:gd name="connsiteX7" fmla="*/ 312335 w 544284"/>
                    <a:gd name="connsiteY7" fmla="*/ 14931 h 500804"/>
                    <a:gd name="connsiteX8" fmla="*/ 312335 w 544284"/>
                    <a:gd name="connsiteY8" fmla="*/ 145106 h 500804"/>
                    <a:gd name="connsiteX9" fmla="*/ 353610 w 544284"/>
                    <a:gd name="connsiteY9" fmla="*/ 151456 h 500804"/>
                    <a:gd name="connsiteX10" fmla="*/ 445685 w 544284"/>
                    <a:gd name="connsiteY10" fmla="*/ 164156 h 500804"/>
                    <a:gd name="connsiteX11" fmla="*/ 486960 w 544284"/>
                    <a:gd name="connsiteY11" fmla="*/ 189556 h 500804"/>
                    <a:gd name="connsiteX12" fmla="*/ 509185 w 544284"/>
                    <a:gd name="connsiteY12" fmla="*/ 234006 h 500804"/>
                    <a:gd name="connsiteX13" fmla="*/ 506010 w 544284"/>
                    <a:gd name="connsiteY13" fmla="*/ 488006 h 500804"/>
                    <a:gd name="connsiteX14" fmla="*/ 4360 w 544284"/>
                    <a:gd name="connsiteY14" fmla="*/ 449906 h 500804"/>
                    <a:gd name="connsiteX0" fmla="*/ 4360 w 544284"/>
                    <a:gd name="connsiteY0" fmla="*/ 449906 h 500804"/>
                    <a:gd name="connsiteX1" fmla="*/ 7535 w 544284"/>
                    <a:gd name="connsiteY1" fmla="*/ 214956 h 500804"/>
                    <a:gd name="connsiteX2" fmla="*/ 23410 w 544284"/>
                    <a:gd name="connsiteY2" fmla="*/ 176856 h 500804"/>
                    <a:gd name="connsiteX3" fmla="*/ 71035 w 544284"/>
                    <a:gd name="connsiteY3" fmla="*/ 160981 h 500804"/>
                    <a:gd name="connsiteX4" fmla="*/ 172635 w 544284"/>
                    <a:gd name="connsiteY4" fmla="*/ 154631 h 500804"/>
                    <a:gd name="connsiteX5" fmla="*/ 198035 w 544284"/>
                    <a:gd name="connsiteY5" fmla="*/ 151456 h 500804"/>
                    <a:gd name="connsiteX6" fmla="*/ 201210 w 544284"/>
                    <a:gd name="connsiteY6" fmla="*/ 18106 h 500804"/>
                    <a:gd name="connsiteX7" fmla="*/ 312335 w 544284"/>
                    <a:gd name="connsiteY7" fmla="*/ 14931 h 500804"/>
                    <a:gd name="connsiteX8" fmla="*/ 312335 w 544284"/>
                    <a:gd name="connsiteY8" fmla="*/ 145106 h 500804"/>
                    <a:gd name="connsiteX9" fmla="*/ 353610 w 544284"/>
                    <a:gd name="connsiteY9" fmla="*/ 151456 h 500804"/>
                    <a:gd name="connsiteX10" fmla="*/ 445685 w 544284"/>
                    <a:gd name="connsiteY10" fmla="*/ 164156 h 500804"/>
                    <a:gd name="connsiteX11" fmla="*/ 486960 w 544284"/>
                    <a:gd name="connsiteY11" fmla="*/ 189556 h 500804"/>
                    <a:gd name="connsiteX12" fmla="*/ 509185 w 544284"/>
                    <a:gd name="connsiteY12" fmla="*/ 234006 h 500804"/>
                    <a:gd name="connsiteX13" fmla="*/ 506010 w 544284"/>
                    <a:gd name="connsiteY13" fmla="*/ 488006 h 500804"/>
                    <a:gd name="connsiteX14" fmla="*/ 4360 w 544284"/>
                    <a:gd name="connsiteY14" fmla="*/ 449906 h 500804"/>
                    <a:gd name="connsiteX0" fmla="*/ 4360 w 519024"/>
                    <a:gd name="connsiteY0" fmla="*/ 449906 h 500804"/>
                    <a:gd name="connsiteX1" fmla="*/ 7535 w 519024"/>
                    <a:gd name="connsiteY1" fmla="*/ 214956 h 500804"/>
                    <a:gd name="connsiteX2" fmla="*/ 23410 w 519024"/>
                    <a:gd name="connsiteY2" fmla="*/ 176856 h 500804"/>
                    <a:gd name="connsiteX3" fmla="*/ 71035 w 519024"/>
                    <a:gd name="connsiteY3" fmla="*/ 160981 h 500804"/>
                    <a:gd name="connsiteX4" fmla="*/ 172635 w 519024"/>
                    <a:gd name="connsiteY4" fmla="*/ 154631 h 500804"/>
                    <a:gd name="connsiteX5" fmla="*/ 198035 w 519024"/>
                    <a:gd name="connsiteY5" fmla="*/ 151456 h 500804"/>
                    <a:gd name="connsiteX6" fmla="*/ 201210 w 519024"/>
                    <a:gd name="connsiteY6" fmla="*/ 18106 h 500804"/>
                    <a:gd name="connsiteX7" fmla="*/ 312335 w 519024"/>
                    <a:gd name="connsiteY7" fmla="*/ 14931 h 500804"/>
                    <a:gd name="connsiteX8" fmla="*/ 312335 w 519024"/>
                    <a:gd name="connsiteY8" fmla="*/ 145106 h 500804"/>
                    <a:gd name="connsiteX9" fmla="*/ 353610 w 519024"/>
                    <a:gd name="connsiteY9" fmla="*/ 151456 h 500804"/>
                    <a:gd name="connsiteX10" fmla="*/ 445685 w 519024"/>
                    <a:gd name="connsiteY10" fmla="*/ 164156 h 500804"/>
                    <a:gd name="connsiteX11" fmla="*/ 486960 w 519024"/>
                    <a:gd name="connsiteY11" fmla="*/ 189556 h 500804"/>
                    <a:gd name="connsiteX12" fmla="*/ 509185 w 519024"/>
                    <a:gd name="connsiteY12" fmla="*/ 234006 h 500804"/>
                    <a:gd name="connsiteX13" fmla="*/ 506010 w 519024"/>
                    <a:gd name="connsiteY13" fmla="*/ 488006 h 500804"/>
                    <a:gd name="connsiteX14" fmla="*/ 4360 w 519024"/>
                    <a:gd name="connsiteY14" fmla="*/ 449906 h 500804"/>
                    <a:gd name="connsiteX0" fmla="*/ 4360 w 519024"/>
                    <a:gd name="connsiteY0" fmla="*/ 449906 h 488006"/>
                    <a:gd name="connsiteX1" fmla="*/ 7535 w 519024"/>
                    <a:gd name="connsiteY1" fmla="*/ 214956 h 488006"/>
                    <a:gd name="connsiteX2" fmla="*/ 23410 w 519024"/>
                    <a:gd name="connsiteY2" fmla="*/ 176856 h 488006"/>
                    <a:gd name="connsiteX3" fmla="*/ 71035 w 519024"/>
                    <a:gd name="connsiteY3" fmla="*/ 160981 h 488006"/>
                    <a:gd name="connsiteX4" fmla="*/ 172635 w 519024"/>
                    <a:gd name="connsiteY4" fmla="*/ 154631 h 488006"/>
                    <a:gd name="connsiteX5" fmla="*/ 198035 w 519024"/>
                    <a:gd name="connsiteY5" fmla="*/ 151456 h 488006"/>
                    <a:gd name="connsiteX6" fmla="*/ 201210 w 519024"/>
                    <a:gd name="connsiteY6" fmla="*/ 18106 h 488006"/>
                    <a:gd name="connsiteX7" fmla="*/ 312335 w 519024"/>
                    <a:gd name="connsiteY7" fmla="*/ 14931 h 488006"/>
                    <a:gd name="connsiteX8" fmla="*/ 312335 w 519024"/>
                    <a:gd name="connsiteY8" fmla="*/ 145106 h 488006"/>
                    <a:gd name="connsiteX9" fmla="*/ 353610 w 519024"/>
                    <a:gd name="connsiteY9" fmla="*/ 151456 h 488006"/>
                    <a:gd name="connsiteX10" fmla="*/ 445685 w 519024"/>
                    <a:gd name="connsiteY10" fmla="*/ 164156 h 488006"/>
                    <a:gd name="connsiteX11" fmla="*/ 486960 w 519024"/>
                    <a:gd name="connsiteY11" fmla="*/ 189556 h 488006"/>
                    <a:gd name="connsiteX12" fmla="*/ 509185 w 519024"/>
                    <a:gd name="connsiteY12" fmla="*/ 234006 h 488006"/>
                    <a:gd name="connsiteX13" fmla="*/ 506010 w 519024"/>
                    <a:gd name="connsiteY13" fmla="*/ 488006 h 488006"/>
                    <a:gd name="connsiteX14" fmla="*/ 4360 w 519024"/>
                    <a:gd name="connsiteY14" fmla="*/ 449906 h 488006"/>
                    <a:gd name="connsiteX0" fmla="*/ 4360 w 523534"/>
                    <a:gd name="connsiteY0" fmla="*/ 449906 h 472131"/>
                    <a:gd name="connsiteX1" fmla="*/ 7535 w 523534"/>
                    <a:gd name="connsiteY1" fmla="*/ 214956 h 472131"/>
                    <a:gd name="connsiteX2" fmla="*/ 23410 w 523534"/>
                    <a:gd name="connsiteY2" fmla="*/ 176856 h 472131"/>
                    <a:gd name="connsiteX3" fmla="*/ 71035 w 523534"/>
                    <a:gd name="connsiteY3" fmla="*/ 160981 h 472131"/>
                    <a:gd name="connsiteX4" fmla="*/ 172635 w 523534"/>
                    <a:gd name="connsiteY4" fmla="*/ 154631 h 472131"/>
                    <a:gd name="connsiteX5" fmla="*/ 198035 w 523534"/>
                    <a:gd name="connsiteY5" fmla="*/ 151456 h 472131"/>
                    <a:gd name="connsiteX6" fmla="*/ 201210 w 523534"/>
                    <a:gd name="connsiteY6" fmla="*/ 18106 h 472131"/>
                    <a:gd name="connsiteX7" fmla="*/ 312335 w 523534"/>
                    <a:gd name="connsiteY7" fmla="*/ 14931 h 472131"/>
                    <a:gd name="connsiteX8" fmla="*/ 312335 w 523534"/>
                    <a:gd name="connsiteY8" fmla="*/ 145106 h 472131"/>
                    <a:gd name="connsiteX9" fmla="*/ 353610 w 523534"/>
                    <a:gd name="connsiteY9" fmla="*/ 151456 h 472131"/>
                    <a:gd name="connsiteX10" fmla="*/ 445685 w 523534"/>
                    <a:gd name="connsiteY10" fmla="*/ 164156 h 472131"/>
                    <a:gd name="connsiteX11" fmla="*/ 486960 w 523534"/>
                    <a:gd name="connsiteY11" fmla="*/ 189556 h 472131"/>
                    <a:gd name="connsiteX12" fmla="*/ 509185 w 523534"/>
                    <a:gd name="connsiteY12" fmla="*/ 234006 h 472131"/>
                    <a:gd name="connsiteX13" fmla="*/ 512360 w 523534"/>
                    <a:gd name="connsiteY13" fmla="*/ 472131 h 472131"/>
                    <a:gd name="connsiteX14" fmla="*/ 4360 w 523534"/>
                    <a:gd name="connsiteY14" fmla="*/ 449906 h 472131"/>
                    <a:gd name="connsiteX0" fmla="*/ 4360 w 513675"/>
                    <a:gd name="connsiteY0" fmla="*/ 449906 h 472131"/>
                    <a:gd name="connsiteX1" fmla="*/ 7535 w 513675"/>
                    <a:gd name="connsiteY1" fmla="*/ 214956 h 472131"/>
                    <a:gd name="connsiteX2" fmla="*/ 23410 w 513675"/>
                    <a:gd name="connsiteY2" fmla="*/ 176856 h 472131"/>
                    <a:gd name="connsiteX3" fmla="*/ 71035 w 513675"/>
                    <a:gd name="connsiteY3" fmla="*/ 160981 h 472131"/>
                    <a:gd name="connsiteX4" fmla="*/ 172635 w 513675"/>
                    <a:gd name="connsiteY4" fmla="*/ 154631 h 472131"/>
                    <a:gd name="connsiteX5" fmla="*/ 198035 w 513675"/>
                    <a:gd name="connsiteY5" fmla="*/ 151456 h 472131"/>
                    <a:gd name="connsiteX6" fmla="*/ 201210 w 513675"/>
                    <a:gd name="connsiteY6" fmla="*/ 18106 h 472131"/>
                    <a:gd name="connsiteX7" fmla="*/ 312335 w 513675"/>
                    <a:gd name="connsiteY7" fmla="*/ 14931 h 472131"/>
                    <a:gd name="connsiteX8" fmla="*/ 312335 w 513675"/>
                    <a:gd name="connsiteY8" fmla="*/ 145106 h 472131"/>
                    <a:gd name="connsiteX9" fmla="*/ 353610 w 513675"/>
                    <a:gd name="connsiteY9" fmla="*/ 151456 h 472131"/>
                    <a:gd name="connsiteX10" fmla="*/ 445685 w 513675"/>
                    <a:gd name="connsiteY10" fmla="*/ 164156 h 472131"/>
                    <a:gd name="connsiteX11" fmla="*/ 486960 w 513675"/>
                    <a:gd name="connsiteY11" fmla="*/ 189556 h 472131"/>
                    <a:gd name="connsiteX12" fmla="*/ 509185 w 513675"/>
                    <a:gd name="connsiteY12" fmla="*/ 234006 h 472131"/>
                    <a:gd name="connsiteX13" fmla="*/ 512360 w 513675"/>
                    <a:gd name="connsiteY13" fmla="*/ 472131 h 472131"/>
                    <a:gd name="connsiteX14" fmla="*/ 4360 w 513675"/>
                    <a:gd name="connsiteY14" fmla="*/ 449906 h 472131"/>
                    <a:gd name="connsiteX0" fmla="*/ 4360 w 513675"/>
                    <a:gd name="connsiteY0" fmla="*/ 446969 h 469194"/>
                    <a:gd name="connsiteX1" fmla="*/ 7535 w 513675"/>
                    <a:gd name="connsiteY1" fmla="*/ 212019 h 469194"/>
                    <a:gd name="connsiteX2" fmla="*/ 23410 w 513675"/>
                    <a:gd name="connsiteY2" fmla="*/ 173919 h 469194"/>
                    <a:gd name="connsiteX3" fmla="*/ 71035 w 513675"/>
                    <a:gd name="connsiteY3" fmla="*/ 158044 h 469194"/>
                    <a:gd name="connsiteX4" fmla="*/ 172635 w 513675"/>
                    <a:gd name="connsiteY4" fmla="*/ 151694 h 469194"/>
                    <a:gd name="connsiteX5" fmla="*/ 188510 w 513675"/>
                    <a:gd name="connsiteY5" fmla="*/ 94544 h 469194"/>
                    <a:gd name="connsiteX6" fmla="*/ 201210 w 513675"/>
                    <a:gd name="connsiteY6" fmla="*/ 15169 h 469194"/>
                    <a:gd name="connsiteX7" fmla="*/ 312335 w 513675"/>
                    <a:gd name="connsiteY7" fmla="*/ 11994 h 469194"/>
                    <a:gd name="connsiteX8" fmla="*/ 312335 w 513675"/>
                    <a:gd name="connsiteY8" fmla="*/ 142169 h 469194"/>
                    <a:gd name="connsiteX9" fmla="*/ 353610 w 513675"/>
                    <a:gd name="connsiteY9" fmla="*/ 148519 h 469194"/>
                    <a:gd name="connsiteX10" fmla="*/ 445685 w 513675"/>
                    <a:gd name="connsiteY10" fmla="*/ 161219 h 469194"/>
                    <a:gd name="connsiteX11" fmla="*/ 486960 w 513675"/>
                    <a:gd name="connsiteY11" fmla="*/ 186619 h 469194"/>
                    <a:gd name="connsiteX12" fmla="*/ 509185 w 513675"/>
                    <a:gd name="connsiteY12" fmla="*/ 231069 h 469194"/>
                    <a:gd name="connsiteX13" fmla="*/ 512360 w 513675"/>
                    <a:gd name="connsiteY13" fmla="*/ 469194 h 469194"/>
                    <a:gd name="connsiteX14" fmla="*/ 4360 w 513675"/>
                    <a:gd name="connsiteY14" fmla="*/ 446969 h 469194"/>
                    <a:gd name="connsiteX0" fmla="*/ 4360 w 513675"/>
                    <a:gd name="connsiteY0" fmla="*/ 443409 h 465634"/>
                    <a:gd name="connsiteX1" fmla="*/ 7535 w 513675"/>
                    <a:gd name="connsiteY1" fmla="*/ 208459 h 465634"/>
                    <a:gd name="connsiteX2" fmla="*/ 23410 w 513675"/>
                    <a:gd name="connsiteY2" fmla="*/ 170359 h 465634"/>
                    <a:gd name="connsiteX3" fmla="*/ 71035 w 513675"/>
                    <a:gd name="connsiteY3" fmla="*/ 154484 h 465634"/>
                    <a:gd name="connsiteX4" fmla="*/ 172635 w 513675"/>
                    <a:gd name="connsiteY4" fmla="*/ 148134 h 465634"/>
                    <a:gd name="connsiteX5" fmla="*/ 188510 w 513675"/>
                    <a:gd name="connsiteY5" fmla="*/ 90984 h 465634"/>
                    <a:gd name="connsiteX6" fmla="*/ 201210 w 513675"/>
                    <a:gd name="connsiteY6" fmla="*/ 11609 h 465634"/>
                    <a:gd name="connsiteX7" fmla="*/ 312335 w 513675"/>
                    <a:gd name="connsiteY7" fmla="*/ 8434 h 465634"/>
                    <a:gd name="connsiteX8" fmla="*/ 312335 w 513675"/>
                    <a:gd name="connsiteY8" fmla="*/ 87809 h 465634"/>
                    <a:gd name="connsiteX9" fmla="*/ 353610 w 513675"/>
                    <a:gd name="connsiteY9" fmla="*/ 144959 h 465634"/>
                    <a:gd name="connsiteX10" fmla="*/ 445685 w 513675"/>
                    <a:gd name="connsiteY10" fmla="*/ 157659 h 465634"/>
                    <a:gd name="connsiteX11" fmla="*/ 486960 w 513675"/>
                    <a:gd name="connsiteY11" fmla="*/ 183059 h 465634"/>
                    <a:gd name="connsiteX12" fmla="*/ 509185 w 513675"/>
                    <a:gd name="connsiteY12" fmla="*/ 227509 h 465634"/>
                    <a:gd name="connsiteX13" fmla="*/ 512360 w 513675"/>
                    <a:gd name="connsiteY13" fmla="*/ 465634 h 465634"/>
                    <a:gd name="connsiteX14" fmla="*/ 4360 w 513675"/>
                    <a:gd name="connsiteY14" fmla="*/ 443409 h 465634"/>
                    <a:gd name="connsiteX0" fmla="*/ 4360 w 513675"/>
                    <a:gd name="connsiteY0" fmla="*/ 443409 h 465634"/>
                    <a:gd name="connsiteX1" fmla="*/ 7535 w 513675"/>
                    <a:gd name="connsiteY1" fmla="*/ 208459 h 465634"/>
                    <a:gd name="connsiteX2" fmla="*/ 23410 w 513675"/>
                    <a:gd name="connsiteY2" fmla="*/ 170359 h 465634"/>
                    <a:gd name="connsiteX3" fmla="*/ 71035 w 513675"/>
                    <a:gd name="connsiteY3" fmla="*/ 154484 h 465634"/>
                    <a:gd name="connsiteX4" fmla="*/ 172635 w 513675"/>
                    <a:gd name="connsiteY4" fmla="*/ 148134 h 465634"/>
                    <a:gd name="connsiteX5" fmla="*/ 188510 w 513675"/>
                    <a:gd name="connsiteY5" fmla="*/ 90984 h 465634"/>
                    <a:gd name="connsiteX6" fmla="*/ 201210 w 513675"/>
                    <a:gd name="connsiteY6" fmla="*/ 11609 h 465634"/>
                    <a:gd name="connsiteX7" fmla="*/ 312335 w 513675"/>
                    <a:gd name="connsiteY7" fmla="*/ 8434 h 465634"/>
                    <a:gd name="connsiteX8" fmla="*/ 312335 w 513675"/>
                    <a:gd name="connsiteY8" fmla="*/ 87809 h 465634"/>
                    <a:gd name="connsiteX9" fmla="*/ 334560 w 513675"/>
                    <a:gd name="connsiteY9" fmla="*/ 135434 h 465634"/>
                    <a:gd name="connsiteX10" fmla="*/ 445685 w 513675"/>
                    <a:gd name="connsiteY10" fmla="*/ 157659 h 465634"/>
                    <a:gd name="connsiteX11" fmla="*/ 486960 w 513675"/>
                    <a:gd name="connsiteY11" fmla="*/ 183059 h 465634"/>
                    <a:gd name="connsiteX12" fmla="*/ 509185 w 513675"/>
                    <a:gd name="connsiteY12" fmla="*/ 227509 h 465634"/>
                    <a:gd name="connsiteX13" fmla="*/ 512360 w 513675"/>
                    <a:gd name="connsiteY13" fmla="*/ 465634 h 465634"/>
                    <a:gd name="connsiteX14" fmla="*/ 4360 w 513675"/>
                    <a:gd name="connsiteY14" fmla="*/ 443409 h 465634"/>
                    <a:gd name="connsiteX0" fmla="*/ 4360 w 510500"/>
                    <a:gd name="connsiteY0" fmla="*/ 443409 h 449759"/>
                    <a:gd name="connsiteX1" fmla="*/ 7535 w 510500"/>
                    <a:gd name="connsiteY1" fmla="*/ 208459 h 449759"/>
                    <a:gd name="connsiteX2" fmla="*/ 23410 w 510500"/>
                    <a:gd name="connsiteY2" fmla="*/ 170359 h 449759"/>
                    <a:gd name="connsiteX3" fmla="*/ 71035 w 510500"/>
                    <a:gd name="connsiteY3" fmla="*/ 154484 h 449759"/>
                    <a:gd name="connsiteX4" fmla="*/ 172635 w 510500"/>
                    <a:gd name="connsiteY4" fmla="*/ 148134 h 449759"/>
                    <a:gd name="connsiteX5" fmla="*/ 188510 w 510500"/>
                    <a:gd name="connsiteY5" fmla="*/ 90984 h 449759"/>
                    <a:gd name="connsiteX6" fmla="*/ 201210 w 510500"/>
                    <a:gd name="connsiteY6" fmla="*/ 11609 h 449759"/>
                    <a:gd name="connsiteX7" fmla="*/ 312335 w 510500"/>
                    <a:gd name="connsiteY7" fmla="*/ 8434 h 449759"/>
                    <a:gd name="connsiteX8" fmla="*/ 312335 w 510500"/>
                    <a:gd name="connsiteY8" fmla="*/ 87809 h 449759"/>
                    <a:gd name="connsiteX9" fmla="*/ 334560 w 510500"/>
                    <a:gd name="connsiteY9" fmla="*/ 135434 h 449759"/>
                    <a:gd name="connsiteX10" fmla="*/ 445685 w 510500"/>
                    <a:gd name="connsiteY10" fmla="*/ 157659 h 449759"/>
                    <a:gd name="connsiteX11" fmla="*/ 486960 w 510500"/>
                    <a:gd name="connsiteY11" fmla="*/ 183059 h 449759"/>
                    <a:gd name="connsiteX12" fmla="*/ 509185 w 510500"/>
                    <a:gd name="connsiteY12" fmla="*/ 227509 h 449759"/>
                    <a:gd name="connsiteX13" fmla="*/ 506010 w 510500"/>
                    <a:gd name="connsiteY13" fmla="*/ 449759 h 449759"/>
                    <a:gd name="connsiteX14" fmla="*/ 4360 w 510500"/>
                    <a:gd name="connsiteY14" fmla="*/ 443409 h 449759"/>
                    <a:gd name="connsiteX0" fmla="*/ 4360 w 510500"/>
                    <a:gd name="connsiteY0" fmla="*/ 443409 h 454926"/>
                    <a:gd name="connsiteX1" fmla="*/ 7535 w 510500"/>
                    <a:gd name="connsiteY1" fmla="*/ 208459 h 454926"/>
                    <a:gd name="connsiteX2" fmla="*/ 23410 w 510500"/>
                    <a:gd name="connsiteY2" fmla="*/ 170359 h 454926"/>
                    <a:gd name="connsiteX3" fmla="*/ 71035 w 510500"/>
                    <a:gd name="connsiteY3" fmla="*/ 154484 h 454926"/>
                    <a:gd name="connsiteX4" fmla="*/ 172635 w 510500"/>
                    <a:gd name="connsiteY4" fmla="*/ 148134 h 454926"/>
                    <a:gd name="connsiteX5" fmla="*/ 188510 w 510500"/>
                    <a:gd name="connsiteY5" fmla="*/ 90984 h 454926"/>
                    <a:gd name="connsiteX6" fmla="*/ 201210 w 510500"/>
                    <a:gd name="connsiteY6" fmla="*/ 11609 h 454926"/>
                    <a:gd name="connsiteX7" fmla="*/ 312335 w 510500"/>
                    <a:gd name="connsiteY7" fmla="*/ 8434 h 454926"/>
                    <a:gd name="connsiteX8" fmla="*/ 312335 w 510500"/>
                    <a:gd name="connsiteY8" fmla="*/ 87809 h 454926"/>
                    <a:gd name="connsiteX9" fmla="*/ 334560 w 510500"/>
                    <a:gd name="connsiteY9" fmla="*/ 135434 h 454926"/>
                    <a:gd name="connsiteX10" fmla="*/ 445685 w 510500"/>
                    <a:gd name="connsiteY10" fmla="*/ 157659 h 454926"/>
                    <a:gd name="connsiteX11" fmla="*/ 486960 w 510500"/>
                    <a:gd name="connsiteY11" fmla="*/ 183059 h 454926"/>
                    <a:gd name="connsiteX12" fmla="*/ 509185 w 510500"/>
                    <a:gd name="connsiteY12" fmla="*/ 227509 h 454926"/>
                    <a:gd name="connsiteX13" fmla="*/ 506010 w 510500"/>
                    <a:gd name="connsiteY13" fmla="*/ 449759 h 454926"/>
                    <a:gd name="connsiteX14" fmla="*/ 4360 w 510500"/>
                    <a:gd name="connsiteY14" fmla="*/ 443409 h 454926"/>
                    <a:gd name="connsiteX0" fmla="*/ 6473 w 512613"/>
                    <a:gd name="connsiteY0" fmla="*/ 443409 h 454926"/>
                    <a:gd name="connsiteX1" fmla="*/ 9648 w 512613"/>
                    <a:gd name="connsiteY1" fmla="*/ 208459 h 454926"/>
                    <a:gd name="connsiteX2" fmla="*/ 73148 w 512613"/>
                    <a:gd name="connsiteY2" fmla="*/ 154484 h 454926"/>
                    <a:gd name="connsiteX3" fmla="*/ 174748 w 512613"/>
                    <a:gd name="connsiteY3" fmla="*/ 148134 h 454926"/>
                    <a:gd name="connsiteX4" fmla="*/ 190623 w 512613"/>
                    <a:gd name="connsiteY4" fmla="*/ 90984 h 454926"/>
                    <a:gd name="connsiteX5" fmla="*/ 203323 w 512613"/>
                    <a:gd name="connsiteY5" fmla="*/ 11609 h 454926"/>
                    <a:gd name="connsiteX6" fmla="*/ 314448 w 512613"/>
                    <a:gd name="connsiteY6" fmla="*/ 8434 h 454926"/>
                    <a:gd name="connsiteX7" fmla="*/ 314448 w 512613"/>
                    <a:gd name="connsiteY7" fmla="*/ 87809 h 454926"/>
                    <a:gd name="connsiteX8" fmla="*/ 336673 w 512613"/>
                    <a:gd name="connsiteY8" fmla="*/ 135434 h 454926"/>
                    <a:gd name="connsiteX9" fmla="*/ 447798 w 512613"/>
                    <a:gd name="connsiteY9" fmla="*/ 157659 h 454926"/>
                    <a:gd name="connsiteX10" fmla="*/ 489073 w 512613"/>
                    <a:gd name="connsiteY10" fmla="*/ 183059 h 454926"/>
                    <a:gd name="connsiteX11" fmla="*/ 511298 w 512613"/>
                    <a:gd name="connsiteY11" fmla="*/ 227509 h 454926"/>
                    <a:gd name="connsiteX12" fmla="*/ 508123 w 512613"/>
                    <a:gd name="connsiteY12" fmla="*/ 449759 h 454926"/>
                    <a:gd name="connsiteX13" fmla="*/ 6473 w 512613"/>
                    <a:gd name="connsiteY13" fmla="*/ 443409 h 454926"/>
                    <a:gd name="connsiteX0" fmla="*/ 4049 w 510189"/>
                    <a:gd name="connsiteY0" fmla="*/ 443409 h 454926"/>
                    <a:gd name="connsiteX1" fmla="*/ 7224 w 510189"/>
                    <a:gd name="connsiteY1" fmla="*/ 208459 h 454926"/>
                    <a:gd name="connsiteX2" fmla="*/ 70724 w 510189"/>
                    <a:gd name="connsiteY2" fmla="*/ 154484 h 454926"/>
                    <a:gd name="connsiteX3" fmla="*/ 172324 w 510189"/>
                    <a:gd name="connsiteY3" fmla="*/ 148134 h 454926"/>
                    <a:gd name="connsiteX4" fmla="*/ 188199 w 510189"/>
                    <a:gd name="connsiteY4" fmla="*/ 90984 h 454926"/>
                    <a:gd name="connsiteX5" fmla="*/ 200899 w 510189"/>
                    <a:gd name="connsiteY5" fmla="*/ 11609 h 454926"/>
                    <a:gd name="connsiteX6" fmla="*/ 312024 w 510189"/>
                    <a:gd name="connsiteY6" fmla="*/ 8434 h 454926"/>
                    <a:gd name="connsiteX7" fmla="*/ 312024 w 510189"/>
                    <a:gd name="connsiteY7" fmla="*/ 87809 h 454926"/>
                    <a:gd name="connsiteX8" fmla="*/ 334249 w 510189"/>
                    <a:gd name="connsiteY8" fmla="*/ 135434 h 454926"/>
                    <a:gd name="connsiteX9" fmla="*/ 445374 w 510189"/>
                    <a:gd name="connsiteY9" fmla="*/ 157659 h 454926"/>
                    <a:gd name="connsiteX10" fmla="*/ 486649 w 510189"/>
                    <a:gd name="connsiteY10" fmla="*/ 183059 h 454926"/>
                    <a:gd name="connsiteX11" fmla="*/ 508874 w 510189"/>
                    <a:gd name="connsiteY11" fmla="*/ 227509 h 454926"/>
                    <a:gd name="connsiteX12" fmla="*/ 505699 w 510189"/>
                    <a:gd name="connsiteY12" fmla="*/ 449759 h 454926"/>
                    <a:gd name="connsiteX13" fmla="*/ 4049 w 510189"/>
                    <a:gd name="connsiteY13" fmla="*/ 443409 h 454926"/>
                    <a:gd name="connsiteX0" fmla="*/ 4049 w 510189"/>
                    <a:gd name="connsiteY0" fmla="*/ 443409 h 454926"/>
                    <a:gd name="connsiteX1" fmla="*/ 7224 w 510189"/>
                    <a:gd name="connsiteY1" fmla="*/ 208459 h 454926"/>
                    <a:gd name="connsiteX2" fmla="*/ 70724 w 510189"/>
                    <a:gd name="connsiteY2" fmla="*/ 154484 h 454926"/>
                    <a:gd name="connsiteX3" fmla="*/ 172324 w 510189"/>
                    <a:gd name="connsiteY3" fmla="*/ 148134 h 454926"/>
                    <a:gd name="connsiteX4" fmla="*/ 188199 w 510189"/>
                    <a:gd name="connsiteY4" fmla="*/ 90984 h 454926"/>
                    <a:gd name="connsiteX5" fmla="*/ 200899 w 510189"/>
                    <a:gd name="connsiteY5" fmla="*/ 11609 h 454926"/>
                    <a:gd name="connsiteX6" fmla="*/ 312024 w 510189"/>
                    <a:gd name="connsiteY6" fmla="*/ 8434 h 454926"/>
                    <a:gd name="connsiteX7" fmla="*/ 312024 w 510189"/>
                    <a:gd name="connsiteY7" fmla="*/ 87809 h 454926"/>
                    <a:gd name="connsiteX8" fmla="*/ 334249 w 510189"/>
                    <a:gd name="connsiteY8" fmla="*/ 135434 h 454926"/>
                    <a:gd name="connsiteX9" fmla="*/ 445374 w 510189"/>
                    <a:gd name="connsiteY9" fmla="*/ 157659 h 454926"/>
                    <a:gd name="connsiteX10" fmla="*/ 508874 w 510189"/>
                    <a:gd name="connsiteY10" fmla="*/ 227509 h 454926"/>
                    <a:gd name="connsiteX11" fmla="*/ 505699 w 510189"/>
                    <a:gd name="connsiteY11" fmla="*/ 449759 h 454926"/>
                    <a:gd name="connsiteX12" fmla="*/ 4049 w 510189"/>
                    <a:gd name="connsiteY12" fmla="*/ 443409 h 454926"/>
                    <a:gd name="connsiteX0" fmla="*/ 4049 w 510189"/>
                    <a:gd name="connsiteY0" fmla="*/ 443409 h 454926"/>
                    <a:gd name="connsiteX1" fmla="*/ 7224 w 510189"/>
                    <a:gd name="connsiteY1" fmla="*/ 208459 h 454926"/>
                    <a:gd name="connsiteX2" fmla="*/ 70724 w 510189"/>
                    <a:gd name="connsiteY2" fmla="*/ 154484 h 454926"/>
                    <a:gd name="connsiteX3" fmla="*/ 172324 w 510189"/>
                    <a:gd name="connsiteY3" fmla="*/ 148134 h 454926"/>
                    <a:gd name="connsiteX4" fmla="*/ 188199 w 510189"/>
                    <a:gd name="connsiteY4" fmla="*/ 90984 h 454926"/>
                    <a:gd name="connsiteX5" fmla="*/ 200899 w 510189"/>
                    <a:gd name="connsiteY5" fmla="*/ 11609 h 454926"/>
                    <a:gd name="connsiteX6" fmla="*/ 312024 w 510189"/>
                    <a:gd name="connsiteY6" fmla="*/ 8434 h 454926"/>
                    <a:gd name="connsiteX7" fmla="*/ 312024 w 510189"/>
                    <a:gd name="connsiteY7" fmla="*/ 87809 h 454926"/>
                    <a:gd name="connsiteX8" fmla="*/ 334249 w 510189"/>
                    <a:gd name="connsiteY8" fmla="*/ 135434 h 454926"/>
                    <a:gd name="connsiteX9" fmla="*/ 445374 w 510189"/>
                    <a:gd name="connsiteY9" fmla="*/ 157659 h 454926"/>
                    <a:gd name="connsiteX10" fmla="*/ 508874 w 510189"/>
                    <a:gd name="connsiteY10" fmla="*/ 227509 h 454926"/>
                    <a:gd name="connsiteX11" fmla="*/ 505699 w 510189"/>
                    <a:gd name="connsiteY11" fmla="*/ 449759 h 454926"/>
                    <a:gd name="connsiteX12" fmla="*/ 4049 w 510189"/>
                    <a:gd name="connsiteY12" fmla="*/ 443409 h 454926"/>
                    <a:gd name="connsiteX0" fmla="*/ 5987 w 512127"/>
                    <a:gd name="connsiteY0" fmla="*/ 443409 h 454926"/>
                    <a:gd name="connsiteX1" fmla="*/ 2812 w 512127"/>
                    <a:gd name="connsiteY1" fmla="*/ 217984 h 454926"/>
                    <a:gd name="connsiteX2" fmla="*/ 72662 w 512127"/>
                    <a:gd name="connsiteY2" fmla="*/ 154484 h 454926"/>
                    <a:gd name="connsiteX3" fmla="*/ 174262 w 512127"/>
                    <a:gd name="connsiteY3" fmla="*/ 148134 h 454926"/>
                    <a:gd name="connsiteX4" fmla="*/ 190137 w 512127"/>
                    <a:gd name="connsiteY4" fmla="*/ 90984 h 454926"/>
                    <a:gd name="connsiteX5" fmla="*/ 202837 w 512127"/>
                    <a:gd name="connsiteY5" fmla="*/ 11609 h 454926"/>
                    <a:gd name="connsiteX6" fmla="*/ 313962 w 512127"/>
                    <a:gd name="connsiteY6" fmla="*/ 8434 h 454926"/>
                    <a:gd name="connsiteX7" fmla="*/ 313962 w 512127"/>
                    <a:gd name="connsiteY7" fmla="*/ 87809 h 454926"/>
                    <a:gd name="connsiteX8" fmla="*/ 336187 w 512127"/>
                    <a:gd name="connsiteY8" fmla="*/ 135434 h 454926"/>
                    <a:gd name="connsiteX9" fmla="*/ 447312 w 512127"/>
                    <a:gd name="connsiteY9" fmla="*/ 157659 h 454926"/>
                    <a:gd name="connsiteX10" fmla="*/ 510812 w 512127"/>
                    <a:gd name="connsiteY10" fmla="*/ 227509 h 454926"/>
                    <a:gd name="connsiteX11" fmla="*/ 507637 w 512127"/>
                    <a:gd name="connsiteY11" fmla="*/ 449759 h 454926"/>
                    <a:gd name="connsiteX12" fmla="*/ 5987 w 512127"/>
                    <a:gd name="connsiteY12" fmla="*/ 443409 h 454926"/>
                    <a:gd name="connsiteX0" fmla="*/ 9762 w 515902"/>
                    <a:gd name="connsiteY0" fmla="*/ 443409 h 454926"/>
                    <a:gd name="connsiteX1" fmla="*/ 6587 w 515902"/>
                    <a:gd name="connsiteY1" fmla="*/ 217984 h 454926"/>
                    <a:gd name="connsiteX2" fmla="*/ 76437 w 515902"/>
                    <a:gd name="connsiteY2" fmla="*/ 154484 h 454926"/>
                    <a:gd name="connsiteX3" fmla="*/ 178037 w 515902"/>
                    <a:gd name="connsiteY3" fmla="*/ 148134 h 454926"/>
                    <a:gd name="connsiteX4" fmla="*/ 193912 w 515902"/>
                    <a:gd name="connsiteY4" fmla="*/ 90984 h 454926"/>
                    <a:gd name="connsiteX5" fmla="*/ 206612 w 515902"/>
                    <a:gd name="connsiteY5" fmla="*/ 11609 h 454926"/>
                    <a:gd name="connsiteX6" fmla="*/ 317737 w 515902"/>
                    <a:gd name="connsiteY6" fmla="*/ 8434 h 454926"/>
                    <a:gd name="connsiteX7" fmla="*/ 317737 w 515902"/>
                    <a:gd name="connsiteY7" fmla="*/ 87809 h 454926"/>
                    <a:gd name="connsiteX8" fmla="*/ 339962 w 515902"/>
                    <a:gd name="connsiteY8" fmla="*/ 135434 h 454926"/>
                    <a:gd name="connsiteX9" fmla="*/ 451087 w 515902"/>
                    <a:gd name="connsiteY9" fmla="*/ 157659 h 454926"/>
                    <a:gd name="connsiteX10" fmla="*/ 514587 w 515902"/>
                    <a:gd name="connsiteY10" fmla="*/ 227509 h 454926"/>
                    <a:gd name="connsiteX11" fmla="*/ 511412 w 515902"/>
                    <a:gd name="connsiteY11" fmla="*/ 449759 h 454926"/>
                    <a:gd name="connsiteX12" fmla="*/ 9762 w 515902"/>
                    <a:gd name="connsiteY12" fmla="*/ 443409 h 454926"/>
                    <a:gd name="connsiteX0" fmla="*/ 9762 w 515902"/>
                    <a:gd name="connsiteY0" fmla="*/ 443409 h 454926"/>
                    <a:gd name="connsiteX1" fmla="*/ 6587 w 515902"/>
                    <a:gd name="connsiteY1" fmla="*/ 217984 h 454926"/>
                    <a:gd name="connsiteX2" fmla="*/ 76437 w 515902"/>
                    <a:gd name="connsiteY2" fmla="*/ 154484 h 454926"/>
                    <a:gd name="connsiteX3" fmla="*/ 178037 w 515902"/>
                    <a:gd name="connsiteY3" fmla="*/ 148134 h 454926"/>
                    <a:gd name="connsiteX4" fmla="*/ 193912 w 515902"/>
                    <a:gd name="connsiteY4" fmla="*/ 90984 h 454926"/>
                    <a:gd name="connsiteX5" fmla="*/ 206612 w 515902"/>
                    <a:gd name="connsiteY5" fmla="*/ 11609 h 454926"/>
                    <a:gd name="connsiteX6" fmla="*/ 317737 w 515902"/>
                    <a:gd name="connsiteY6" fmla="*/ 8434 h 454926"/>
                    <a:gd name="connsiteX7" fmla="*/ 317737 w 515902"/>
                    <a:gd name="connsiteY7" fmla="*/ 87809 h 454926"/>
                    <a:gd name="connsiteX8" fmla="*/ 339962 w 515902"/>
                    <a:gd name="connsiteY8" fmla="*/ 135434 h 454926"/>
                    <a:gd name="connsiteX9" fmla="*/ 451087 w 515902"/>
                    <a:gd name="connsiteY9" fmla="*/ 157659 h 454926"/>
                    <a:gd name="connsiteX10" fmla="*/ 514587 w 515902"/>
                    <a:gd name="connsiteY10" fmla="*/ 227509 h 454926"/>
                    <a:gd name="connsiteX11" fmla="*/ 511412 w 515902"/>
                    <a:gd name="connsiteY11" fmla="*/ 449759 h 454926"/>
                    <a:gd name="connsiteX12" fmla="*/ 9762 w 515902"/>
                    <a:gd name="connsiteY12" fmla="*/ 443409 h 454926"/>
                    <a:gd name="connsiteX0" fmla="*/ 9762 w 515902"/>
                    <a:gd name="connsiteY0" fmla="*/ 443409 h 454926"/>
                    <a:gd name="connsiteX1" fmla="*/ 6587 w 515902"/>
                    <a:gd name="connsiteY1" fmla="*/ 217984 h 454926"/>
                    <a:gd name="connsiteX2" fmla="*/ 76437 w 515902"/>
                    <a:gd name="connsiteY2" fmla="*/ 154484 h 454926"/>
                    <a:gd name="connsiteX3" fmla="*/ 193912 w 515902"/>
                    <a:gd name="connsiteY3" fmla="*/ 90984 h 454926"/>
                    <a:gd name="connsiteX4" fmla="*/ 206612 w 515902"/>
                    <a:gd name="connsiteY4" fmla="*/ 11609 h 454926"/>
                    <a:gd name="connsiteX5" fmla="*/ 317737 w 515902"/>
                    <a:gd name="connsiteY5" fmla="*/ 8434 h 454926"/>
                    <a:gd name="connsiteX6" fmla="*/ 317737 w 515902"/>
                    <a:gd name="connsiteY6" fmla="*/ 87809 h 454926"/>
                    <a:gd name="connsiteX7" fmla="*/ 339962 w 515902"/>
                    <a:gd name="connsiteY7" fmla="*/ 135434 h 454926"/>
                    <a:gd name="connsiteX8" fmla="*/ 451087 w 515902"/>
                    <a:gd name="connsiteY8" fmla="*/ 157659 h 454926"/>
                    <a:gd name="connsiteX9" fmla="*/ 514587 w 515902"/>
                    <a:gd name="connsiteY9" fmla="*/ 227509 h 454926"/>
                    <a:gd name="connsiteX10" fmla="*/ 511412 w 515902"/>
                    <a:gd name="connsiteY10" fmla="*/ 449759 h 454926"/>
                    <a:gd name="connsiteX11" fmla="*/ 9762 w 515902"/>
                    <a:gd name="connsiteY11" fmla="*/ 443409 h 454926"/>
                    <a:gd name="connsiteX0" fmla="*/ 9762 w 515902"/>
                    <a:gd name="connsiteY0" fmla="*/ 446099 h 457616"/>
                    <a:gd name="connsiteX1" fmla="*/ 6587 w 515902"/>
                    <a:gd name="connsiteY1" fmla="*/ 220674 h 457616"/>
                    <a:gd name="connsiteX2" fmla="*/ 76437 w 515902"/>
                    <a:gd name="connsiteY2" fmla="*/ 157174 h 457616"/>
                    <a:gd name="connsiteX3" fmla="*/ 190737 w 515902"/>
                    <a:gd name="connsiteY3" fmla="*/ 138124 h 457616"/>
                    <a:gd name="connsiteX4" fmla="*/ 206612 w 515902"/>
                    <a:gd name="connsiteY4" fmla="*/ 14299 h 457616"/>
                    <a:gd name="connsiteX5" fmla="*/ 317737 w 515902"/>
                    <a:gd name="connsiteY5" fmla="*/ 11124 h 457616"/>
                    <a:gd name="connsiteX6" fmla="*/ 317737 w 515902"/>
                    <a:gd name="connsiteY6" fmla="*/ 90499 h 457616"/>
                    <a:gd name="connsiteX7" fmla="*/ 339962 w 515902"/>
                    <a:gd name="connsiteY7" fmla="*/ 138124 h 457616"/>
                    <a:gd name="connsiteX8" fmla="*/ 451087 w 515902"/>
                    <a:gd name="connsiteY8" fmla="*/ 160349 h 457616"/>
                    <a:gd name="connsiteX9" fmla="*/ 514587 w 515902"/>
                    <a:gd name="connsiteY9" fmla="*/ 230199 h 457616"/>
                    <a:gd name="connsiteX10" fmla="*/ 511412 w 515902"/>
                    <a:gd name="connsiteY10" fmla="*/ 452449 h 457616"/>
                    <a:gd name="connsiteX11" fmla="*/ 9762 w 515902"/>
                    <a:gd name="connsiteY11" fmla="*/ 446099 h 457616"/>
                    <a:gd name="connsiteX0" fmla="*/ 9762 w 515902"/>
                    <a:gd name="connsiteY0" fmla="*/ 446099 h 457616"/>
                    <a:gd name="connsiteX1" fmla="*/ 6587 w 515902"/>
                    <a:gd name="connsiteY1" fmla="*/ 220674 h 457616"/>
                    <a:gd name="connsiteX2" fmla="*/ 76437 w 515902"/>
                    <a:gd name="connsiteY2" fmla="*/ 157174 h 457616"/>
                    <a:gd name="connsiteX3" fmla="*/ 190737 w 515902"/>
                    <a:gd name="connsiteY3" fmla="*/ 138124 h 457616"/>
                    <a:gd name="connsiteX4" fmla="*/ 206612 w 515902"/>
                    <a:gd name="connsiteY4" fmla="*/ 14299 h 457616"/>
                    <a:gd name="connsiteX5" fmla="*/ 317737 w 515902"/>
                    <a:gd name="connsiteY5" fmla="*/ 11124 h 457616"/>
                    <a:gd name="connsiteX6" fmla="*/ 317737 w 515902"/>
                    <a:gd name="connsiteY6" fmla="*/ 90499 h 457616"/>
                    <a:gd name="connsiteX7" fmla="*/ 451087 w 515902"/>
                    <a:gd name="connsiteY7" fmla="*/ 160349 h 457616"/>
                    <a:gd name="connsiteX8" fmla="*/ 514587 w 515902"/>
                    <a:gd name="connsiteY8" fmla="*/ 230199 h 457616"/>
                    <a:gd name="connsiteX9" fmla="*/ 511412 w 515902"/>
                    <a:gd name="connsiteY9" fmla="*/ 452449 h 457616"/>
                    <a:gd name="connsiteX10" fmla="*/ 9762 w 515902"/>
                    <a:gd name="connsiteY10" fmla="*/ 446099 h 457616"/>
                    <a:gd name="connsiteX0" fmla="*/ 9762 w 515902"/>
                    <a:gd name="connsiteY0" fmla="*/ 447482 h 458999"/>
                    <a:gd name="connsiteX1" fmla="*/ 6587 w 515902"/>
                    <a:gd name="connsiteY1" fmla="*/ 222057 h 458999"/>
                    <a:gd name="connsiteX2" fmla="*/ 76437 w 515902"/>
                    <a:gd name="connsiteY2" fmla="*/ 158557 h 458999"/>
                    <a:gd name="connsiteX3" fmla="*/ 190737 w 515902"/>
                    <a:gd name="connsiteY3" fmla="*/ 139507 h 458999"/>
                    <a:gd name="connsiteX4" fmla="*/ 206612 w 515902"/>
                    <a:gd name="connsiteY4" fmla="*/ 15682 h 458999"/>
                    <a:gd name="connsiteX5" fmla="*/ 317737 w 515902"/>
                    <a:gd name="connsiteY5" fmla="*/ 12507 h 458999"/>
                    <a:gd name="connsiteX6" fmla="*/ 330437 w 515902"/>
                    <a:gd name="connsiteY6" fmla="*/ 114107 h 458999"/>
                    <a:gd name="connsiteX7" fmla="*/ 451087 w 515902"/>
                    <a:gd name="connsiteY7" fmla="*/ 161732 h 458999"/>
                    <a:gd name="connsiteX8" fmla="*/ 514587 w 515902"/>
                    <a:gd name="connsiteY8" fmla="*/ 231582 h 458999"/>
                    <a:gd name="connsiteX9" fmla="*/ 511412 w 515902"/>
                    <a:gd name="connsiteY9" fmla="*/ 453832 h 458999"/>
                    <a:gd name="connsiteX10" fmla="*/ 9762 w 515902"/>
                    <a:gd name="connsiteY10" fmla="*/ 447482 h 458999"/>
                    <a:gd name="connsiteX0" fmla="*/ 9762 w 515902"/>
                    <a:gd name="connsiteY0" fmla="*/ 446348 h 457865"/>
                    <a:gd name="connsiteX1" fmla="*/ 6587 w 515902"/>
                    <a:gd name="connsiteY1" fmla="*/ 220923 h 457865"/>
                    <a:gd name="connsiteX2" fmla="*/ 76437 w 515902"/>
                    <a:gd name="connsiteY2" fmla="*/ 157423 h 457865"/>
                    <a:gd name="connsiteX3" fmla="*/ 200262 w 515902"/>
                    <a:gd name="connsiteY3" fmla="*/ 119323 h 457865"/>
                    <a:gd name="connsiteX4" fmla="*/ 206612 w 515902"/>
                    <a:gd name="connsiteY4" fmla="*/ 14548 h 457865"/>
                    <a:gd name="connsiteX5" fmla="*/ 317737 w 515902"/>
                    <a:gd name="connsiteY5" fmla="*/ 11373 h 457865"/>
                    <a:gd name="connsiteX6" fmla="*/ 330437 w 515902"/>
                    <a:gd name="connsiteY6" fmla="*/ 112973 h 457865"/>
                    <a:gd name="connsiteX7" fmla="*/ 451087 w 515902"/>
                    <a:gd name="connsiteY7" fmla="*/ 160598 h 457865"/>
                    <a:gd name="connsiteX8" fmla="*/ 514587 w 515902"/>
                    <a:gd name="connsiteY8" fmla="*/ 230448 h 457865"/>
                    <a:gd name="connsiteX9" fmla="*/ 511412 w 515902"/>
                    <a:gd name="connsiteY9" fmla="*/ 452698 h 457865"/>
                    <a:gd name="connsiteX10" fmla="*/ 9762 w 515902"/>
                    <a:gd name="connsiteY10" fmla="*/ 446348 h 457865"/>
                    <a:gd name="connsiteX0" fmla="*/ 9762 w 515902"/>
                    <a:gd name="connsiteY0" fmla="*/ 446681 h 458198"/>
                    <a:gd name="connsiteX1" fmla="*/ 6587 w 515902"/>
                    <a:gd name="connsiteY1" fmla="*/ 221256 h 458198"/>
                    <a:gd name="connsiteX2" fmla="*/ 76437 w 515902"/>
                    <a:gd name="connsiteY2" fmla="*/ 157756 h 458198"/>
                    <a:gd name="connsiteX3" fmla="*/ 200262 w 515902"/>
                    <a:gd name="connsiteY3" fmla="*/ 119656 h 458198"/>
                    <a:gd name="connsiteX4" fmla="*/ 206612 w 515902"/>
                    <a:gd name="connsiteY4" fmla="*/ 14881 h 458198"/>
                    <a:gd name="connsiteX5" fmla="*/ 317737 w 515902"/>
                    <a:gd name="connsiteY5" fmla="*/ 11706 h 458198"/>
                    <a:gd name="connsiteX6" fmla="*/ 311502 w 515902"/>
                    <a:gd name="connsiteY6" fmla="*/ 118302 h 458198"/>
                    <a:gd name="connsiteX7" fmla="*/ 451087 w 515902"/>
                    <a:gd name="connsiteY7" fmla="*/ 160931 h 458198"/>
                    <a:gd name="connsiteX8" fmla="*/ 514587 w 515902"/>
                    <a:gd name="connsiteY8" fmla="*/ 230781 h 458198"/>
                    <a:gd name="connsiteX9" fmla="*/ 511412 w 515902"/>
                    <a:gd name="connsiteY9" fmla="*/ 453031 h 458198"/>
                    <a:gd name="connsiteX10" fmla="*/ 9762 w 515902"/>
                    <a:gd name="connsiteY10" fmla="*/ 446681 h 458198"/>
                    <a:gd name="connsiteX0" fmla="*/ 9762 w 515902"/>
                    <a:gd name="connsiteY0" fmla="*/ 446681 h 458198"/>
                    <a:gd name="connsiteX1" fmla="*/ 6587 w 515902"/>
                    <a:gd name="connsiteY1" fmla="*/ 221256 h 458198"/>
                    <a:gd name="connsiteX2" fmla="*/ 76437 w 515902"/>
                    <a:gd name="connsiteY2" fmla="*/ 157756 h 458198"/>
                    <a:gd name="connsiteX3" fmla="*/ 200262 w 515902"/>
                    <a:gd name="connsiteY3" fmla="*/ 119656 h 458198"/>
                    <a:gd name="connsiteX4" fmla="*/ 206612 w 515902"/>
                    <a:gd name="connsiteY4" fmla="*/ 14881 h 458198"/>
                    <a:gd name="connsiteX5" fmla="*/ 301506 w 515902"/>
                    <a:gd name="connsiteY5" fmla="*/ 11706 h 458198"/>
                    <a:gd name="connsiteX6" fmla="*/ 311502 w 515902"/>
                    <a:gd name="connsiteY6" fmla="*/ 118302 h 458198"/>
                    <a:gd name="connsiteX7" fmla="*/ 451087 w 515902"/>
                    <a:gd name="connsiteY7" fmla="*/ 160931 h 458198"/>
                    <a:gd name="connsiteX8" fmla="*/ 514587 w 515902"/>
                    <a:gd name="connsiteY8" fmla="*/ 230781 h 458198"/>
                    <a:gd name="connsiteX9" fmla="*/ 511412 w 515902"/>
                    <a:gd name="connsiteY9" fmla="*/ 453031 h 458198"/>
                    <a:gd name="connsiteX10" fmla="*/ 9762 w 515902"/>
                    <a:gd name="connsiteY10" fmla="*/ 446681 h 458198"/>
                    <a:gd name="connsiteX0" fmla="*/ 9762 w 515902"/>
                    <a:gd name="connsiteY0" fmla="*/ 446681 h 458198"/>
                    <a:gd name="connsiteX1" fmla="*/ 6587 w 515902"/>
                    <a:gd name="connsiteY1" fmla="*/ 221256 h 458198"/>
                    <a:gd name="connsiteX2" fmla="*/ 76437 w 515902"/>
                    <a:gd name="connsiteY2" fmla="*/ 157756 h 458198"/>
                    <a:gd name="connsiteX3" fmla="*/ 200262 w 515902"/>
                    <a:gd name="connsiteY3" fmla="*/ 119656 h 458198"/>
                    <a:gd name="connsiteX4" fmla="*/ 206612 w 515902"/>
                    <a:gd name="connsiteY4" fmla="*/ 14881 h 458198"/>
                    <a:gd name="connsiteX5" fmla="*/ 301506 w 515902"/>
                    <a:gd name="connsiteY5" fmla="*/ 11706 h 458198"/>
                    <a:gd name="connsiteX6" fmla="*/ 311502 w 515902"/>
                    <a:gd name="connsiteY6" fmla="*/ 118302 h 458198"/>
                    <a:gd name="connsiteX7" fmla="*/ 442972 w 515902"/>
                    <a:gd name="connsiteY7" fmla="*/ 180912 h 458198"/>
                    <a:gd name="connsiteX8" fmla="*/ 514587 w 515902"/>
                    <a:gd name="connsiteY8" fmla="*/ 230781 h 458198"/>
                    <a:gd name="connsiteX9" fmla="*/ 511412 w 515902"/>
                    <a:gd name="connsiteY9" fmla="*/ 453031 h 458198"/>
                    <a:gd name="connsiteX10" fmla="*/ 9762 w 515902"/>
                    <a:gd name="connsiteY10" fmla="*/ 446681 h 458198"/>
                    <a:gd name="connsiteX0" fmla="*/ 9762 w 511905"/>
                    <a:gd name="connsiteY0" fmla="*/ 446681 h 458198"/>
                    <a:gd name="connsiteX1" fmla="*/ 6587 w 511905"/>
                    <a:gd name="connsiteY1" fmla="*/ 221256 h 458198"/>
                    <a:gd name="connsiteX2" fmla="*/ 76437 w 511905"/>
                    <a:gd name="connsiteY2" fmla="*/ 157756 h 458198"/>
                    <a:gd name="connsiteX3" fmla="*/ 200262 w 511905"/>
                    <a:gd name="connsiteY3" fmla="*/ 119656 h 458198"/>
                    <a:gd name="connsiteX4" fmla="*/ 206612 w 511905"/>
                    <a:gd name="connsiteY4" fmla="*/ 14881 h 458198"/>
                    <a:gd name="connsiteX5" fmla="*/ 301506 w 511905"/>
                    <a:gd name="connsiteY5" fmla="*/ 11706 h 458198"/>
                    <a:gd name="connsiteX6" fmla="*/ 311502 w 511905"/>
                    <a:gd name="connsiteY6" fmla="*/ 118302 h 458198"/>
                    <a:gd name="connsiteX7" fmla="*/ 442972 w 511905"/>
                    <a:gd name="connsiteY7" fmla="*/ 180912 h 458198"/>
                    <a:gd name="connsiteX8" fmla="*/ 498357 w 511905"/>
                    <a:gd name="connsiteY8" fmla="*/ 250762 h 458198"/>
                    <a:gd name="connsiteX9" fmla="*/ 511412 w 511905"/>
                    <a:gd name="connsiteY9" fmla="*/ 453031 h 458198"/>
                    <a:gd name="connsiteX10" fmla="*/ 9762 w 511905"/>
                    <a:gd name="connsiteY10" fmla="*/ 446681 h 458198"/>
                    <a:gd name="connsiteX0" fmla="*/ 9762 w 511905"/>
                    <a:gd name="connsiteY0" fmla="*/ 446681 h 458198"/>
                    <a:gd name="connsiteX1" fmla="*/ 6587 w 511905"/>
                    <a:gd name="connsiteY1" fmla="*/ 221256 h 458198"/>
                    <a:gd name="connsiteX2" fmla="*/ 76437 w 511905"/>
                    <a:gd name="connsiteY2" fmla="*/ 157756 h 458198"/>
                    <a:gd name="connsiteX3" fmla="*/ 200262 w 511905"/>
                    <a:gd name="connsiteY3" fmla="*/ 119656 h 458198"/>
                    <a:gd name="connsiteX4" fmla="*/ 206612 w 511905"/>
                    <a:gd name="connsiteY4" fmla="*/ 14881 h 458198"/>
                    <a:gd name="connsiteX5" fmla="*/ 301506 w 511905"/>
                    <a:gd name="connsiteY5" fmla="*/ 11706 h 458198"/>
                    <a:gd name="connsiteX6" fmla="*/ 311502 w 511905"/>
                    <a:gd name="connsiteY6" fmla="*/ 118302 h 458198"/>
                    <a:gd name="connsiteX7" fmla="*/ 437562 w 511905"/>
                    <a:gd name="connsiteY7" fmla="*/ 198396 h 458198"/>
                    <a:gd name="connsiteX8" fmla="*/ 498357 w 511905"/>
                    <a:gd name="connsiteY8" fmla="*/ 250762 h 458198"/>
                    <a:gd name="connsiteX9" fmla="*/ 511412 w 511905"/>
                    <a:gd name="connsiteY9" fmla="*/ 453031 h 458198"/>
                    <a:gd name="connsiteX10" fmla="*/ 9762 w 511905"/>
                    <a:gd name="connsiteY10" fmla="*/ 446681 h 458198"/>
                    <a:gd name="connsiteX0" fmla="*/ 9762 w 511905"/>
                    <a:gd name="connsiteY0" fmla="*/ 446681 h 458198"/>
                    <a:gd name="connsiteX1" fmla="*/ 6587 w 511905"/>
                    <a:gd name="connsiteY1" fmla="*/ 221256 h 458198"/>
                    <a:gd name="connsiteX2" fmla="*/ 76437 w 511905"/>
                    <a:gd name="connsiteY2" fmla="*/ 157756 h 458198"/>
                    <a:gd name="connsiteX3" fmla="*/ 200262 w 511905"/>
                    <a:gd name="connsiteY3" fmla="*/ 119656 h 458198"/>
                    <a:gd name="connsiteX4" fmla="*/ 206612 w 511905"/>
                    <a:gd name="connsiteY4" fmla="*/ 14881 h 458198"/>
                    <a:gd name="connsiteX5" fmla="*/ 301506 w 511905"/>
                    <a:gd name="connsiteY5" fmla="*/ 11706 h 458198"/>
                    <a:gd name="connsiteX6" fmla="*/ 311502 w 511905"/>
                    <a:gd name="connsiteY6" fmla="*/ 118302 h 458198"/>
                    <a:gd name="connsiteX7" fmla="*/ 451087 w 511905"/>
                    <a:gd name="connsiteY7" fmla="*/ 188406 h 458198"/>
                    <a:gd name="connsiteX8" fmla="*/ 498357 w 511905"/>
                    <a:gd name="connsiteY8" fmla="*/ 250762 h 458198"/>
                    <a:gd name="connsiteX9" fmla="*/ 511412 w 511905"/>
                    <a:gd name="connsiteY9" fmla="*/ 453031 h 458198"/>
                    <a:gd name="connsiteX10" fmla="*/ 9762 w 511905"/>
                    <a:gd name="connsiteY10" fmla="*/ 446681 h 458198"/>
                    <a:gd name="connsiteX0" fmla="*/ 9762 w 511905"/>
                    <a:gd name="connsiteY0" fmla="*/ 447695 h 459212"/>
                    <a:gd name="connsiteX1" fmla="*/ 6587 w 511905"/>
                    <a:gd name="connsiteY1" fmla="*/ 222270 h 459212"/>
                    <a:gd name="connsiteX2" fmla="*/ 76437 w 511905"/>
                    <a:gd name="connsiteY2" fmla="*/ 158770 h 459212"/>
                    <a:gd name="connsiteX3" fmla="*/ 200262 w 511905"/>
                    <a:gd name="connsiteY3" fmla="*/ 120670 h 459212"/>
                    <a:gd name="connsiteX4" fmla="*/ 206612 w 511905"/>
                    <a:gd name="connsiteY4" fmla="*/ 15895 h 459212"/>
                    <a:gd name="connsiteX5" fmla="*/ 301506 w 511905"/>
                    <a:gd name="connsiteY5" fmla="*/ 12720 h 459212"/>
                    <a:gd name="connsiteX6" fmla="*/ 311502 w 511905"/>
                    <a:gd name="connsiteY6" fmla="*/ 134302 h 459212"/>
                    <a:gd name="connsiteX7" fmla="*/ 451087 w 511905"/>
                    <a:gd name="connsiteY7" fmla="*/ 189420 h 459212"/>
                    <a:gd name="connsiteX8" fmla="*/ 498357 w 511905"/>
                    <a:gd name="connsiteY8" fmla="*/ 251776 h 459212"/>
                    <a:gd name="connsiteX9" fmla="*/ 511412 w 511905"/>
                    <a:gd name="connsiteY9" fmla="*/ 454045 h 459212"/>
                    <a:gd name="connsiteX10" fmla="*/ 9762 w 511905"/>
                    <a:gd name="connsiteY10" fmla="*/ 447695 h 459212"/>
                    <a:gd name="connsiteX0" fmla="*/ 4227 w 522600"/>
                    <a:gd name="connsiteY0" fmla="*/ 455188 h 463021"/>
                    <a:gd name="connsiteX1" fmla="*/ 17282 w 522600"/>
                    <a:gd name="connsiteY1" fmla="*/ 222270 h 463021"/>
                    <a:gd name="connsiteX2" fmla="*/ 87132 w 522600"/>
                    <a:gd name="connsiteY2" fmla="*/ 158770 h 463021"/>
                    <a:gd name="connsiteX3" fmla="*/ 210957 w 522600"/>
                    <a:gd name="connsiteY3" fmla="*/ 120670 h 463021"/>
                    <a:gd name="connsiteX4" fmla="*/ 217307 w 522600"/>
                    <a:gd name="connsiteY4" fmla="*/ 15895 h 463021"/>
                    <a:gd name="connsiteX5" fmla="*/ 312201 w 522600"/>
                    <a:gd name="connsiteY5" fmla="*/ 12720 h 463021"/>
                    <a:gd name="connsiteX6" fmla="*/ 322197 w 522600"/>
                    <a:gd name="connsiteY6" fmla="*/ 134302 h 463021"/>
                    <a:gd name="connsiteX7" fmla="*/ 461782 w 522600"/>
                    <a:gd name="connsiteY7" fmla="*/ 189420 h 463021"/>
                    <a:gd name="connsiteX8" fmla="*/ 509052 w 522600"/>
                    <a:gd name="connsiteY8" fmla="*/ 251776 h 463021"/>
                    <a:gd name="connsiteX9" fmla="*/ 522107 w 522600"/>
                    <a:gd name="connsiteY9" fmla="*/ 454045 h 463021"/>
                    <a:gd name="connsiteX10" fmla="*/ 4227 w 522600"/>
                    <a:gd name="connsiteY10" fmla="*/ 455188 h 463021"/>
                    <a:gd name="connsiteX0" fmla="*/ 4227 w 522600"/>
                    <a:gd name="connsiteY0" fmla="*/ 455188 h 457596"/>
                    <a:gd name="connsiteX1" fmla="*/ 17282 w 522600"/>
                    <a:gd name="connsiteY1" fmla="*/ 222270 h 457596"/>
                    <a:gd name="connsiteX2" fmla="*/ 87132 w 522600"/>
                    <a:gd name="connsiteY2" fmla="*/ 158770 h 457596"/>
                    <a:gd name="connsiteX3" fmla="*/ 210957 w 522600"/>
                    <a:gd name="connsiteY3" fmla="*/ 120670 h 457596"/>
                    <a:gd name="connsiteX4" fmla="*/ 217307 w 522600"/>
                    <a:gd name="connsiteY4" fmla="*/ 15895 h 457596"/>
                    <a:gd name="connsiteX5" fmla="*/ 312201 w 522600"/>
                    <a:gd name="connsiteY5" fmla="*/ 12720 h 457596"/>
                    <a:gd name="connsiteX6" fmla="*/ 322197 w 522600"/>
                    <a:gd name="connsiteY6" fmla="*/ 134302 h 457596"/>
                    <a:gd name="connsiteX7" fmla="*/ 461782 w 522600"/>
                    <a:gd name="connsiteY7" fmla="*/ 189420 h 457596"/>
                    <a:gd name="connsiteX8" fmla="*/ 509052 w 522600"/>
                    <a:gd name="connsiteY8" fmla="*/ 251776 h 457596"/>
                    <a:gd name="connsiteX9" fmla="*/ 522107 w 522600"/>
                    <a:gd name="connsiteY9" fmla="*/ 454045 h 457596"/>
                    <a:gd name="connsiteX10" fmla="*/ 4227 w 522600"/>
                    <a:gd name="connsiteY10" fmla="*/ 455188 h 457596"/>
                    <a:gd name="connsiteX0" fmla="*/ 12757 w 531130"/>
                    <a:gd name="connsiteY0" fmla="*/ 455188 h 457596"/>
                    <a:gd name="connsiteX1" fmla="*/ 6876 w 531130"/>
                    <a:gd name="connsiteY1" fmla="*/ 237256 h 457596"/>
                    <a:gd name="connsiteX2" fmla="*/ 95662 w 531130"/>
                    <a:gd name="connsiteY2" fmla="*/ 158770 h 457596"/>
                    <a:gd name="connsiteX3" fmla="*/ 219487 w 531130"/>
                    <a:gd name="connsiteY3" fmla="*/ 120670 h 457596"/>
                    <a:gd name="connsiteX4" fmla="*/ 225837 w 531130"/>
                    <a:gd name="connsiteY4" fmla="*/ 15895 h 457596"/>
                    <a:gd name="connsiteX5" fmla="*/ 320731 w 531130"/>
                    <a:gd name="connsiteY5" fmla="*/ 12720 h 457596"/>
                    <a:gd name="connsiteX6" fmla="*/ 330727 w 531130"/>
                    <a:gd name="connsiteY6" fmla="*/ 134302 h 457596"/>
                    <a:gd name="connsiteX7" fmla="*/ 470312 w 531130"/>
                    <a:gd name="connsiteY7" fmla="*/ 189420 h 457596"/>
                    <a:gd name="connsiteX8" fmla="*/ 517582 w 531130"/>
                    <a:gd name="connsiteY8" fmla="*/ 251776 h 457596"/>
                    <a:gd name="connsiteX9" fmla="*/ 530637 w 531130"/>
                    <a:gd name="connsiteY9" fmla="*/ 454045 h 457596"/>
                    <a:gd name="connsiteX10" fmla="*/ 12757 w 531130"/>
                    <a:gd name="connsiteY10" fmla="*/ 455188 h 457596"/>
                    <a:gd name="connsiteX0" fmla="*/ 7226 w 536419"/>
                    <a:gd name="connsiteY0" fmla="*/ 447695 h 456315"/>
                    <a:gd name="connsiteX1" fmla="*/ 12165 w 536419"/>
                    <a:gd name="connsiteY1" fmla="*/ 237256 h 456315"/>
                    <a:gd name="connsiteX2" fmla="*/ 100951 w 536419"/>
                    <a:gd name="connsiteY2" fmla="*/ 158770 h 456315"/>
                    <a:gd name="connsiteX3" fmla="*/ 224776 w 536419"/>
                    <a:gd name="connsiteY3" fmla="*/ 120670 h 456315"/>
                    <a:gd name="connsiteX4" fmla="*/ 231126 w 536419"/>
                    <a:gd name="connsiteY4" fmla="*/ 15895 h 456315"/>
                    <a:gd name="connsiteX5" fmla="*/ 326020 w 536419"/>
                    <a:gd name="connsiteY5" fmla="*/ 12720 h 456315"/>
                    <a:gd name="connsiteX6" fmla="*/ 336016 w 536419"/>
                    <a:gd name="connsiteY6" fmla="*/ 134302 h 456315"/>
                    <a:gd name="connsiteX7" fmla="*/ 475601 w 536419"/>
                    <a:gd name="connsiteY7" fmla="*/ 189420 h 456315"/>
                    <a:gd name="connsiteX8" fmla="*/ 522871 w 536419"/>
                    <a:gd name="connsiteY8" fmla="*/ 251776 h 456315"/>
                    <a:gd name="connsiteX9" fmla="*/ 535926 w 536419"/>
                    <a:gd name="connsiteY9" fmla="*/ 454045 h 456315"/>
                    <a:gd name="connsiteX10" fmla="*/ 7226 w 536419"/>
                    <a:gd name="connsiteY10" fmla="*/ 447695 h 456315"/>
                    <a:gd name="connsiteX0" fmla="*/ 7226 w 528834"/>
                    <a:gd name="connsiteY0" fmla="*/ 447695 h 456315"/>
                    <a:gd name="connsiteX1" fmla="*/ 12165 w 528834"/>
                    <a:gd name="connsiteY1" fmla="*/ 237256 h 456315"/>
                    <a:gd name="connsiteX2" fmla="*/ 100951 w 528834"/>
                    <a:gd name="connsiteY2" fmla="*/ 158770 h 456315"/>
                    <a:gd name="connsiteX3" fmla="*/ 224776 w 528834"/>
                    <a:gd name="connsiteY3" fmla="*/ 120670 h 456315"/>
                    <a:gd name="connsiteX4" fmla="*/ 231126 w 528834"/>
                    <a:gd name="connsiteY4" fmla="*/ 15895 h 456315"/>
                    <a:gd name="connsiteX5" fmla="*/ 326020 w 528834"/>
                    <a:gd name="connsiteY5" fmla="*/ 12720 h 456315"/>
                    <a:gd name="connsiteX6" fmla="*/ 336016 w 528834"/>
                    <a:gd name="connsiteY6" fmla="*/ 134302 h 456315"/>
                    <a:gd name="connsiteX7" fmla="*/ 475601 w 528834"/>
                    <a:gd name="connsiteY7" fmla="*/ 189420 h 456315"/>
                    <a:gd name="connsiteX8" fmla="*/ 522871 w 528834"/>
                    <a:gd name="connsiteY8" fmla="*/ 251776 h 456315"/>
                    <a:gd name="connsiteX9" fmla="*/ 527811 w 528834"/>
                    <a:gd name="connsiteY9" fmla="*/ 454045 h 456315"/>
                    <a:gd name="connsiteX10" fmla="*/ 7226 w 528834"/>
                    <a:gd name="connsiteY10" fmla="*/ 447695 h 456315"/>
                    <a:gd name="connsiteX0" fmla="*/ 7226 w 528834"/>
                    <a:gd name="connsiteY0" fmla="*/ 447695 h 456315"/>
                    <a:gd name="connsiteX1" fmla="*/ 12165 w 528834"/>
                    <a:gd name="connsiteY1" fmla="*/ 237256 h 456315"/>
                    <a:gd name="connsiteX2" fmla="*/ 100951 w 528834"/>
                    <a:gd name="connsiteY2" fmla="*/ 158770 h 456315"/>
                    <a:gd name="connsiteX3" fmla="*/ 224776 w 528834"/>
                    <a:gd name="connsiteY3" fmla="*/ 120670 h 456315"/>
                    <a:gd name="connsiteX4" fmla="*/ 231126 w 528834"/>
                    <a:gd name="connsiteY4" fmla="*/ 15895 h 456315"/>
                    <a:gd name="connsiteX5" fmla="*/ 326020 w 528834"/>
                    <a:gd name="connsiteY5" fmla="*/ 12720 h 456315"/>
                    <a:gd name="connsiteX6" fmla="*/ 336016 w 528834"/>
                    <a:gd name="connsiteY6" fmla="*/ 134302 h 456315"/>
                    <a:gd name="connsiteX7" fmla="*/ 462076 w 528834"/>
                    <a:gd name="connsiteY7" fmla="*/ 184425 h 456315"/>
                    <a:gd name="connsiteX8" fmla="*/ 522871 w 528834"/>
                    <a:gd name="connsiteY8" fmla="*/ 251776 h 456315"/>
                    <a:gd name="connsiteX9" fmla="*/ 527811 w 528834"/>
                    <a:gd name="connsiteY9" fmla="*/ 454045 h 456315"/>
                    <a:gd name="connsiteX10" fmla="*/ 7226 w 528834"/>
                    <a:gd name="connsiteY10" fmla="*/ 447695 h 456315"/>
                    <a:gd name="connsiteX0" fmla="*/ 8515 w 530123"/>
                    <a:gd name="connsiteY0" fmla="*/ 447695 h 456315"/>
                    <a:gd name="connsiteX1" fmla="*/ 10749 w 530123"/>
                    <a:gd name="connsiteY1" fmla="*/ 244749 h 456315"/>
                    <a:gd name="connsiteX2" fmla="*/ 102240 w 530123"/>
                    <a:gd name="connsiteY2" fmla="*/ 158770 h 456315"/>
                    <a:gd name="connsiteX3" fmla="*/ 226065 w 530123"/>
                    <a:gd name="connsiteY3" fmla="*/ 120670 h 456315"/>
                    <a:gd name="connsiteX4" fmla="*/ 232415 w 530123"/>
                    <a:gd name="connsiteY4" fmla="*/ 15895 h 456315"/>
                    <a:gd name="connsiteX5" fmla="*/ 327309 w 530123"/>
                    <a:gd name="connsiteY5" fmla="*/ 12720 h 456315"/>
                    <a:gd name="connsiteX6" fmla="*/ 337305 w 530123"/>
                    <a:gd name="connsiteY6" fmla="*/ 134302 h 456315"/>
                    <a:gd name="connsiteX7" fmla="*/ 463365 w 530123"/>
                    <a:gd name="connsiteY7" fmla="*/ 184425 h 456315"/>
                    <a:gd name="connsiteX8" fmla="*/ 524160 w 530123"/>
                    <a:gd name="connsiteY8" fmla="*/ 251776 h 456315"/>
                    <a:gd name="connsiteX9" fmla="*/ 529100 w 530123"/>
                    <a:gd name="connsiteY9" fmla="*/ 454045 h 456315"/>
                    <a:gd name="connsiteX10" fmla="*/ 8515 w 530123"/>
                    <a:gd name="connsiteY10" fmla="*/ 447695 h 456315"/>
                    <a:gd name="connsiteX0" fmla="*/ 7671 w 529279"/>
                    <a:gd name="connsiteY0" fmla="*/ 447695 h 456315"/>
                    <a:gd name="connsiteX1" fmla="*/ 9905 w 529279"/>
                    <a:gd name="connsiteY1" fmla="*/ 244749 h 456315"/>
                    <a:gd name="connsiteX2" fmla="*/ 87870 w 529279"/>
                    <a:gd name="connsiteY2" fmla="*/ 166263 h 456315"/>
                    <a:gd name="connsiteX3" fmla="*/ 225221 w 529279"/>
                    <a:gd name="connsiteY3" fmla="*/ 120670 h 456315"/>
                    <a:gd name="connsiteX4" fmla="*/ 231571 w 529279"/>
                    <a:gd name="connsiteY4" fmla="*/ 15895 h 456315"/>
                    <a:gd name="connsiteX5" fmla="*/ 326465 w 529279"/>
                    <a:gd name="connsiteY5" fmla="*/ 12720 h 456315"/>
                    <a:gd name="connsiteX6" fmla="*/ 336461 w 529279"/>
                    <a:gd name="connsiteY6" fmla="*/ 134302 h 456315"/>
                    <a:gd name="connsiteX7" fmla="*/ 462521 w 529279"/>
                    <a:gd name="connsiteY7" fmla="*/ 184425 h 456315"/>
                    <a:gd name="connsiteX8" fmla="*/ 523316 w 529279"/>
                    <a:gd name="connsiteY8" fmla="*/ 251776 h 456315"/>
                    <a:gd name="connsiteX9" fmla="*/ 528256 w 529279"/>
                    <a:gd name="connsiteY9" fmla="*/ 454045 h 456315"/>
                    <a:gd name="connsiteX10" fmla="*/ 7671 w 529279"/>
                    <a:gd name="connsiteY10" fmla="*/ 447695 h 456315"/>
                    <a:gd name="connsiteX0" fmla="*/ 7671 w 529279"/>
                    <a:gd name="connsiteY0" fmla="*/ 447558 h 456178"/>
                    <a:gd name="connsiteX1" fmla="*/ 9905 w 529279"/>
                    <a:gd name="connsiteY1" fmla="*/ 244612 h 456178"/>
                    <a:gd name="connsiteX2" fmla="*/ 87870 w 529279"/>
                    <a:gd name="connsiteY2" fmla="*/ 166126 h 456178"/>
                    <a:gd name="connsiteX3" fmla="*/ 206285 w 529279"/>
                    <a:gd name="connsiteY3" fmla="*/ 118035 h 456178"/>
                    <a:gd name="connsiteX4" fmla="*/ 231571 w 529279"/>
                    <a:gd name="connsiteY4" fmla="*/ 15758 h 456178"/>
                    <a:gd name="connsiteX5" fmla="*/ 326465 w 529279"/>
                    <a:gd name="connsiteY5" fmla="*/ 12583 h 456178"/>
                    <a:gd name="connsiteX6" fmla="*/ 336461 w 529279"/>
                    <a:gd name="connsiteY6" fmla="*/ 134165 h 456178"/>
                    <a:gd name="connsiteX7" fmla="*/ 462521 w 529279"/>
                    <a:gd name="connsiteY7" fmla="*/ 184288 h 456178"/>
                    <a:gd name="connsiteX8" fmla="*/ 523316 w 529279"/>
                    <a:gd name="connsiteY8" fmla="*/ 251639 h 456178"/>
                    <a:gd name="connsiteX9" fmla="*/ 528256 w 529279"/>
                    <a:gd name="connsiteY9" fmla="*/ 453908 h 456178"/>
                    <a:gd name="connsiteX10" fmla="*/ 7671 w 529279"/>
                    <a:gd name="connsiteY10" fmla="*/ 447558 h 456178"/>
                    <a:gd name="connsiteX0" fmla="*/ 14544 w 536152"/>
                    <a:gd name="connsiteY0" fmla="*/ 447558 h 456178"/>
                    <a:gd name="connsiteX1" fmla="*/ 5958 w 536152"/>
                    <a:gd name="connsiteY1" fmla="*/ 247109 h 456178"/>
                    <a:gd name="connsiteX2" fmla="*/ 94743 w 536152"/>
                    <a:gd name="connsiteY2" fmla="*/ 166126 h 456178"/>
                    <a:gd name="connsiteX3" fmla="*/ 213158 w 536152"/>
                    <a:gd name="connsiteY3" fmla="*/ 118035 h 456178"/>
                    <a:gd name="connsiteX4" fmla="*/ 238444 w 536152"/>
                    <a:gd name="connsiteY4" fmla="*/ 15758 h 456178"/>
                    <a:gd name="connsiteX5" fmla="*/ 333338 w 536152"/>
                    <a:gd name="connsiteY5" fmla="*/ 12583 h 456178"/>
                    <a:gd name="connsiteX6" fmla="*/ 343334 w 536152"/>
                    <a:gd name="connsiteY6" fmla="*/ 134165 h 456178"/>
                    <a:gd name="connsiteX7" fmla="*/ 469394 w 536152"/>
                    <a:gd name="connsiteY7" fmla="*/ 184288 h 456178"/>
                    <a:gd name="connsiteX8" fmla="*/ 530189 w 536152"/>
                    <a:gd name="connsiteY8" fmla="*/ 251639 h 456178"/>
                    <a:gd name="connsiteX9" fmla="*/ 535129 w 536152"/>
                    <a:gd name="connsiteY9" fmla="*/ 453908 h 456178"/>
                    <a:gd name="connsiteX10" fmla="*/ 14544 w 536152"/>
                    <a:gd name="connsiteY10" fmla="*/ 447558 h 456178"/>
                    <a:gd name="connsiteX0" fmla="*/ 7226 w 542359"/>
                    <a:gd name="connsiteY0" fmla="*/ 450055 h 456488"/>
                    <a:gd name="connsiteX1" fmla="*/ 12165 w 542359"/>
                    <a:gd name="connsiteY1" fmla="*/ 247109 h 456488"/>
                    <a:gd name="connsiteX2" fmla="*/ 100950 w 542359"/>
                    <a:gd name="connsiteY2" fmla="*/ 166126 h 456488"/>
                    <a:gd name="connsiteX3" fmla="*/ 219365 w 542359"/>
                    <a:gd name="connsiteY3" fmla="*/ 118035 h 456488"/>
                    <a:gd name="connsiteX4" fmla="*/ 244651 w 542359"/>
                    <a:gd name="connsiteY4" fmla="*/ 15758 h 456488"/>
                    <a:gd name="connsiteX5" fmla="*/ 339545 w 542359"/>
                    <a:gd name="connsiteY5" fmla="*/ 12583 h 456488"/>
                    <a:gd name="connsiteX6" fmla="*/ 349541 w 542359"/>
                    <a:gd name="connsiteY6" fmla="*/ 134165 h 456488"/>
                    <a:gd name="connsiteX7" fmla="*/ 475601 w 542359"/>
                    <a:gd name="connsiteY7" fmla="*/ 184288 h 456488"/>
                    <a:gd name="connsiteX8" fmla="*/ 536396 w 542359"/>
                    <a:gd name="connsiteY8" fmla="*/ 251639 h 456488"/>
                    <a:gd name="connsiteX9" fmla="*/ 541336 w 542359"/>
                    <a:gd name="connsiteY9" fmla="*/ 453908 h 456488"/>
                    <a:gd name="connsiteX10" fmla="*/ 7226 w 542359"/>
                    <a:gd name="connsiteY10" fmla="*/ 450055 h 456488"/>
                    <a:gd name="connsiteX0" fmla="*/ 7226 w 542359"/>
                    <a:gd name="connsiteY0" fmla="*/ 450055 h 456488"/>
                    <a:gd name="connsiteX1" fmla="*/ 12165 w 542359"/>
                    <a:gd name="connsiteY1" fmla="*/ 247109 h 456488"/>
                    <a:gd name="connsiteX2" fmla="*/ 100950 w 542359"/>
                    <a:gd name="connsiteY2" fmla="*/ 166126 h 456488"/>
                    <a:gd name="connsiteX3" fmla="*/ 219365 w 542359"/>
                    <a:gd name="connsiteY3" fmla="*/ 118035 h 456488"/>
                    <a:gd name="connsiteX4" fmla="*/ 244651 w 542359"/>
                    <a:gd name="connsiteY4" fmla="*/ 15758 h 456488"/>
                    <a:gd name="connsiteX5" fmla="*/ 331430 w 542359"/>
                    <a:gd name="connsiteY5" fmla="*/ 12583 h 456488"/>
                    <a:gd name="connsiteX6" fmla="*/ 349541 w 542359"/>
                    <a:gd name="connsiteY6" fmla="*/ 134165 h 456488"/>
                    <a:gd name="connsiteX7" fmla="*/ 475601 w 542359"/>
                    <a:gd name="connsiteY7" fmla="*/ 184288 h 456488"/>
                    <a:gd name="connsiteX8" fmla="*/ 536396 w 542359"/>
                    <a:gd name="connsiteY8" fmla="*/ 251639 h 456488"/>
                    <a:gd name="connsiteX9" fmla="*/ 541336 w 542359"/>
                    <a:gd name="connsiteY9" fmla="*/ 453908 h 456488"/>
                    <a:gd name="connsiteX10" fmla="*/ 7226 w 542359"/>
                    <a:gd name="connsiteY10" fmla="*/ 450055 h 456488"/>
                    <a:gd name="connsiteX0" fmla="*/ 7226 w 542359"/>
                    <a:gd name="connsiteY0" fmla="*/ 450055 h 456488"/>
                    <a:gd name="connsiteX1" fmla="*/ 12165 w 542359"/>
                    <a:gd name="connsiteY1" fmla="*/ 247109 h 456488"/>
                    <a:gd name="connsiteX2" fmla="*/ 100950 w 542359"/>
                    <a:gd name="connsiteY2" fmla="*/ 166126 h 456488"/>
                    <a:gd name="connsiteX3" fmla="*/ 219365 w 542359"/>
                    <a:gd name="connsiteY3" fmla="*/ 118035 h 456488"/>
                    <a:gd name="connsiteX4" fmla="*/ 244651 w 542359"/>
                    <a:gd name="connsiteY4" fmla="*/ 15758 h 456488"/>
                    <a:gd name="connsiteX5" fmla="*/ 331430 w 542359"/>
                    <a:gd name="connsiteY5" fmla="*/ 12583 h 456488"/>
                    <a:gd name="connsiteX6" fmla="*/ 349541 w 542359"/>
                    <a:gd name="connsiteY6" fmla="*/ 134165 h 456488"/>
                    <a:gd name="connsiteX7" fmla="*/ 483716 w 542359"/>
                    <a:gd name="connsiteY7" fmla="*/ 179293 h 456488"/>
                    <a:gd name="connsiteX8" fmla="*/ 536396 w 542359"/>
                    <a:gd name="connsiteY8" fmla="*/ 251639 h 456488"/>
                    <a:gd name="connsiteX9" fmla="*/ 541336 w 542359"/>
                    <a:gd name="connsiteY9" fmla="*/ 453908 h 456488"/>
                    <a:gd name="connsiteX10" fmla="*/ 7226 w 542359"/>
                    <a:gd name="connsiteY10" fmla="*/ 450055 h 456488"/>
                    <a:gd name="connsiteX0" fmla="*/ 6630 w 541763"/>
                    <a:gd name="connsiteY0" fmla="*/ 450055 h 456488"/>
                    <a:gd name="connsiteX1" fmla="*/ 11569 w 541763"/>
                    <a:gd name="connsiteY1" fmla="*/ 247109 h 456488"/>
                    <a:gd name="connsiteX2" fmla="*/ 89534 w 541763"/>
                    <a:gd name="connsiteY2" fmla="*/ 166126 h 456488"/>
                    <a:gd name="connsiteX3" fmla="*/ 218769 w 541763"/>
                    <a:gd name="connsiteY3" fmla="*/ 118035 h 456488"/>
                    <a:gd name="connsiteX4" fmla="*/ 244055 w 541763"/>
                    <a:gd name="connsiteY4" fmla="*/ 15758 h 456488"/>
                    <a:gd name="connsiteX5" fmla="*/ 330834 w 541763"/>
                    <a:gd name="connsiteY5" fmla="*/ 12583 h 456488"/>
                    <a:gd name="connsiteX6" fmla="*/ 348945 w 541763"/>
                    <a:gd name="connsiteY6" fmla="*/ 134165 h 456488"/>
                    <a:gd name="connsiteX7" fmla="*/ 483120 w 541763"/>
                    <a:gd name="connsiteY7" fmla="*/ 179293 h 456488"/>
                    <a:gd name="connsiteX8" fmla="*/ 535800 w 541763"/>
                    <a:gd name="connsiteY8" fmla="*/ 251639 h 456488"/>
                    <a:gd name="connsiteX9" fmla="*/ 540740 w 541763"/>
                    <a:gd name="connsiteY9" fmla="*/ 453908 h 456488"/>
                    <a:gd name="connsiteX10" fmla="*/ 6630 w 541763"/>
                    <a:gd name="connsiteY10" fmla="*/ 450055 h 456488"/>
                    <a:gd name="connsiteX0" fmla="*/ 4856 w 539989"/>
                    <a:gd name="connsiteY0" fmla="*/ 450055 h 456488"/>
                    <a:gd name="connsiteX1" fmla="*/ 15205 w 539989"/>
                    <a:gd name="connsiteY1" fmla="*/ 227128 h 456488"/>
                    <a:gd name="connsiteX2" fmla="*/ 87760 w 539989"/>
                    <a:gd name="connsiteY2" fmla="*/ 166126 h 456488"/>
                    <a:gd name="connsiteX3" fmla="*/ 216995 w 539989"/>
                    <a:gd name="connsiteY3" fmla="*/ 118035 h 456488"/>
                    <a:gd name="connsiteX4" fmla="*/ 242281 w 539989"/>
                    <a:gd name="connsiteY4" fmla="*/ 15758 h 456488"/>
                    <a:gd name="connsiteX5" fmla="*/ 329060 w 539989"/>
                    <a:gd name="connsiteY5" fmla="*/ 12583 h 456488"/>
                    <a:gd name="connsiteX6" fmla="*/ 347171 w 539989"/>
                    <a:gd name="connsiteY6" fmla="*/ 134165 h 456488"/>
                    <a:gd name="connsiteX7" fmla="*/ 481346 w 539989"/>
                    <a:gd name="connsiteY7" fmla="*/ 179293 h 456488"/>
                    <a:gd name="connsiteX8" fmla="*/ 534026 w 539989"/>
                    <a:gd name="connsiteY8" fmla="*/ 251639 h 456488"/>
                    <a:gd name="connsiteX9" fmla="*/ 538966 w 539989"/>
                    <a:gd name="connsiteY9" fmla="*/ 453908 h 456488"/>
                    <a:gd name="connsiteX10" fmla="*/ 4856 w 539989"/>
                    <a:gd name="connsiteY10" fmla="*/ 450055 h 4564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39989" h="456488">
                      <a:moveTo>
                        <a:pt x="4856" y="450055"/>
                      </a:moveTo>
                      <a:cubicBezTo>
                        <a:pt x="-5198" y="385497"/>
                        <a:pt x="1388" y="274449"/>
                        <a:pt x="15205" y="227128"/>
                      </a:cubicBezTo>
                      <a:cubicBezTo>
                        <a:pt x="29022" y="179807"/>
                        <a:pt x="54128" y="184308"/>
                        <a:pt x="87760" y="166126"/>
                      </a:cubicBezTo>
                      <a:cubicBezTo>
                        <a:pt x="121392" y="147944"/>
                        <a:pt x="191242" y="143096"/>
                        <a:pt x="216995" y="118035"/>
                      </a:cubicBezTo>
                      <a:cubicBezTo>
                        <a:pt x="242748" y="92974"/>
                        <a:pt x="223604" y="33333"/>
                        <a:pt x="242281" y="15758"/>
                      </a:cubicBezTo>
                      <a:cubicBezTo>
                        <a:pt x="260958" y="-1817"/>
                        <a:pt x="311578" y="-7151"/>
                        <a:pt x="329060" y="12583"/>
                      </a:cubicBezTo>
                      <a:cubicBezTo>
                        <a:pt x="346542" y="32317"/>
                        <a:pt x="321790" y="106380"/>
                        <a:pt x="347171" y="134165"/>
                      </a:cubicBezTo>
                      <a:cubicBezTo>
                        <a:pt x="372552" y="161950"/>
                        <a:pt x="450204" y="159714"/>
                        <a:pt x="481346" y="179293"/>
                      </a:cubicBezTo>
                      <a:cubicBezTo>
                        <a:pt x="512489" y="198872"/>
                        <a:pt x="523972" y="202956"/>
                        <a:pt x="534026" y="251639"/>
                      </a:cubicBezTo>
                      <a:cubicBezTo>
                        <a:pt x="537201" y="301381"/>
                        <a:pt x="542141" y="328496"/>
                        <a:pt x="538966" y="453908"/>
                      </a:cubicBezTo>
                      <a:cubicBezTo>
                        <a:pt x="307191" y="461845"/>
                        <a:pt x="250800" y="448827"/>
                        <a:pt x="4856" y="450055"/>
                      </a:cubicBezTo>
                      <a:close/>
                    </a:path>
                  </a:pathLst>
                </a:custGeom>
                <a:solidFill>
                  <a:schemeClr val="bg1"/>
                </a:solidFill>
                <a:ln w="57150">
                  <a:solidFill>
                    <a:schemeClr val="tx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114" name="Oval 113">
                  <a:extLst>
                    <a:ext uri="{FF2B5EF4-FFF2-40B4-BE49-F238E27FC236}">
                      <a16:creationId xmlns:a16="http://schemas.microsoft.com/office/drawing/2014/main" id="{1EF1FC89-BCE5-CF42-8084-803129434C54}"/>
                    </a:ext>
                  </a:extLst>
                </p:cNvPr>
                <p:cNvSpPr/>
                <p:nvPr/>
              </p:nvSpPr>
              <p:spPr>
                <a:xfrm>
                  <a:off x="1964431" y="3500843"/>
                  <a:ext cx="259337" cy="299858"/>
                </a:xfrm>
                <a:prstGeom prst="ellipse">
                  <a:avLst/>
                </a:prstGeom>
                <a:solidFill>
                  <a:schemeClr val="bg1"/>
                </a:solidFill>
                <a:ln w="57150">
                  <a:solidFill>
                    <a:schemeClr val="tx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grpSp>
        </p:grpSp>
        <p:grpSp>
          <p:nvGrpSpPr>
            <p:cNvPr id="105" name="Group 104">
              <a:extLst>
                <a:ext uri="{FF2B5EF4-FFF2-40B4-BE49-F238E27FC236}">
                  <a16:creationId xmlns:a16="http://schemas.microsoft.com/office/drawing/2014/main" id="{C70E1840-1164-C44A-9AC2-266DE9366C9C}"/>
                </a:ext>
              </a:extLst>
            </p:cNvPr>
            <p:cNvGrpSpPr/>
            <p:nvPr/>
          </p:nvGrpSpPr>
          <p:grpSpPr>
            <a:xfrm>
              <a:off x="2495712" y="4589934"/>
              <a:ext cx="1256698" cy="510604"/>
              <a:chOff x="2495712" y="4589934"/>
              <a:chExt cx="1256698" cy="510604"/>
            </a:xfrm>
            <a:solidFill>
              <a:schemeClr val="tx1">
                <a:lumMod val="50000"/>
              </a:schemeClr>
            </a:solidFill>
          </p:grpSpPr>
          <p:sp>
            <p:nvSpPr>
              <p:cNvPr id="107" name="Rounded Rectangle 106">
                <a:extLst>
                  <a:ext uri="{FF2B5EF4-FFF2-40B4-BE49-F238E27FC236}">
                    <a16:creationId xmlns:a16="http://schemas.microsoft.com/office/drawing/2014/main" id="{86110C7D-0028-4D43-BBF8-6C032411382D}"/>
                  </a:ext>
                </a:extLst>
              </p:cNvPr>
              <p:cNvSpPr/>
              <p:nvPr/>
            </p:nvSpPr>
            <p:spPr>
              <a:xfrm>
                <a:off x="2495712" y="4589934"/>
                <a:ext cx="1256697" cy="251941"/>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108" name="Rectangle 107">
                <a:extLst>
                  <a:ext uri="{FF2B5EF4-FFF2-40B4-BE49-F238E27FC236}">
                    <a16:creationId xmlns:a16="http://schemas.microsoft.com/office/drawing/2014/main" id="{679C41A6-F7EB-7B40-B0C2-420FE15ABD81}"/>
                  </a:ext>
                </a:extLst>
              </p:cNvPr>
              <p:cNvSpPr/>
              <p:nvPr/>
            </p:nvSpPr>
            <p:spPr>
              <a:xfrm>
                <a:off x="2498725" y="4797790"/>
                <a:ext cx="1253685" cy="13315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109" name="Rectangle 108">
                <a:extLst>
                  <a:ext uri="{FF2B5EF4-FFF2-40B4-BE49-F238E27FC236}">
                    <a16:creationId xmlns:a16="http://schemas.microsoft.com/office/drawing/2014/main" id="{01275AC7-BF89-9E42-9F29-CB62B603C5C6}"/>
                  </a:ext>
                </a:extLst>
              </p:cNvPr>
              <p:cNvSpPr/>
              <p:nvPr/>
            </p:nvSpPr>
            <p:spPr>
              <a:xfrm>
                <a:off x="2546350" y="4923041"/>
                <a:ext cx="109152" cy="17749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110" name="Rectangle 109">
                <a:extLst>
                  <a:ext uri="{FF2B5EF4-FFF2-40B4-BE49-F238E27FC236}">
                    <a16:creationId xmlns:a16="http://schemas.microsoft.com/office/drawing/2014/main" id="{3830F1E4-B915-EB4C-BE38-C506F584F51E}"/>
                  </a:ext>
                </a:extLst>
              </p:cNvPr>
              <p:cNvSpPr/>
              <p:nvPr/>
            </p:nvSpPr>
            <p:spPr>
              <a:xfrm>
                <a:off x="3610945" y="4923041"/>
                <a:ext cx="109152" cy="17749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grpSp>
        <p:sp>
          <p:nvSpPr>
            <p:cNvPr id="106" name="Trapezoid 105">
              <a:extLst>
                <a:ext uri="{FF2B5EF4-FFF2-40B4-BE49-F238E27FC236}">
                  <a16:creationId xmlns:a16="http://schemas.microsoft.com/office/drawing/2014/main" id="{A707C205-0226-C740-8A8D-2C2D5312B0F8}"/>
                </a:ext>
              </a:extLst>
            </p:cNvPr>
            <p:cNvSpPr/>
            <p:nvPr/>
          </p:nvSpPr>
          <p:spPr>
            <a:xfrm>
              <a:off x="2655502" y="4181475"/>
              <a:ext cx="958850" cy="363303"/>
            </a:xfrm>
            <a:prstGeom prst="trapezoid">
              <a:avLst/>
            </a:prstGeom>
            <a:solidFill>
              <a:schemeClr val="tx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grpSp>
      <p:grpSp>
        <p:nvGrpSpPr>
          <p:cNvPr id="117" name="Group 116">
            <a:extLst>
              <a:ext uri="{FF2B5EF4-FFF2-40B4-BE49-F238E27FC236}">
                <a16:creationId xmlns:a16="http://schemas.microsoft.com/office/drawing/2014/main" id="{52E2100D-0D65-8E48-8162-11E9D2E7AE8A}"/>
              </a:ext>
            </a:extLst>
          </p:cNvPr>
          <p:cNvGrpSpPr/>
          <p:nvPr/>
        </p:nvGrpSpPr>
        <p:grpSpPr>
          <a:xfrm>
            <a:off x="12792680" y="3001128"/>
            <a:ext cx="1025213" cy="1261037"/>
            <a:chOff x="2441771" y="3385414"/>
            <a:chExt cx="1325481" cy="1781019"/>
          </a:xfrm>
        </p:grpSpPr>
        <p:pic>
          <p:nvPicPr>
            <p:cNvPr id="118" name="Picture 117">
              <a:extLst>
                <a:ext uri="{FF2B5EF4-FFF2-40B4-BE49-F238E27FC236}">
                  <a16:creationId xmlns:a16="http://schemas.microsoft.com/office/drawing/2014/main" id="{29FF592E-5C54-8943-B161-53074EAFF763}"/>
                </a:ext>
              </a:extLst>
            </p:cNvPr>
            <p:cNvPicPr>
              <a:picLocks noChangeAspect="1"/>
            </p:cNvPicPr>
            <p:nvPr/>
          </p:nvPicPr>
          <p:blipFill rotWithShape="1">
            <a:blip r:embed="rId2"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a:xfrm>
              <a:off x="2441771" y="3385414"/>
              <a:ext cx="1325481" cy="1781019"/>
            </a:xfrm>
            <a:prstGeom prst="rect">
              <a:avLst/>
            </a:prstGeom>
          </p:spPr>
        </p:pic>
        <p:sp>
          <p:nvSpPr>
            <p:cNvPr id="119" name="Rounded Rectangle 118">
              <a:extLst>
                <a:ext uri="{FF2B5EF4-FFF2-40B4-BE49-F238E27FC236}">
                  <a16:creationId xmlns:a16="http://schemas.microsoft.com/office/drawing/2014/main" id="{6EBFA019-BEBE-D94D-BFCE-DBCCEC0BA64A}"/>
                </a:ext>
              </a:extLst>
            </p:cNvPr>
            <p:cNvSpPr/>
            <p:nvPr/>
          </p:nvSpPr>
          <p:spPr>
            <a:xfrm>
              <a:off x="2655502" y="3670300"/>
              <a:ext cx="958850" cy="436656"/>
            </a:xfrm>
            <a:prstGeom prst="roundRect">
              <a:avLst/>
            </a:prstGeom>
            <a:solidFill>
              <a:schemeClr val="tx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grpSp>
          <p:nvGrpSpPr>
            <p:cNvPr id="120" name="Group 119">
              <a:extLst>
                <a:ext uri="{FF2B5EF4-FFF2-40B4-BE49-F238E27FC236}">
                  <a16:creationId xmlns:a16="http://schemas.microsoft.com/office/drawing/2014/main" id="{C30316E8-3F78-7143-9E16-8BFE7CA0815F}"/>
                </a:ext>
              </a:extLst>
            </p:cNvPr>
            <p:cNvGrpSpPr/>
            <p:nvPr/>
          </p:nvGrpSpPr>
          <p:grpSpPr>
            <a:xfrm>
              <a:off x="2776471" y="3456093"/>
              <a:ext cx="748710" cy="1056883"/>
              <a:chOff x="1496718" y="3334932"/>
              <a:chExt cx="748710" cy="1056883"/>
            </a:xfrm>
          </p:grpSpPr>
          <p:grpSp>
            <p:nvGrpSpPr>
              <p:cNvPr id="127" name="Group 126">
                <a:extLst>
                  <a:ext uri="{FF2B5EF4-FFF2-40B4-BE49-F238E27FC236}">
                    <a16:creationId xmlns:a16="http://schemas.microsoft.com/office/drawing/2014/main" id="{AC2DAEE7-3C20-3042-AA6B-87BAFC8905A1}"/>
                  </a:ext>
                </a:extLst>
              </p:cNvPr>
              <p:cNvGrpSpPr/>
              <p:nvPr/>
            </p:nvGrpSpPr>
            <p:grpSpPr>
              <a:xfrm>
                <a:off x="1496718" y="3334932"/>
                <a:ext cx="748710" cy="1056883"/>
                <a:chOff x="1843570" y="3508300"/>
                <a:chExt cx="514980" cy="727982"/>
              </a:xfrm>
              <a:solidFill>
                <a:schemeClr val="bg1"/>
              </a:solidFill>
            </p:grpSpPr>
            <p:sp>
              <p:nvSpPr>
                <p:cNvPr id="131" name="Freeform 130">
                  <a:extLst>
                    <a:ext uri="{FF2B5EF4-FFF2-40B4-BE49-F238E27FC236}">
                      <a16:creationId xmlns:a16="http://schemas.microsoft.com/office/drawing/2014/main" id="{1838CA54-3A0B-444A-8B44-55AD6EC220E3}"/>
                    </a:ext>
                  </a:extLst>
                </p:cNvPr>
                <p:cNvSpPr/>
                <p:nvPr/>
              </p:nvSpPr>
              <p:spPr>
                <a:xfrm>
                  <a:off x="1843570" y="3787509"/>
                  <a:ext cx="514980" cy="448773"/>
                </a:xfrm>
                <a:custGeom>
                  <a:avLst/>
                  <a:gdLst>
                    <a:gd name="connsiteX0" fmla="*/ 36807 w 576731"/>
                    <a:gd name="connsiteY0" fmla="*/ 449906 h 505924"/>
                    <a:gd name="connsiteX1" fmla="*/ 39982 w 576731"/>
                    <a:gd name="connsiteY1" fmla="*/ 214956 h 505924"/>
                    <a:gd name="connsiteX2" fmla="*/ 55857 w 576731"/>
                    <a:gd name="connsiteY2" fmla="*/ 176856 h 505924"/>
                    <a:gd name="connsiteX3" fmla="*/ 103482 w 576731"/>
                    <a:gd name="connsiteY3" fmla="*/ 160981 h 505924"/>
                    <a:gd name="connsiteX4" fmla="*/ 205082 w 576731"/>
                    <a:gd name="connsiteY4" fmla="*/ 154631 h 505924"/>
                    <a:gd name="connsiteX5" fmla="*/ 230482 w 576731"/>
                    <a:gd name="connsiteY5" fmla="*/ 151456 h 505924"/>
                    <a:gd name="connsiteX6" fmla="*/ 233657 w 576731"/>
                    <a:gd name="connsiteY6" fmla="*/ 18106 h 505924"/>
                    <a:gd name="connsiteX7" fmla="*/ 344782 w 576731"/>
                    <a:gd name="connsiteY7" fmla="*/ 14931 h 505924"/>
                    <a:gd name="connsiteX8" fmla="*/ 344782 w 576731"/>
                    <a:gd name="connsiteY8" fmla="*/ 145106 h 505924"/>
                    <a:gd name="connsiteX9" fmla="*/ 386057 w 576731"/>
                    <a:gd name="connsiteY9" fmla="*/ 151456 h 505924"/>
                    <a:gd name="connsiteX10" fmla="*/ 478132 w 576731"/>
                    <a:gd name="connsiteY10" fmla="*/ 164156 h 505924"/>
                    <a:gd name="connsiteX11" fmla="*/ 519407 w 576731"/>
                    <a:gd name="connsiteY11" fmla="*/ 189556 h 505924"/>
                    <a:gd name="connsiteX12" fmla="*/ 541632 w 576731"/>
                    <a:gd name="connsiteY12" fmla="*/ 234006 h 505924"/>
                    <a:gd name="connsiteX13" fmla="*/ 538457 w 576731"/>
                    <a:gd name="connsiteY13" fmla="*/ 488006 h 505924"/>
                    <a:gd name="connsiteX14" fmla="*/ 36807 w 576731"/>
                    <a:gd name="connsiteY14" fmla="*/ 449906 h 505924"/>
                    <a:gd name="connsiteX0" fmla="*/ 5769 w 545693"/>
                    <a:gd name="connsiteY0" fmla="*/ 449906 h 505924"/>
                    <a:gd name="connsiteX1" fmla="*/ 8944 w 545693"/>
                    <a:gd name="connsiteY1" fmla="*/ 214956 h 505924"/>
                    <a:gd name="connsiteX2" fmla="*/ 24819 w 545693"/>
                    <a:gd name="connsiteY2" fmla="*/ 176856 h 505924"/>
                    <a:gd name="connsiteX3" fmla="*/ 72444 w 545693"/>
                    <a:gd name="connsiteY3" fmla="*/ 160981 h 505924"/>
                    <a:gd name="connsiteX4" fmla="*/ 174044 w 545693"/>
                    <a:gd name="connsiteY4" fmla="*/ 154631 h 505924"/>
                    <a:gd name="connsiteX5" fmla="*/ 199444 w 545693"/>
                    <a:gd name="connsiteY5" fmla="*/ 151456 h 505924"/>
                    <a:gd name="connsiteX6" fmla="*/ 202619 w 545693"/>
                    <a:gd name="connsiteY6" fmla="*/ 18106 h 505924"/>
                    <a:gd name="connsiteX7" fmla="*/ 313744 w 545693"/>
                    <a:gd name="connsiteY7" fmla="*/ 14931 h 505924"/>
                    <a:gd name="connsiteX8" fmla="*/ 313744 w 545693"/>
                    <a:gd name="connsiteY8" fmla="*/ 145106 h 505924"/>
                    <a:gd name="connsiteX9" fmla="*/ 355019 w 545693"/>
                    <a:gd name="connsiteY9" fmla="*/ 151456 h 505924"/>
                    <a:gd name="connsiteX10" fmla="*/ 447094 w 545693"/>
                    <a:gd name="connsiteY10" fmla="*/ 164156 h 505924"/>
                    <a:gd name="connsiteX11" fmla="*/ 488369 w 545693"/>
                    <a:gd name="connsiteY11" fmla="*/ 189556 h 505924"/>
                    <a:gd name="connsiteX12" fmla="*/ 510594 w 545693"/>
                    <a:gd name="connsiteY12" fmla="*/ 234006 h 505924"/>
                    <a:gd name="connsiteX13" fmla="*/ 507419 w 545693"/>
                    <a:gd name="connsiteY13" fmla="*/ 488006 h 505924"/>
                    <a:gd name="connsiteX14" fmla="*/ 5769 w 545693"/>
                    <a:gd name="connsiteY14" fmla="*/ 449906 h 505924"/>
                    <a:gd name="connsiteX0" fmla="*/ 21286 w 561210"/>
                    <a:gd name="connsiteY0" fmla="*/ 449906 h 508025"/>
                    <a:gd name="connsiteX1" fmla="*/ 24461 w 561210"/>
                    <a:gd name="connsiteY1" fmla="*/ 214956 h 508025"/>
                    <a:gd name="connsiteX2" fmla="*/ 40336 w 561210"/>
                    <a:gd name="connsiteY2" fmla="*/ 176856 h 508025"/>
                    <a:gd name="connsiteX3" fmla="*/ 87961 w 561210"/>
                    <a:gd name="connsiteY3" fmla="*/ 160981 h 508025"/>
                    <a:gd name="connsiteX4" fmla="*/ 189561 w 561210"/>
                    <a:gd name="connsiteY4" fmla="*/ 154631 h 508025"/>
                    <a:gd name="connsiteX5" fmla="*/ 214961 w 561210"/>
                    <a:gd name="connsiteY5" fmla="*/ 151456 h 508025"/>
                    <a:gd name="connsiteX6" fmla="*/ 218136 w 561210"/>
                    <a:gd name="connsiteY6" fmla="*/ 18106 h 508025"/>
                    <a:gd name="connsiteX7" fmla="*/ 329261 w 561210"/>
                    <a:gd name="connsiteY7" fmla="*/ 14931 h 508025"/>
                    <a:gd name="connsiteX8" fmla="*/ 329261 w 561210"/>
                    <a:gd name="connsiteY8" fmla="*/ 145106 h 508025"/>
                    <a:gd name="connsiteX9" fmla="*/ 370536 w 561210"/>
                    <a:gd name="connsiteY9" fmla="*/ 151456 h 508025"/>
                    <a:gd name="connsiteX10" fmla="*/ 462611 w 561210"/>
                    <a:gd name="connsiteY10" fmla="*/ 164156 h 508025"/>
                    <a:gd name="connsiteX11" fmla="*/ 503886 w 561210"/>
                    <a:gd name="connsiteY11" fmla="*/ 189556 h 508025"/>
                    <a:gd name="connsiteX12" fmla="*/ 526111 w 561210"/>
                    <a:gd name="connsiteY12" fmla="*/ 234006 h 508025"/>
                    <a:gd name="connsiteX13" fmla="*/ 522936 w 561210"/>
                    <a:gd name="connsiteY13" fmla="*/ 488006 h 508025"/>
                    <a:gd name="connsiteX14" fmla="*/ 21286 w 561210"/>
                    <a:gd name="connsiteY14" fmla="*/ 449906 h 508025"/>
                    <a:gd name="connsiteX0" fmla="*/ 21286 w 561210"/>
                    <a:gd name="connsiteY0" fmla="*/ 449906 h 508025"/>
                    <a:gd name="connsiteX1" fmla="*/ 24461 w 561210"/>
                    <a:gd name="connsiteY1" fmla="*/ 214956 h 508025"/>
                    <a:gd name="connsiteX2" fmla="*/ 40336 w 561210"/>
                    <a:gd name="connsiteY2" fmla="*/ 176856 h 508025"/>
                    <a:gd name="connsiteX3" fmla="*/ 87961 w 561210"/>
                    <a:gd name="connsiteY3" fmla="*/ 160981 h 508025"/>
                    <a:gd name="connsiteX4" fmla="*/ 189561 w 561210"/>
                    <a:gd name="connsiteY4" fmla="*/ 154631 h 508025"/>
                    <a:gd name="connsiteX5" fmla="*/ 214961 w 561210"/>
                    <a:gd name="connsiteY5" fmla="*/ 151456 h 508025"/>
                    <a:gd name="connsiteX6" fmla="*/ 218136 w 561210"/>
                    <a:gd name="connsiteY6" fmla="*/ 18106 h 508025"/>
                    <a:gd name="connsiteX7" fmla="*/ 329261 w 561210"/>
                    <a:gd name="connsiteY7" fmla="*/ 14931 h 508025"/>
                    <a:gd name="connsiteX8" fmla="*/ 329261 w 561210"/>
                    <a:gd name="connsiteY8" fmla="*/ 145106 h 508025"/>
                    <a:gd name="connsiteX9" fmla="*/ 370536 w 561210"/>
                    <a:gd name="connsiteY9" fmla="*/ 151456 h 508025"/>
                    <a:gd name="connsiteX10" fmla="*/ 462611 w 561210"/>
                    <a:gd name="connsiteY10" fmla="*/ 164156 h 508025"/>
                    <a:gd name="connsiteX11" fmla="*/ 503886 w 561210"/>
                    <a:gd name="connsiteY11" fmla="*/ 189556 h 508025"/>
                    <a:gd name="connsiteX12" fmla="*/ 526111 w 561210"/>
                    <a:gd name="connsiteY12" fmla="*/ 234006 h 508025"/>
                    <a:gd name="connsiteX13" fmla="*/ 522936 w 561210"/>
                    <a:gd name="connsiteY13" fmla="*/ 488006 h 508025"/>
                    <a:gd name="connsiteX14" fmla="*/ 21286 w 561210"/>
                    <a:gd name="connsiteY14" fmla="*/ 449906 h 508025"/>
                    <a:gd name="connsiteX0" fmla="*/ 4360 w 544284"/>
                    <a:gd name="connsiteY0" fmla="*/ 449906 h 508025"/>
                    <a:gd name="connsiteX1" fmla="*/ 7535 w 544284"/>
                    <a:gd name="connsiteY1" fmla="*/ 214956 h 508025"/>
                    <a:gd name="connsiteX2" fmla="*/ 23410 w 544284"/>
                    <a:gd name="connsiteY2" fmla="*/ 176856 h 508025"/>
                    <a:gd name="connsiteX3" fmla="*/ 71035 w 544284"/>
                    <a:gd name="connsiteY3" fmla="*/ 160981 h 508025"/>
                    <a:gd name="connsiteX4" fmla="*/ 172635 w 544284"/>
                    <a:gd name="connsiteY4" fmla="*/ 154631 h 508025"/>
                    <a:gd name="connsiteX5" fmla="*/ 198035 w 544284"/>
                    <a:gd name="connsiteY5" fmla="*/ 151456 h 508025"/>
                    <a:gd name="connsiteX6" fmla="*/ 201210 w 544284"/>
                    <a:gd name="connsiteY6" fmla="*/ 18106 h 508025"/>
                    <a:gd name="connsiteX7" fmla="*/ 312335 w 544284"/>
                    <a:gd name="connsiteY7" fmla="*/ 14931 h 508025"/>
                    <a:gd name="connsiteX8" fmla="*/ 312335 w 544284"/>
                    <a:gd name="connsiteY8" fmla="*/ 145106 h 508025"/>
                    <a:gd name="connsiteX9" fmla="*/ 353610 w 544284"/>
                    <a:gd name="connsiteY9" fmla="*/ 151456 h 508025"/>
                    <a:gd name="connsiteX10" fmla="*/ 445685 w 544284"/>
                    <a:gd name="connsiteY10" fmla="*/ 164156 h 508025"/>
                    <a:gd name="connsiteX11" fmla="*/ 486960 w 544284"/>
                    <a:gd name="connsiteY11" fmla="*/ 189556 h 508025"/>
                    <a:gd name="connsiteX12" fmla="*/ 509185 w 544284"/>
                    <a:gd name="connsiteY12" fmla="*/ 234006 h 508025"/>
                    <a:gd name="connsiteX13" fmla="*/ 506010 w 544284"/>
                    <a:gd name="connsiteY13" fmla="*/ 488006 h 508025"/>
                    <a:gd name="connsiteX14" fmla="*/ 4360 w 544284"/>
                    <a:gd name="connsiteY14" fmla="*/ 449906 h 508025"/>
                    <a:gd name="connsiteX0" fmla="*/ 4360 w 544284"/>
                    <a:gd name="connsiteY0" fmla="*/ 449906 h 500804"/>
                    <a:gd name="connsiteX1" fmla="*/ 7535 w 544284"/>
                    <a:gd name="connsiteY1" fmla="*/ 214956 h 500804"/>
                    <a:gd name="connsiteX2" fmla="*/ 23410 w 544284"/>
                    <a:gd name="connsiteY2" fmla="*/ 176856 h 500804"/>
                    <a:gd name="connsiteX3" fmla="*/ 71035 w 544284"/>
                    <a:gd name="connsiteY3" fmla="*/ 160981 h 500804"/>
                    <a:gd name="connsiteX4" fmla="*/ 172635 w 544284"/>
                    <a:gd name="connsiteY4" fmla="*/ 154631 h 500804"/>
                    <a:gd name="connsiteX5" fmla="*/ 198035 w 544284"/>
                    <a:gd name="connsiteY5" fmla="*/ 151456 h 500804"/>
                    <a:gd name="connsiteX6" fmla="*/ 201210 w 544284"/>
                    <a:gd name="connsiteY6" fmla="*/ 18106 h 500804"/>
                    <a:gd name="connsiteX7" fmla="*/ 312335 w 544284"/>
                    <a:gd name="connsiteY7" fmla="*/ 14931 h 500804"/>
                    <a:gd name="connsiteX8" fmla="*/ 312335 w 544284"/>
                    <a:gd name="connsiteY8" fmla="*/ 145106 h 500804"/>
                    <a:gd name="connsiteX9" fmla="*/ 353610 w 544284"/>
                    <a:gd name="connsiteY9" fmla="*/ 151456 h 500804"/>
                    <a:gd name="connsiteX10" fmla="*/ 445685 w 544284"/>
                    <a:gd name="connsiteY10" fmla="*/ 164156 h 500804"/>
                    <a:gd name="connsiteX11" fmla="*/ 486960 w 544284"/>
                    <a:gd name="connsiteY11" fmla="*/ 189556 h 500804"/>
                    <a:gd name="connsiteX12" fmla="*/ 509185 w 544284"/>
                    <a:gd name="connsiteY12" fmla="*/ 234006 h 500804"/>
                    <a:gd name="connsiteX13" fmla="*/ 506010 w 544284"/>
                    <a:gd name="connsiteY13" fmla="*/ 488006 h 500804"/>
                    <a:gd name="connsiteX14" fmla="*/ 4360 w 544284"/>
                    <a:gd name="connsiteY14" fmla="*/ 449906 h 500804"/>
                    <a:gd name="connsiteX0" fmla="*/ 4360 w 544284"/>
                    <a:gd name="connsiteY0" fmla="*/ 449906 h 500804"/>
                    <a:gd name="connsiteX1" fmla="*/ 7535 w 544284"/>
                    <a:gd name="connsiteY1" fmla="*/ 214956 h 500804"/>
                    <a:gd name="connsiteX2" fmla="*/ 23410 w 544284"/>
                    <a:gd name="connsiteY2" fmla="*/ 176856 h 500804"/>
                    <a:gd name="connsiteX3" fmla="*/ 71035 w 544284"/>
                    <a:gd name="connsiteY3" fmla="*/ 160981 h 500804"/>
                    <a:gd name="connsiteX4" fmla="*/ 172635 w 544284"/>
                    <a:gd name="connsiteY4" fmla="*/ 154631 h 500804"/>
                    <a:gd name="connsiteX5" fmla="*/ 198035 w 544284"/>
                    <a:gd name="connsiteY5" fmla="*/ 151456 h 500804"/>
                    <a:gd name="connsiteX6" fmla="*/ 201210 w 544284"/>
                    <a:gd name="connsiteY6" fmla="*/ 18106 h 500804"/>
                    <a:gd name="connsiteX7" fmla="*/ 312335 w 544284"/>
                    <a:gd name="connsiteY7" fmla="*/ 14931 h 500804"/>
                    <a:gd name="connsiteX8" fmla="*/ 312335 w 544284"/>
                    <a:gd name="connsiteY8" fmla="*/ 145106 h 500804"/>
                    <a:gd name="connsiteX9" fmla="*/ 353610 w 544284"/>
                    <a:gd name="connsiteY9" fmla="*/ 151456 h 500804"/>
                    <a:gd name="connsiteX10" fmla="*/ 445685 w 544284"/>
                    <a:gd name="connsiteY10" fmla="*/ 164156 h 500804"/>
                    <a:gd name="connsiteX11" fmla="*/ 486960 w 544284"/>
                    <a:gd name="connsiteY11" fmla="*/ 189556 h 500804"/>
                    <a:gd name="connsiteX12" fmla="*/ 509185 w 544284"/>
                    <a:gd name="connsiteY12" fmla="*/ 234006 h 500804"/>
                    <a:gd name="connsiteX13" fmla="*/ 506010 w 544284"/>
                    <a:gd name="connsiteY13" fmla="*/ 488006 h 500804"/>
                    <a:gd name="connsiteX14" fmla="*/ 4360 w 544284"/>
                    <a:gd name="connsiteY14" fmla="*/ 449906 h 500804"/>
                    <a:gd name="connsiteX0" fmla="*/ 4360 w 519024"/>
                    <a:gd name="connsiteY0" fmla="*/ 449906 h 500804"/>
                    <a:gd name="connsiteX1" fmla="*/ 7535 w 519024"/>
                    <a:gd name="connsiteY1" fmla="*/ 214956 h 500804"/>
                    <a:gd name="connsiteX2" fmla="*/ 23410 w 519024"/>
                    <a:gd name="connsiteY2" fmla="*/ 176856 h 500804"/>
                    <a:gd name="connsiteX3" fmla="*/ 71035 w 519024"/>
                    <a:gd name="connsiteY3" fmla="*/ 160981 h 500804"/>
                    <a:gd name="connsiteX4" fmla="*/ 172635 w 519024"/>
                    <a:gd name="connsiteY4" fmla="*/ 154631 h 500804"/>
                    <a:gd name="connsiteX5" fmla="*/ 198035 w 519024"/>
                    <a:gd name="connsiteY5" fmla="*/ 151456 h 500804"/>
                    <a:gd name="connsiteX6" fmla="*/ 201210 w 519024"/>
                    <a:gd name="connsiteY6" fmla="*/ 18106 h 500804"/>
                    <a:gd name="connsiteX7" fmla="*/ 312335 w 519024"/>
                    <a:gd name="connsiteY7" fmla="*/ 14931 h 500804"/>
                    <a:gd name="connsiteX8" fmla="*/ 312335 w 519024"/>
                    <a:gd name="connsiteY8" fmla="*/ 145106 h 500804"/>
                    <a:gd name="connsiteX9" fmla="*/ 353610 w 519024"/>
                    <a:gd name="connsiteY9" fmla="*/ 151456 h 500804"/>
                    <a:gd name="connsiteX10" fmla="*/ 445685 w 519024"/>
                    <a:gd name="connsiteY10" fmla="*/ 164156 h 500804"/>
                    <a:gd name="connsiteX11" fmla="*/ 486960 w 519024"/>
                    <a:gd name="connsiteY11" fmla="*/ 189556 h 500804"/>
                    <a:gd name="connsiteX12" fmla="*/ 509185 w 519024"/>
                    <a:gd name="connsiteY12" fmla="*/ 234006 h 500804"/>
                    <a:gd name="connsiteX13" fmla="*/ 506010 w 519024"/>
                    <a:gd name="connsiteY13" fmla="*/ 488006 h 500804"/>
                    <a:gd name="connsiteX14" fmla="*/ 4360 w 519024"/>
                    <a:gd name="connsiteY14" fmla="*/ 449906 h 500804"/>
                    <a:gd name="connsiteX0" fmla="*/ 4360 w 519024"/>
                    <a:gd name="connsiteY0" fmla="*/ 449906 h 488006"/>
                    <a:gd name="connsiteX1" fmla="*/ 7535 w 519024"/>
                    <a:gd name="connsiteY1" fmla="*/ 214956 h 488006"/>
                    <a:gd name="connsiteX2" fmla="*/ 23410 w 519024"/>
                    <a:gd name="connsiteY2" fmla="*/ 176856 h 488006"/>
                    <a:gd name="connsiteX3" fmla="*/ 71035 w 519024"/>
                    <a:gd name="connsiteY3" fmla="*/ 160981 h 488006"/>
                    <a:gd name="connsiteX4" fmla="*/ 172635 w 519024"/>
                    <a:gd name="connsiteY4" fmla="*/ 154631 h 488006"/>
                    <a:gd name="connsiteX5" fmla="*/ 198035 w 519024"/>
                    <a:gd name="connsiteY5" fmla="*/ 151456 h 488006"/>
                    <a:gd name="connsiteX6" fmla="*/ 201210 w 519024"/>
                    <a:gd name="connsiteY6" fmla="*/ 18106 h 488006"/>
                    <a:gd name="connsiteX7" fmla="*/ 312335 w 519024"/>
                    <a:gd name="connsiteY7" fmla="*/ 14931 h 488006"/>
                    <a:gd name="connsiteX8" fmla="*/ 312335 w 519024"/>
                    <a:gd name="connsiteY8" fmla="*/ 145106 h 488006"/>
                    <a:gd name="connsiteX9" fmla="*/ 353610 w 519024"/>
                    <a:gd name="connsiteY9" fmla="*/ 151456 h 488006"/>
                    <a:gd name="connsiteX10" fmla="*/ 445685 w 519024"/>
                    <a:gd name="connsiteY10" fmla="*/ 164156 h 488006"/>
                    <a:gd name="connsiteX11" fmla="*/ 486960 w 519024"/>
                    <a:gd name="connsiteY11" fmla="*/ 189556 h 488006"/>
                    <a:gd name="connsiteX12" fmla="*/ 509185 w 519024"/>
                    <a:gd name="connsiteY12" fmla="*/ 234006 h 488006"/>
                    <a:gd name="connsiteX13" fmla="*/ 506010 w 519024"/>
                    <a:gd name="connsiteY13" fmla="*/ 488006 h 488006"/>
                    <a:gd name="connsiteX14" fmla="*/ 4360 w 519024"/>
                    <a:gd name="connsiteY14" fmla="*/ 449906 h 488006"/>
                    <a:gd name="connsiteX0" fmla="*/ 4360 w 523534"/>
                    <a:gd name="connsiteY0" fmla="*/ 449906 h 472131"/>
                    <a:gd name="connsiteX1" fmla="*/ 7535 w 523534"/>
                    <a:gd name="connsiteY1" fmla="*/ 214956 h 472131"/>
                    <a:gd name="connsiteX2" fmla="*/ 23410 w 523534"/>
                    <a:gd name="connsiteY2" fmla="*/ 176856 h 472131"/>
                    <a:gd name="connsiteX3" fmla="*/ 71035 w 523534"/>
                    <a:gd name="connsiteY3" fmla="*/ 160981 h 472131"/>
                    <a:gd name="connsiteX4" fmla="*/ 172635 w 523534"/>
                    <a:gd name="connsiteY4" fmla="*/ 154631 h 472131"/>
                    <a:gd name="connsiteX5" fmla="*/ 198035 w 523534"/>
                    <a:gd name="connsiteY5" fmla="*/ 151456 h 472131"/>
                    <a:gd name="connsiteX6" fmla="*/ 201210 w 523534"/>
                    <a:gd name="connsiteY6" fmla="*/ 18106 h 472131"/>
                    <a:gd name="connsiteX7" fmla="*/ 312335 w 523534"/>
                    <a:gd name="connsiteY7" fmla="*/ 14931 h 472131"/>
                    <a:gd name="connsiteX8" fmla="*/ 312335 w 523534"/>
                    <a:gd name="connsiteY8" fmla="*/ 145106 h 472131"/>
                    <a:gd name="connsiteX9" fmla="*/ 353610 w 523534"/>
                    <a:gd name="connsiteY9" fmla="*/ 151456 h 472131"/>
                    <a:gd name="connsiteX10" fmla="*/ 445685 w 523534"/>
                    <a:gd name="connsiteY10" fmla="*/ 164156 h 472131"/>
                    <a:gd name="connsiteX11" fmla="*/ 486960 w 523534"/>
                    <a:gd name="connsiteY11" fmla="*/ 189556 h 472131"/>
                    <a:gd name="connsiteX12" fmla="*/ 509185 w 523534"/>
                    <a:gd name="connsiteY12" fmla="*/ 234006 h 472131"/>
                    <a:gd name="connsiteX13" fmla="*/ 512360 w 523534"/>
                    <a:gd name="connsiteY13" fmla="*/ 472131 h 472131"/>
                    <a:gd name="connsiteX14" fmla="*/ 4360 w 523534"/>
                    <a:gd name="connsiteY14" fmla="*/ 449906 h 472131"/>
                    <a:gd name="connsiteX0" fmla="*/ 4360 w 513675"/>
                    <a:gd name="connsiteY0" fmla="*/ 449906 h 472131"/>
                    <a:gd name="connsiteX1" fmla="*/ 7535 w 513675"/>
                    <a:gd name="connsiteY1" fmla="*/ 214956 h 472131"/>
                    <a:gd name="connsiteX2" fmla="*/ 23410 w 513675"/>
                    <a:gd name="connsiteY2" fmla="*/ 176856 h 472131"/>
                    <a:gd name="connsiteX3" fmla="*/ 71035 w 513675"/>
                    <a:gd name="connsiteY3" fmla="*/ 160981 h 472131"/>
                    <a:gd name="connsiteX4" fmla="*/ 172635 w 513675"/>
                    <a:gd name="connsiteY4" fmla="*/ 154631 h 472131"/>
                    <a:gd name="connsiteX5" fmla="*/ 198035 w 513675"/>
                    <a:gd name="connsiteY5" fmla="*/ 151456 h 472131"/>
                    <a:gd name="connsiteX6" fmla="*/ 201210 w 513675"/>
                    <a:gd name="connsiteY6" fmla="*/ 18106 h 472131"/>
                    <a:gd name="connsiteX7" fmla="*/ 312335 w 513675"/>
                    <a:gd name="connsiteY7" fmla="*/ 14931 h 472131"/>
                    <a:gd name="connsiteX8" fmla="*/ 312335 w 513675"/>
                    <a:gd name="connsiteY8" fmla="*/ 145106 h 472131"/>
                    <a:gd name="connsiteX9" fmla="*/ 353610 w 513675"/>
                    <a:gd name="connsiteY9" fmla="*/ 151456 h 472131"/>
                    <a:gd name="connsiteX10" fmla="*/ 445685 w 513675"/>
                    <a:gd name="connsiteY10" fmla="*/ 164156 h 472131"/>
                    <a:gd name="connsiteX11" fmla="*/ 486960 w 513675"/>
                    <a:gd name="connsiteY11" fmla="*/ 189556 h 472131"/>
                    <a:gd name="connsiteX12" fmla="*/ 509185 w 513675"/>
                    <a:gd name="connsiteY12" fmla="*/ 234006 h 472131"/>
                    <a:gd name="connsiteX13" fmla="*/ 512360 w 513675"/>
                    <a:gd name="connsiteY13" fmla="*/ 472131 h 472131"/>
                    <a:gd name="connsiteX14" fmla="*/ 4360 w 513675"/>
                    <a:gd name="connsiteY14" fmla="*/ 449906 h 472131"/>
                    <a:gd name="connsiteX0" fmla="*/ 4360 w 513675"/>
                    <a:gd name="connsiteY0" fmla="*/ 446969 h 469194"/>
                    <a:gd name="connsiteX1" fmla="*/ 7535 w 513675"/>
                    <a:gd name="connsiteY1" fmla="*/ 212019 h 469194"/>
                    <a:gd name="connsiteX2" fmla="*/ 23410 w 513675"/>
                    <a:gd name="connsiteY2" fmla="*/ 173919 h 469194"/>
                    <a:gd name="connsiteX3" fmla="*/ 71035 w 513675"/>
                    <a:gd name="connsiteY3" fmla="*/ 158044 h 469194"/>
                    <a:gd name="connsiteX4" fmla="*/ 172635 w 513675"/>
                    <a:gd name="connsiteY4" fmla="*/ 151694 h 469194"/>
                    <a:gd name="connsiteX5" fmla="*/ 188510 w 513675"/>
                    <a:gd name="connsiteY5" fmla="*/ 94544 h 469194"/>
                    <a:gd name="connsiteX6" fmla="*/ 201210 w 513675"/>
                    <a:gd name="connsiteY6" fmla="*/ 15169 h 469194"/>
                    <a:gd name="connsiteX7" fmla="*/ 312335 w 513675"/>
                    <a:gd name="connsiteY7" fmla="*/ 11994 h 469194"/>
                    <a:gd name="connsiteX8" fmla="*/ 312335 w 513675"/>
                    <a:gd name="connsiteY8" fmla="*/ 142169 h 469194"/>
                    <a:gd name="connsiteX9" fmla="*/ 353610 w 513675"/>
                    <a:gd name="connsiteY9" fmla="*/ 148519 h 469194"/>
                    <a:gd name="connsiteX10" fmla="*/ 445685 w 513675"/>
                    <a:gd name="connsiteY10" fmla="*/ 161219 h 469194"/>
                    <a:gd name="connsiteX11" fmla="*/ 486960 w 513675"/>
                    <a:gd name="connsiteY11" fmla="*/ 186619 h 469194"/>
                    <a:gd name="connsiteX12" fmla="*/ 509185 w 513675"/>
                    <a:gd name="connsiteY12" fmla="*/ 231069 h 469194"/>
                    <a:gd name="connsiteX13" fmla="*/ 512360 w 513675"/>
                    <a:gd name="connsiteY13" fmla="*/ 469194 h 469194"/>
                    <a:gd name="connsiteX14" fmla="*/ 4360 w 513675"/>
                    <a:gd name="connsiteY14" fmla="*/ 446969 h 469194"/>
                    <a:gd name="connsiteX0" fmla="*/ 4360 w 513675"/>
                    <a:gd name="connsiteY0" fmla="*/ 443409 h 465634"/>
                    <a:gd name="connsiteX1" fmla="*/ 7535 w 513675"/>
                    <a:gd name="connsiteY1" fmla="*/ 208459 h 465634"/>
                    <a:gd name="connsiteX2" fmla="*/ 23410 w 513675"/>
                    <a:gd name="connsiteY2" fmla="*/ 170359 h 465634"/>
                    <a:gd name="connsiteX3" fmla="*/ 71035 w 513675"/>
                    <a:gd name="connsiteY3" fmla="*/ 154484 h 465634"/>
                    <a:gd name="connsiteX4" fmla="*/ 172635 w 513675"/>
                    <a:gd name="connsiteY4" fmla="*/ 148134 h 465634"/>
                    <a:gd name="connsiteX5" fmla="*/ 188510 w 513675"/>
                    <a:gd name="connsiteY5" fmla="*/ 90984 h 465634"/>
                    <a:gd name="connsiteX6" fmla="*/ 201210 w 513675"/>
                    <a:gd name="connsiteY6" fmla="*/ 11609 h 465634"/>
                    <a:gd name="connsiteX7" fmla="*/ 312335 w 513675"/>
                    <a:gd name="connsiteY7" fmla="*/ 8434 h 465634"/>
                    <a:gd name="connsiteX8" fmla="*/ 312335 w 513675"/>
                    <a:gd name="connsiteY8" fmla="*/ 87809 h 465634"/>
                    <a:gd name="connsiteX9" fmla="*/ 353610 w 513675"/>
                    <a:gd name="connsiteY9" fmla="*/ 144959 h 465634"/>
                    <a:gd name="connsiteX10" fmla="*/ 445685 w 513675"/>
                    <a:gd name="connsiteY10" fmla="*/ 157659 h 465634"/>
                    <a:gd name="connsiteX11" fmla="*/ 486960 w 513675"/>
                    <a:gd name="connsiteY11" fmla="*/ 183059 h 465634"/>
                    <a:gd name="connsiteX12" fmla="*/ 509185 w 513675"/>
                    <a:gd name="connsiteY12" fmla="*/ 227509 h 465634"/>
                    <a:gd name="connsiteX13" fmla="*/ 512360 w 513675"/>
                    <a:gd name="connsiteY13" fmla="*/ 465634 h 465634"/>
                    <a:gd name="connsiteX14" fmla="*/ 4360 w 513675"/>
                    <a:gd name="connsiteY14" fmla="*/ 443409 h 465634"/>
                    <a:gd name="connsiteX0" fmla="*/ 4360 w 513675"/>
                    <a:gd name="connsiteY0" fmla="*/ 443409 h 465634"/>
                    <a:gd name="connsiteX1" fmla="*/ 7535 w 513675"/>
                    <a:gd name="connsiteY1" fmla="*/ 208459 h 465634"/>
                    <a:gd name="connsiteX2" fmla="*/ 23410 w 513675"/>
                    <a:gd name="connsiteY2" fmla="*/ 170359 h 465634"/>
                    <a:gd name="connsiteX3" fmla="*/ 71035 w 513675"/>
                    <a:gd name="connsiteY3" fmla="*/ 154484 h 465634"/>
                    <a:gd name="connsiteX4" fmla="*/ 172635 w 513675"/>
                    <a:gd name="connsiteY4" fmla="*/ 148134 h 465634"/>
                    <a:gd name="connsiteX5" fmla="*/ 188510 w 513675"/>
                    <a:gd name="connsiteY5" fmla="*/ 90984 h 465634"/>
                    <a:gd name="connsiteX6" fmla="*/ 201210 w 513675"/>
                    <a:gd name="connsiteY6" fmla="*/ 11609 h 465634"/>
                    <a:gd name="connsiteX7" fmla="*/ 312335 w 513675"/>
                    <a:gd name="connsiteY7" fmla="*/ 8434 h 465634"/>
                    <a:gd name="connsiteX8" fmla="*/ 312335 w 513675"/>
                    <a:gd name="connsiteY8" fmla="*/ 87809 h 465634"/>
                    <a:gd name="connsiteX9" fmla="*/ 334560 w 513675"/>
                    <a:gd name="connsiteY9" fmla="*/ 135434 h 465634"/>
                    <a:gd name="connsiteX10" fmla="*/ 445685 w 513675"/>
                    <a:gd name="connsiteY10" fmla="*/ 157659 h 465634"/>
                    <a:gd name="connsiteX11" fmla="*/ 486960 w 513675"/>
                    <a:gd name="connsiteY11" fmla="*/ 183059 h 465634"/>
                    <a:gd name="connsiteX12" fmla="*/ 509185 w 513675"/>
                    <a:gd name="connsiteY12" fmla="*/ 227509 h 465634"/>
                    <a:gd name="connsiteX13" fmla="*/ 512360 w 513675"/>
                    <a:gd name="connsiteY13" fmla="*/ 465634 h 465634"/>
                    <a:gd name="connsiteX14" fmla="*/ 4360 w 513675"/>
                    <a:gd name="connsiteY14" fmla="*/ 443409 h 465634"/>
                    <a:gd name="connsiteX0" fmla="*/ 4360 w 510500"/>
                    <a:gd name="connsiteY0" fmla="*/ 443409 h 449759"/>
                    <a:gd name="connsiteX1" fmla="*/ 7535 w 510500"/>
                    <a:gd name="connsiteY1" fmla="*/ 208459 h 449759"/>
                    <a:gd name="connsiteX2" fmla="*/ 23410 w 510500"/>
                    <a:gd name="connsiteY2" fmla="*/ 170359 h 449759"/>
                    <a:gd name="connsiteX3" fmla="*/ 71035 w 510500"/>
                    <a:gd name="connsiteY3" fmla="*/ 154484 h 449759"/>
                    <a:gd name="connsiteX4" fmla="*/ 172635 w 510500"/>
                    <a:gd name="connsiteY4" fmla="*/ 148134 h 449759"/>
                    <a:gd name="connsiteX5" fmla="*/ 188510 w 510500"/>
                    <a:gd name="connsiteY5" fmla="*/ 90984 h 449759"/>
                    <a:gd name="connsiteX6" fmla="*/ 201210 w 510500"/>
                    <a:gd name="connsiteY6" fmla="*/ 11609 h 449759"/>
                    <a:gd name="connsiteX7" fmla="*/ 312335 w 510500"/>
                    <a:gd name="connsiteY7" fmla="*/ 8434 h 449759"/>
                    <a:gd name="connsiteX8" fmla="*/ 312335 w 510500"/>
                    <a:gd name="connsiteY8" fmla="*/ 87809 h 449759"/>
                    <a:gd name="connsiteX9" fmla="*/ 334560 w 510500"/>
                    <a:gd name="connsiteY9" fmla="*/ 135434 h 449759"/>
                    <a:gd name="connsiteX10" fmla="*/ 445685 w 510500"/>
                    <a:gd name="connsiteY10" fmla="*/ 157659 h 449759"/>
                    <a:gd name="connsiteX11" fmla="*/ 486960 w 510500"/>
                    <a:gd name="connsiteY11" fmla="*/ 183059 h 449759"/>
                    <a:gd name="connsiteX12" fmla="*/ 509185 w 510500"/>
                    <a:gd name="connsiteY12" fmla="*/ 227509 h 449759"/>
                    <a:gd name="connsiteX13" fmla="*/ 506010 w 510500"/>
                    <a:gd name="connsiteY13" fmla="*/ 449759 h 449759"/>
                    <a:gd name="connsiteX14" fmla="*/ 4360 w 510500"/>
                    <a:gd name="connsiteY14" fmla="*/ 443409 h 449759"/>
                    <a:gd name="connsiteX0" fmla="*/ 4360 w 510500"/>
                    <a:gd name="connsiteY0" fmla="*/ 443409 h 454926"/>
                    <a:gd name="connsiteX1" fmla="*/ 7535 w 510500"/>
                    <a:gd name="connsiteY1" fmla="*/ 208459 h 454926"/>
                    <a:gd name="connsiteX2" fmla="*/ 23410 w 510500"/>
                    <a:gd name="connsiteY2" fmla="*/ 170359 h 454926"/>
                    <a:gd name="connsiteX3" fmla="*/ 71035 w 510500"/>
                    <a:gd name="connsiteY3" fmla="*/ 154484 h 454926"/>
                    <a:gd name="connsiteX4" fmla="*/ 172635 w 510500"/>
                    <a:gd name="connsiteY4" fmla="*/ 148134 h 454926"/>
                    <a:gd name="connsiteX5" fmla="*/ 188510 w 510500"/>
                    <a:gd name="connsiteY5" fmla="*/ 90984 h 454926"/>
                    <a:gd name="connsiteX6" fmla="*/ 201210 w 510500"/>
                    <a:gd name="connsiteY6" fmla="*/ 11609 h 454926"/>
                    <a:gd name="connsiteX7" fmla="*/ 312335 w 510500"/>
                    <a:gd name="connsiteY7" fmla="*/ 8434 h 454926"/>
                    <a:gd name="connsiteX8" fmla="*/ 312335 w 510500"/>
                    <a:gd name="connsiteY8" fmla="*/ 87809 h 454926"/>
                    <a:gd name="connsiteX9" fmla="*/ 334560 w 510500"/>
                    <a:gd name="connsiteY9" fmla="*/ 135434 h 454926"/>
                    <a:gd name="connsiteX10" fmla="*/ 445685 w 510500"/>
                    <a:gd name="connsiteY10" fmla="*/ 157659 h 454926"/>
                    <a:gd name="connsiteX11" fmla="*/ 486960 w 510500"/>
                    <a:gd name="connsiteY11" fmla="*/ 183059 h 454926"/>
                    <a:gd name="connsiteX12" fmla="*/ 509185 w 510500"/>
                    <a:gd name="connsiteY12" fmla="*/ 227509 h 454926"/>
                    <a:gd name="connsiteX13" fmla="*/ 506010 w 510500"/>
                    <a:gd name="connsiteY13" fmla="*/ 449759 h 454926"/>
                    <a:gd name="connsiteX14" fmla="*/ 4360 w 510500"/>
                    <a:gd name="connsiteY14" fmla="*/ 443409 h 454926"/>
                    <a:gd name="connsiteX0" fmla="*/ 6473 w 512613"/>
                    <a:gd name="connsiteY0" fmla="*/ 443409 h 454926"/>
                    <a:gd name="connsiteX1" fmla="*/ 9648 w 512613"/>
                    <a:gd name="connsiteY1" fmla="*/ 208459 h 454926"/>
                    <a:gd name="connsiteX2" fmla="*/ 73148 w 512613"/>
                    <a:gd name="connsiteY2" fmla="*/ 154484 h 454926"/>
                    <a:gd name="connsiteX3" fmla="*/ 174748 w 512613"/>
                    <a:gd name="connsiteY3" fmla="*/ 148134 h 454926"/>
                    <a:gd name="connsiteX4" fmla="*/ 190623 w 512613"/>
                    <a:gd name="connsiteY4" fmla="*/ 90984 h 454926"/>
                    <a:gd name="connsiteX5" fmla="*/ 203323 w 512613"/>
                    <a:gd name="connsiteY5" fmla="*/ 11609 h 454926"/>
                    <a:gd name="connsiteX6" fmla="*/ 314448 w 512613"/>
                    <a:gd name="connsiteY6" fmla="*/ 8434 h 454926"/>
                    <a:gd name="connsiteX7" fmla="*/ 314448 w 512613"/>
                    <a:gd name="connsiteY7" fmla="*/ 87809 h 454926"/>
                    <a:gd name="connsiteX8" fmla="*/ 336673 w 512613"/>
                    <a:gd name="connsiteY8" fmla="*/ 135434 h 454926"/>
                    <a:gd name="connsiteX9" fmla="*/ 447798 w 512613"/>
                    <a:gd name="connsiteY9" fmla="*/ 157659 h 454926"/>
                    <a:gd name="connsiteX10" fmla="*/ 489073 w 512613"/>
                    <a:gd name="connsiteY10" fmla="*/ 183059 h 454926"/>
                    <a:gd name="connsiteX11" fmla="*/ 511298 w 512613"/>
                    <a:gd name="connsiteY11" fmla="*/ 227509 h 454926"/>
                    <a:gd name="connsiteX12" fmla="*/ 508123 w 512613"/>
                    <a:gd name="connsiteY12" fmla="*/ 449759 h 454926"/>
                    <a:gd name="connsiteX13" fmla="*/ 6473 w 512613"/>
                    <a:gd name="connsiteY13" fmla="*/ 443409 h 454926"/>
                    <a:gd name="connsiteX0" fmla="*/ 4049 w 510189"/>
                    <a:gd name="connsiteY0" fmla="*/ 443409 h 454926"/>
                    <a:gd name="connsiteX1" fmla="*/ 7224 w 510189"/>
                    <a:gd name="connsiteY1" fmla="*/ 208459 h 454926"/>
                    <a:gd name="connsiteX2" fmla="*/ 70724 w 510189"/>
                    <a:gd name="connsiteY2" fmla="*/ 154484 h 454926"/>
                    <a:gd name="connsiteX3" fmla="*/ 172324 w 510189"/>
                    <a:gd name="connsiteY3" fmla="*/ 148134 h 454926"/>
                    <a:gd name="connsiteX4" fmla="*/ 188199 w 510189"/>
                    <a:gd name="connsiteY4" fmla="*/ 90984 h 454926"/>
                    <a:gd name="connsiteX5" fmla="*/ 200899 w 510189"/>
                    <a:gd name="connsiteY5" fmla="*/ 11609 h 454926"/>
                    <a:gd name="connsiteX6" fmla="*/ 312024 w 510189"/>
                    <a:gd name="connsiteY6" fmla="*/ 8434 h 454926"/>
                    <a:gd name="connsiteX7" fmla="*/ 312024 w 510189"/>
                    <a:gd name="connsiteY7" fmla="*/ 87809 h 454926"/>
                    <a:gd name="connsiteX8" fmla="*/ 334249 w 510189"/>
                    <a:gd name="connsiteY8" fmla="*/ 135434 h 454926"/>
                    <a:gd name="connsiteX9" fmla="*/ 445374 w 510189"/>
                    <a:gd name="connsiteY9" fmla="*/ 157659 h 454926"/>
                    <a:gd name="connsiteX10" fmla="*/ 486649 w 510189"/>
                    <a:gd name="connsiteY10" fmla="*/ 183059 h 454926"/>
                    <a:gd name="connsiteX11" fmla="*/ 508874 w 510189"/>
                    <a:gd name="connsiteY11" fmla="*/ 227509 h 454926"/>
                    <a:gd name="connsiteX12" fmla="*/ 505699 w 510189"/>
                    <a:gd name="connsiteY12" fmla="*/ 449759 h 454926"/>
                    <a:gd name="connsiteX13" fmla="*/ 4049 w 510189"/>
                    <a:gd name="connsiteY13" fmla="*/ 443409 h 454926"/>
                    <a:gd name="connsiteX0" fmla="*/ 4049 w 510189"/>
                    <a:gd name="connsiteY0" fmla="*/ 443409 h 454926"/>
                    <a:gd name="connsiteX1" fmla="*/ 7224 w 510189"/>
                    <a:gd name="connsiteY1" fmla="*/ 208459 h 454926"/>
                    <a:gd name="connsiteX2" fmla="*/ 70724 w 510189"/>
                    <a:gd name="connsiteY2" fmla="*/ 154484 h 454926"/>
                    <a:gd name="connsiteX3" fmla="*/ 172324 w 510189"/>
                    <a:gd name="connsiteY3" fmla="*/ 148134 h 454926"/>
                    <a:gd name="connsiteX4" fmla="*/ 188199 w 510189"/>
                    <a:gd name="connsiteY4" fmla="*/ 90984 h 454926"/>
                    <a:gd name="connsiteX5" fmla="*/ 200899 w 510189"/>
                    <a:gd name="connsiteY5" fmla="*/ 11609 h 454926"/>
                    <a:gd name="connsiteX6" fmla="*/ 312024 w 510189"/>
                    <a:gd name="connsiteY6" fmla="*/ 8434 h 454926"/>
                    <a:gd name="connsiteX7" fmla="*/ 312024 w 510189"/>
                    <a:gd name="connsiteY7" fmla="*/ 87809 h 454926"/>
                    <a:gd name="connsiteX8" fmla="*/ 334249 w 510189"/>
                    <a:gd name="connsiteY8" fmla="*/ 135434 h 454926"/>
                    <a:gd name="connsiteX9" fmla="*/ 445374 w 510189"/>
                    <a:gd name="connsiteY9" fmla="*/ 157659 h 454926"/>
                    <a:gd name="connsiteX10" fmla="*/ 508874 w 510189"/>
                    <a:gd name="connsiteY10" fmla="*/ 227509 h 454926"/>
                    <a:gd name="connsiteX11" fmla="*/ 505699 w 510189"/>
                    <a:gd name="connsiteY11" fmla="*/ 449759 h 454926"/>
                    <a:gd name="connsiteX12" fmla="*/ 4049 w 510189"/>
                    <a:gd name="connsiteY12" fmla="*/ 443409 h 454926"/>
                    <a:gd name="connsiteX0" fmla="*/ 4049 w 510189"/>
                    <a:gd name="connsiteY0" fmla="*/ 443409 h 454926"/>
                    <a:gd name="connsiteX1" fmla="*/ 7224 w 510189"/>
                    <a:gd name="connsiteY1" fmla="*/ 208459 h 454926"/>
                    <a:gd name="connsiteX2" fmla="*/ 70724 w 510189"/>
                    <a:gd name="connsiteY2" fmla="*/ 154484 h 454926"/>
                    <a:gd name="connsiteX3" fmla="*/ 172324 w 510189"/>
                    <a:gd name="connsiteY3" fmla="*/ 148134 h 454926"/>
                    <a:gd name="connsiteX4" fmla="*/ 188199 w 510189"/>
                    <a:gd name="connsiteY4" fmla="*/ 90984 h 454926"/>
                    <a:gd name="connsiteX5" fmla="*/ 200899 w 510189"/>
                    <a:gd name="connsiteY5" fmla="*/ 11609 h 454926"/>
                    <a:gd name="connsiteX6" fmla="*/ 312024 w 510189"/>
                    <a:gd name="connsiteY6" fmla="*/ 8434 h 454926"/>
                    <a:gd name="connsiteX7" fmla="*/ 312024 w 510189"/>
                    <a:gd name="connsiteY7" fmla="*/ 87809 h 454926"/>
                    <a:gd name="connsiteX8" fmla="*/ 334249 w 510189"/>
                    <a:gd name="connsiteY8" fmla="*/ 135434 h 454926"/>
                    <a:gd name="connsiteX9" fmla="*/ 445374 w 510189"/>
                    <a:gd name="connsiteY9" fmla="*/ 157659 h 454926"/>
                    <a:gd name="connsiteX10" fmla="*/ 508874 w 510189"/>
                    <a:gd name="connsiteY10" fmla="*/ 227509 h 454926"/>
                    <a:gd name="connsiteX11" fmla="*/ 505699 w 510189"/>
                    <a:gd name="connsiteY11" fmla="*/ 449759 h 454926"/>
                    <a:gd name="connsiteX12" fmla="*/ 4049 w 510189"/>
                    <a:gd name="connsiteY12" fmla="*/ 443409 h 454926"/>
                    <a:gd name="connsiteX0" fmla="*/ 5987 w 512127"/>
                    <a:gd name="connsiteY0" fmla="*/ 443409 h 454926"/>
                    <a:gd name="connsiteX1" fmla="*/ 2812 w 512127"/>
                    <a:gd name="connsiteY1" fmla="*/ 217984 h 454926"/>
                    <a:gd name="connsiteX2" fmla="*/ 72662 w 512127"/>
                    <a:gd name="connsiteY2" fmla="*/ 154484 h 454926"/>
                    <a:gd name="connsiteX3" fmla="*/ 174262 w 512127"/>
                    <a:gd name="connsiteY3" fmla="*/ 148134 h 454926"/>
                    <a:gd name="connsiteX4" fmla="*/ 190137 w 512127"/>
                    <a:gd name="connsiteY4" fmla="*/ 90984 h 454926"/>
                    <a:gd name="connsiteX5" fmla="*/ 202837 w 512127"/>
                    <a:gd name="connsiteY5" fmla="*/ 11609 h 454926"/>
                    <a:gd name="connsiteX6" fmla="*/ 313962 w 512127"/>
                    <a:gd name="connsiteY6" fmla="*/ 8434 h 454926"/>
                    <a:gd name="connsiteX7" fmla="*/ 313962 w 512127"/>
                    <a:gd name="connsiteY7" fmla="*/ 87809 h 454926"/>
                    <a:gd name="connsiteX8" fmla="*/ 336187 w 512127"/>
                    <a:gd name="connsiteY8" fmla="*/ 135434 h 454926"/>
                    <a:gd name="connsiteX9" fmla="*/ 447312 w 512127"/>
                    <a:gd name="connsiteY9" fmla="*/ 157659 h 454926"/>
                    <a:gd name="connsiteX10" fmla="*/ 510812 w 512127"/>
                    <a:gd name="connsiteY10" fmla="*/ 227509 h 454926"/>
                    <a:gd name="connsiteX11" fmla="*/ 507637 w 512127"/>
                    <a:gd name="connsiteY11" fmla="*/ 449759 h 454926"/>
                    <a:gd name="connsiteX12" fmla="*/ 5987 w 512127"/>
                    <a:gd name="connsiteY12" fmla="*/ 443409 h 454926"/>
                    <a:gd name="connsiteX0" fmla="*/ 9762 w 515902"/>
                    <a:gd name="connsiteY0" fmla="*/ 443409 h 454926"/>
                    <a:gd name="connsiteX1" fmla="*/ 6587 w 515902"/>
                    <a:gd name="connsiteY1" fmla="*/ 217984 h 454926"/>
                    <a:gd name="connsiteX2" fmla="*/ 76437 w 515902"/>
                    <a:gd name="connsiteY2" fmla="*/ 154484 h 454926"/>
                    <a:gd name="connsiteX3" fmla="*/ 178037 w 515902"/>
                    <a:gd name="connsiteY3" fmla="*/ 148134 h 454926"/>
                    <a:gd name="connsiteX4" fmla="*/ 193912 w 515902"/>
                    <a:gd name="connsiteY4" fmla="*/ 90984 h 454926"/>
                    <a:gd name="connsiteX5" fmla="*/ 206612 w 515902"/>
                    <a:gd name="connsiteY5" fmla="*/ 11609 h 454926"/>
                    <a:gd name="connsiteX6" fmla="*/ 317737 w 515902"/>
                    <a:gd name="connsiteY6" fmla="*/ 8434 h 454926"/>
                    <a:gd name="connsiteX7" fmla="*/ 317737 w 515902"/>
                    <a:gd name="connsiteY7" fmla="*/ 87809 h 454926"/>
                    <a:gd name="connsiteX8" fmla="*/ 339962 w 515902"/>
                    <a:gd name="connsiteY8" fmla="*/ 135434 h 454926"/>
                    <a:gd name="connsiteX9" fmla="*/ 451087 w 515902"/>
                    <a:gd name="connsiteY9" fmla="*/ 157659 h 454926"/>
                    <a:gd name="connsiteX10" fmla="*/ 514587 w 515902"/>
                    <a:gd name="connsiteY10" fmla="*/ 227509 h 454926"/>
                    <a:gd name="connsiteX11" fmla="*/ 511412 w 515902"/>
                    <a:gd name="connsiteY11" fmla="*/ 449759 h 454926"/>
                    <a:gd name="connsiteX12" fmla="*/ 9762 w 515902"/>
                    <a:gd name="connsiteY12" fmla="*/ 443409 h 454926"/>
                    <a:gd name="connsiteX0" fmla="*/ 9762 w 515902"/>
                    <a:gd name="connsiteY0" fmla="*/ 443409 h 454926"/>
                    <a:gd name="connsiteX1" fmla="*/ 6587 w 515902"/>
                    <a:gd name="connsiteY1" fmla="*/ 217984 h 454926"/>
                    <a:gd name="connsiteX2" fmla="*/ 76437 w 515902"/>
                    <a:gd name="connsiteY2" fmla="*/ 154484 h 454926"/>
                    <a:gd name="connsiteX3" fmla="*/ 178037 w 515902"/>
                    <a:gd name="connsiteY3" fmla="*/ 148134 h 454926"/>
                    <a:gd name="connsiteX4" fmla="*/ 193912 w 515902"/>
                    <a:gd name="connsiteY4" fmla="*/ 90984 h 454926"/>
                    <a:gd name="connsiteX5" fmla="*/ 206612 w 515902"/>
                    <a:gd name="connsiteY5" fmla="*/ 11609 h 454926"/>
                    <a:gd name="connsiteX6" fmla="*/ 317737 w 515902"/>
                    <a:gd name="connsiteY6" fmla="*/ 8434 h 454926"/>
                    <a:gd name="connsiteX7" fmla="*/ 317737 w 515902"/>
                    <a:gd name="connsiteY7" fmla="*/ 87809 h 454926"/>
                    <a:gd name="connsiteX8" fmla="*/ 339962 w 515902"/>
                    <a:gd name="connsiteY8" fmla="*/ 135434 h 454926"/>
                    <a:gd name="connsiteX9" fmla="*/ 451087 w 515902"/>
                    <a:gd name="connsiteY9" fmla="*/ 157659 h 454926"/>
                    <a:gd name="connsiteX10" fmla="*/ 514587 w 515902"/>
                    <a:gd name="connsiteY10" fmla="*/ 227509 h 454926"/>
                    <a:gd name="connsiteX11" fmla="*/ 511412 w 515902"/>
                    <a:gd name="connsiteY11" fmla="*/ 449759 h 454926"/>
                    <a:gd name="connsiteX12" fmla="*/ 9762 w 515902"/>
                    <a:gd name="connsiteY12" fmla="*/ 443409 h 454926"/>
                    <a:gd name="connsiteX0" fmla="*/ 9762 w 515902"/>
                    <a:gd name="connsiteY0" fmla="*/ 443409 h 454926"/>
                    <a:gd name="connsiteX1" fmla="*/ 6587 w 515902"/>
                    <a:gd name="connsiteY1" fmla="*/ 217984 h 454926"/>
                    <a:gd name="connsiteX2" fmla="*/ 76437 w 515902"/>
                    <a:gd name="connsiteY2" fmla="*/ 154484 h 454926"/>
                    <a:gd name="connsiteX3" fmla="*/ 193912 w 515902"/>
                    <a:gd name="connsiteY3" fmla="*/ 90984 h 454926"/>
                    <a:gd name="connsiteX4" fmla="*/ 206612 w 515902"/>
                    <a:gd name="connsiteY4" fmla="*/ 11609 h 454926"/>
                    <a:gd name="connsiteX5" fmla="*/ 317737 w 515902"/>
                    <a:gd name="connsiteY5" fmla="*/ 8434 h 454926"/>
                    <a:gd name="connsiteX6" fmla="*/ 317737 w 515902"/>
                    <a:gd name="connsiteY6" fmla="*/ 87809 h 454926"/>
                    <a:gd name="connsiteX7" fmla="*/ 339962 w 515902"/>
                    <a:gd name="connsiteY7" fmla="*/ 135434 h 454926"/>
                    <a:gd name="connsiteX8" fmla="*/ 451087 w 515902"/>
                    <a:gd name="connsiteY8" fmla="*/ 157659 h 454926"/>
                    <a:gd name="connsiteX9" fmla="*/ 514587 w 515902"/>
                    <a:gd name="connsiteY9" fmla="*/ 227509 h 454926"/>
                    <a:gd name="connsiteX10" fmla="*/ 511412 w 515902"/>
                    <a:gd name="connsiteY10" fmla="*/ 449759 h 454926"/>
                    <a:gd name="connsiteX11" fmla="*/ 9762 w 515902"/>
                    <a:gd name="connsiteY11" fmla="*/ 443409 h 454926"/>
                    <a:gd name="connsiteX0" fmla="*/ 9762 w 515902"/>
                    <a:gd name="connsiteY0" fmla="*/ 446099 h 457616"/>
                    <a:gd name="connsiteX1" fmla="*/ 6587 w 515902"/>
                    <a:gd name="connsiteY1" fmla="*/ 220674 h 457616"/>
                    <a:gd name="connsiteX2" fmla="*/ 76437 w 515902"/>
                    <a:gd name="connsiteY2" fmla="*/ 157174 h 457616"/>
                    <a:gd name="connsiteX3" fmla="*/ 190737 w 515902"/>
                    <a:gd name="connsiteY3" fmla="*/ 138124 h 457616"/>
                    <a:gd name="connsiteX4" fmla="*/ 206612 w 515902"/>
                    <a:gd name="connsiteY4" fmla="*/ 14299 h 457616"/>
                    <a:gd name="connsiteX5" fmla="*/ 317737 w 515902"/>
                    <a:gd name="connsiteY5" fmla="*/ 11124 h 457616"/>
                    <a:gd name="connsiteX6" fmla="*/ 317737 w 515902"/>
                    <a:gd name="connsiteY6" fmla="*/ 90499 h 457616"/>
                    <a:gd name="connsiteX7" fmla="*/ 339962 w 515902"/>
                    <a:gd name="connsiteY7" fmla="*/ 138124 h 457616"/>
                    <a:gd name="connsiteX8" fmla="*/ 451087 w 515902"/>
                    <a:gd name="connsiteY8" fmla="*/ 160349 h 457616"/>
                    <a:gd name="connsiteX9" fmla="*/ 514587 w 515902"/>
                    <a:gd name="connsiteY9" fmla="*/ 230199 h 457616"/>
                    <a:gd name="connsiteX10" fmla="*/ 511412 w 515902"/>
                    <a:gd name="connsiteY10" fmla="*/ 452449 h 457616"/>
                    <a:gd name="connsiteX11" fmla="*/ 9762 w 515902"/>
                    <a:gd name="connsiteY11" fmla="*/ 446099 h 457616"/>
                    <a:gd name="connsiteX0" fmla="*/ 9762 w 515902"/>
                    <a:gd name="connsiteY0" fmla="*/ 446099 h 457616"/>
                    <a:gd name="connsiteX1" fmla="*/ 6587 w 515902"/>
                    <a:gd name="connsiteY1" fmla="*/ 220674 h 457616"/>
                    <a:gd name="connsiteX2" fmla="*/ 76437 w 515902"/>
                    <a:gd name="connsiteY2" fmla="*/ 157174 h 457616"/>
                    <a:gd name="connsiteX3" fmla="*/ 190737 w 515902"/>
                    <a:gd name="connsiteY3" fmla="*/ 138124 h 457616"/>
                    <a:gd name="connsiteX4" fmla="*/ 206612 w 515902"/>
                    <a:gd name="connsiteY4" fmla="*/ 14299 h 457616"/>
                    <a:gd name="connsiteX5" fmla="*/ 317737 w 515902"/>
                    <a:gd name="connsiteY5" fmla="*/ 11124 h 457616"/>
                    <a:gd name="connsiteX6" fmla="*/ 317737 w 515902"/>
                    <a:gd name="connsiteY6" fmla="*/ 90499 h 457616"/>
                    <a:gd name="connsiteX7" fmla="*/ 451087 w 515902"/>
                    <a:gd name="connsiteY7" fmla="*/ 160349 h 457616"/>
                    <a:gd name="connsiteX8" fmla="*/ 514587 w 515902"/>
                    <a:gd name="connsiteY8" fmla="*/ 230199 h 457616"/>
                    <a:gd name="connsiteX9" fmla="*/ 511412 w 515902"/>
                    <a:gd name="connsiteY9" fmla="*/ 452449 h 457616"/>
                    <a:gd name="connsiteX10" fmla="*/ 9762 w 515902"/>
                    <a:gd name="connsiteY10" fmla="*/ 446099 h 457616"/>
                    <a:gd name="connsiteX0" fmla="*/ 9762 w 515902"/>
                    <a:gd name="connsiteY0" fmla="*/ 447482 h 458999"/>
                    <a:gd name="connsiteX1" fmla="*/ 6587 w 515902"/>
                    <a:gd name="connsiteY1" fmla="*/ 222057 h 458999"/>
                    <a:gd name="connsiteX2" fmla="*/ 76437 w 515902"/>
                    <a:gd name="connsiteY2" fmla="*/ 158557 h 458999"/>
                    <a:gd name="connsiteX3" fmla="*/ 190737 w 515902"/>
                    <a:gd name="connsiteY3" fmla="*/ 139507 h 458999"/>
                    <a:gd name="connsiteX4" fmla="*/ 206612 w 515902"/>
                    <a:gd name="connsiteY4" fmla="*/ 15682 h 458999"/>
                    <a:gd name="connsiteX5" fmla="*/ 317737 w 515902"/>
                    <a:gd name="connsiteY5" fmla="*/ 12507 h 458999"/>
                    <a:gd name="connsiteX6" fmla="*/ 330437 w 515902"/>
                    <a:gd name="connsiteY6" fmla="*/ 114107 h 458999"/>
                    <a:gd name="connsiteX7" fmla="*/ 451087 w 515902"/>
                    <a:gd name="connsiteY7" fmla="*/ 161732 h 458999"/>
                    <a:gd name="connsiteX8" fmla="*/ 514587 w 515902"/>
                    <a:gd name="connsiteY8" fmla="*/ 231582 h 458999"/>
                    <a:gd name="connsiteX9" fmla="*/ 511412 w 515902"/>
                    <a:gd name="connsiteY9" fmla="*/ 453832 h 458999"/>
                    <a:gd name="connsiteX10" fmla="*/ 9762 w 515902"/>
                    <a:gd name="connsiteY10" fmla="*/ 447482 h 458999"/>
                    <a:gd name="connsiteX0" fmla="*/ 9762 w 515902"/>
                    <a:gd name="connsiteY0" fmla="*/ 446348 h 457865"/>
                    <a:gd name="connsiteX1" fmla="*/ 6587 w 515902"/>
                    <a:gd name="connsiteY1" fmla="*/ 220923 h 457865"/>
                    <a:gd name="connsiteX2" fmla="*/ 76437 w 515902"/>
                    <a:gd name="connsiteY2" fmla="*/ 157423 h 457865"/>
                    <a:gd name="connsiteX3" fmla="*/ 200262 w 515902"/>
                    <a:gd name="connsiteY3" fmla="*/ 119323 h 457865"/>
                    <a:gd name="connsiteX4" fmla="*/ 206612 w 515902"/>
                    <a:gd name="connsiteY4" fmla="*/ 14548 h 457865"/>
                    <a:gd name="connsiteX5" fmla="*/ 317737 w 515902"/>
                    <a:gd name="connsiteY5" fmla="*/ 11373 h 457865"/>
                    <a:gd name="connsiteX6" fmla="*/ 330437 w 515902"/>
                    <a:gd name="connsiteY6" fmla="*/ 112973 h 457865"/>
                    <a:gd name="connsiteX7" fmla="*/ 451087 w 515902"/>
                    <a:gd name="connsiteY7" fmla="*/ 160598 h 457865"/>
                    <a:gd name="connsiteX8" fmla="*/ 514587 w 515902"/>
                    <a:gd name="connsiteY8" fmla="*/ 230448 h 457865"/>
                    <a:gd name="connsiteX9" fmla="*/ 511412 w 515902"/>
                    <a:gd name="connsiteY9" fmla="*/ 452698 h 457865"/>
                    <a:gd name="connsiteX10" fmla="*/ 9762 w 515902"/>
                    <a:gd name="connsiteY10" fmla="*/ 446348 h 457865"/>
                    <a:gd name="connsiteX0" fmla="*/ 8840 w 514980"/>
                    <a:gd name="connsiteY0" fmla="*/ 446348 h 457865"/>
                    <a:gd name="connsiteX1" fmla="*/ 5665 w 514980"/>
                    <a:gd name="connsiteY1" fmla="*/ 220923 h 457865"/>
                    <a:gd name="connsiteX2" fmla="*/ 62412 w 514980"/>
                    <a:gd name="connsiteY2" fmla="*/ 133367 h 457865"/>
                    <a:gd name="connsiteX3" fmla="*/ 199340 w 514980"/>
                    <a:gd name="connsiteY3" fmla="*/ 119323 h 457865"/>
                    <a:gd name="connsiteX4" fmla="*/ 205690 w 514980"/>
                    <a:gd name="connsiteY4" fmla="*/ 14548 h 457865"/>
                    <a:gd name="connsiteX5" fmla="*/ 316815 w 514980"/>
                    <a:gd name="connsiteY5" fmla="*/ 11373 h 457865"/>
                    <a:gd name="connsiteX6" fmla="*/ 329515 w 514980"/>
                    <a:gd name="connsiteY6" fmla="*/ 112973 h 457865"/>
                    <a:gd name="connsiteX7" fmla="*/ 450165 w 514980"/>
                    <a:gd name="connsiteY7" fmla="*/ 160598 h 457865"/>
                    <a:gd name="connsiteX8" fmla="*/ 513665 w 514980"/>
                    <a:gd name="connsiteY8" fmla="*/ 230448 h 457865"/>
                    <a:gd name="connsiteX9" fmla="*/ 510490 w 514980"/>
                    <a:gd name="connsiteY9" fmla="*/ 452698 h 457865"/>
                    <a:gd name="connsiteX10" fmla="*/ 8840 w 514980"/>
                    <a:gd name="connsiteY10" fmla="*/ 446348 h 457865"/>
                    <a:gd name="connsiteX0" fmla="*/ 8840 w 514980"/>
                    <a:gd name="connsiteY0" fmla="*/ 445015 h 456532"/>
                    <a:gd name="connsiteX1" fmla="*/ 5665 w 514980"/>
                    <a:gd name="connsiteY1" fmla="*/ 219590 h 456532"/>
                    <a:gd name="connsiteX2" fmla="*/ 62412 w 514980"/>
                    <a:gd name="connsiteY2" fmla="*/ 132034 h 456532"/>
                    <a:gd name="connsiteX3" fmla="*/ 186237 w 514980"/>
                    <a:gd name="connsiteY3" fmla="*/ 93934 h 456532"/>
                    <a:gd name="connsiteX4" fmla="*/ 205690 w 514980"/>
                    <a:gd name="connsiteY4" fmla="*/ 13215 h 456532"/>
                    <a:gd name="connsiteX5" fmla="*/ 316815 w 514980"/>
                    <a:gd name="connsiteY5" fmla="*/ 10040 h 456532"/>
                    <a:gd name="connsiteX6" fmla="*/ 329515 w 514980"/>
                    <a:gd name="connsiteY6" fmla="*/ 111640 h 456532"/>
                    <a:gd name="connsiteX7" fmla="*/ 450165 w 514980"/>
                    <a:gd name="connsiteY7" fmla="*/ 159265 h 456532"/>
                    <a:gd name="connsiteX8" fmla="*/ 513665 w 514980"/>
                    <a:gd name="connsiteY8" fmla="*/ 229115 h 456532"/>
                    <a:gd name="connsiteX9" fmla="*/ 510490 w 514980"/>
                    <a:gd name="connsiteY9" fmla="*/ 451365 h 456532"/>
                    <a:gd name="connsiteX10" fmla="*/ 8840 w 514980"/>
                    <a:gd name="connsiteY10" fmla="*/ 445015 h 456532"/>
                    <a:gd name="connsiteX0" fmla="*/ 8840 w 514980"/>
                    <a:gd name="connsiteY0" fmla="*/ 445015 h 456532"/>
                    <a:gd name="connsiteX1" fmla="*/ 5665 w 514980"/>
                    <a:gd name="connsiteY1" fmla="*/ 219590 h 456532"/>
                    <a:gd name="connsiteX2" fmla="*/ 62412 w 514980"/>
                    <a:gd name="connsiteY2" fmla="*/ 132034 h 456532"/>
                    <a:gd name="connsiteX3" fmla="*/ 186237 w 514980"/>
                    <a:gd name="connsiteY3" fmla="*/ 93934 h 456532"/>
                    <a:gd name="connsiteX4" fmla="*/ 205690 w 514980"/>
                    <a:gd name="connsiteY4" fmla="*/ 13215 h 456532"/>
                    <a:gd name="connsiteX5" fmla="*/ 316815 w 514980"/>
                    <a:gd name="connsiteY5" fmla="*/ 10040 h 456532"/>
                    <a:gd name="connsiteX6" fmla="*/ 329515 w 514980"/>
                    <a:gd name="connsiteY6" fmla="*/ 111640 h 456532"/>
                    <a:gd name="connsiteX7" fmla="*/ 461084 w 514980"/>
                    <a:gd name="connsiteY7" fmla="*/ 146143 h 456532"/>
                    <a:gd name="connsiteX8" fmla="*/ 513665 w 514980"/>
                    <a:gd name="connsiteY8" fmla="*/ 229115 h 456532"/>
                    <a:gd name="connsiteX9" fmla="*/ 510490 w 514980"/>
                    <a:gd name="connsiteY9" fmla="*/ 451365 h 456532"/>
                    <a:gd name="connsiteX10" fmla="*/ 8840 w 514980"/>
                    <a:gd name="connsiteY10" fmla="*/ 445015 h 456532"/>
                    <a:gd name="connsiteX0" fmla="*/ 8840 w 514980"/>
                    <a:gd name="connsiteY0" fmla="*/ 444105 h 455622"/>
                    <a:gd name="connsiteX1" fmla="*/ 5665 w 514980"/>
                    <a:gd name="connsiteY1" fmla="*/ 218680 h 455622"/>
                    <a:gd name="connsiteX2" fmla="*/ 62412 w 514980"/>
                    <a:gd name="connsiteY2" fmla="*/ 131124 h 455622"/>
                    <a:gd name="connsiteX3" fmla="*/ 186237 w 514980"/>
                    <a:gd name="connsiteY3" fmla="*/ 93024 h 455622"/>
                    <a:gd name="connsiteX4" fmla="*/ 205690 w 514980"/>
                    <a:gd name="connsiteY4" fmla="*/ 12305 h 455622"/>
                    <a:gd name="connsiteX5" fmla="*/ 316815 w 514980"/>
                    <a:gd name="connsiteY5" fmla="*/ 9130 h 455622"/>
                    <a:gd name="connsiteX6" fmla="*/ 351353 w 514980"/>
                    <a:gd name="connsiteY6" fmla="*/ 97608 h 455622"/>
                    <a:gd name="connsiteX7" fmla="*/ 461084 w 514980"/>
                    <a:gd name="connsiteY7" fmla="*/ 145233 h 455622"/>
                    <a:gd name="connsiteX8" fmla="*/ 513665 w 514980"/>
                    <a:gd name="connsiteY8" fmla="*/ 228205 h 455622"/>
                    <a:gd name="connsiteX9" fmla="*/ 510490 w 514980"/>
                    <a:gd name="connsiteY9" fmla="*/ 450455 h 455622"/>
                    <a:gd name="connsiteX10" fmla="*/ 8840 w 514980"/>
                    <a:gd name="connsiteY10" fmla="*/ 444105 h 455622"/>
                    <a:gd name="connsiteX0" fmla="*/ 8840 w 514980"/>
                    <a:gd name="connsiteY0" fmla="*/ 442755 h 454272"/>
                    <a:gd name="connsiteX1" fmla="*/ 5665 w 514980"/>
                    <a:gd name="connsiteY1" fmla="*/ 217330 h 454272"/>
                    <a:gd name="connsiteX2" fmla="*/ 62412 w 514980"/>
                    <a:gd name="connsiteY2" fmla="*/ 129774 h 454272"/>
                    <a:gd name="connsiteX3" fmla="*/ 186237 w 514980"/>
                    <a:gd name="connsiteY3" fmla="*/ 91674 h 454272"/>
                    <a:gd name="connsiteX4" fmla="*/ 205690 w 514980"/>
                    <a:gd name="connsiteY4" fmla="*/ 10955 h 454272"/>
                    <a:gd name="connsiteX5" fmla="*/ 325550 w 514980"/>
                    <a:gd name="connsiteY5" fmla="*/ 9967 h 454272"/>
                    <a:gd name="connsiteX6" fmla="*/ 351353 w 514980"/>
                    <a:gd name="connsiteY6" fmla="*/ 96258 h 454272"/>
                    <a:gd name="connsiteX7" fmla="*/ 461084 w 514980"/>
                    <a:gd name="connsiteY7" fmla="*/ 143883 h 454272"/>
                    <a:gd name="connsiteX8" fmla="*/ 513665 w 514980"/>
                    <a:gd name="connsiteY8" fmla="*/ 226855 h 454272"/>
                    <a:gd name="connsiteX9" fmla="*/ 510490 w 514980"/>
                    <a:gd name="connsiteY9" fmla="*/ 449105 h 454272"/>
                    <a:gd name="connsiteX10" fmla="*/ 8840 w 514980"/>
                    <a:gd name="connsiteY10" fmla="*/ 442755 h 454272"/>
                    <a:gd name="connsiteX0" fmla="*/ 8840 w 514980"/>
                    <a:gd name="connsiteY0" fmla="*/ 442755 h 454272"/>
                    <a:gd name="connsiteX1" fmla="*/ 5665 w 514980"/>
                    <a:gd name="connsiteY1" fmla="*/ 217330 h 454272"/>
                    <a:gd name="connsiteX2" fmla="*/ 62412 w 514980"/>
                    <a:gd name="connsiteY2" fmla="*/ 129774 h 454272"/>
                    <a:gd name="connsiteX3" fmla="*/ 186237 w 514980"/>
                    <a:gd name="connsiteY3" fmla="*/ 91674 h 454272"/>
                    <a:gd name="connsiteX4" fmla="*/ 205690 w 514980"/>
                    <a:gd name="connsiteY4" fmla="*/ 10955 h 454272"/>
                    <a:gd name="connsiteX5" fmla="*/ 325550 w 514980"/>
                    <a:gd name="connsiteY5" fmla="*/ 9967 h 454272"/>
                    <a:gd name="connsiteX6" fmla="*/ 351353 w 514980"/>
                    <a:gd name="connsiteY6" fmla="*/ 96258 h 454272"/>
                    <a:gd name="connsiteX7" fmla="*/ 461084 w 514980"/>
                    <a:gd name="connsiteY7" fmla="*/ 143883 h 454272"/>
                    <a:gd name="connsiteX8" fmla="*/ 513665 w 514980"/>
                    <a:gd name="connsiteY8" fmla="*/ 226855 h 454272"/>
                    <a:gd name="connsiteX9" fmla="*/ 510490 w 514980"/>
                    <a:gd name="connsiteY9" fmla="*/ 449105 h 454272"/>
                    <a:gd name="connsiteX10" fmla="*/ 8840 w 514980"/>
                    <a:gd name="connsiteY10" fmla="*/ 442755 h 454272"/>
                    <a:gd name="connsiteX0" fmla="*/ 8840 w 514980"/>
                    <a:gd name="connsiteY0" fmla="*/ 442755 h 454272"/>
                    <a:gd name="connsiteX1" fmla="*/ 5665 w 514980"/>
                    <a:gd name="connsiteY1" fmla="*/ 217330 h 454272"/>
                    <a:gd name="connsiteX2" fmla="*/ 62412 w 514980"/>
                    <a:gd name="connsiteY2" fmla="*/ 129774 h 454272"/>
                    <a:gd name="connsiteX3" fmla="*/ 186237 w 514980"/>
                    <a:gd name="connsiteY3" fmla="*/ 91674 h 454272"/>
                    <a:gd name="connsiteX4" fmla="*/ 205690 w 514980"/>
                    <a:gd name="connsiteY4" fmla="*/ 10955 h 454272"/>
                    <a:gd name="connsiteX5" fmla="*/ 325550 w 514980"/>
                    <a:gd name="connsiteY5" fmla="*/ 9967 h 454272"/>
                    <a:gd name="connsiteX6" fmla="*/ 351353 w 514980"/>
                    <a:gd name="connsiteY6" fmla="*/ 96258 h 454272"/>
                    <a:gd name="connsiteX7" fmla="*/ 461084 w 514980"/>
                    <a:gd name="connsiteY7" fmla="*/ 143883 h 454272"/>
                    <a:gd name="connsiteX8" fmla="*/ 513665 w 514980"/>
                    <a:gd name="connsiteY8" fmla="*/ 226855 h 454272"/>
                    <a:gd name="connsiteX9" fmla="*/ 510490 w 514980"/>
                    <a:gd name="connsiteY9" fmla="*/ 449105 h 454272"/>
                    <a:gd name="connsiteX10" fmla="*/ 8840 w 514980"/>
                    <a:gd name="connsiteY10" fmla="*/ 442755 h 454272"/>
                    <a:gd name="connsiteX0" fmla="*/ 8840 w 514980"/>
                    <a:gd name="connsiteY0" fmla="*/ 442755 h 454272"/>
                    <a:gd name="connsiteX1" fmla="*/ 5665 w 514980"/>
                    <a:gd name="connsiteY1" fmla="*/ 217330 h 454272"/>
                    <a:gd name="connsiteX2" fmla="*/ 62412 w 514980"/>
                    <a:gd name="connsiteY2" fmla="*/ 129774 h 454272"/>
                    <a:gd name="connsiteX3" fmla="*/ 186237 w 514980"/>
                    <a:gd name="connsiteY3" fmla="*/ 91674 h 454272"/>
                    <a:gd name="connsiteX4" fmla="*/ 205690 w 514980"/>
                    <a:gd name="connsiteY4" fmla="*/ 10955 h 454272"/>
                    <a:gd name="connsiteX5" fmla="*/ 325550 w 514980"/>
                    <a:gd name="connsiteY5" fmla="*/ 9967 h 454272"/>
                    <a:gd name="connsiteX6" fmla="*/ 351353 w 514980"/>
                    <a:gd name="connsiteY6" fmla="*/ 96258 h 454272"/>
                    <a:gd name="connsiteX7" fmla="*/ 461084 w 514980"/>
                    <a:gd name="connsiteY7" fmla="*/ 143883 h 454272"/>
                    <a:gd name="connsiteX8" fmla="*/ 513665 w 514980"/>
                    <a:gd name="connsiteY8" fmla="*/ 226855 h 454272"/>
                    <a:gd name="connsiteX9" fmla="*/ 510490 w 514980"/>
                    <a:gd name="connsiteY9" fmla="*/ 449105 h 454272"/>
                    <a:gd name="connsiteX10" fmla="*/ 8840 w 514980"/>
                    <a:gd name="connsiteY10" fmla="*/ 442755 h 454272"/>
                    <a:gd name="connsiteX0" fmla="*/ 8840 w 514980"/>
                    <a:gd name="connsiteY0" fmla="*/ 436996 h 448513"/>
                    <a:gd name="connsiteX1" fmla="*/ 5665 w 514980"/>
                    <a:gd name="connsiteY1" fmla="*/ 211571 h 448513"/>
                    <a:gd name="connsiteX2" fmla="*/ 62412 w 514980"/>
                    <a:gd name="connsiteY2" fmla="*/ 124015 h 448513"/>
                    <a:gd name="connsiteX3" fmla="*/ 186237 w 514980"/>
                    <a:gd name="connsiteY3" fmla="*/ 85915 h 448513"/>
                    <a:gd name="connsiteX4" fmla="*/ 205690 w 514980"/>
                    <a:gd name="connsiteY4" fmla="*/ 5196 h 448513"/>
                    <a:gd name="connsiteX5" fmla="*/ 325550 w 514980"/>
                    <a:gd name="connsiteY5" fmla="*/ 4208 h 448513"/>
                    <a:gd name="connsiteX6" fmla="*/ 351353 w 514980"/>
                    <a:gd name="connsiteY6" fmla="*/ 90499 h 448513"/>
                    <a:gd name="connsiteX7" fmla="*/ 461084 w 514980"/>
                    <a:gd name="connsiteY7" fmla="*/ 138124 h 448513"/>
                    <a:gd name="connsiteX8" fmla="*/ 513665 w 514980"/>
                    <a:gd name="connsiteY8" fmla="*/ 221096 h 448513"/>
                    <a:gd name="connsiteX9" fmla="*/ 510490 w 514980"/>
                    <a:gd name="connsiteY9" fmla="*/ 443346 h 448513"/>
                    <a:gd name="connsiteX10" fmla="*/ 8840 w 514980"/>
                    <a:gd name="connsiteY10" fmla="*/ 436996 h 448513"/>
                    <a:gd name="connsiteX0" fmla="*/ 8840 w 514980"/>
                    <a:gd name="connsiteY0" fmla="*/ 436996 h 448513"/>
                    <a:gd name="connsiteX1" fmla="*/ 5665 w 514980"/>
                    <a:gd name="connsiteY1" fmla="*/ 211571 h 448513"/>
                    <a:gd name="connsiteX2" fmla="*/ 62412 w 514980"/>
                    <a:gd name="connsiteY2" fmla="*/ 124015 h 448513"/>
                    <a:gd name="connsiteX3" fmla="*/ 186237 w 514980"/>
                    <a:gd name="connsiteY3" fmla="*/ 85915 h 448513"/>
                    <a:gd name="connsiteX4" fmla="*/ 205690 w 514980"/>
                    <a:gd name="connsiteY4" fmla="*/ 5196 h 448513"/>
                    <a:gd name="connsiteX5" fmla="*/ 325550 w 514980"/>
                    <a:gd name="connsiteY5" fmla="*/ 4208 h 448513"/>
                    <a:gd name="connsiteX6" fmla="*/ 351353 w 514980"/>
                    <a:gd name="connsiteY6" fmla="*/ 90499 h 448513"/>
                    <a:gd name="connsiteX7" fmla="*/ 461084 w 514980"/>
                    <a:gd name="connsiteY7" fmla="*/ 138124 h 448513"/>
                    <a:gd name="connsiteX8" fmla="*/ 513665 w 514980"/>
                    <a:gd name="connsiteY8" fmla="*/ 221096 h 448513"/>
                    <a:gd name="connsiteX9" fmla="*/ 510490 w 514980"/>
                    <a:gd name="connsiteY9" fmla="*/ 443346 h 448513"/>
                    <a:gd name="connsiteX10" fmla="*/ 8840 w 514980"/>
                    <a:gd name="connsiteY10" fmla="*/ 436996 h 448513"/>
                    <a:gd name="connsiteX0" fmla="*/ 8840 w 514980"/>
                    <a:gd name="connsiteY0" fmla="*/ 436996 h 448513"/>
                    <a:gd name="connsiteX1" fmla="*/ 5665 w 514980"/>
                    <a:gd name="connsiteY1" fmla="*/ 211571 h 448513"/>
                    <a:gd name="connsiteX2" fmla="*/ 62412 w 514980"/>
                    <a:gd name="connsiteY2" fmla="*/ 124015 h 448513"/>
                    <a:gd name="connsiteX3" fmla="*/ 186237 w 514980"/>
                    <a:gd name="connsiteY3" fmla="*/ 85915 h 448513"/>
                    <a:gd name="connsiteX4" fmla="*/ 205690 w 514980"/>
                    <a:gd name="connsiteY4" fmla="*/ 5196 h 448513"/>
                    <a:gd name="connsiteX5" fmla="*/ 325550 w 514980"/>
                    <a:gd name="connsiteY5" fmla="*/ 4208 h 448513"/>
                    <a:gd name="connsiteX6" fmla="*/ 351353 w 514980"/>
                    <a:gd name="connsiteY6" fmla="*/ 90499 h 448513"/>
                    <a:gd name="connsiteX7" fmla="*/ 461084 w 514980"/>
                    <a:gd name="connsiteY7" fmla="*/ 138124 h 448513"/>
                    <a:gd name="connsiteX8" fmla="*/ 513665 w 514980"/>
                    <a:gd name="connsiteY8" fmla="*/ 221096 h 448513"/>
                    <a:gd name="connsiteX9" fmla="*/ 510490 w 514980"/>
                    <a:gd name="connsiteY9" fmla="*/ 443346 h 448513"/>
                    <a:gd name="connsiteX10" fmla="*/ 8840 w 514980"/>
                    <a:gd name="connsiteY10" fmla="*/ 436996 h 448513"/>
                    <a:gd name="connsiteX0" fmla="*/ 8840 w 514980"/>
                    <a:gd name="connsiteY0" fmla="*/ 436996 h 448513"/>
                    <a:gd name="connsiteX1" fmla="*/ 5665 w 514980"/>
                    <a:gd name="connsiteY1" fmla="*/ 211571 h 448513"/>
                    <a:gd name="connsiteX2" fmla="*/ 62412 w 514980"/>
                    <a:gd name="connsiteY2" fmla="*/ 124015 h 448513"/>
                    <a:gd name="connsiteX3" fmla="*/ 168766 w 514980"/>
                    <a:gd name="connsiteY3" fmla="*/ 88102 h 448513"/>
                    <a:gd name="connsiteX4" fmla="*/ 205690 w 514980"/>
                    <a:gd name="connsiteY4" fmla="*/ 5196 h 448513"/>
                    <a:gd name="connsiteX5" fmla="*/ 325550 w 514980"/>
                    <a:gd name="connsiteY5" fmla="*/ 4208 h 448513"/>
                    <a:gd name="connsiteX6" fmla="*/ 351353 w 514980"/>
                    <a:gd name="connsiteY6" fmla="*/ 90499 h 448513"/>
                    <a:gd name="connsiteX7" fmla="*/ 461084 w 514980"/>
                    <a:gd name="connsiteY7" fmla="*/ 138124 h 448513"/>
                    <a:gd name="connsiteX8" fmla="*/ 513665 w 514980"/>
                    <a:gd name="connsiteY8" fmla="*/ 221096 h 448513"/>
                    <a:gd name="connsiteX9" fmla="*/ 510490 w 514980"/>
                    <a:gd name="connsiteY9" fmla="*/ 443346 h 448513"/>
                    <a:gd name="connsiteX10" fmla="*/ 8840 w 514980"/>
                    <a:gd name="connsiteY10" fmla="*/ 436996 h 448513"/>
                    <a:gd name="connsiteX0" fmla="*/ 8840 w 514980"/>
                    <a:gd name="connsiteY0" fmla="*/ 440628 h 452145"/>
                    <a:gd name="connsiteX1" fmla="*/ 5665 w 514980"/>
                    <a:gd name="connsiteY1" fmla="*/ 215203 h 452145"/>
                    <a:gd name="connsiteX2" fmla="*/ 62412 w 514980"/>
                    <a:gd name="connsiteY2" fmla="*/ 127647 h 452145"/>
                    <a:gd name="connsiteX3" fmla="*/ 168766 w 514980"/>
                    <a:gd name="connsiteY3" fmla="*/ 91734 h 452145"/>
                    <a:gd name="connsiteX4" fmla="*/ 179484 w 514980"/>
                    <a:gd name="connsiteY4" fmla="*/ 4454 h 452145"/>
                    <a:gd name="connsiteX5" fmla="*/ 325550 w 514980"/>
                    <a:gd name="connsiteY5" fmla="*/ 7840 h 452145"/>
                    <a:gd name="connsiteX6" fmla="*/ 351353 w 514980"/>
                    <a:gd name="connsiteY6" fmla="*/ 94131 h 452145"/>
                    <a:gd name="connsiteX7" fmla="*/ 461084 w 514980"/>
                    <a:gd name="connsiteY7" fmla="*/ 141756 h 452145"/>
                    <a:gd name="connsiteX8" fmla="*/ 513665 w 514980"/>
                    <a:gd name="connsiteY8" fmla="*/ 224728 h 452145"/>
                    <a:gd name="connsiteX9" fmla="*/ 510490 w 514980"/>
                    <a:gd name="connsiteY9" fmla="*/ 446978 h 452145"/>
                    <a:gd name="connsiteX10" fmla="*/ 8840 w 514980"/>
                    <a:gd name="connsiteY10" fmla="*/ 440628 h 452145"/>
                    <a:gd name="connsiteX0" fmla="*/ 8840 w 514980"/>
                    <a:gd name="connsiteY0" fmla="*/ 442422 h 453939"/>
                    <a:gd name="connsiteX1" fmla="*/ 5665 w 514980"/>
                    <a:gd name="connsiteY1" fmla="*/ 216997 h 453939"/>
                    <a:gd name="connsiteX2" fmla="*/ 62412 w 514980"/>
                    <a:gd name="connsiteY2" fmla="*/ 129441 h 453939"/>
                    <a:gd name="connsiteX3" fmla="*/ 168766 w 514980"/>
                    <a:gd name="connsiteY3" fmla="*/ 93528 h 453939"/>
                    <a:gd name="connsiteX4" fmla="*/ 179484 w 514980"/>
                    <a:gd name="connsiteY4" fmla="*/ 6248 h 453939"/>
                    <a:gd name="connsiteX5" fmla="*/ 351756 w 514980"/>
                    <a:gd name="connsiteY5" fmla="*/ 886 h 453939"/>
                    <a:gd name="connsiteX6" fmla="*/ 351353 w 514980"/>
                    <a:gd name="connsiteY6" fmla="*/ 95925 h 453939"/>
                    <a:gd name="connsiteX7" fmla="*/ 461084 w 514980"/>
                    <a:gd name="connsiteY7" fmla="*/ 143550 h 453939"/>
                    <a:gd name="connsiteX8" fmla="*/ 513665 w 514980"/>
                    <a:gd name="connsiteY8" fmla="*/ 226522 h 453939"/>
                    <a:gd name="connsiteX9" fmla="*/ 510490 w 514980"/>
                    <a:gd name="connsiteY9" fmla="*/ 448772 h 453939"/>
                    <a:gd name="connsiteX10" fmla="*/ 8840 w 514980"/>
                    <a:gd name="connsiteY10" fmla="*/ 442422 h 453939"/>
                    <a:gd name="connsiteX0" fmla="*/ 8840 w 514980"/>
                    <a:gd name="connsiteY0" fmla="*/ 442422 h 453939"/>
                    <a:gd name="connsiteX1" fmla="*/ 5665 w 514980"/>
                    <a:gd name="connsiteY1" fmla="*/ 216997 h 453939"/>
                    <a:gd name="connsiteX2" fmla="*/ 62412 w 514980"/>
                    <a:gd name="connsiteY2" fmla="*/ 129441 h 453939"/>
                    <a:gd name="connsiteX3" fmla="*/ 168766 w 514980"/>
                    <a:gd name="connsiteY3" fmla="*/ 93528 h 453939"/>
                    <a:gd name="connsiteX4" fmla="*/ 179484 w 514980"/>
                    <a:gd name="connsiteY4" fmla="*/ 6248 h 453939"/>
                    <a:gd name="connsiteX5" fmla="*/ 351756 w 514980"/>
                    <a:gd name="connsiteY5" fmla="*/ 886 h 453939"/>
                    <a:gd name="connsiteX6" fmla="*/ 366640 w 514980"/>
                    <a:gd name="connsiteY6" fmla="*/ 100299 h 453939"/>
                    <a:gd name="connsiteX7" fmla="*/ 461084 w 514980"/>
                    <a:gd name="connsiteY7" fmla="*/ 143550 h 453939"/>
                    <a:gd name="connsiteX8" fmla="*/ 513665 w 514980"/>
                    <a:gd name="connsiteY8" fmla="*/ 226522 h 453939"/>
                    <a:gd name="connsiteX9" fmla="*/ 510490 w 514980"/>
                    <a:gd name="connsiteY9" fmla="*/ 448772 h 453939"/>
                    <a:gd name="connsiteX10" fmla="*/ 8840 w 514980"/>
                    <a:gd name="connsiteY10" fmla="*/ 442422 h 453939"/>
                    <a:gd name="connsiteX0" fmla="*/ 8840 w 514980"/>
                    <a:gd name="connsiteY0" fmla="*/ 442422 h 450476"/>
                    <a:gd name="connsiteX1" fmla="*/ 5665 w 514980"/>
                    <a:gd name="connsiteY1" fmla="*/ 216997 h 450476"/>
                    <a:gd name="connsiteX2" fmla="*/ 62412 w 514980"/>
                    <a:gd name="connsiteY2" fmla="*/ 129441 h 450476"/>
                    <a:gd name="connsiteX3" fmla="*/ 168766 w 514980"/>
                    <a:gd name="connsiteY3" fmla="*/ 93528 h 450476"/>
                    <a:gd name="connsiteX4" fmla="*/ 179484 w 514980"/>
                    <a:gd name="connsiteY4" fmla="*/ 6248 h 450476"/>
                    <a:gd name="connsiteX5" fmla="*/ 351756 w 514980"/>
                    <a:gd name="connsiteY5" fmla="*/ 886 h 450476"/>
                    <a:gd name="connsiteX6" fmla="*/ 366640 w 514980"/>
                    <a:gd name="connsiteY6" fmla="*/ 100299 h 450476"/>
                    <a:gd name="connsiteX7" fmla="*/ 461084 w 514980"/>
                    <a:gd name="connsiteY7" fmla="*/ 143550 h 450476"/>
                    <a:gd name="connsiteX8" fmla="*/ 513665 w 514980"/>
                    <a:gd name="connsiteY8" fmla="*/ 226522 h 450476"/>
                    <a:gd name="connsiteX9" fmla="*/ 510490 w 514980"/>
                    <a:gd name="connsiteY9" fmla="*/ 448772 h 450476"/>
                    <a:gd name="connsiteX10" fmla="*/ 8840 w 514980"/>
                    <a:gd name="connsiteY10" fmla="*/ 442422 h 450476"/>
                    <a:gd name="connsiteX0" fmla="*/ 8840 w 514980"/>
                    <a:gd name="connsiteY0" fmla="*/ 442422 h 448772"/>
                    <a:gd name="connsiteX1" fmla="*/ 5665 w 514980"/>
                    <a:gd name="connsiteY1" fmla="*/ 216997 h 448772"/>
                    <a:gd name="connsiteX2" fmla="*/ 62412 w 514980"/>
                    <a:gd name="connsiteY2" fmla="*/ 129441 h 448772"/>
                    <a:gd name="connsiteX3" fmla="*/ 168766 w 514980"/>
                    <a:gd name="connsiteY3" fmla="*/ 93528 h 448772"/>
                    <a:gd name="connsiteX4" fmla="*/ 179484 w 514980"/>
                    <a:gd name="connsiteY4" fmla="*/ 6248 h 448772"/>
                    <a:gd name="connsiteX5" fmla="*/ 351756 w 514980"/>
                    <a:gd name="connsiteY5" fmla="*/ 886 h 448772"/>
                    <a:gd name="connsiteX6" fmla="*/ 366640 w 514980"/>
                    <a:gd name="connsiteY6" fmla="*/ 100299 h 448772"/>
                    <a:gd name="connsiteX7" fmla="*/ 461084 w 514980"/>
                    <a:gd name="connsiteY7" fmla="*/ 143550 h 448772"/>
                    <a:gd name="connsiteX8" fmla="*/ 513665 w 514980"/>
                    <a:gd name="connsiteY8" fmla="*/ 226522 h 448772"/>
                    <a:gd name="connsiteX9" fmla="*/ 510490 w 514980"/>
                    <a:gd name="connsiteY9" fmla="*/ 448772 h 448772"/>
                    <a:gd name="connsiteX10" fmla="*/ 8840 w 514980"/>
                    <a:gd name="connsiteY10" fmla="*/ 442422 h 448772"/>
                    <a:gd name="connsiteX0" fmla="*/ 8840 w 514980"/>
                    <a:gd name="connsiteY0" fmla="*/ 442422 h 448772"/>
                    <a:gd name="connsiteX1" fmla="*/ 5665 w 514980"/>
                    <a:gd name="connsiteY1" fmla="*/ 216997 h 448772"/>
                    <a:gd name="connsiteX2" fmla="*/ 62412 w 514980"/>
                    <a:gd name="connsiteY2" fmla="*/ 129441 h 448772"/>
                    <a:gd name="connsiteX3" fmla="*/ 168766 w 514980"/>
                    <a:gd name="connsiteY3" fmla="*/ 93528 h 448772"/>
                    <a:gd name="connsiteX4" fmla="*/ 179484 w 514980"/>
                    <a:gd name="connsiteY4" fmla="*/ 6248 h 448772"/>
                    <a:gd name="connsiteX5" fmla="*/ 351756 w 514980"/>
                    <a:gd name="connsiteY5" fmla="*/ 886 h 448772"/>
                    <a:gd name="connsiteX6" fmla="*/ 357905 w 514980"/>
                    <a:gd name="connsiteY6" fmla="*/ 98112 h 448772"/>
                    <a:gd name="connsiteX7" fmla="*/ 461084 w 514980"/>
                    <a:gd name="connsiteY7" fmla="*/ 143550 h 448772"/>
                    <a:gd name="connsiteX8" fmla="*/ 513665 w 514980"/>
                    <a:gd name="connsiteY8" fmla="*/ 226522 h 448772"/>
                    <a:gd name="connsiteX9" fmla="*/ 510490 w 514980"/>
                    <a:gd name="connsiteY9" fmla="*/ 448772 h 448772"/>
                    <a:gd name="connsiteX10" fmla="*/ 8840 w 514980"/>
                    <a:gd name="connsiteY10" fmla="*/ 442422 h 448772"/>
                    <a:gd name="connsiteX0" fmla="*/ 8840 w 514980"/>
                    <a:gd name="connsiteY0" fmla="*/ 442422 h 448772"/>
                    <a:gd name="connsiteX1" fmla="*/ 5665 w 514980"/>
                    <a:gd name="connsiteY1" fmla="*/ 216997 h 448772"/>
                    <a:gd name="connsiteX2" fmla="*/ 62412 w 514980"/>
                    <a:gd name="connsiteY2" fmla="*/ 129441 h 448772"/>
                    <a:gd name="connsiteX3" fmla="*/ 168766 w 514980"/>
                    <a:gd name="connsiteY3" fmla="*/ 93528 h 448772"/>
                    <a:gd name="connsiteX4" fmla="*/ 179484 w 514980"/>
                    <a:gd name="connsiteY4" fmla="*/ 6248 h 448772"/>
                    <a:gd name="connsiteX5" fmla="*/ 351756 w 514980"/>
                    <a:gd name="connsiteY5" fmla="*/ 886 h 448772"/>
                    <a:gd name="connsiteX6" fmla="*/ 357905 w 514980"/>
                    <a:gd name="connsiteY6" fmla="*/ 98112 h 448772"/>
                    <a:gd name="connsiteX7" fmla="*/ 454533 w 514980"/>
                    <a:gd name="connsiteY7" fmla="*/ 136989 h 448772"/>
                    <a:gd name="connsiteX8" fmla="*/ 513665 w 514980"/>
                    <a:gd name="connsiteY8" fmla="*/ 226522 h 448772"/>
                    <a:gd name="connsiteX9" fmla="*/ 510490 w 514980"/>
                    <a:gd name="connsiteY9" fmla="*/ 448772 h 448772"/>
                    <a:gd name="connsiteX10" fmla="*/ 8840 w 514980"/>
                    <a:gd name="connsiteY10" fmla="*/ 442422 h 448772"/>
                    <a:gd name="connsiteX0" fmla="*/ 8840 w 514980"/>
                    <a:gd name="connsiteY0" fmla="*/ 442422 h 448772"/>
                    <a:gd name="connsiteX1" fmla="*/ 5665 w 514980"/>
                    <a:gd name="connsiteY1" fmla="*/ 216997 h 448772"/>
                    <a:gd name="connsiteX2" fmla="*/ 62412 w 514980"/>
                    <a:gd name="connsiteY2" fmla="*/ 129441 h 448772"/>
                    <a:gd name="connsiteX3" fmla="*/ 168766 w 514980"/>
                    <a:gd name="connsiteY3" fmla="*/ 93528 h 448772"/>
                    <a:gd name="connsiteX4" fmla="*/ 179484 w 514980"/>
                    <a:gd name="connsiteY4" fmla="*/ 6248 h 448772"/>
                    <a:gd name="connsiteX5" fmla="*/ 351756 w 514980"/>
                    <a:gd name="connsiteY5" fmla="*/ 886 h 448772"/>
                    <a:gd name="connsiteX6" fmla="*/ 357905 w 514980"/>
                    <a:gd name="connsiteY6" fmla="*/ 98112 h 448772"/>
                    <a:gd name="connsiteX7" fmla="*/ 454533 w 514980"/>
                    <a:gd name="connsiteY7" fmla="*/ 136989 h 448772"/>
                    <a:gd name="connsiteX8" fmla="*/ 513665 w 514980"/>
                    <a:gd name="connsiteY8" fmla="*/ 226522 h 448772"/>
                    <a:gd name="connsiteX9" fmla="*/ 510490 w 514980"/>
                    <a:gd name="connsiteY9" fmla="*/ 448772 h 448772"/>
                    <a:gd name="connsiteX10" fmla="*/ 8840 w 514980"/>
                    <a:gd name="connsiteY10" fmla="*/ 442422 h 448772"/>
                    <a:gd name="connsiteX0" fmla="*/ 8840 w 514980"/>
                    <a:gd name="connsiteY0" fmla="*/ 442422 h 448772"/>
                    <a:gd name="connsiteX1" fmla="*/ 5665 w 514980"/>
                    <a:gd name="connsiteY1" fmla="*/ 216997 h 448772"/>
                    <a:gd name="connsiteX2" fmla="*/ 62412 w 514980"/>
                    <a:gd name="connsiteY2" fmla="*/ 129441 h 448772"/>
                    <a:gd name="connsiteX3" fmla="*/ 168766 w 514980"/>
                    <a:gd name="connsiteY3" fmla="*/ 93528 h 448772"/>
                    <a:gd name="connsiteX4" fmla="*/ 179484 w 514980"/>
                    <a:gd name="connsiteY4" fmla="*/ 6248 h 448772"/>
                    <a:gd name="connsiteX5" fmla="*/ 351756 w 514980"/>
                    <a:gd name="connsiteY5" fmla="*/ 886 h 448772"/>
                    <a:gd name="connsiteX6" fmla="*/ 357905 w 514980"/>
                    <a:gd name="connsiteY6" fmla="*/ 98112 h 448772"/>
                    <a:gd name="connsiteX7" fmla="*/ 454533 w 514980"/>
                    <a:gd name="connsiteY7" fmla="*/ 136989 h 448772"/>
                    <a:gd name="connsiteX8" fmla="*/ 513665 w 514980"/>
                    <a:gd name="connsiteY8" fmla="*/ 226522 h 448772"/>
                    <a:gd name="connsiteX9" fmla="*/ 510490 w 514980"/>
                    <a:gd name="connsiteY9" fmla="*/ 448772 h 448772"/>
                    <a:gd name="connsiteX10" fmla="*/ 8840 w 514980"/>
                    <a:gd name="connsiteY10" fmla="*/ 442422 h 448772"/>
                    <a:gd name="connsiteX0" fmla="*/ 8840 w 514980"/>
                    <a:gd name="connsiteY0" fmla="*/ 442422 h 448772"/>
                    <a:gd name="connsiteX1" fmla="*/ 5665 w 514980"/>
                    <a:gd name="connsiteY1" fmla="*/ 216997 h 448772"/>
                    <a:gd name="connsiteX2" fmla="*/ 62412 w 514980"/>
                    <a:gd name="connsiteY2" fmla="*/ 129441 h 448772"/>
                    <a:gd name="connsiteX3" fmla="*/ 168766 w 514980"/>
                    <a:gd name="connsiteY3" fmla="*/ 93528 h 448772"/>
                    <a:gd name="connsiteX4" fmla="*/ 179484 w 514980"/>
                    <a:gd name="connsiteY4" fmla="*/ 6248 h 448772"/>
                    <a:gd name="connsiteX5" fmla="*/ 351756 w 514980"/>
                    <a:gd name="connsiteY5" fmla="*/ 886 h 448772"/>
                    <a:gd name="connsiteX6" fmla="*/ 353538 w 514980"/>
                    <a:gd name="connsiteY6" fmla="*/ 98112 h 448772"/>
                    <a:gd name="connsiteX7" fmla="*/ 454533 w 514980"/>
                    <a:gd name="connsiteY7" fmla="*/ 136989 h 448772"/>
                    <a:gd name="connsiteX8" fmla="*/ 513665 w 514980"/>
                    <a:gd name="connsiteY8" fmla="*/ 226522 h 448772"/>
                    <a:gd name="connsiteX9" fmla="*/ 510490 w 514980"/>
                    <a:gd name="connsiteY9" fmla="*/ 448772 h 448772"/>
                    <a:gd name="connsiteX10" fmla="*/ 8840 w 514980"/>
                    <a:gd name="connsiteY10" fmla="*/ 442422 h 448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14980" h="448772">
                      <a:moveTo>
                        <a:pt x="8840" y="442422"/>
                      </a:moveTo>
                      <a:cubicBezTo>
                        <a:pt x="-1214" y="377864"/>
                        <a:pt x="-3264" y="269160"/>
                        <a:pt x="5665" y="216997"/>
                      </a:cubicBezTo>
                      <a:cubicBezTo>
                        <a:pt x="14594" y="164834"/>
                        <a:pt x="35229" y="150019"/>
                        <a:pt x="62412" y="129441"/>
                      </a:cubicBezTo>
                      <a:cubicBezTo>
                        <a:pt x="89595" y="108863"/>
                        <a:pt x="149254" y="114060"/>
                        <a:pt x="168766" y="93528"/>
                      </a:cubicBezTo>
                      <a:cubicBezTo>
                        <a:pt x="188278" y="72996"/>
                        <a:pt x="189023" y="43922"/>
                        <a:pt x="179484" y="6248"/>
                      </a:cubicBezTo>
                      <a:cubicBezTo>
                        <a:pt x="202703" y="-7370"/>
                        <a:pt x="323111" y="6352"/>
                        <a:pt x="351756" y="886"/>
                      </a:cubicBezTo>
                      <a:cubicBezTo>
                        <a:pt x="354195" y="39159"/>
                        <a:pt x="342961" y="75428"/>
                        <a:pt x="353538" y="98112"/>
                      </a:cubicBezTo>
                      <a:cubicBezTo>
                        <a:pt x="364115" y="120796"/>
                        <a:pt x="427845" y="115587"/>
                        <a:pt x="454533" y="136989"/>
                      </a:cubicBezTo>
                      <a:cubicBezTo>
                        <a:pt x="481221" y="158391"/>
                        <a:pt x="503611" y="177839"/>
                        <a:pt x="513665" y="226522"/>
                      </a:cubicBezTo>
                      <a:cubicBezTo>
                        <a:pt x="516840" y="276264"/>
                        <a:pt x="513665" y="323360"/>
                        <a:pt x="510490" y="448772"/>
                      </a:cubicBezTo>
                      <a:lnTo>
                        <a:pt x="8840" y="442422"/>
                      </a:lnTo>
                      <a:close/>
                    </a:path>
                  </a:pathLst>
                </a:custGeom>
                <a:grpFill/>
                <a:ln w="571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132" name="Oval 131">
                  <a:extLst>
                    <a:ext uri="{FF2B5EF4-FFF2-40B4-BE49-F238E27FC236}">
                      <a16:creationId xmlns:a16="http://schemas.microsoft.com/office/drawing/2014/main" id="{7C83324A-0257-D64F-A432-CBF6B8D765AE}"/>
                    </a:ext>
                  </a:extLst>
                </p:cNvPr>
                <p:cNvSpPr/>
                <p:nvPr/>
              </p:nvSpPr>
              <p:spPr>
                <a:xfrm>
                  <a:off x="1971467" y="3508300"/>
                  <a:ext cx="282088" cy="336550"/>
                </a:xfrm>
                <a:prstGeom prst="ellipse">
                  <a:avLst/>
                </a:prstGeom>
                <a:grpFill/>
                <a:ln w="571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grpSp>
          <p:grpSp>
            <p:nvGrpSpPr>
              <p:cNvPr id="128" name="Group 127">
                <a:extLst>
                  <a:ext uri="{FF2B5EF4-FFF2-40B4-BE49-F238E27FC236}">
                    <a16:creationId xmlns:a16="http://schemas.microsoft.com/office/drawing/2014/main" id="{60DBA389-46A5-3C40-9BF1-EBA277D00FE6}"/>
                  </a:ext>
                </a:extLst>
              </p:cNvPr>
              <p:cNvGrpSpPr/>
              <p:nvPr/>
            </p:nvGrpSpPr>
            <p:grpSpPr>
              <a:xfrm>
                <a:off x="1553120" y="3388644"/>
                <a:ext cx="633802" cy="938165"/>
                <a:chOff x="1806977" y="3500843"/>
                <a:chExt cx="539989" cy="738018"/>
              </a:xfrm>
            </p:grpSpPr>
            <p:sp>
              <p:nvSpPr>
                <p:cNvPr id="129" name="Freeform 128">
                  <a:extLst>
                    <a:ext uri="{FF2B5EF4-FFF2-40B4-BE49-F238E27FC236}">
                      <a16:creationId xmlns:a16="http://schemas.microsoft.com/office/drawing/2014/main" id="{4DAE957C-0491-4240-BD78-46654F903B43}"/>
                    </a:ext>
                  </a:extLst>
                </p:cNvPr>
                <p:cNvSpPr/>
                <p:nvPr/>
              </p:nvSpPr>
              <p:spPr>
                <a:xfrm>
                  <a:off x="1806977" y="3782373"/>
                  <a:ext cx="539989" cy="456488"/>
                </a:xfrm>
                <a:custGeom>
                  <a:avLst/>
                  <a:gdLst>
                    <a:gd name="connsiteX0" fmla="*/ 36807 w 576731"/>
                    <a:gd name="connsiteY0" fmla="*/ 449906 h 505924"/>
                    <a:gd name="connsiteX1" fmla="*/ 39982 w 576731"/>
                    <a:gd name="connsiteY1" fmla="*/ 214956 h 505924"/>
                    <a:gd name="connsiteX2" fmla="*/ 55857 w 576731"/>
                    <a:gd name="connsiteY2" fmla="*/ 176856 h 505924"/>
                    <a:gd name="connsiteX3" fmla="*/ 103482 w 576731"/>
                    <a:gd name="connsiteY3" fmla="*/ 160981 h 505924"/>
                    <a:gd name="connsiteX4" fmla="*/ 205082 w 576731"/>
                    <a:gd name="connsiteY4" fmla="*/ 154631 h 505924"/>
                    <a:gd name="connsiteX5" fmla="*/ 230482 w 576731"/>
                    <a:gd name="connsiteY5" fmla="*/ 151456 h 505924"/>
                    <a:gd name="connsiteX6" fmla="*/ 233657 w 576731"/>
                    <a:gd name="connsiteY6" fmla="*/ 18106 h 505924"/>
                    <a:gd name="connsiteX7" fmla="*/ 344782 w 576731"/>
                    <a:gd name="connsiteY7" fmla="*/ 14931 h 505924"/>
                    <a:gd name="connsiteX8" fmla="*/ 344782 w 576731"/>
                    <a:gd name="connsiteY8" fmla="*/ 145106 h 505924"/>
                    <a:gd name="connsiteX9" fmla="*/ 386057 w 576731"/>
                    <a:gd name="connsiteY9" fmla="*/ 151456 h 505924"/>
                    <a:gd name="connsiteX10" fmla="*/ 478132 w 576731"/>
                    <a:gd name="connsiteY10" fmla="*/ 164156 h 505924"/>
                    <a:gd name="connsiteX11" fmla="*/ 519407 w 576731"/>
                    <a:gd name="connsiteY11" fmla="*/ 189556 h 505924"/>
                    <a:gd name="connsiteX12" fmla="*/ 541632 w 576731"/>
                    <a:gd name="connsiteY12" fmla="*/ 234006 h 505924"/>
                    <a:gd name="connsiteX13" fmla="*/ 538457 w 576731"/>
                    <a:gd name="connsiteY13" fmla="*/ 488006 h 505924"/>
                    <a:gd name="connsiteX14" fmla="*/ 36807 w 576731"/>
                    <a:gd name="connsiteY14" fmla="*/ 449906 h 505924"/>
                    <a:gd name="connsiteX0" fmla="*/ 5769 w 545693"/>
                    <a:gd name="connsiteY0" fmla="*/ 449906 h 505924"/>
                    <a:gd name="connsiteX1" fmla="*/ 8944 w 545693"/>
                    <a:gd name="connsiteY1" fmla="*/ 214956 h 505924"/>
                    <a:gd name="connsiteX2" fmla="*/ 24819 w 545693"/>
                    <a:gd name="connsiteY2" fmla="*/ 176856 h 505924"/>
                    <a:gd name="connsiteX3" fmla="*/ 72444 w 545693"/>
                    <a:gd name="connsiteY3" fmla="*/ 160981 h 505924"/>
                    <a:gd name="connsiteX4" fmla="*/ 174044 w 545693"/>
                    <a:gd name="connsiteY4" fmla="*/ 154631 h 505924"/>
                    <a:gd name="connsiteX5" fmla="*/ 199444 w 545693"/>
                    <a:gd name="connsiteY5" fmla="*/ 151456 h 505924"/>
                    <a:gd name="connsiteX6" fmla="*/ 202619 w 545693"/>
                    <a:gd name="connsiteY6" fmla="*/ 18106 h 505924"/>
                    <a:gd name="connsiteX7" fmla="*/ 313744 w 545693"/>
                    <a:gd name="connsiteY7" fmla="*/ 14931 h 505924"/>
                    <a:gd name="connsiteX8" fmla="*/ 313744 w 545693"/>
                    <a:gd name="connsiteY8" fmla="*/ 145106 h 505924"/>
                    <a:gd name="connsiteX9" fmla="*/ 355019 w 545693"/>
                    <a:gd name="connsiteY9" fmla="*/ 151456 h 505924"/>
                    <a:gd name="connsiteX10" fmla="*/ 447094 w 545693"/>
                    <a:gd name="connsiteY10" fmla="*/ 164156 h 505924"/>
                    <a:gd name="connsiteX11" fmla="*/ 488369 w 545693"/>
                    <a:gd name="connsiteY11" fmla="*/ 189556 h 505924"/>
                    <a:gd name="connsiteX12" fmla="*/ 510594 w 545693"/>
                    <a:gd name="connsiteY12" fmla="*/ 234006 h 505924"/>
                    <a:gd name="connsiteX13" fmla="*/ 507419 w 545693"/>
                    <a:gd name="connsiteY13" fmla="*/ 488006 h 505924"/>
                    <a:gd name="connsiteX14" fmla="*/ 5769 w 545693"/>
                    <a:gd name="connsiteY14" fmla="*/ 449906 h 505924"/>
                    <a:gd name="connsiteX0" fmla="*/ 21286 w 561210"/>
                    <a:gd name="connsiteY0" fmla="*/ 449906 h 508025"/>
                    <a:gd name="connsiteX1" fmla="*/ 24461 w 561210"/>
                    <a:gd name="connsiteY1" fmla="*/ 214956 h 508025"/>
                    <a:gd name="connsiteX2" fmla="*/ 40336 w 561210"/>
                    <a:gd name="connsiteY2" fmla="*/ 176856 h 508025"/>
                    <a:gd name="connsiteX3" fmla="*/ 87961 w 561210"/>
                    <a:gd name="connsiteY3" fmla="*/ 160981 h 508025"/>
                    <a:gd name="connsiteX4" fmla="*/ 189561 w 561210"/>
                    <a:gd name="connsiteY4" fmla="*/ 154631 h 508025"/>
                    <a:gd name="connsiteX5" fmla="*/ 214961 w 561210"/>
                    <a:gd name="connsiteY5" fmla="*/ 151456 h 508025"/>
                    <a:gd name="connsiteX6" fmla="*/ 218136 w 561210"/>
                    <a:gd name="connsiteY6" fmla="*/ 18106 h 508025"/>
                    <a:gd name="connsiteX7" fmla="*/ 329261 w 561210"/>
                    <a:gd name="connsiteY7" fmla="*/ 14931 h 508025"/>
                    <a:gd name="connsiteX8" fmla="*/ 329261 w 561210"/>
                    <a:gd name="connsiteY8" fmla="*/ 145106 h 508025"/>
                    <a:gd name="connsiteX9" fmla="*/ 370536 w 561210"/>
                    <a:gd name="connsiteY9" fmla="*/ 151456 h 508025"/>
                    <a:gd name="connsiteX10" fmla="*/ 462611 w 561210"/>
                    <a:gd name="connsiteY10" fmla="*/ 164156 h 508025"/>
                    <a:gd name="connsiteX11" fmla="*/ 503886 w 561210"/>
                    <a:gd name="connsiteY11" fmla="*/ 189556 h 508025"/>
                    <a:gd name="connsiteX12" fmla="*/ 526111 w 561210"/>
                    <a:gd name="connsiteY12" fmla="*/ 234006 h 508025"/>
                    <a:gd name="connsiteX13" fmla="*/ 522936 w 561210"/>
                    <a:gd name="connsiteY13" fmla="*/ 488006 h 508025"/>
                    <a:gd name="connsiteX14" fmla="*/ 21286 w 561210"/>
                    <a:gd name="connsiteY14" fmla="*/ 449906 h 508025"/>
                    <a:gd name="connsiteX0" fmla="*/ 21286 w 561210"/>
                    <a:gd name="connsiteY0" fmla="*/ 449906 h 508025"/>
                    <a:gd name="connsiteX1" fmla="*/ 24461 w 561210"/>
                    <a:gd name="connsiteY1" fmla="*/ 214956 h 508025"/>
                    <a:gd name="connsiteX2" fmla="*/ 40336 w 561210"/>
                    <a:gd name="connsiteY2" fmla="*/ 176856 h 508025"/>
                    <a:gd name="connsiteX3" fmla="*/ 87961 w 561210"/>
                    <a:gd name="connsiteY3" fmla="*/ 160981 h 508025"/>
                    <a:gd name="connsiteX4" fmla="*/ 189561 w 561210"/>
                    <a:gd name="connsiteY4" fmla="*/ 154631 h 508025"/>
                    <a:gd name="connsiteX5" fmla="*/ 214961 w 561210"/>
                    <a:gd name="connsiteY5" fmla="*/ 151456 h 508025"/>
                    <a:gd name="connsiteX6" fmla="*/ 218136 w 561210"/>
                    <a:gd name="connsiteY6" fmla="*/ 18106 h 508025"/>
                    <a:gd name="connsiteX7" fmla="*/ 329261 w 561210"/>
                    <a:gd name="connsiteY7" fmla="*/ 14931 h 508025"/>
                    <a:gd name="connsiteX8" fmla="*/ 329261 w 561210"/>
                    <a:gd name="connsiteY8" fmla="*/ 145106 h 508025"/>
                    <a:gd name="connsiteX9" fmla="*/ 370536 w 561210"/>
                    <a:gd name="connsiteY9" fmla="*/ 151456 h 508025"/>
                    <a:gd name="connsiteX10" fmla="*/ 462611 w 561210"/>
                    <a:gd name="connsiteY10" fmla="*/ 164156 h 508025"/>
                    <a:gd name="connsiteX11" fmla="*/ 503886 w 561210"/>
                    <a:gd name="connsiteY11" fmla="*/ 189556 h 508025"/>
                    <a:gd name="connsiteX12" fmla="*/ 526111 w 561210"/>
                    <a:gd name="connsiteY12" fmla="*/ 234006 h 508025"/>
                    <a:gd name="connsiteX13" fmla="*/ 522936 w 561210"/>
                    <a:gd name="connsiteY13" fmla="*/ 488006 h 508025"/>
                    <a:gd name="connsiteX14" fmla="*/ 21286 w 561210"/>
                    <a:gd name="connsiteY14" fmla="*/ 449906 h 508025"/>
                    <a:gd name="connsiteX0" fmla="*/ 4360 w 544284"/>
                    <a:gd name="connsiteY0" fmla="*/ 449906 h 508025"/>
                    <a:gd name="connsiteX1" fmla="*/ 7535 w 544284"/>
                    <a:gd name="connsiteY1" fmla="*/ 214956 h 508025"/>
                    <a:gd name="connsiteX2" fmla="*/ 23410 w 544284"/>
                    <a:gd name="connsiteY2" fmla="*/ 176856 h 508025"/>
                    <a:gd name="connsiteX3" fmla="*/ 71035 w 544284"/>
                    <a:gd name="connsiteY3" fmla="*/ 160981 h 508025"/>
                    <a:gd name="connsiteX4" fmla="*/ 172635 w 544284"/>
                    <a:gd name="connsiteY4" fmla="*/ 154631 h 508025"/>
                    <a:gd name="connsiteX5" fmla="*/ 198035 w 544284"/>
                    <a:gd name="connsiteY5" fmla="*/ 151456 h 508025"/>
                    <a:gd name="connsiteX6" fmla="*/ 201210 w 544284"/>
                    <a:gd name="connsiteY6" fmla="*/ 18106 h 508025"/>
                    <a:gd name="connsiteX7" fmla="*/ 312335 w 544284"/>
                    <a:gd name="connsiteY7" fmla="*/ 14931 h 508025"/>
                    <a:gd name="connsiteX8" fmla="*/ 312335 w 544284"/>
                    <a:gd name="connsiteY8" fmla="*/ 145106 h 508025"/>
                    <a:gd name="connsiteX9" fmla="*/ 353610 w 544284"/>
                    <a:gd name="connsiteY9" fmla="*/ 151456 h 508025"/>
                    <a:gd name="connsiteX10" fmla="*/ 445685 w 544284"/>
                    <a:gd name="connsiteY10" fmla="*/ 164156 h 508025"/>
                    <a:gd name="connsiteX11" fmla="*/ 486960 w 544284"/>
                    <a:gd name="connsiteY11" fmla="*/ 189556 h 508025"/>
                    <a:gd name="connsiteX12" fmla="*/ 509185 w 544284"/>
                    <a:gd name="connsiteY12" fmla="*/ 234006 h 508025"/>
                    <a:gd name="connsiteX13" fmla="*/ 506010 w 544284"/>
                    <a:gd name="connsiteY13" fmla="*/ 488006 h 508025"/>
                    <a:gd name="connsiteX14" fmla="*/ 4360 w 544284"/>
                    <a:gd name="connsiteY14" fmla="*/ 449906 h 508025"/>
                    <a:gd name="connsiteX0" fmla="*/ 4360 w 544284"/>
                    <a:gd name="connsiteY0" fmla="*/ 449906 h 500804"/>
                    <a:gd name="connsiteX1" fmla="*/ 7535 w 544284"/>
                    <a:gd name="connsiteY1" fmla="*/ 214956 h 500804"/>
                    <a:gd name="connsiteX2" fmla="*/ 23410 w 544284"/>
                    <a:gd name="connsiteY2" fmla="*/ 176856 h 500804"/>
                    <a:gd name="connsiteX3" fmla="*/ 71035 w 544284"/>
                    <a:gd name="connsiteY3" fmla="*/ 160981 h 500804"/>
                    <a:gd name="connsiteX4" fmla="*/ 172635 w 544284"/>
                    <a:gd name="connsiteY4" fmla="*/ 154631 h 500804"/>
                    <a:gd name="connsiteX5" fmla="*/ 198035 w 544284"/>
                    <a:gd name="connsiteY5" fmla="*/ 151456 h 500804"/>
                    <a:gd name="connsiteX6" fmla="*/ 201210 w 544284"/>
                    <a:gd name="connsiteY6" fmla="*/ 18106 h 500804"/>
                    <a:gd name="connsiteX7" fmla="*/ 312335 w 544284"/>
                    <a:gd name="connsiteY7" fmla="*/ 14931 h 500804"/>
                    <a:gd name="connsiteX8" fmla="*/ 312335 w 544284"/>
                    <a:gd name="connsiteY8" fmla="*/ 145106 h 500804"/>
                    <a:gd name="connsiteX9" fmla="*/ 353610 w 544284"/>
                    <a:gd name="connsiteY9" fmla="*/ 151456 h 500804"/>
                    <a:gd name="connsiteX10" fmla="*/ 445685 w 544284"/>
                    <a:gd name="connsiteY10" fmla="*/ 164156 h 500804"/>
                    <a:gd name="connsiteX11" fmla="*/ 486960 w 544284"/>
                    <a:gd name="connsiteY11" fmla="*/ 189556 h 500804"/>
                    <a:gd name="connsiteX12" fmla="*/ 509185 w 544284"/>
                    <a:gd name="connsiteY12" fmla="*/ 234006 h 500804"/>
                    <a:gd name="connsiteX13" fmla="*/ 506010 w 544284"/>
                    <a:gd name="connsiteY13" fmla="*/ 488006 h 500804"/>
                    <a:gd name="connsiteX14" fmla="*/ 4360 w 544284"/>
                    <a:gd name="connsiteY14" fmla="*/ 449906 h 500804"/>
                    <a:gd name="connsiteX0" fmla="*/ 4360 w 544284"/>
                    <a:gd name="connsiteY0" fmla="*/ 449906 h 500804"/>
                    <a:gd name="connsiteX1" fmla="*/ 7535 w 544284"/>
                    <a:gd name="connsiteY1" fmla="*/ 214956 h 500804"/>
                    <a:gd name="connsiteX2" fmla="*/ 23410 w 544284"/>
                    <a:gd name="connsiteY2" fmla="*/ 176856 h 500804"/>
                    <a:gd name="connsiteX3" fmla="*/ 71035 w 544284"/>
                    <a:gd name="connsiteY3" fmla="*/ 160981 h 500804"/>
                    <a:gd name="connsiteX4" fmla="*/ 172635 w 544284"/>
                    <a:gd name="connsiteY4" fmla="*/ 154631 h 500804"/>
                    <a:gd name="connsiteX5" fmla="*/ 198035 w 544284"/>
                    <a:gd name="connsiteY5" fmla="*/ 151456 h 500804"/>
                    <a:gd name="connsiteX6" fmla="*/ 201210 w 544284"/>
                    <a:gd name="connsiteY6" fmla="*/ 18106 h 500804"/>
                    <a:gd name="connsiteX7" fmla="*/ 312335 w 544284"/>
                    <a:gd name="connsiteY7" fmla="*/ 14931 h 500804"/>
                    <a:gd name="connsiteX8" fmla="*/ 312335 w 544284"/>
                    <a:gd name="connsiteY8" fmla="*/ 145106 h 500804"/>
                    <a:gd name="connsiteX9" fmla="*/ 353610 w 544284"/>
                    <a:gd name="connsiteY9" fmla="*/ 151456 h 500804"/>
                    <a:gd name="connsiteX10" fmla="*/ 445685 w 544284"/>
                    <a:gd name="connsiteY10" fmla="*/ 164156 h 500804"/>
                    <a:gd name="connsiteX11" fmla="*/ 486960 w 544284"/>
                    <a:gd name="connsiteY11" fmla="*/ 189556 h 500804"/>
                    <a:gd name="connsiteX12" fmla="*/ 509185 w 544284"/>
                    <a:gd name="connsiteY12" fmla="*/ 234006 h 500804"/>
                    <a:gd name="connsiteX13" fmla="*/ 506010 w 544284"/>
                    <a:gd name="connsiteY13" fmla="*/ 488006 h 500804"/>
                    <a:gd name="connsiteX14" fmla="*/ 4360 w 544284"/>
                    <a:gd name="connsiteY14" fmla="*/ 449906 h 500804"/>
                    <a:gd name="connsiteX0" fmla="*/ 4360 w 519024"/>
                    <a:gd name="connsiteY0" fmla="*/ 449906 h 500804"/>
                    <a:gd name="connsiteX1" fmla="*/ 7535 w 519024"/>
                    <a:gd name="connsiteY1" fmla="*/ 214956 h 500804"/>
                    <a:gd name="connsiteX2" fmla="*/ 23410 w 519024"/>
                    <a:gd name="connsiteY2" fmla="*/ 176856 h 500804"/>
                    <a:gd name="connsiteX3" fmla="*/ 71035 w 519024"/>
                    <a:gd name="connsiteY3" fmla="*/ 160981 h 500804"/>
                    <a:gd name="connsiteX4" fmla="*/ 172635 w 519024"/>
                    <a:gd name="connsiteY4" fmla="*/ 154631 h 500804"/>
                    <a:gd name="connsiteX5" fmla="*/ 198035 w 519024"/>
                    <a:gd name="connsiteY5" fmla="*/ 151456 h 500804"/>
                    <a:gd name="connsiteX6" fmla="*/ 201210 w 519024"/>
                    <a:gd name="connsiteY6" fmla="*/ 18106 h 500804"/>
                    <a:gd name="connsiteX7" fmla="*/ 312335 w 519024"/>
                    <a:gd name="connsiteY7" fmla="*/ 14931 h 500804"/>
                    <a:gd name="connsiteX8" fmla="*/ 312335 w 519024"/>
                    <a:gd name="connsiteY8" fmla="*/ 145106 h 500804"/>
                    <a:gd name="connsiteX9" fmla="*/ 353610 w 519024"/>
                    <a:gd name="connsiteY9" fmla="*/ 151456 h 500804"/>
                    <a:gd name="connsiteX10" fmla="*/ 445685 w 519024"/>
                    <a:gd name="connsiteY10" fmla="*/ 164156 h 500804"/>
                    <a:gd name="connsiteX11" fmla="*/ 486960 w 519024"/>
                    <a:gd name="connsiteY11" fmla="*/ 189556 h 500804"/>
                    <a:gd name="connsiteX12" fmla="*/ 509185 w 519024"/>
                    <a:gd name="connsiteY12" fmla="*/ 234006 h 500804"/>
                    <a:gd name="connsiteX13" fmla="*/ 506010 w 519024"/>
                    <a:gd name="connsiteY13" fmla="*/ 488006 h 500804"/>
                    <a:gd name="connsiteX14" fmla="*/ 4360 w 519024"/>
                    <a:gd name="connsiteY14" fmla="*/ 449906 h 500804"/>
                    <a:gd name="connsiteX0" fmla="*/ 4360 w 519024"/>
                    <a:gd name="connsiteY0" fmla="*/ 449906 h 488006"/>
                    <a:gd name="connsiteX1" fmla="*/ 7535 w 519024"/>
                    <a:gd name="connsiteY1" fmla="*/ 214956 h 488006"/>
                    <a:gd name="connsiteX2" fmla="*/ 23410 w 519024"/>
                    <a:gd name="connsiteY2" fmla="*/ 176856 h 488006"/>
                    <a:gd name="connsiteX3" fmla="*/ 71035 w 519024"/>
                    <a:gd name="connsiteY3" fmla="*/ 160981 h 488006"/>
                    <a:gd name="connsiteX4" fmla="*/ 172635 w 519024"/>
                    <a:gd name="connsiteY4" fmla="*/ 154631 h 488006"/>
                    <a:gd name="connsiteX5" fmla="*/ 198035 w 519024"/>
                    <a:gd name="connsiteY5" fmla="*/ 151456 h 488006"/>
                    <a:gd name="connsiteX6" fmla="*/ 201210 w 519024"/>
                    <a:gd name="connsiteY6" fmla="*/ 18106 h 488006"/>
                    <a:gd name="connsiteX7" fmla="*/ 312335 w 519024"/>
                    <a:gd name="connsiteY7" fmla="*/ 14931 h 488006"/>
                    <a:gd name="connsiteX8" fmla="*/ 312335 w 519024"/>
                    <a:gd name="connsiteY8" fmla="*/ 145106 h 488006"/>
                    <a:gd name="connsiteX9" fmla="*/ 353610 w 519024"/>
                    <a:gd name="connsiteY9" fmla="*/ 151456 h 488006"/>
                    <a:gd name="connsiteX10" fmla="*/ 445685 w 519024"/>
                    <a:gd name="connsiteY10" fmla="*/ 164156 h 488006"/>
                    <a:gd name="connsiteX11" fmla="*/ 486960 w 519024"/>
                    <a:gd name="connsiteY11" fmla="*/ 189556 h 488006"/>
                    <a:gd name="connsiteX12" fmla="*/ 509185 w 519024"/>
                    <a:gd name="connsiteY12" fmla="*/ 234006 h 488006"/>
                    <a:gd name="connsiteX13" fmla="*/ 506010 w 519024"/>
                    <a:gd name="connsiteY13" fmla="*/ 488006 h 488006"/>
                    <a:gd name="connsiteX14" fmla="*/ 4360 w 519024"/>
                    <a:gd name="connsiteY14" fmla="*/ 449906 h 488006"/>
                    <a:gd name="connsiteX0" fmla="*/ 4360 w 523534"/>
                    <a:gd name="connsiteY0" fmla="*/ 449906 h 472131"/>
                    <a:gd name="connsiteX1" fmla="*/ 7535 w 523534"/>
                    <a:gd name="connsiteY1" fmla="*/ 214956 h 472131"/>
                    <a:gd name="connsiteX2" fmla="*/ 23410 w 523534"/>
                    <a:gd name="connsiteY2" fmla="*/ 176856 h 472131"/>
                    <a:gd name="connsiteX3" fmla="*/ 71035 w 523534"/>
                    <a:gd name="connsiteY3" fmla="*/ 160981 h 472131"/>
                    <a:gd name="connsiteX4" fmla="*/ 172635 w 523534"/>
                    <a:gd name="connsiteY4" fmla="*/ 154631 h 472131"/>
                    <a:gd name="connsiteX5" fmla="*/ 198035 w 523534"/>
                    <a:gd name="connsiteY5" fmla="*/ 151456 h 472131"/>
                    <a:gd name="connsiteX6" fmla="*/ 201210 w 523534"/>
                    <a:gd name="connsiteY6" fmla="*/ 18106 h 472131"/>
                    <a:gd name="connsiteX7" fmla="*/ 312335 w 523534"/>
                    <a:gd name="connsiteY7" fmla="*/ 14931 h 472131"/>
                    <a:gd name="connsiteX8" fmla="*/ 312335 w 523534"/>
                    <a:gd name="connsiteY8" fmla="*/ 145106 h 472131"/>
                    <a:gd name="connsiteX9" fmla="*/ 353610 w 523534"/>
                    <a:gd name="connsiteY9" fmla="*/ 151456 h 472131"/>
                    <a:gd name="connsiteX10" fmla="*/ 445685 w 523534"/>
                    <a:gd name="connsiteY10" fmla="*/ 164156 h 472131"/>
                    <a:gd name="connsiteX11" fmla="*/ 486960 w 523534"/>
                    <a:gd name="connsiteY11" fmla="*/ 189556 h 472131"/>
                    <a:gd name="connsiteX12" fmla="*/ 509185 w 523534"/>
                    <a:gd name="connsiteY12" fmla="*/ 234006 h 472131"/>
                    <a:gd name="connsiteX13" fmla="*/ 512360 w 523534"/>
                    <a:gd name="connsiteY13" fmla="*/ 472131 h 472131"/>
                    <a:gd name="connsiteX14" fmla="*/ 4360 w 523534"/>
                    <a:gd name="connsiteY14" fmla="*/ 449906 h 472131"/>
                    <a:gd name="connsiteX0" fmla="*/ 4360 w 513675"/>
                    <a:gd name="connsiteY0" fmla="*/ 449906 h 472131"/>
                    <a:gd name="connsiteX1" fmla="*/ 7535 w 513675"/>
                    <a:gd name="connsiteY1" fmla="*/ 214956 h 472131"/>
                    <a:gd name="connsiteX2" fmla="*/ 23410 w 513675"/>
                    <a:gd name="connsiteY2" fmla="*/ 176856 h 472131"/>
                    <a:gd name="connsiteX3" fmla="*/ 71035 w 513675"/>
                    <a:gd name="connsiteY3" fmla="*/ 160981 h 472131"/>
                    <a:gd name="connsiteX4" fmla="*/ 172635 w 513675"/>
                    <a:gd name="connsiteY4" fmla="*/ 154631 h 472131"/>
                    <a:gd name="connsiteX5" fmla="*/ 198035 w 513675"/>
                    <a:gd name="connsiteY5" fmla="*/ 151456 h 472131"/>
                    <a:gd name="connsiteX6" fmla="*/ 201210 w 513675"/>
                    <a:gd name="connsiteY6" fmla="*/ 18106 h 472131"/>
                    <a:gd name="connsiteX7" fmla="*/ 312335 w 513675"/>
                    <a:gd name="connsiteY7" fmla="*/ 14931 h 472131"/>
                    <a:gd name="connsiteX8" fmla="*/ 312335 w 513675"/>
                    <a:gd name="connsiteY8" fmla="*/ 145106 h 472131"/>
                    <a:gd name="connsiteX9" fmla="*/ 353610 w 513675"/>
                    <a:gd name="connsiteY9" fmla="*/ 151456 h 472131"/>
                    <a:gd name="connsiteX10" fmla="*/ 445685 w 513675"/>
                    <a:gd name="connsiteY10" fmla="*/ 164156 h 472131"/>
                    <a:gd name="connsiteX11" fmla="*/ 486960 w 513675"/>
                    <a:gd name="connsiteY11" fmla="*/ 189556 h 472131"/>
                    <a:gd name="connsiteX12" fmla="*/ 509185 w 513675"/>
                    <a:gd name="connsiteY12" fmla="*/ 234006 h 472131"/>
                    <a:gd name="connsiteX13" fmla="*/ 512360 w 513675"/>
                    <a:gd name="connsiteY13" fmla="*/ 472131 h 472131"/>
                    <a:gd name="connsiteX14" fmla="*/ 4360 w 513675"/>
                    <a:gd name="connsiteY14" fmla="*/ 449906 h 472131"/>
                    <a:gd name="connsiteX0" fmla="*/ 4360 w 513675"/>
                    <a:gd name="connsiteY0" fmla="*/ 446969 h 469194"/>
                    <a:gd name="connsiteX1" fmla="*/ 7535 w 513675"/>
                    <a:gd name="connsiteY1" fmla="*/ 212019 h 469194"/>
                    <a:gd name="connsiteX2" fmla="*/ 23410 w 513675"/>
                    <a:gd name="connsiteY2" fmla="*/ 173919 h 469194"/>
                    <a:gd name="connsiteX3" fmla="*/ 71035 w 513675"/>
                    <a:gd name="connsiteY3" fmla="*/ 158044 h 469194"/>
                    <a:gd name="connsiteX4" fmla="*/ 172635 w 513675"/>
                    <a:gd name="connsiteY4" fmla="*/ 151694 h 469194"/>
                    <a:gd name="connsiteX5" fmla="*/ 188510 w 513675"/>
                    <a:gd name="connsiteY5" fmla="*/ 94544 h 469194"/>
                    <a:gd name="connsiteX6" fmla="*/ 201210 w 513675"/>
                    <a:gd name="connsiteY6" fmla="*/ 15169 h 469194"/>
                    <a:gd name="connsiteX7" fmla="*/ 312335 w 513675"/>
                    <a:gd name="connsiteY7" fmla="*/ 11994 h 469194"/>
                    <a:gd name="connsiteX8" fmla="*/ 312335 w 513675"/>
                    <a:gd name="connsiteY8" fmla="*/ 142169 h 469194"/>
                    <a:gd name="connsiteX9" fmla="*/ 353610 w 513675"/>
                    <a:gd name="connsiteY9" fmla="*/ 148519 h 469194"/>
                    <a:gd name="connsiteX10" fmla="*/ 445685 w 513675"/>
                    <a:gd name="connsiteY10" fmla="*/ 161219 h 469194"/>
                    <a:gd name="connsiteX11" fmla="*/ 486960 w 513675"/>
                    <a:gd name="connsiteY11" fmla="*/ 186619 h 469194"/>
                    <a:gd name="connsiteX12" fmla="*/ 509185 w 513675"/>
                    <a:gd name="connsiteY12" fmla="*/ 231069 h 469194"/>
                    <a:gd name="connsiteX13" fmla="*/ 512360 w 513675"/>
                    <a:gd name="connsiteY13" fmla="*/ 469194 h 469194"/>
                    <a:gd name="connsiteX14" fmla="*/ 4360 w 513675"/>
                    <a:gd name="connsiteY14" fmla="*/ 446969 h 469194"/>
                    <a:gd name="connsiteX0" fmla="*/ 4360 w 513675"/>
                    <a:gd name="connsiteY0" fmla="*/ 443409 h 465634"/>
                    <a:gd name="connsiteX1" fmla="*/ 7535 w 513675"/>
                    <a:gd name="connsiteY1" fmla="*/ 208459 h 465634"/>
                    <a:gd name="connsiteX2" fmla="*/ 23410 w 513675"/>
                    <a:gd name="connsiteY2" fmla="*/ 170359 h 465634"/>
                    <a:gd name="connsiteX3" fmla="*/ 71035 w 513675"/>
                    <a:gd name="connsiteY3" fmla="*/ 154484 h 465634"/>
                    <a:gd name="connsiteX4" fmla="*/ 172635 w 513675"/>
                    <a:gd name="connsiteY4" fmla="*/ 148134 h 465634"/>
                    <a:gd name="connsiteX5" fmla="*/ 188510 w 513675"/>
                    <a:gd name="connsiteY5" fmla="*/ 90984 h 465634"/>
                    <a:gd name="connsiteX6" fmla="*/ 201210 w 513675"/>
                    <a:gd name="connsiteY6" fmla="*/ 11609 h 465634"/>
                    <a:gd name="connsiteX7" fmla="*/ 312335 w 513675"/>
                    <a:gd name="connsiteY7" fmla="*/ 8434 h 465634"/>
                    <a:gd name="connsiteX8" fmla="*/ 312335 w 513675"/>
                    <a:gd name="connsiteY8" fmla="*/ 87809 h 465634"/>
                    <a:gd name="connsiteX9" fmla="*/ 353610 w 513675"/>
                    <a:gd name="connsiteY9" fmla="*/ 144959 h 465634"/>
                    <a:gd name="connsiteX10" fmla="*/ 445685 w 513675"/>
                    <a:gd name="connsiteY10" fmla="*/ 157659 h 465634"/>
                    <a:gd name="connsiteX11" fmla="*/ 486960 w 513675"/>
                    <a:gd name="connsiteY11" fmla="*/ 183059 h 465634"/>
                    <a:gd name="connsiteX12" fmla="*/ 509185 w 513675"/>
                    <a:gd name="connsiteY12" fmla="*/ 227509 h 465634"/>
                    <a:gd name="connsiteX13" fmla="*/ 512360 w 513675"/>
                    <a:gd name="connsiteY13" fmla="*/ 465634 h 465634"/>
                    <a:gd name="connsiteX14" fmla="*/ 4360 w 513675"/>
                    <a:gd name="connsiteY14" fmla="*/ 443409 h 465634"/>
                    <a:gd name="connsiteX0" fmla="*/ 4360 w 513675"/>
                    <a:gd name="connsiteY0" fmla="*/ 443409 h 465634"/>
                    <a:gd name="connsiteX1" fmla="*/ 7535 w 513675"/>
                    <a:gd name="connsiteY1" fmla="*/ 208459 h 465634"/>
                    <a:gd name="connsiteX2" fmla="*/ 23410 w 513675"/>
                    <a:gd name="connsiteY2" fmla="*/ 170359 h 465634"/>
                    <a:gd name="connsiteX3" fmla="*/ 71035 w 513675"/>
                    <a:gd name="connsiteY3" fmla="*/ 154484 h 465634"/>
                    <a:gd name="connsiteX4" fmla="*/ 172635 w 513675"/>
                    <a:gd name="connsiteY4" fmla="*/ 148134 h 465634"/>
                    <a:gd name="connsiteX5" fmla="*/ 188510 w 513675"/>
                    <a:gd name="connsiteY5" fmla="*/ 90984 h 465634"/>
                    <a:gd name="connsiteX6" fmla="*/ 201210 w 513675"/>
                    <a:gd name="connsiteY6" fmla="*/ 11609 h 465634"/>
                    <a:gd name="connsiteX7" fmla="*/ 312335 w 513675"/>
                    <a:gd name="connsiteY7" fmla="*/ 8434 h 465634"/>
                    <a:gd name="connsiteX8" fmla="*/ 312335 w 513675"/>
                    <a:gd name="connsiteY8" fmla="*/ 87809 h 465634"/>
                    <a:gd name="connsiteX9" fmla="*/ 334560 w 513675"/>
                    <a:gd name="connsiteY9" fmla="*/ 135434 h 465634"/>
                    <a:gd name="connsiteX10" fmla="*/ 445685 w 513675"/>
                    <a:gd name="connsiteY10" fmla="*/ 157659 h 465634"/>
                    <a:gd name="connsiteX11" fmla="*/ 486960 w 513675"/>
                    <a:gd name="connsiteY11" fmla="*/ 183059 h 465634"/>
                    <a:gd name="connsiteX12" fmla="*/ 509185 w 513675"/>
                    <a:gd name="connsiteY12" fmla="*/ 227509 h 465634"/>
                    <a:gd name="connsiteX13" fmla="*/ 512360 w 513675"/>
                    <a:gd name="connsiteY13" fmla="*/ 465634 h 465634"/>
                    <a:gd name="connsiteX14" fmla="*/ 4360 w 513675"/>
                    <a:gd name="connsiteY14" fmla="*/ 443409 h 465634"/>
                    <a:gd name="connsiteX0" fmla="*/ 4360 w 510500"/>
                    <a:gd name="connsiteY0" fmla="*/ 443409 h 449759"/>
                    <a:gd name="connsiteX1" fmla="*/ 7535 w 510500"/>
                    <a:gd name="connsiteY1" fmla="*/ 208459 h 449759"/>
                    <a:gd name="connsiteX2" fmla="*/ 23410 w 510500"/>
                    <a:gd name="connsiteY2" fmla="*/ 170359 h 449759"/>
                    <a:gd name="connsiteX3" fmla="*/ 71035 w 510500"/>
                    <a:gd name="connsiteY3" fmla="*/ 154484 h 449759"/>
                    <a:gd name="connsiteX4" fmla="*/ 172635 w 510500"/>
                    <a:gd name="connsiteY4" fmla="*/ 148134 h 449759"/>
                    <a:gd name="connsiteX5" fmla="*/ 188510 w 510500"/>
                    <a:gd name="connsiteY5" fmla="*/ 90984 h 449759"/>
                    <a:gd name="connsiteX6" fmla="*/ 201210 w 510500"/>
                    <a:gd name="connsiteY6" fmla="*/ 11609 h 449759"/>
                    <a:gd name="connsiteX7" fmla="*/ 312335 w 510500"/>
                    <a:gd name="connsiteY7" fmla="*/ 8434 h 449759"/>
                    <a:gd name="connsiteX8" fmla="*/ 312335 w 510500"/>
                    <a:gd name="connsiteY8" fmla="*/ 87809 h 449759"/>
                    <a:gd name="connsiteX9" fmla="*/ 334560 w 510500"/>
                    <a:gd name="connsiteY9" fmla="*/ 135434 h 449759"/>
                    <a:gd name="connsiteX10" fmla="*/ 445685 w 510500"/>
                    <a:gd name="connsiteY10" fmla="*/ 157659 h 449759"/>
                    <a:gd name="connsiteX11" fmla="*/ 486960 w 510500"/>
                    <a:gd name="connsiteY11" fmla="*/ 183059 h 449759"/>
                    <a:gd name="connsiteX12" fmla="*/ 509185 w 510500"/>
                    <a:gd name="connsiteY12" fmla="*/ 227509 h 449759"/>
                    <a:gd name="connsiteX13" fmla="*/ 506010 w 510500"/>
                    <a:gd name="connsiteY13" fmla="*/ 449759 h 449759"/>
                    <a:gd name="connsiteX14" fmla="*/ 4360 w 510500"/>
                    <a:gd name="connsiteY14" fmla="*/ 443409 h 449759"/>
                    <a:gd name="connsiteX0" fmla="*/ 4360 w 510500"/>
                    <a:gd name="connsiteY0" fmla="*/ 443409 h 454926"/>
                    <a:gd name="connsiteX1" fmla="*/ 7535 w 510500"/>
                    <a:gd name="connsiteY1" fmla="*/ 208459 h 454926"/>
                    <a:gd name="connsiteX2" fmla="*/ 23410 w 510500"/>
                    <a:gd name="connsiteY2" fmla="*/ 170359 h 454926"/>
                    <a:gd name="connsiteX3" fmla="*/ 71035 w 510500"/>
                    <a:gd name="connsiteY3" fmla="*/ 154484 h 454926"/>
                    <a:gd name="connsiteX4" fmla="*/ 172635 w 510500"/>
                    <a:gd name="connsiteY4" fmla="*/ 148134 h 454926"/>
                    <a:gd name="connsiteX5" fmla="*/ 188510 w 510500"/>
                    <a:gd name="connsiteY5" fmla="*/ 90984 h 454926"/>
                    <a:gd name="connsiteX6" fmla="*/ 201210 w 510500"/>
                    <a:gd name="connsiteY6" fmla="*/ 11609 h 454926"/>
                    <a:gd name="connsiteX7" fmla="*/ 312335 w 510500"/>
                    <a:gd name="connsiteY7" fmla="*/ 8434 h 454926"/>
                    <a:gd name="connsiteX8" fmla="*/ 312335 w 510500"/>
                    <a:gd name="connsiteY8" fmla="*/ 87809 h 454926"/>
                    <a:gd name="connsiteX9" fmla="*/ 334560 w 510500"/>
                    <a:gd name="connsiteY9" fmla="*/ 135434 h 454926"/>
                    <a:gd name="connsiteX10" fmla="*/ 445685 w 510500"/>
                    <a:gd name="connsiteY10" fmla="*/ 157659 h 454926"/>
                    <a:gd name="connsiteX11" fmla="*/ 486960 w 510500"/>
                    <a:gd name="connsiteY11" fmla="*/ 183059 h 454926"/>
                    <a:gd name="connsiteX12" fmla="*/ 509185 w 510500"/>
                    <a:gd name="connsiteY12" fmla="*/ 227509 h 454926"/>
                    <a:gd name="connsiteX13" fmla="*/ 506010 w 510500"/>
                    <a:gd name="connsiteY13" fmla="*/ 449759 h 454926"/>
                    <a:gd name="connsiteX14" fmla="*/ 4360 w 510500"/>
                    <a:gd name="connsiteY14" fmla="*/ 443409 h 454926"/>
                    <a:gd name="connsiteX0" fmla="*/ 6473 w 512613"/>
                    <a:gd name="connsiteY0" fmla="*/ 443409 h 454926"/>
                    <a:gd name="connsiteX1" fmla="*/ 9648 w 512613"/>
                    <a:gd name="connsiteY1" fmla="*/ 208459 h 454926"/>
                    <a:gd name="connsiteX2" fmla="*/ 73148 w 512613"/>
                    <a:gd name="connsiteY2" fmla="*/ 154484 h 454926"/>
                    <a:gd name="connsiteX3" fmla="*/ 174748 w 512613"/>
                    <a:gd name="connsiteY3" fmla="*/ 148134 h 454926"/>
                    <a:gd name="connsiteX4" fmla="*/ 190623 w 512613"/>
                    <a:gd name="connsiteY4" fmla="*/ 90984 h 454926"/>
                    <a:gd name="connsiteX5" fmla="*/ 203323 w 512613"/>
                    <a:gd name="connsiteY5" fmla="*/ 11609 h 454926"/>
                    <a:gd name="connsiteX6" fmla="*/ 314448 w 512613"/>
                    <a:gd name="connsiteY6" fmla="*/ 8434 h 454926"/>
                    <a:gd name="connsiteX7" fmla="*/ 314448 w 512613"/>
                    <a:gd name="connsiteY7" fmla="*/ 87809 h 454926"/>
                    <a:gd name="connsiteX8" fmla="*/ 336673 w 512613"/>
                    <a:gd name="connsiteY8" fmla="*/ 135434 h 454926"/>
                    <a:gd name="connsiteX9" fmla="*/ 447798 w 512613"/>
                    <a:gd name="connsiteY9" fmla="*/ 157659 h 454926"/>
                    <a:gd name="connsiteX10" fmla="*/ 489073 w 512613"/>
                    <a:gd name="connsiteY10" fmla="*/ 183059 h 454926"/>
                    <a:gd name="connsiteX11" fmla="*/ 511298 w 512613"/>
                    <a:gd name="connsiteY11" fmla="*/ 227509 h 454926"/>
                    <a:gd name="connsiteX12" fmla="*/ 508123 w 512613"/>
                    <a:gd name="connsiteY12" fmla="*/ 449759 h 454926"/>
                    <a:gd name="connsiteX13" fmla="*/ 6473 w 512613"/>
                    <a:gd name="connsiteY13" fmla="*/ 443409 h 454926"/>
                    <a:gd name="connsiteX0" fmla="*/ 4049 w 510189"/>
                    <a:gd name="connsiteY0" fmla="*/ 443409 h 454926"/>
                    <a:gd name="connsiteX1" fmla="*/ 7224 w 510189"/>
                    <a:gd name="connsiteY1" fmla="*/ 208459 h 454926"/>
                    <a:gd name="connsiteX2" fmla="*/ 70724 w 510189"/>
                    <a:gd name="connsiteY2" fmla="*/ 154484 h 454926"/>
                    <a:gd name="connsiteX3" fmla="*/ 172324 w 510189"/>
                    <a:gd name="connsiteY3" fmla="*/ 148134 h 454926"/>
                    <a:gd name="connsiteX4" fmla="*/ 188199 w 510189"/>
                    <a:gd name="connsiteY4" fmla="*/ 90984 h 454926"/>
                    <a:gd name="connsiteX5" fmla="*/ 200899 w 510189"/>
                    <a:gd name="connsiteY5" fmla="*/ 11609 h 454926"/>
                    <a:gd name="connsiteX6" fmla="*/ 312024 w 510189"/>
                    <a:gd name="connsiteY6" fmla="*/ 8434 h 454926"/>
                    <a:gd name="connsiteX7" fmla="*/ 312024 w 510189"/>
                    <a:gd name="connsiteY7" fmla="*/ 87809 h 454926"/>
                    <a:gd name="connsiteX8" fmla="*/ 334249 w 510189"/>
                    <a:gd name="connsiteY8" fmla="*/ 135434 h 454926"/>
                    <a:gd name="connsiteX9" fmla="*/ 445374 w 510189"/>
                    <a:gd name="connsiteY9" fmla="*/ 157659 h 454926"/>
                    <a:gd name="connsiteX10" fmla="*/ 486649 w 510189"/>
                    <a:gd name="connsiteY10" fmla="*/ 183059 h 454926"/>
                    <a:gd name="connsiteX11" fmla="*/ 508874 w 510189"/>
                    <a:gd name="connsiteY11" fmla="*/ 227509 h 454926"/>
                    <a:gd name="connsiteX12" fmla="*/ 505699 w 510189"/>
                    <a:gd name="connsiteY12" fmla="*/ 449759 h 454926"/>
                    <a:gd name="connsiteX13" fmla="*/ 4049 w 510189"/>
                    <a:gd name="connsiteY13" fmla="*/ 443409 h 454926"/>
                    <a:gd name="connsiteX0" fmla="*/ 4049 w 510189"/>
                    <a:gd name="connsiteY0" fmla="*/ 443409 h 454926"/>
                    <a:gd name="connsiteX1" fmla="*/ 7224 w 510189"/>
                    <a:gd name="connsiteY1" fmla="*/ 208459 h 454926"/>
                    <a:gd name="connsiteX2" fmla="*/ 70724 w 510189"/>
                    <a:gd name="connsiteY2" fmla="*/ 154484 h 454926"/>
                    <a:gd name="connsiteX3" fmla="*/ 172324 w 510189"/>
                    <a:gd name="connsiteY3" fmla="*/ 148134 h 454926"/>
                    <a:gd name="connsiteX4" fmla="*/ 188199 w 510189"/>
                    <a:gd name="connsiteY4" fmla="*/ 90984 h 454926"/>
                    <a:gd name="connsiteX5" fmla="*/ 200899 w 510189"/>
                    <a:gd name="connsiteY5" fmla="*/ 11609 h 454926"/>
                    <a:gd name="connsiteX6" fmla="*/ 312024 w 510189"/>
                    <a:gd name="connsiteY6" fmla="*/ 8434 h 454926"/>
                    <a:gd name="connsiteX7" fmla="*/ 312024 w 510189"/>
                    <a:gd name="connsiteY7" fmla="*/ 87809 h 454926"/>
                    <a:gd name="connsiteX8" fmla="*/ 334249 w 510189"/>
                    <a:gd name="connsiteY8" fmla="*/ 135434 h 454926"/>
                    <a:gd name="connsiteX9" fmla="*/ 445374 w 510189"/>
                    <a:gd name="connsiteY9" fmla="*/ 157659 h 454926"/>
                    <a:gd name="connsiteX10" fmla="*/ 508874 w 510189"/>
                    <a:gd name="connsiteY10" fmla="*/ 227509 h 454926"/>
                    <a:gd name="connsiteX11" fmla="*/ 505699 w 510189"/>
                    <a:gd name="connsiteY11" fmla="*/ 449759 h 454926"/>
                    <a:gd name="connsiteX12" fmla="*/ 4049 w 510189"/>
                    <a:gd name="connsiteY12" fmla="*/ 443409 h 454926"/>
                    <a:gd name="connsiteX0" fmla="*/ 4049 w 510189"/>
                    <a:gd name="connsiteY0" fmla="*/ 443409 h 454926"/>
                    <a:gd name="connsiteX1" fmla="*/ 7224 w 510189"/>
                    <a:gd name="connsiteY1" fmla="*/ 208459 h 454926"/>
                    <a:gd name="connsiteX2" fmla="*/ 70724 w 510189"/>
                    <a:gd name="connsiteY2" fmla="*/ 154484 h 454926"/>
                    <a:gd name="connsiteX3" fmla="*/ 172324 w 510189"/>
                    <a:gd name="connsiteY3" fmla="*/ 148134 h 454926"/>
                    <a:gd name="connsiteX4" fmla="*/ 188199 w 510189"/>
                    <a:gd name="connsiteY4" fmla="*/ 90984 h 454926"/>
                    <a:gd name="connsiteX5" fmla="*/ 200899 w 510189"/>
                    <a:gd name="connsiteY5" fmla="*/ 11609 h 454926"/>
                    <a:gd name="connsiteX6" fmla="*/ 312024 w 510189"/>
                    <a:gd name="connsiteY6" fmla="*/ 8434 h 454926"/>
                    <a:gd name="connsiteX7" fmla="*/ 312024 w 510189"/>
                    <a:gd name="connsiteY7" fmla="*/ 87809 h 454926"/>
                    <a:gd name="connsiteX8" fmla="*/ 334249 w 510189"/>
                    <a:gd name="connsiteY8" fmla="*/ 135434 h 454926"/>
                    <a:gd name="connsiteX9" fmla="*/ 445374 w 510189"/>
                    <a:gd name="connsiteY9" fmla="*/ 157659 h 454926"/>
                    <a:gd name="connsiteX10" fmla="*/ 508874 w 510189"/>
                    <a:gd name="connsiteY10" fmla="*/ 227509 h 454926"/>
                    <a:gd name="connsiteX11" fmla="*/ 505699 w 510189"/>
                    <a:gd name="connsiteY11" fmla="*/ 449759 h 454926"/>
                    <a:gd name="connsiteX12" fmla="*/ 4049 w 510189"/>
                    <a:gd name="connsiteY12" fmla="*/ 443409 h 454926"/>
                    <a:gd name="connsiteX0" fmla="*/ 5987 w 512127"/>
                    <a:gd name="connsiteY0" fmla="*/ 443409 h 454926"/>
                    <a:gd name="connsiteX1" fmla="*/ 2812 w 512127"/>
                    <a:gd name="connsiteY1" fmla="*/ 217984 h 454926"/>
                    <a:gd name="connsiteX2" fmla="*/ 72662 w 512127"/>
                    <a:gd name="connsiteY2" fmla="*/ 154484 h 454926"/>
                    <a:gd name="connsiteX3" fmla="*/ 174262 w 512127"/>
                    <a:gd name="connsiteY3" fmla="*/ 148134 h 454926"/>
                    <a:gd name="connsiteX4" fmla="*/ 190137 w 512127"/>
                    <a:gd name="connsiteY4" fmla="*/ 90984 h 454926"/>
                    <a:gd name="connsiteX5" fmla="*/ 202837 w 512127"/>
                    <a:gd name="connsiteY5" fmla="*/ 11609 h 454926"/>
                    <a:gd name="connsiteX6" fmla="*/ 313962 w 512127"/>
                    <a:gd name="connsiteY6" fmla="*/ 8434 h 454926"/>
                    <a:gd name="connsiteX7" fmla="*/ 313962 w 512127"/>
                    <a:gd name="connsiteY7" fmla="*/ 87809 h 454926"/>
                    <a:gd name="connsiteX8" fmla="*/ 336187 w 512127"/>
                    <a:gd name="connsiteY8" fmla="*/ 135434 h 454926"/>
                    <a:gd name="connsiteX9" fmla="*/ 447312 w 512127"/>
                    <a:gd name="connsiteY9" fmla="*/ 157659 h 454926"/>
                    <a:gd name="connsiteX10" fmla="*/ 510812 w 512127"/>
                    <a:gd name="connsiteY10" fmla="*/ 227509 h 454926"/>
                    <a:gd name="connsiteX11" fmla="*/ 507637 w 512127"/>
                    <a:gd name="connsiteY11" fmla="*/ 449759 h 454926"/>
                    <a:gd name="connsiteX12" fmla="*/ 5987 w 512127"/>
                    <a:gd name="connsiteY12" fmla="*/ 443409 h 454926"/>
                    <a:gd name="connsiteX0" fmla="*/ 9762 w 515902"/>
                    <a:gd name="connsiteY0" fmla="*/ 443409 h 454926"/>
                    <a:gd name="connsiteX1" fmla="*/ 6587 w 515902"/>
                    <a:gd name="connsiteY1" fmla="*/ 217984 h 454926"/>
                    <a:gd name="connsiteX2" fmla="*/ 76437 w 515902"/>
                    <a:gd name="connsiteY2" fmla="*/ 154484 h 454926"/>
                    <a:gd name="connsiteX3" fmla="*/ 178037 w 515902"/>
                    <a:gd name="connsiteY3" fmla="*/ 148134 h 454926"/>
                    <a:gd name="connsiteX4" fmla="*/ 193912 w 515902"/>
                    <a:gd name="connsiteY4" fmla="*/ 90984 h 454926"/>
                    <a:gd name="connsiteX5" fmla="*/ 206612 w 515902"/>
                    <a:gd name="connsiteY5" fmla="*/ 11609 h 454926"/>
                    <a:gd name="connsiteX6" fmla="*/ 317737 w 515902"/>
                    <a:gd name="connsiteY6" fmla="*/ 8434 h 454926"/>
                    <a:gd name="connsiteX7" fmla="*/ 317737 w 515902"/>
                    <a:gd name="connsiteY7" fmla="*/ 87809 h 454926"/>
                    <a:gd name="connsiteX8" fmla="*/ 339962 w 515902"/>
                    <a:gd name="connsiteY8" fmla="*/ 135434 h 454926"/>
                    <a:gd name="connsiteX9" fmla="*/ 451087 w 515902"/>
                    <a:gd name="connsiteY9" fmla="*/ 157659 h 454926"/>
                    <a:gd name="connsiteX10" fmla="*/ 514587 w 515902"/>
                    <a:gd name="connsiteY10" fmla="*/ 227509 h 454926"/>
                    <a:gd name="connsiteX11" fmla="*/ 511412 w 515902"/>
                    <a:gd name="connsiteY11" fmla="*/ 449759 h 454926"/>
                    <a:gd name="connsiteX12" fmla="*/ 9762 w 515902"/>
                    <a:gd name="connsiteY12" fmla="*/ 443409 h 454926"/>
                    <a:gd name="connsiteX0" fmla="*/ 9762 w 515902"/>
                    <a:gd name="connsiteY0" fmla="*/ 443409 h 454926"/>
                    <a:gd name="connsiteX1" fmla="*/ 6587 w 515902"/>
                    <a:gd name="connsiteY1" fmla="*/ 217984 h 454926"/>
                    <a:gd name="connsiteX2" fmla="*/ 76437 w 515902"/>
                    <a:gd name="connsiteY2" fmla="*/ 154484 h 454926"/>
                    <a:gd name="connsiteX3" fmla="*/ 178037 w 515902"/>
                    <a:gd name="connsiteY3" fmla="*/ 148134 h 454926"/>
                    <a:gd name="connsiteX4" fmla="*/ 193912 w 515902"/>
                    <a:gd name="connsiteY4" fmla="*/ 90984 h 454926"/>
                    <a:gd name="connsiteX5" fmla="*/ 206612 w 515902"/>
                    <a:gd name="connsiteY5" fmla="*/ 11609 h 454926"/>
                    <a:gd name="connsiteX6" fmla="*/ 317737 w 515902"/>
                    <a:gd name="connsiteY6" fmla="*/ 8434 h 454926"/>
                    <a:gd name="connsiteX7" fmla="*/ 317737 w 515902"/>
                    <a:gd name="connsiteY7" fmla="*/ 87809 h 454926"/>
                    <a:gd name="connsiteX8" fmla="*/ 339962 w 515902"/>
                    <a:gd name="connsiteY8" fmla="*/ 135434 h 454926"/>
                    <a:gd name="connsiteX9" fmla="*/ 451087 w 515902"/>
                    <a:gd name="connsiteY9" fmla="*/ 157659 h 454926"/>
                    <a:gd name="connsiteX10" fmla="*/ 514587 w 515902"/>
                    <a:gd name="connsiteY10" fmla="*/ 227509 h 454926"/>
                    <a:gd name="connsiteX11" fmla="*/ 511412 w 515902"/>
                    <a:gd name="connsiteY11" fmla="*/ 449759 h 454926"/>
                    <a:gd name="connsiteX12" fmla="*/ 9762 w 515902"/>
                    <a:gd name="connsiteY12" fmla="*/ 443409 h 454926"/>
                    <a:gd name="connsiteX0" fmla="*/ 9762 w 515902"/>
                    <a:gd name="connsiteY0" fmla="*/ 443409 h 454926"/>
                    <a:gd name="connsiteX1" fmla="*/ 6587 w 515902"/>
                    <a:gd name="connsiteY1" fmla="*/ 217984 h 454926"/>
                    <a:gd name="connsiteX2" fmla="*/ 76437 w 515902"/>
                    <a:gd name="connsiteY2" fmla="*/ 154484 h 454926"/>
                    <a:gd name="connsiteX3" fmla="*/ 193912 w 515902"/>
                    <a:gd name="connsiteY3" fmla="*/ 90984 h 454926"/>
                    <a:gd name="connsiteX4" fmla="*/ 206612 w 515902"/>
                    <a:gd name="connsiteY4" fmla="*/ 11609 h 454926"/>
                    <a:gd name="connsiteX5" fmla="*/ 317737 w 515902"/>
                    <a:gd name="connsiteY5" fmla="*/ 8434 h 454926"/>
                    <a:gd name="connsiteX6" fmla="*/ 317737 w 515902"/>
                    <a:gd name="connsiteY6" fmla="*/ 87809 h 454926"/>
                    <a:gd name="connsiteX7" fmla="*/ 339962 w 515902"/>
                    <a:gd name="connsiteY7" fmla="*/ 135434 h 454926"/>
                    <a:gd name="connsiteX8" fmla="*/ 451087 w 515902"/>
                    <a:gd name="connsiteY8" fmla="*/ 157659 h 454926"/>
                    <a:gd name="connsiteX9" fmla="*/ 514587 w 515902"/>
                    <a:gd name="connsiteY9" fmla="*/ 227509 h 454926"/>
                    <a:gd name="connsiteX10" fmla="*/ 511412 w 515902"/>
                    <a:gd name="connsiteY10" fmla="*/ 449759 h 454926"/>
                    <a:gd name="connsiteX11" fmla="*/ 9762 w 515902"/>
                    <a:gd name="connsiteY11" fmla="*/ 443409 h 454926"/>
                    <a:gd name="connsiteX0" fmla="*/ 9762 w 515902"/>
                    <a:gd name="connsiteY0" fmla="*/ 446099 h 457616"/>
                    <a:gd name="connsiteX1" fmla="*/ 6587 w 515902"/>
                    <a:gd name="connsiteY1" fmla="*/ 220674 h 457616"/>
                    <a:gd name="connsiteX2" fmla="*/ 76437 w 515902"/>
                    <a:gd name="connsiteY2" fmla="*/ 157174 h 457616"/>
                    <a:gd name="connsiteX3" fmla="*/ 190737 w 515902"/>
                    <a:gd name="connsiteY3" fmla="*/ 138124 h 457616"/>
                    <a:gd name="connsiteX4" fmla="*/ 206612 w 515902"/>
                    <a:gd name="connsiteY4" fmla="*/ 14299 h 457616"/>
                    <a:gd name="connsiteX5" fmla="*/ 317737 w 515902"/>
                    <a:gd name="connsiteY5" fmla="*/ 11124 h 457616"/>
                    <a:gd name="connsiteX6" fmla="*/ 317737 w 515902"/>
                    <a:gd name="connsiteY6" fmla="*/ 90499 h 457616"/>
                    <a:gd name="connsiteX7" fmla="*/ 339962 w 515902"/>
                    <a:gd name="connsiteY7" fmla="*/ 138124 h 457616"/>
                    <a:gd name="connsiteX8" fmla="*/ 451087 w 515902"/>
                    <a:gd name="connsiteY8" fmla="*/ 160349 h 457616"/>
                    <a:gd name="connsiteX9" fmla="*/ 514587 w 515902"/>
                    <a:gd name="connsiteY9" fmla="*/ 230199 h 457616"/>
                    <a:gd name="connsiteX10" fmla="*/ 511412 w 515902"/>
                    <a:gd name="connsiteY10" fmla="*/ 452449 h 457616"/>
                    <a:gd name="connsiteX11" fmla="*/ 9762 w 515902"/>
                    <a:gd name="connsiteY11" fmla="*/ 446099 h 457616"/>
                    <a:gd name="connsiteX0" fmla="*/ 9762 w 515902"/>
                    <a:gd name="connsiteY0" fmla="*/ 446099 h 457616"/>
                    <a:gd name="connsiteX1" fmla="*/ 6587 w 515902"/>
                    <a:gd name="connsiteY1" fmla="*/ 220674 h 457616"/>
                    <a:gd name="connsiteX2" fmla="*/ 76437 w 515902"/>
                    <a:gd name="connsiteY2" fmla="*/ 157174 h 457616"/>
                    <a:gd name="connsiteX3" fmla="*/ 190737 w 515902"/>
                    <a:gd name="connsiteY3" fmla="*/ 138124 h 457616"/>
                    <a:gd name="connsiteX4" fmla="*/ 206612 w 515902"/>
                    <a:gd name="connsiteY4" fmla="*/ 14299 h 457616"/>
                    <a:gd name="connsiteX5" fmla="*/ 317737 w 515902"/>
                    <a:gd name="connsiteY5" fmla="*/ 11124 h 457616"/>
                    <a:gd name="connsiteX6" fmla="*/ 317737 w 515902"/>
                    <a:gd name="connsiteY6" fmla="*/ 90499 h 457616"/>
                    <a:gd name="connsiteX7" fmla="*/ 451087 w 515902"/>
                    <a:gd name="connsiteY7" fmla="*/ 160349 h 457616"/>
                    <a:gd name="connsiteX8" fmla="*/ 514587 w 515902"/>
                    <a:gd name="connsiteY8" fmla="*/ 230199 h 457616"/>
                    <a:gd name="connsiteX9" fmla="*/ 511412 w 515902"/>
                    <a:gd name="connsiteY9" fmla="*/ 452449 h 457616"/>
                    <a:gd name="connsiteX10" fmla="*/ 9762 w 515902"/>
                    <a:gd name="connsiteY10" fmla="*/ 446099 h 457616"/>
                    <a:gd name="connsiteX0" fmla="*/ 9762 w 515902"/>
                    <a:gd name="connsiteY0" fmla="*/ 447482 h 458999"/>
                    <a:gd name="connsiteX1" fmla="*/ 6587 w 515902"/>
                    <a:gd name="connsiteY1" fmla="*/ 222057 h 458999"/>
                    <a:gd name="connsiteX2" fmla="*/ 76437 w 515902"/>
                    <a:gd name="connsiteY2" fmla="*/ 158557 h 458999"/>
                    <a:gd name="connsiteX3" fmla="*/ 190737 w 515902"/>
                    <a:gd name="connsiteY3" fmla="*/ 139507 h 458999"/>
                    <a:gd name="connsiteX4" fmla="*/ 206612 w 515902"/>
                    <a:gd name="connsiteY4" fmla="*/ 15682 h 458999"/>
                    <a:gd name="connsiteX5" fmla="*/ 317737 w 515902"/>
                    <a:gd name="connsiteY5" fmla="*/ 12507 h 458999"/>
                    <a:gd name="connsiteX6" fmla="*/ 330437 w 515902"/>
                    <a:gd name="connsiteY6" fmla="*/ 114107 h 458999"/>
                    <a:gd name="connsiteX7" fmla="*/ 451087 w 515902"/>
                    <a:gd name="connsiteY7" fmla="*/ 161732 h 458999"/>
                    <a:gd name="connsiteX8" fmla="*/ 514587 w 515902"/>
                    <a:gd name="connsiteY8" fmla="*/ 231582 h 458999"/>
                    <a:gd name="connsiteX9" fmla="*/ 511412 w 515902"/>
                    <a:gd name="connsiteY9" fmla="*/ 453832 h 458999"/>
                    <a:gd name="connsiteX10" fmla="*/ 9762 w 515902"/>
                    <a:gd name="connsiteY10" fmla="*/ 447482 h 458999"/>
                    <a:gd name="connsiteX0" fmla="*/ 9762 w 515902"/>
                    <a:gd name="connsiteY0" fmla="*/ 446348 h 457865"/>
                    <a:gd name="connsiteX1" fmla="*/ 6587 w 515902"/>
                    <a:gd name="connsiteY1" fmla="*/ 220923 h 457865"/>
                    <a:gd name="connsiteX2" fmla="*/ 76437 w 515902"/>
                    <a:gd name="connsiteY2" fmla="*/ 157423 h 457865"/>
                    <a:gd name="connsiteX3" fmla="*/ 200262 w 515902"/>
                    <a:gd name="connsiteY3" fmla="*/ 119323 h 457865"/>
                    <a:gd name="connsiteX4" fmla="*/ 206612 w 515902"/>
                    <a:gd name="connsiteY4" fmla="*/ 14548 h 457865"/>
                    <a:gd name="connsiteX5" fmla="*/ 317737 w 515902"/>
                    <a:gd name="connsiteY5" fmla="*/ 11373 h 457865"/>
                    <a:gd name="connsiteX6" fmla="*/ 330437 w 515902"/>
                    <a:gd name="connsiteY6" fmla="*/ 112973 h 457865"/>
                    <a:gd name="connsiteX7" fmla="*/ 451087 w 515902"/>
                    <a:gd name="connsiteY7" fmla="*/ 160598 h 457865"/>
                    <a:gd name="connsiteX8" fmla="*/ 514587 w 515902"/>
                    <a:gd name="connsiteY8" fmla="*/ 230448 h 457865"/>
                    <a:gd name="connsiteX9" fmla="*/ 511412 w 515902"/>
                    <a:gd name="connsiteY9" fmla="*/ 452698 h 457865"/>
                    <a:gd name="connsiteX10" fmla="*/ 9762 w 515902"/>
                    <a:gd name="connsiteY10" fmla="*/ 446348 h 457865"/>
                    <a:gd name="connsiteX0" fmla="*/ 9762 w 515902"/>
                    <a:gd name="connsiteY0" fmla="*/ 446681 h 458198"/>
                    <a:gd name="connsiteX1" fmla="*/ 6587 w 515902"/>
                    <a:gd name="connsiteY1" fmla="*/ 221256 h 458198"/>
                    <a:gd name="connsiteX2" fmla="*/ 76437 w 515902"/>
                    <a:gd name="connsiteY2" fmla="*/ 157756 h 458198"/>
                    <a:gd name="connsiteX3" fmla="*/ 200262 w 515902"/>
                    <a:gd name="connsiteY3" fmla="*/ 119656 h 458198"/>
                    <a:gd name="connsiteX4" fmla="*/ 206612 w 515902"/>
                    <a:gd name="connsiteY4" fmla="*/ 14881 h 458198"/>
                    <a:gd name="connsiteX5" fmla="*/ 317737 w 515902"/>
                    <a:gd name="connsiteY5" fmla="*/ 11706 h 458198"/>
                    <a:gd name="connsiteX6" fmla="*/ 311502 w 515902"/>
                    <a:gd name="connsiteY6" fmla="*/ 118302 h 458198"/>
                    <a:gd name="connsiteX7" fmla="*/ 451087 w 515902"/>
                    <a:gd name="connsiteY7" fmla="*/ 160931 h 458198"/>
                    <a:gd name="connsiteX8" fmla="*/ 514587 w 515902"/>
                    <a:gd name="connsiteY8" fmla="*/ 230781 h 458198"/>
                    <a:gd name="connsiteX9" fmla="*/ 511412 w 515902"/>
                    <a:gd name="connsiteY9" fmla="*/ 453031 h 458198"/>
                    <a:gd name="connsiteX10" fmla="*/ 9762 w 515902"/>
                    <a:gd name="connsiteY10" fmla="*/ 446681 h 458198"/>
                    <a:gd name="connsiteX0" fmla="*/ 9762 w 515902"/>
                    <a:gd name="connsiteY0" fmla="*/ 446681 h 458198"/>
                    <a:gd name="connsiteX1" fmla="*/ 6587 w 515902"/>
                    <a:gd name="connsiteY1" fmla="*/ 221256 h 458198"/>
                    <a:gd name="connsiteX2" fmla="*/ 76437 w 515902"/>
                    <a:gd name="connsiteY2" fmla="*/ 157756 h 458198"/>
                    <a:gd name="connsiteX3" fmla="*/ 200262 w 515902"/>
                    <a:gd name="connsiteY3" fmla="*/ 119656 h 458198"/>
                    <a:gd name="connsiteX4" fmla="*/ 206612 w 515902"/>
                    <a:gd name="connsiteY4" fmla="*/ 14881 h 458198"/>
                    <a:gd name="connsiteX5" fmla="*/ 301506 w 515902"/>
                    <a:gd name="connsiteY5" fmla="*/ 11706 h 458198"/>
                    <a:gd name="connsiteX6" fmla="*/ 311502 w 515902"/>
                    <a:gd name="connsiteY6" fmla="*/ 118302 h 458198"/>
                    <a:gd name="connsiteX7" fmla="*/ 451087 w 515902"/>
                    <a:gd name="connsiteY7" fmla="*/ 160931 h 458198"/>
                    <a:gd name="connsiteX8" fmla="*/ 514587 w 515902"/>
                    <a:gd name="connsiteY8" fmla="*/ 230781 h 458198"/>
                    <a:gd name="connsiteX9" fmla="*/ 511412 w 515902"/>
                    <a:gd name="connsiteY9" fmla="*/ 453031 h 458198"/>
                    <a:gd name="connsiteX10" fmla="*/ 9762 w 515902"/>
                    <a:gd name="connsiteY10" fmla="*/ 446681 h 458198"/>
                    <a:gd name="connsiteX0" fmla="*/ 9762 w 515902"/>
                    <a:gd name="connsiteY0" fmla="*/ 446681 h 458198"/>
                    <a:gd name="connsiteX1" fmla="*/ 6587 w 515902"/>
                    <a:gd name="connsiteY1" fmla="*/ 221256 h 458198"/>
                    <a:gd name="connsiteX2" fmla="*/ 76437 w 515902"/>
                    <a:gd name="connsiteY2" fmla="*/ 157756 h 458198"/>
                    <a:gd name="connsiteX3" fmla="*/ 200262 w 515902"/>
                    <a:gd name="connsiteY3" fmla="*/ 119656 h 458198"/>
                    <a:gd name="connsiteX4" fmla="*/ 206612 w 515902"/>
                    <a:gd name="connsiteY4" fmla="*/ 14881 h 458198"/>
                    <a:gd name="connsiteX5" fmla="*/ 301506 w 515902"/>
                    <a:gd name="connsiteY5" fmla="*/ 11706 h 458198"/>
                    <a:gd name="connsiteX6" fmla="*/ 311502 w 515902"/>
                    <a:gd name="connsiteY6" fmla="*/ 118302 h 458198"/>
                    <a:gd name="connsiteX7" fmla="*/ 442972 w 515902"/>
                    <a:gd name="connsiteY7" fmla="*/ 180912 h 458198"/>
                    <a:gd name="connsiteX8" fmla="*/ 514587 w 515902"/>
                    <a:gd name="connsiteY8" fmla="*/ 230781 h 458198"/>
                    <a:gd name="connsiteX9" fmla="*/ 511412 w 515902"/>
                    <a:gd name="connsiteY9" fmla="*/ 453031 h 458198"/>
                    <a:gd name="connsiteX10" fmla="*/ 9762 w 515902"/>
                    <a:gd name="connsiteY10" fmla="*/ 446681 h 458198"/>
                    <a:gd name="connsiteX0" fmla="*/ 9762 w 511905"/>
                    <a:gd name="connsiteY0" fmla="*/ 446681 h 458198"/>
                    <a:gd name="connsiteX1" fmla="*/ 6587 w 511905"/>
                    <a:gd name="connsiteY1" fmla="*/ 221256 h 458198"/>
                    <a:gd name="connsiteX2" fmla="*/ 76437 w 511905"/>
                    <a:gd name="connsiteY2" fmla="*/ 157756 h 458198"/>
                    <a:gd name="connsiteX3" fmla="*/ 200262 w 511905"/>
                    <a:gd name="connsiteY3" fmla="*/ 119656 h 458198"/>
                    <a:gd name="connsiteX4" fmla="*/ 206612 w 511905"/>
                    <a:gd name="connsiteY4" fmla="*/ 14881 h 458198"/>
                    <a:gd name="connsiteX5" fmla="*/ 301506 w 511905"/>
                    <a:gd name="connsiteY5" fmla="*/ 11706 h 458198"/>
                    <a:gd name="connsiteX6" fmla="*/ 311502 w 511905"/>
                    <a:gd name="connsiteY6" fmla="*/ 118302 h 458198"/>
                    <a:gd name="connsiteX7" fmla="*/ 442972 w 511905"/>
                    <a:gd name="connsiteY7" fmla="*/ 180912 h 458198"/>
                    <a:gd name="connsiteX8" fmla="*/ 498357 w 511905"/>
                    <a:gd name="connsiteY8" fmla="*/ 250762 h 458198"/>
                    <a:gd name="connsiteX9" fmla="*/ 511412 w 511905"/>
                    <a:gd name="connsiteY9" fmla="*/ 453031 h 458198"/>
                    <a:gd name="connsiteX10" fmla="*/ 9762 w 511905"/>
                    <a:gd name="connsiteY10" fmla="*/ 446681 h 458198"/>
                    <a:gd name="connsiteX0" fmla="*/ 9762 w 511905"/>
                    <a:gd name="connsiteY0" fmla="*/ 446681 h 458198"/>
                    <a:gd name="connsiteX1" fmla="*/ 6587 w 511905"/>
                    <a:gd name="connsiteY1" fmla="*/ 221256 h 458198"/>
                    <a:gd name="connsiteX2" fmla="*/ 76437 w 511905"/>
                    <a:gd name="connsiteY2" fmla="*/ 157756 h 458198"/>
                    <a:gd name="connsiteX3" fmla="*/ 200262 w 511905"/>
                    <a:gd name="connsiteY3" fmla="*/ 119656 h 458198"/>
                    <a:gd name="connsiteX4" fmla="*/ 206612 w 511905"/>
                    <a:gd name="connsiteY4" fmla="*/ 14881 h 458198"/>
                    <a:gd name="connsiteX5" fmla="*/ 301506 w 511905"/>
                    <a:gd name="connsiteY5" fmla="*/ 11706 h 458198"/>
                    <a:gd name="connsiteX6" fmla="*/ 311502 w 511905"/>
                    <a:gd name="connsiteY6" fmla="*/ 118302 h 458198"/>
                    <a:gd name="connsiteX7" fmla="*/ 437562 w 511905"/>
                    <a:gd name="connsiteY7" fmla="*/ 198396 h 458198"/>
                    <a:gd name="connsiteX8" fmla="*/ 498357 w 511905"/>
                    <a:gd name="connsiteY8" fmla="*/ 250762 h 458198"/>
                    <a:gd name="connsiteX9" fmla="*/ 511412 w 511905"/>
                    <a:gd name="connsiteY9" fmla="*/ 453031 h 458198"/>
                    <a:gd name="connsiteX10" fmla="*/ 9762 w 511905"/>
                    <a:gd name="connsiteY10" fmla="*/ 446681 h 458198"/>
                    <a:gd name="connsiteX0" fmla="*/ 9762 w 511905"/>
                    <a:gd name="connsiteY0" fmla="*/ 446681 h 458198"/>
                    <a:gd name="connsiteX1" fmla="*/ 6587 w 511905"/>
                    <a:gd name="connsiteY1" fmla="*/ 221256 h 458198"/>
                    <a:gd name="connsiteX2" fmla="*/ 76437 w 511905"/>
                    <a:gd name="connsiteY2" fmla="*/ 157756 h 458198"/>
                    <a:gd name="connsiteX3" fmla="*/ 200262 w 511905"/>
                    <a:gd name="connsiteY3" fmla="*/ 119656 h 458198"/>
                    <a:gd name="connsiteX4" fmla="*/ 206612 w 511905"/>
                    <a:gd name="connsiteY4" fmla="*/ 14881 h 458198"/>
                    <a:gd name="connsiteX5" fmla="*/ 301506 w 511905"/>
                    <a:gd name="connsiteY5" fmla="*/ 11706 h 458198"/>
                    <a:gd name="connsiteX6" fmla="*/ 311502 w 511905"/>
                    <a:gd name="connsiteY6" fmla="*/ 118302 h 458198"/>
                    <a:gd name="connsiteX7" fmla="*/ 451087 w 511905"/>
                    <a:gd name="connsiteY7" fmla="*/ 188406 h 458198"/>
                    <a:gd name="connsiteX8" fmla="*/ 498357 w 511905"/>
                    <a:gd name="connsiteY8" fmla="*/ 250762 h 458198"/>
                    <a:gd name="connsiteX9" fmla="*/ 511412 w 511905"/>
                    <a:gd name="connsiteY9" fmla="*/ 453031 h 458198"/>
                    <a:gd name="connsiteX10" fmla="*/ 9762 w 511905"/>
                    <a:gd name="connsiteY10" fmla="*/ 446681 h 458198"/>
                    <a:gd name="connsiteX0" fmla="*/ 9762 w 511905"/>
                    <a:gd name="connsiteY0" fmla="*/ 447695 h 459212"/>
                    <a:gd name="connsiteX1" fmla="*/ 6587 w 511905"/>
                    <a:gd name="connsiteY1" fmla="*/ 222270 h 459212"/>
                    <a:gd name="connsiteX2" fmla="*/ 76437 w 511905"/>
                    <a:gd name="connsiteY2" fmla="*/ 158770 h 459212"/>
                    <a:gd name="connsiteX3" fmla="*/ 200262 w 511905"/>
                    <a:gd name="connsiteY3" fmla="*/ 120670 h 459212"/>
                    <a:gd name="connsiteX4" fmla="*/ 206612 w 511905"/>
                    <a:gd name="connsiteY4" fmla="*/ 15895 h 459212"/>
                    <a:gd name="connsiteX5" fmla="*/ 301506 w 511905"/>
                    <a:gd name="connsiteY5" fmla="*/ 12720 h 459212"/>
                    <a:gd name="connsiteX6" fmla="*/ 311502 w 511905"/>
                    <a:gd name="connsiteY6" fmla="*/ 134302 h 459212"/>
                    <a:gd name="connsiteX7" fmla="*/ 451087 w 511905"/>
                    <a:gd name="connsiteY7" fmla="*/ 189420 h 459212"/>
                    <a:gd name="connsiteX8" fmla="*/ 498357 w 511905"/>
                    <a:gd name="connsiteY8" fmla="*/ 251776 h 459212"/>
                    <a:gd name="connsiteX9" fmla="*/ 511412 w 511905"/>
                    <a:gd name="connsiteY9" fmla="*/ 454045 h 459212"/>
                    <a:gd name="connsiteX10" fmla="*/ 9762 w 511905"/>
                    <a:gd name="connsiteY10" fmla="*/ 447695 h 459212"/>
                    <a:gd name="connsiteX0" fmla="*/ 4227 w 522600"/>
                    <a:gd name="connsiteY0" fmla="*/ 455188 h 463021"/>
                    <a:gd name="connsiteX1" fmla="*/ 17282 w 522600"/>
                    <a:gd name="connsiteY1" fmla="*/ 222270 h 463021"/>
                    <a:gd name="connsiteX2" fmla="*/ 87132 w 522600"/>
                    <a:gd name="connsiteY2" fmla="*/ 158770 h 463021"/>
                    <a:gd name="connsiteX3" fmla="*/ 210957 w 522600"/>
                    <a:gd name="connsiteY3" fmla="*/ 120670 h 463021"/>
                    <a:gd name="connsiteX4" fmla="*/ 217307 w 522600"/>
                    <a:gd name="connsiteY4" fmla="*/ 15895 h 463021"/>
                    <a:gd name="connsiteX5" fmla="*/ 312201 w 522600"/>
                    <a:gd name="connsiteY5" fmla="*/ 12720 h 463021"/>
                    <a:gd name="connsiteX6" fmla="*/ 322197 w 522600"/>
                    <a:gd name="connsiteY6" fmla="*/ 134302 h 463021"/>
                    <a:gd name="connsiteX7" fmla="*/ 461782 w 522600"/>
                    <a:gd name="connsiteY7" fmla="*/ 189420 h 463021"/>
                    <a:gd name="connsiteX8" fmla="*/ 509052 w 522600"/>
                    <a:gd name="connsiteY8" fmla="*/ 251776 h 463021"/>
                    <a:gd name="connsiteX9" fmla="*/ 522107 w 522600"/>
                    <a:gd name="connsiteY9" fmla="*/ 454045 h 463021"/>
                    <a:gd name="connsiteX10" fmla="*/ 4227 w 522600"/>
                    <a:gd name="connsiteY10" fmla="*/ 455188 h 463021"/>
                    <a:gd name="connsiteX0" fmla="*/ 4227 w 522600"/>
                    <a:gd name="connsiteY0" fmla="*/ 455188 h 457596"/>
                    <a:gd name="connsiteX1" fmla="*/ 17282 w 522600"/>
                    <a:gd name="connsiteY1" fmla="*/ 222270 h 457596"/>
                    <a:gd name="connsiteX2" fmla="*/ 87132 w 522600"/>
                    <a:gd name="connsiteY2" fmla="*/ 158770 h 457596"/>
                    <a:gd name="connsiteX3" fmla="*/ 210957 w 522600"/>
                    <a:gd name="connsiteY3" fmla="*/ 120670 h 457596"/>
                    <a:gd name="connsiteX4" fmla="*/ 217307 w 522600"/>
                    <a:gd name="connsiteY4" fmla="*/ 15895 h 457596"/>
                    <a:gd name="connsiteX5" fmla="*/ 312201 w 522600"/>
                    <a:gd name="connsiteY5" fmla="*/ 12720 h 457596"/>
                    <a:gd name="connsiteX6" fmla="*/ 322197 w 522600"/>
                    <a:gd name="connsiteY6" fmla="*/ 134302 h 457596"/>
                    <a:gd name="connsiteX7" fmla="*/ 461782 w 522600"/>
                    <a:gd name="connsiteY7" fmla="*/ 189420 h 457596"/>
                    <a:gd name="connsiteX8" fmla="*/ 509052 w 522600"/>
                    <a:gd name="connsiteY8" fmla="*/ 251776 h 457596"/>
                    <a:gd name="connsiteX9" fmla="*/ 522107 w 522600"/>
                    <a:gd name="connsiteY9" fmla="*/ 454045 h 457596"/>
                    <a:gd name="connsiteX10" fmla="*/ 4227 w 522600"/>
                    <a:gd name="connsiteY10" fmla="*/ 455188 h 457596"/>
                    <a:gd name="connsiteX0" fmla="*/ 12757 w 531130"/>
                    <a:gd name="connsiteY0" fmla="*/ 455188 h 457596"/>
                    <a:gd name="connsiteX1" fmla="*/ 6876 w 531130"/>
                    <a:gd name="connsiteY1" fmla="*/ 237256 h 457596"/>
                    <a:gd name="connsiteX2" fmla="*/ 95662 w 531130"/>
                    <a:gd name="connsiteY2" fmla="*/ 158770 h 457596"/>
                    <a:gd name="connsiteX3" fmla="*/ 219487 w 531130"/>
                    <a:gd name="connsiteY3" fmla="*/ 120670 h 457596"/>
                    <a:gd name="connsiteX4" fmla="*/ 225837 w 531130"/>
                    <a:gd name="connsiteY4" fmla="*/ 15895 h 457596"/>
                    <a:gd name="connsiteX5" fmla="*/ 320731 w 531130"/>
                    <a:gd name="connsiteY5" fmla="*/ 12720 h 457596"/>
                    <a:gd name="connsiteX6" fmla="*/ 330727 w 531130"/>
                    <a:gd name="connsiteY6" fmla="*/ 134302 h 457596"/>
                    <a:gd name="connsiteX7" fmla="*/ 470312 w 531130"/>
                    <a:gd name="connsiteY7" fmla="*/ 189420 h 457596"/>
                    <a:gd name="connsiteX8" fmla="*/ 517582 w 531130"/>
                    <a:gd name="connsiteY8" fmla="*/ 251776 h 457596"/>
                    <a:gd name="connsiteX9" fmla="*/ 530637 w 531130"/>
                    <a:gd name="connsiteY9" fmla="*/ 454045 h 457596"/>
                    <a:gd name="connsiteX10" fmla="*/ 12757 w 531130"/>
                    <a:gd name="connsiteY10" fmla="*/ 455188 h 457596"/>
                    <a:gd name="connsiteX0" fmla="*/ 7226 w 536419"/>
                    <a:gd name="connsiteY0" fmla="*/ 447695 h 456315"/>
                    <a:gd name="connsiteX1" fmla="*/ 12165 w 536419"/>
                    <a:gd name="connsiteY1" fmla="*/ 237256 h 456315"/>
                    <a:gd name="connsiteX2" fmla="*/ 100951 w 536419"/>
                    <a:gd name="connsiteY2" fmla="*/ 158770 h 456315"/>
                    <a:gd name="connsiteX3" fmla="*/ 224776 w 536419"/>
                    <a:gd name="connsiteY3" fmla="*/ 120670 h 456315"/>
                    <a:gd name="connsiteX4" fmla="*/ 231126 w 536419"/>
                    <a:gd name="connsiteY4" fmla="*/ 15895 h 456315"/>
                    <a:gd name="connsiteX5" fmla="*/ 326020 w 536419"/>
                    <a:gd name="connsiteY5" fmla="*/ 12720 h 456315"/>
                    <a:gd name="connsiteX6" fmla="*/ 336016 w 536419"/>
                    <a:gd name="connsiteY6" fmla="*/ 134302 h 456315"/>
                    <a:gd name="connsiteX7" fmla="*/ 475601 w 536419"/>
                    <a:gd name="connsiteY7" fmla="*/ 189420 h 456315"/>
                    <a:gd name="connsiteX8" fmla="*/ 522871 w 536419"/>
                    <a:gd name="connsiteY8" fmla="*/ 251776 h 456315"/>
                    <a:gd name="connsiteX9" fmla="*/ 535926 w 536419"/>
                    <a:gd name="connsiteY9" fmla="*/ 454045 h 456315"/>
                    <a:gd name="connsiteX10" fmla="*/ 7226 w 536419"/>
                    <a:gd name="connsiteY10" fmla="*/ 447695 h 456315"/>
                    <a:gd name="connsiteX0" fmla="*/ 7226 w 528834"/>
                    <a:gd name="connsiteY0" fmla="*/ 447695 h 456315"/>
                    <a:gd name="connsiteX1" fmla="*/ 12165 w 528834"/>
                    <a:gd name="connsiteY1" fmla="*/ 237256 h 456315"/>
                    <a:gd name="connsiteX2" fmla="*/ 100951 w 528834"/>
                    <a:gd name="connsiteY2" fmla="*/ 158770 h 456315"/>
                    <a:gd name="connsiteX3" fmla="*/ 224776 w 528834"/>
                    <a:gd name="connsiteY3" fmla="*/ 120670 h 456315"/>
                    <a:gd name="connsiteX4" fmla="*/ 231126 w 528834"/>
                    <a:gd name="connsiteY4" fmla="*/ 15895 h 456315"/>
                    <a:gd name="connsiteX5" fmla="*/ 326020 w 528834"/>
                    <a:gd name="connsiteY5" fmla="*/ 12720 h 456315"/>
                    <a:gd name="connsiteX6" fmla="*/ 336016 w 528834"/>
                    <a:gd name="connsiteY6" fmla="*/ 134302 h 456315"/>
                    <a:gd name="connsiteX7" fmla="*/ 475601 w 528834"/>
                    <a:gd name="connsiteY7" fmla="*/ 189420 h 456315"/>
                    <a:gd name="connsiteX8" fmla="*/ 522871 w 528834"/>
                    <a:gd name="connsiteY8" fmla="*/ 251776 h 456315"/>
                    <a:gd name="connsiteX9" fmla="*/ 527811 w 528834"/>
                    <a:gd name="connsiteY9" fmla="*/ 454045 h 456315"/>
                    <a:gd name="connsiteX10" fmla="*/ 7226 w 528834"/>
                    <a:gd name="connsiteY10" fmla="*/ 447695 h 456315"/>
                    <a:gd name="connsiteX0" fmla="*/ 7226 w 528834"/>
                    <a:gd name="connsiteY0" fmla="*/ 447695 h 456315"/>
                    <a:gd name="connsiteX1" fmla="*/ 12165 w 528834"/>
                    <a:gd name="connsiteY1" fmla="*/ 237256 h 456315"/>
                    <a:gd name="connsiteX2" fmla="*/ 100951 w 528834"/>
                    <a:gd name="connsiteY2" fmla="*/ 158770 h 456315"/>
                    <a:gd name="connsiteX3" fmla="*/ 224776 w 528834"/>
                    <a:gd name="connsiteY3" fmla="*/ 120670 h 456315"/>
                    <a:gd name="connsiteX4" fmla="*/ 231126 w 528834"/>
                    <a:gd name="connsiteY4" fmla="*/ 15895 h 456315"/>
                    <a:gd name="connsiteX5" fmla="*/ 326020 w 528834"/>
                    <a:gd name="connsiteY5" fmla="*/ 12720 h 456315"/>
                    <a:gd name="connsiteX6" fmla="*/ 336016 w 528834"/>
                    <a:gd name="connsiteY6" fmla="*/ 134302 h 456315"/>
                    <a:gd name="connsiteX7" fmla="*/ 462076 w 528834"/>
                    <a:gd name="connsiteY7" fmla="*/ 184425 h 456315"/>
                    <a:gd name="connsiteX8" fmla="*/ 522871 w 528834"/>
                    <a:gd name="connsiteY8" fmla="*/ 251776 h 456315"/>
                    <a:gd name="connsiteX9" fmla="*/ 527811 w 528834"/>
                    <a:gd name="connsiteY9" fmla="*/ 454045 h 456315"/>
                    <a:gd name="connsiteX10" fmla="*/ 7226 w 528834"/>
                    <a:gd name="connsiteY10" fmla="*/ 447695 h 456315"/>
                    <a:gd name="connsiteX0" fmla="*/ 8515 w 530123"/>
                    <a:gd name="connsiteY0" fmla="*/ 447695 h 456315"/>
                    <a:gd name="connsiteX1" fmla="*/ 10749 w 530123"/>
                    <a:gd name="connsiteY1" fmla="*/ 244749 h 456315"/>
                    <a:gd name="connsiteX2" fmla="*/ 102240 w 530123"/>
                    <a:gd name="connsiteY2" fmla="*/ 158770 h 456315"/>
                    <a:gd name="connsiteX3" fmla="*/ 226065 w 530123"/>
                    <a:gd name="connsiteY3" fmla="*/ 120670 h 456315"/>
                    <a:gd name="connsiteX4" fmla="*/ 232415 w 530123"/>
                    <a:gd name="connsiteY4" fmla="*/ 15895 h 456315"/>
                    <a:gd name="connsiteX5" fmla="*/ 327309 w 530123"/>
                    <a:gd name="connsiteY5" fmla="*/ 12720 h 456315"/>
                    <a:gd name="connsiteX6" fmla="*/ 337305 w 530123"/>
                    <a:gd name="connsiteY6" fmla="*/ 134302 h 456315"/>
                    <a:gd name="connsiteX7" fmla="*/ 463365 w 530123"/>
                    <a:gd name="connsiteY7" fmla="*/ 184425 h 456315"/>
                    <a:gd name="connsiteX8" fmla="*/ 524160 w 530123"/>
                    <a:gd name="connsiteY8" fmla="*/ 251776 h 456315"/>
                    <a:gd name="connsiteX9" fmla="*/ 529100 w 530123"/>
                    <a:gd name="connsiteY9" fmla="*/ 454045 h 456315"/>
                    <a:gd name="connsiteX10" fmla="*/ 8515 w 530123"/>
                    <a:gd name="connsiteY10" fmla="*/ 447695 h 456315"/>
                    <a:gd name="connsiteX0" fmla="*/ 7671 w 529279"/>
                    <a:gd name="connsiteY0" fmla="*/ 447695 h 456315"/>
                    <a:gd name="connsiteX1" fmla="*/ 9905 w 529279"/>
                    <a:gd name="connsiteY1" fmla="*/ 244749 h 456315"/>
                    <a:gd name="connsiteX2" fmla="*/ 87870 w 529279"/>
                    <a:gd name="connsiteY2" fmla="*/ 166263 h 456315"/>
                    <a:gd name="connsiteX3" fmla="*/ 225221 w 529279"/>
                    <a:gd name="connsiteY3" fmla="*/ 120670 h 456315"/>
                    <a:gd name="connsiteX4" fmla="*/ 231571 w 529279"/>
                    <a:gd name="connsiteY4" fmla="*/ 15895 h 456315"/>
                    <a:gd name="connsiteX5" fmla="*/ 326465 w 529279"/>
                    <a:gd name="connsiteY5" fmla="*/ 12720 h 456315"/>
                    <a:gd name="connsiteX6" fmla="*/ 336461 w 529279"/>
                    <a:gd name="connsiteY6" fmla="*/ 134302 h 456315"/>
                    <a:gd name="connsiteX7" fmla="*/ 462521 w 529279"/>
                    <a:gd name="connsiteY7" fmla="*/ 184425 h 456315"/>
                    <a:gd name="connsiteX8" fmla="*/ 523316 w 529279"/>
                    <a:gd name="connsiteY8" fmla="*/ 251776 h 456315"/>
                    <a:gd name="connsiteX9" fmla="*/ 528256 w 529279"/>
                    <a:gd name="connsiteY9" fmla="*/ 454045 h 456315"/>
                    <a:gd name="connsiteX10" fmla="*/ 7671 w 529279"/>
                    <a:gd name="connsiteY10" fmla="*/ 447695 h 456315"/>
                    <a:gd name="connsiteX0" fmla="*/ 7671 w 529279"/>
                    <a:gd name="connsiteY0" fmla="*/ 447558 h 456178"/>
                    <a:gd name="connsiteX1" fmla="*/ 9905 w 529279"/>
                    <a:gd name="connsiteY1" fmla="*/ 244612 h 456178"/>
                    <a:gd name="connsiteX2" fmla="*/ 87870 w 529279"/>
                    <a:gd name="connsiteY2" fmla="*/ 166126 h 456178"/>
                    <a:gd name="connsiteX3" fmla="*/ 206285 w 529279"/>
                    <a:gd name="connsiteY3" fmla="*/ 118035 h 456178"/>
                    <a:gd name="connsiteX4" fmla="*/ 231571 w 529279"/>
                    <a:gd name="connsiteY4" fmla="*/ 15758 h 456178"/>
                    <a:gd name="connsiteX5" fmla="*/ 326465 w 529279"/>
                    <a:gd name="connsiteY5" fmla="*/ 12583 h 456178"/>
                    <a:gd name="connsiteX6" fmla="*/ 336461 w 529279"/>
                    <a:gd name="connsiteY6" fmla="*/ 134165 h 456178"/>
                    <a:gd name="connsiteX7" fmla="*/ 462521 w 529279"/>
                    <a:gd name="connsiteY7" fmla="*/ 184288 h 456178"/>
                    <a:gd name="connsiteX8" fmla="*/ 523316 w 529279"/>
                    <a:gd name="connsiteY8" fmla="*/ 251639 h 456178"/>
                    <a:gd name="connsiteX9" fmla="*/ 528256 w 529279"/>
                    <a:gd name="connsiteY9" fmla="*/ 453908 h 456178"/>
                    <a:gd name="connsiteX10" fmla="*/ 7671 w 529279"/>
                    <a:gd name="connsiteY10" fmla="*/ 447558 h 456178"/>
                    <a:gd name="connsiteX0" fmla="*/ 14544 w 536152"/>
                    <a:gd name="connsiteY0" fmla="*/ 447558 h 456178"/>
                    <a:gd name="connsiteX1" fmla="*/ 5958 w 536152"/>
                    <a:gd name="connsiteY1" fmla="*/ 247109 h 456178"/>
                    <a:gd name="connsiteX2" fmla="*/ 94743 w 536152"/>
                    <a:gd name="connsiteY2" fmla="*/ 166126 h 456178"/>
                    <a:gd name="connsiteX3" fmla="*/ 213158 w 536152"/>
                    <a:gd name="connsiteY3" fmla="*/ 118035 h 456178"/>
                    <a:gd name="connsiteX4" fmla="*/ 238444 w 536152"/>
                    <a:gd name="connsiteY4" fmla="*/ 15758 h 456178"/>
                    <a:gd name="connsiteX5" fmla="*/ 333338 w 536152"/>
                    <a:gd name="connsiteY5" fmla="*/ 12583 h 456178"/>
                    <a:gd name="connsiteX6" fmla="*/ 343334 w 536152"/>
                    <a:gd name="connsiteY6" fmla="*/ 134165 h 456178"/>
                    <a:gd name="connsiteX7" fmla="*/ 469394 w 536152"/>
                    <a:gd name="connsiteY7" fmla="*/ 184288 h 456178"/>
                    <a:gd name="connsiteX8" fmla="*/ 530189 w 536152"/>
                    <a:gd name="connsiteY8" fmla="*/ 251639 h 456178"/>
                    <a:gd name="connsiteX9" fmla="*/ 535129 w 536152"/>
                    <a:gd name="connsiteY9" fmla="*/ 453908 h 456178"/>
                    <a:gd name="connsiteX10" fmla="*/ 14544 w 536152"/>
                    <a:gd name="connsiteY10" fmla="*/ 447558 h 456178"/>
                    <a:gd name="connsiteX0" fmla="*/ 7226 w 542359"/>
                    <a:gd name="connsiteY0" fmla="*/ 450055 h 456488"/>
                    <a:gd name="connsiteX1" fmla="*/ 12165 w 542359"/>
                    <a:gd name="connsiteY1" fmla="*/ 247109 h 456488"/>
                    <a:gd name="connsiteX2" fmla="*/ 100950 w 542359"/>
                    <a:gd name="connsiteY2" fmla="*/ 166126 h 456488"/>
                    <a:gd name="connsiteX3" fmla="*/ 219365 w 542359"/>
                    <a:gd name="connsiteY3" fmla="*/ 118035 h 456488"/>
                    <a:gd name="connsiteX4" fmla="*/ 244651 w 542359"/>
                    <a:gd name="connsiteY4" fmla="*/ 15758 h 456488"/>
                    <a:gd name="connsiteX5" fmla="*/ 339545 w 542359"/>
                    <a:gd name="connsiteY5" fmla="*/ 12583 h 456488"/>
                    <a:gd name="connsiteX6" fmla="*/ 349541 w 542359"/>
                    <a:gd name="connsiteY6" fmla="*/ 134165 h 456488"/>
                    <a:gd name="connsiteX7" fmla="*/ 475601 w 542359"/>
                    <a:gd name="connsiteY7" fmla="*/ 184288 h 456488"/>
                    <a:gd name="connsiteX8" fmla="*/ 536396 w 542359"/>
                    <a:gd name="connsiteY8" fmla="*/ 251639 h 456488"/>
                    <a:gd name="connsiteX9" fmla="*/ 541336 w 542359"/>
                    <a:gd name="connsiteY9" fmla="*/ 453908 h 456488"/>
                    <a:gd name="connsiteX10" fmla="*/ 7226 w 542359"/>
                    <a:gd name="connsiteY10" fmla="*/ 450055 h 456488"/>
                    <a:gd name="connsiteX0" fmla="*/ 7226 w 542359"/>
                    <a:gd name="connsiteY0" fmla="*/ 450055 h 456488"/>
                    <a:gd name="connsiteX1" fmla="*/ 12165 w 542359"/>
                    <a:gd name="connsiteY1" fmla="*/ 247109 h 456488"/>
                    <a:gd name="connsiteX2" fmla="*/ 100950 w 542359"/>
                    <a:gd name="connsiteY2" fmla="*/ 166126 h 456488"/>
                    <a:gd name="connsiteX3" fmla="*/ 219365 w 542359"/>
                    <a:gd name="connsiteY3" fmla="*/ 118035 h 456488"/>
                    <a:gd name="connsiteX4" fmla="*/ 244651 w 542359"/>
                    <a:gd name="connsiteY4" fmla="*/ 15758 h 456488"/>
                    <a:gd name="connsiteX5" fmla="*/ 331430 w 542359"/>
                    <a:gd name="connsiteY5" fmla="*/ 12583 h 456488"/>
                    <a:gd name="connsiteX6" fmla="*/ 349541 w 542359"/>
                    <a:gd name="connsiteY6" fmla="*/ 134165 h 456488"/>
                    <a:gd name="connsiteX7" fmla="*/ 475601 w 542359"/>
                    <a:gd name="connsiteY7" fmla="*/ 184288 h 456488"/>
                    <a:gd name="connsiteX8" fmla="*/ 536396 w 542359"/>
                    <a:gd name="connsiteY8" fmla="*/ 251639 h 456488"/>
                    <a:gd name="connsiteX9" fmla="*/ 541336 w 542359"/>
                    <a:gd name="connsiteY9" fmla="*/ 453908 h 456488"/>
                    <a:gd name="connsiteX10" fmla="*/ 7226 w 542359"/>
                    <a:gd name="connsiteY10" fmla="*/ 450055 h 456488"/>
                    <a:gd name="connsiteX0" fmla="*/ 7226 w 542359"/>
                    <a:gd name="connsiteY0" fmla="*/ 450055 h 456488"/>
                    <a:gd name="connsiteX1" fmla="*/ 12165 w 542359"/>
                    <a:gd name="connsiteY1" fmla="*/ 247109 h 456488"/>
                    <a:gd name="connsiteX2" fmla="*/ 100950 w 542359"/>
                    <a:gd name="connsiteY2" fmla="*/ 166126 h 456488"/>
                    <a:gd name="connsiteX3" fmla="*/ 219365 w 542359"/>
                    <a:gd name="connsiteY3" fmla="*/ 118035 h 456488"/>
                    <a:gd name="connsiteX4" fmla="*/ 244651 w 542359"/>
                    <a:gd name="connsiteY4" fmla="*/ 15758 h 456488"/>
                    <a:gd name="connsiteX5" fmla="*/ 331430 w 542359"/>
                    <a:gd name="connsiteY5" fmla="*/ 12583 h 456488"/>
                    <a:gd name="connsiteX6" fmla="*/ 349541 w 542359"/>
                    <a:gd name="connsiteY6" fmla="*/ 134165 h 456488"/>
                    <a:gd name="connsiteX7" fmla="*/ 483716 w 542359"/>
                    <a:gd name="connsiteY7" fmla="*/ 179293 h 456488"/>
                    <a:gd name="connsiteX8" fmla="*/ 536396 w 542359"/>
                    <a:gd name="connsiteY8" fmla="*/ 251639 h 456488"/>
                    <a:gd name="connsiteX9" fmla="*/ 541336 w 542359"/>
                    <a:gd name="connsiteY9" fmla="*/ 453908 h 456488"/>
                    <a:gd name="connsiteX10" fmla="*/ 7226 w 542359"/>
                    <a:gd name="connsiteY10" fmla="*/ 450055 h 456488"/>
                    <a:gd name="connsiteX0" fmla="*/ 6630 w 541763"/>
                    <a:gd name="connsiteY0" fmla="*/ 450055 h 456488"/>
                    <a:gd name="connsiteX1" fmla="*/ 11569 w 541763"/>
                    <a:gd name="connsiteY1" fmla="*/ 247109 h 456488"/>
                    <a:gd name="connsiteX2" fmla="*/ 89534 w 541763"/>
                    <a:gd name="connsiteY2" fmla="*/ 166126 h 456488"/>
                    <a:gd name="connsiteX3" fmla="*/ 218769 w 541763"/>
                    <a:gd name="connsiteY3" fmla="*/ 118035 h 456488"/>
                    <a:gd name="connsiteX4" fmla="*/ 244055 w 541763"/>
                    <a:gd name="connsiteY4" fmla="*/ 15758 h 456488"/>
                    <a:gd name="connsiteX5" fmla="*/ 330834 w 541763"/>
                    <a:gd name="connsiteY5" fmla="*/ 12583 h 456488"/>
                    <a:gd name="connsiteX6" fmla="*/ 348945 w 541763"/>
                    <a:gd name="connsiteY6" fmla="*/ 134165 h 456488"/>
                    <a:gd name="connsiteX7" fmla="*/ 483120 w 541763"/>
                    <a:gd name="connsiteY7" fmla="*/ 179293 h 456488"/>
                    <a:gd name="connsiteX8" fmla="*/ 535800 w 541763"/>
                    <a:gd name="connsiteY8" fmla="*/ 251639 h 456488"/>
                    <a:gd name="connsiteX9" fmla="*/ 540740 w 541763"/>
                    <a:gd name="connsiteY9" fmla="*/ 453908 h 456488"/>
                    <a:gd name="connsiteX10" fmla="*/ 6630 w 541763"/>
                    <a:gd name="connsiteY10" fmla="*/ 450055 h 456488"/>
                    <a:gd name="connsiteX0" fmla="*/ 4856 w 539989"/>
                    <a:gd name="connsiteY0" fmla="*/ 450055 h 456488"/>
                    <a:gd name="connsiteX1" fmla="*/ 15205 w 539989"/>
                    <a:gd name="connsiteY1" fmla="*/ 227128 h 456488"/>
                    <a:gd name="connsiteX2" fmla="*/ 87760 w 539989"/>
                    <a:gd name="connsiteY2" fmla="*/ 166126 h 456488"/>
                    <a:gd name="connsiteX3" fmla="*/ 216995 w 539989"/>
                    <a:gd name="connsiteY3" fmla="*/ 118035 h 456488"/>
                    <a:gd name="connsiteX4" fmla="*/ 242281 w 539989"/>
                    <a:gd name="connsiteY4" fmla="*/ 15758 h 456488"/>
                    <a:gd name="connsiteX5" fmla="*/ 329060 w 539989"/>
                    <a:gd name="connsiteY5" fmla="*/ 12583 h 456488"/>
                    <a:gd name="connsiteX6" fmla="*/ 347171 w 539989"/>
                    <a:gd name="connsiteY6" fmla="*/ 134165 h 456488"/>
                    <a:gd name="connsiteX7" fmla="*/ 481346 w 539989"/>
                    <a:gd name="connsiteY7" fmla="*/ 179293 h 456488"/>
                    <a:gd name="connsiteX8" fmla="*/ 534026 w 539989"/>
                    <a:gd name="connsiteY8" fmla="*/ 251639 h 456488"/>
                    <a:gd name="connsiteX9" fmla="*/ 538966 w 539989"/>
                    <a:gd name="connsiteY9" fmla="*/ 453908 h 456488"/>
                    <a:gd name="connsiteX10" fmla="*/ 4856 w 539989"/>
                    <a:gd name="connsiteY10" fmla="*/ 450055 h 4564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39989" h="456488">
                      <a:moveTo>
                        <a:pt x="4856" y="450055"/>
                      </a:moveTo>
                      <a:cubicBezTo>
                        <a:pt x="-5198" y="385497"/>
                        <a:pt x="1388" y="274449"/>
                        <a:pt x="15205" y="227128"/>
                      </a:cubicBezTo>
                      <a:cubicBezTo>
                        <a:pt x="29022" y="179807"/>
                        <a:pt x="54128" y="184308"/>
                        <a:pt x="87760" y="166126"/>
                      </a:cubicBezTo>
                      <a:cubicBezTo>
                        <a:pt x="121392" y="147944"/>
                        <a:pt x="191242" y="143096"/>
                        <a:pt x="216995" y="118035"/>
                      </a:cubicBezTo>
                      <a:cubicBezTo>
                        <a:pt x="242748" y="92974"/>
                        <a:pt x="223604" y="33333"/>
                        <a:pt x="242281" y="15758"/>
                      </a:cubicBezTo>
                      <a:cubicBezTo>
                        <a:pt x="260958" y="-1817"/>
                        <a:pt x="311578" y="-7151"/>
                        <a:pt x="329060" y="12583"/>
                      </a:cubicBezTo>
                      <a:cubicBezTo>
                        <a:pt x="346542" y="32317"/>
                        <a:pt x="321790" y="106380"/>
                        <a:pt x="347171" y="134165"/>
                      </a:cubicBezTo>
                      <a:cubicBezTo>
                        <a:pt x="372552" y="161950"/>
                        <a:pt x="450204" y="159714"/>
                        <a:pt x="481346" y="179293"/>
                      </a:cubicBezTo>
                      <a:cubicBezTo>
                        <a:pt x="512489" y="198872"/>
                        <a:pt x="523972" y="202956"/>
                        <a:pt x="534026" y="251639"/>
                      </a:cubicBezTo>
                      <a:cubicBezTo>
                        <a:pt x="537201" y="301381"/>
                        <a:pt x="542141" y="328496"/>
                        <a:pt x="538966" y="453908"/>
                      </a:cubicBezTo>
                      <a:cubicBezTo>
                        <a:pt x="307191" y="461845"/>
                        <a:pt x="250800" y="448827"/>
                        <a:pt x="4856" y="450055"/>
                      </a:cubicBezTo>
                      <a:close/>
                    </a:path>
                  </a:pathLst>
                </a:custGeom>
                <a:solidFill>
                  <a:schemeClr val="bg1"/>
                </a:solidFill>
                <a:ln w="57150">
                  <a:solidFill>
                    <a:schemeClr val="tx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130" name="Oval 129">
                  <a:extLst>
                    <a:ext uri="{FF2B5EF4-FFF2-40B4-BE49-F238E27FC236}">
                      <a16:creationId xmlns:a16="http://schemas.microsoft.com/office/drawing/2014/main" id="{1C5C6FA5-76EF-B349-ABBC-2A380B1F9AE4}"/>
                    </a:ext>
                  </a:extLst>
                </p:cNvPr>
                <p:cNvSpPr/>
                <p:nvPr/>
              </p:nvSpPr>
              <p:spPr>
                <a:xfrm>
                  <a:off x="1964431" y="3500843"/>
                  <a:ext cx="259337" cy="299858"/>
                </a:xfrm>
                <a:prstGeom prst="ellipse">
                  <a:avLst/>
                </a:prstGeom>
                <a:solidFill>
                  <a:schemeClr val="bg1"/>
                </a:solidFill>
                <a:ln w="57150">
                  <a:solidFill>
                    <a:schemeClr val="tx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grpSp>
        </p:grpSp>
        <p:grpSp>
          <p:nvGrpSpPr>
            <p:cNvPr id="121" name="Group 120">
              <a:extLst>
                <a:ext uri="{FF2B5EF4-FFF2-40B4-BE49-F238E27FC236}">
                  <a16:creationId xmlns:a16="http://schemas.microsoft.com/office/drawing/2014/main" id="{CB1ABB38-8A02-1C47-A2AD-C4C6E161B522}"/>
                </a:ext>
              </a:extLst>
            </p:cNvPr>
            <p:cNvGrpSpPr/>
            <p:nvPr/>
          </p:nvGrpSpPr>
          <p:grpSpPr>
            <a:xfrm>
              <a:off x="2495712" y="4589934"/>
              <a:ext cx="1256698" cy="510604"/>
              <a:chOff x="2495712" y="4589934"/>
              <a:chExt cx="1256698" cy="510604"/>
            </a:xfrm>
            <a:solidFill>
              <a:schemeClr val="tx1">
                <a:lumMod val="50000"/>
              </a:schemeClr>
            </a:solidFill>
          </p:grpSpPr>
          <p:sp>
            <p:nvSpPr>
              <p:cNvPr id="123" name="Rounded Rectangle 122">
                <a:extLst>
                  <a:ext uri="{FF2B5EF4-FFF2-40B4-BE49-F238E27FC236}">
                    <a16:creationId xmlns:a16="http://schemas.microsoft.com/office/drawing/2014/main" id="{8C837A67-C697-E24F-AFC8-1D4BE26FED3C}"/>
                  </a:ext>
                </a:extLst>
              </p:cNvPr>
              <p:cNvSpPr/>
              <p:nvPr/>
            </p:nvSpPr>
            <p:spPr>
              <a:xfrm>
                <a:off x="2495712" y="4589934"/>
                <a:ext cx="1256697" cy="251941"/>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124" name="Rectangle 123">
                <a:extLst>
                  <a:ext uri="{FF2B5EF4-FFF2-40B4-BE49-F238E27FC236}">
                    <a16:creationId xmlns:a16="http://schemas.microsoft.com/office/drawing/2014/main" id="{636766DC-EA9B-A648-A36C-33D71E0C9454}"/>
                  </a:ext>
                </a:extLst>
              </p:cNvPr>
              <p:cNvSpPr/>
              <p:nvPr/>
            </p:nvSpPr>
            <p:spPr>
              <a:xfrm>
                <a:off x="2498725" y="4797790"/>
                <a:ext cx="1253685" cy="13315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125" name="Rectangle 124">
                <a:extLst>
                  <a:ext uri="{FF2B5EF4-FFF2-40B4-BE49-F238E27FC236}">
                    <a16:creationId xmlns:a16="http://schemas.microsoft.com/office/drawing/2014/main" id="{3C24311C-1406-1146-8879-3752A85BED46}"/>
                  </a:ext>
                </a:extLst>
              </p:cNvPr>
              <p:cNvSpPr/>
              <p:nvPr/>
            </p:nvSpPr>
            <p:spPr>
              <a:xfrm>
                <a:off x="2546350" y="4923041"/>
                <a:ext cx="109152" cy="17749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126" name="Rectangle 125">
                <a:extLst>
                  <a:ext uri="{FF2B5EF4-FFF2-40B4-BE49-F238E27FC236}">
                    <a16:creationId xmlns:a16="http://schemas.microsoft.com/office/drawing/2014/main" id="{BC67C682-D989-6240-9CC9-F3EC2BD36C04}"/>
                  </a:ext>
                </a:extLst>
              </p:cNvPr>
              <p:cNvSpPr/>
              <p:nvPr/>
            </p:nvSpPr>
            <p:spPr>
              <a:xfrm>
                <a:off x="3610945" y="4923041"/>
                <a:ext cx="109152" cy="17749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grpSp>
        <p:sp>
          <p:nvSpPr>
            <p:cNvPr id="122" name="Trapezoid 121">
              <a:extLst>
                <a:ext uri="{FF2B5EF4-FFF2-40B4-BE49-F238E27FC236}">
                  <a16:creationId xmlns:a16="http://schemas.microsoft.com/office/drawing/2014/main" id="{7B2D08BB-5AC8-D940-A21F-77EA81F3D727}"/>
                </a:ext>
              </a:extLst>
            </p:cNvPr>
            <p:cNvSpPr/>
            <p:nvPr/>
          </p:nvSpPr>
          <p:spPr>
            <a:xfrm>
              <a:off x="2655502" y="4181475"/>
              <a:ext cx="958850" cy="363303"/>
            </a:xfrm>
            <a:prstGeom prst="trapezoid">
              <a:avLst/>
            </a:prstGeom>
            <a:solidFill>
              <a:schemeClr val="tx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grpSp>
      <p:grpSp>
        <p:nvGrpSpPr>
          <p:cNvPr id="133" name="Group 132">
            <a:extLst>
              <a:ext uri="{FF2B5EF4-FFF2-40B4-BE49-F238E27FC236}">
                <a16:creationId xmlns:a16="http://schemas.microsoft.com/office/drawing/2014/main" id="{720DECFA-20A2-F140-B45A-F5920D31ED45}"/>
              </a:ext>
            </a:extLst>
          </p:cNvPr>
          <p:cNvGrpSpPr/>
          <p:nvPr/>
        </p:nvGrpSpPr>
        <p:grpSpPr>
          <a:xfrm>
            <a:off x="9381643" y="4051808"/>
            <a:ext cx="1025213" cy="1261037"/>
            <a:chOff x="2441771" y="3385414"/>
            <a:chExt cx="1325481" cy="1781019"/>
          </a:xfrm>
        </p:grpSpPr>
        <p:pic>
          <p:nvPicPr>
            <p:cNvPr id="134" name="Picture 133">
              <a:extLst>
                <a:ext uri="{FF2B5EF4-FFF2-40B4-BE49-F238E27FC236}">
                  <a16:creationId xmlns:a16="http://schemas.microsoft.com/office/drawing/2014/main" id="{827B0399-5096-E041-B4C0-AB4EAD7B91A3}"/>
                </a:ext>
              </a:extLst>
            </p:cNvPr>
            <p:cNvPicPr>
              <a:picLocks noChangeAspect="1"/>
            </p:cNvPicPr>
            <p:nvPr/>
          </p:nvPicPr>
          <p:blipFill rotWithShape="1">
            <a:blip r:embed="rId2"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a:xfrm>
              <a:off x="2441771" y="3385414"/>
              <a:ext cx="1325481" cy="1781019"/>
            </a:xfrm>
            <a:prstGeom prst="rect">
              <a:avLst/>
            </a:prstGeom>
          </p:spPr>
        </p:pic>
        <p:sp>
          <p:nvSpPr>
            <p:cNvPr id="135" name="Rounded Rectangle 134">
              <a:extLst>
                <a:ext uri="{FF2B5EF4-FFF2-40B4-BE49-F238E27FC236}">
                  <a16:creationId xmlns:a16="http://schemas.microsoft.com/office/drawing/2014/main" id="{189E797A-1A92-DF47-9817-8873131D794A}"/>
                </a:ext>
              </a:extLst>
            </p:cNvPr>
            <p:cNvSpPr/>
            <p:nvPr/>
          </p:nvSpPr>
          <p:spPr>
            <a:xfrm>
              <a:off x="2655502" y="3670300"/>
              <a:ext cx="958850" cy="436656"/>
            </a:xfrm>
            <a:prstGeom prst="roundRect">
              <a:avLst/>
            </a:prstGeom>
            <a:solidFill>
              <a:schemeClr val="tx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grpSp>
          <p:nvGrpSpPr>
            <p:cNvPr id="136" name="Group 135">
              <a:extLst>
                <a:ext uri="{FF2B5EF4-FFF2-40B4-BE49-F238E27FC236}">
                  <a16:creationId xmlns:a16="http://schemas.microsoft.com/office/drawing/2014/main" id="{0C1E29B0-A49A-A941-9179-AD24038298DB}"/>
                </a:ext>
              </a:extLst>
            </p:cNvPr>
            <p:cNvGrpSpPr/>
            <p:nvPr/>
          </p:nvGrpSpPr>
          <p:grpSpPr>
            <a:xfrm>
              <a:off x="2776471" y="3456093"/>
              <a:ext cx="748710" cy="1056883"/>
              <a:chOff x="1496718" y="3334932"/>
              <a:chExt cx="748710" cy="1056883"/>
            </a:xfrm>
          </p:grpSpPr>
          <p:grpSp>
            <p:nvGrpSpPr>
              <p:cNvPr id="143" name="Group 142">
                <a:extLst>
                  <a:ext uri="{FF2B5EF4-FFF2-40B4-BE49-F238E27FC236}">
                    <a16:creationId xmlns:a16="http://schemas.microsoft.com/office/drawing/2014/main" id="{372DBF40-FE4A-6943-BCF0-FA7EDDE4CF3B}"/>
                  </a:ext>
                </a:extLst>
              </p:cNvPr>
              <p:cNvGrpSpPr/>
              <p:nvPr/>
            </p:nvGrpSpPr>
            <p:grpSpPr>
              <a:xfrm>
                <a:off x="1496718" y="3334932"/>
                <a:ext cx="748710" cy="1056883"/>
                <a:chOff x="1843570" y="3508300"/>
                <a:chExt cx="514980" cy="727982"/>
              </a:xfrm>
              <a:solidFill>
                <a:schemeClr val="bg1"/>
              </a:solidFill>
            </p:grpSpPr>
            <p:sp>
              <p:nvSpPr>
                <p:cNvPr id="147" name="Freeform 146">
                  <a:extLst>
                    <a:ext uri="{FF2B5EF4-FFF2-40B4-BE49-F238E27FC236}">
                      <a16:creationId xmlns:a16="http://schemas.microsoft.com/office/drawing/2014/main" id="{1F428EDE-B280-FE47-A5D6-E39F88F5345A}"/>
                    </a:ext>
                  </a:extLst>
                </p:cNvPr>
                <p:cNvSpPr/>
                <p:nvPr/>
              </p:nvSpPr>
              <p:spPr>
                <a:xfrm>
                  <a:off x="1843570" y="3787509"/>
                  <a:ext cx="514980" cy="448773"/>
                </a:xfrm>
                <a:custGeom>
                  <a:avLst/>
                  <a:gdLst>
                    <a:gd name="connsiteX0" fmla="*/ 36807 w 576731"/>
                    <a:gd name="connsiteY0" fmla="*/ 449906 h 505924"/>
                    <a:gd name="connsiteX1" fmla="*/ 39982 w 576731"/>
                    <a:gd name="connsiteY1" fmla="*/ 214956 h 505924"/>
                    <a:gd name="connsiteX2" fmla="*/ 55857 w 576731"/>
                    <a:gd name="connsiteY2" fmla="*/ 176856 h 505924"/>
                    <a:gd name="connsiteX3" fmla="*/ 103482 w 576731"/>
                    <a:gd name="connsiteY3" fmla="*/ 160981 h 505924"/>
                    <a:gd name="connsiteX4" fmla="*/ 205082 w 576731"/>
                    <a:gd name="connsiteY4" fmla="*/ 154631 h 505924"/>
                    <a:gd name="connsiteX5" fmla="*/ 230482 w 576731"/>
                    <a:gd name="connsiteY5" fmla="*/ 151456 h 505924"/>
                    <a:gd name="connsiteX6" fmla="*/ 233657 w 576731"/>
                    <a:gd name="connsiteY6" fmla="*/ 18106 h 505924"/>
                    <a:gd name="connsiteX7" fmla="*/ 344782 w 576731"/>
                    <a:gd name="connsiteY7" fmla="*/ 14931 h 505924"/>
                    <a:gd name="connsiteX8" fmla="*/ 344782 w 576731"/>
                    <a:gd name="connsiteY8" fmla="*/ 145106 h 505924"/>
                    <a:gd name="connsiteX9" fmla="*/ 386057 w 576731"/>
                    <a:gd name="connsiteY9" fmla="*/ 151456 h 505924"/>
                    <a:gd name="connsiteX10" fmla="*/ 478132 w 576731"/>
                    <a:gd name="connsiteY10" fmla="*/ 164156 h 505924"/>
                    <a:gd name="connsiteX11" fmla="*/ 519407 w 576731"/>
                    <a:gd name="connsiteY11" fmla="*/ 189556 h 505924"/>
                    <a:gd name="connsiteX12" fmla="*/ 541632 w 576731"/>
                    <a:gd name="connsiteY12" fmla="*/ 234006 h 505924"/>
                    <a:gd name="connsiteX13" fmla="*/ 538457 w 576731"/>
                    <a:gd name="connsiteY13" fmla="*/ 488006 h 505924"/>
                    <a:gd name="connsiteX14" fmla="*/ 36807 w 576731"/>
                    <a:gd name="connsiteY14" fmla="*/ 449906 h 505924"/>
                    <a:gd name="connsiteX0" fmla="*/ 5769 w 545693"/>
                    <a:gd name="connsiteY0" fmla="*/ 449906 h 505924"/>
                    <a:gd name="connsiteX1" fmla="*/ 8944 w 545693"/>
                    <a:gd name="connsiteY1" fmla="*/ 214956 h 505924"/>
                    <a:gd name="connsiteX2" fmla="*/ 24819 w 545693"/>
                    <a:gd name="connsiteY2" fmla="*/ 176856 h 505924"/>
                    <a:gd name="connsiteX3" fmla="*/ 72444 w 545693"/>
                    <a:gd name="connsiteY3" fmla="*/ 160981 h 505924"/>
                    <a:gd name="connsiteX4" fmla="*/ 174044 w 545693"/>
                    <a:gd name="connsiteY4" fmla="*/ 154631 h 505924"/>
                    <a:gd name="connsiteX5" fmla="*/ 199444 w 545693"/>
                    <a:gd name="connsiteY5" fmla="*/ 151456 h 505924"/>
                    <a:gd name="connsiteX6" fmla="*/ 202619 w 545693"/>
                    <a:gd name="connsiteY6" fmla="*/ 18106 h 505924"/>
                    <a:gd name="connsiteX7" fmla="*/ 313744 w 545693"/>
                    <a:gd name="connsiteY7" fmla="*/ 14931 h 505924"/>
                    <a:gd name="connsiteX8" fmla="*/ 313744 w 545693"/>
                    <a:gd name="connsiteY8" fmla="*/ 145106 h 505924"/>
                    <a:gd name="connsiteX9" fmla="*/ 355019 w 545693"/>
                    <a:gd name="connsiteY9" fmla="*/ 151456 h 505924"/>
                    <a:gd name="connsiteX10" fmla="*/ 447094 w 545693"/>
                    <a:gd name="connsiteY10" fmla="*/ 164156 h 505924"/>
                    <a:gd name="connsiteX11" fmla="*/ 488369 w 545693"/>
                    <a:gd name="connsiteY11" fmla="*/ 189556 h 505924"/>
                    <a:gd name="connsiteX12" fmla="*/ 510594 w 545693"/>
                    <a:gd name="connsiteY12" fmla="*/ 234006 h 505924"/>
                    <a:gd name="connsiteX13" fmla="*/ 507419 w 545693"/>
                    <a:gd name="connsiteY13" fmla="*/ 488006 h 505924"/>
                    <a:gd name="connsiteX14" fmla="*/ 5769 w 545693"/>
                    <a:gd name="connsiteY14" fmla="*/ 449906 h 505924"/>
                    <a:gd name="connsiteX0" fmla="*/ 21286 w 561210"/>
                    <a:gd name="connsiteY0" fmla="*/ 449906 h 508025"/>
                    <a:gd name="connsiteX1" fmla="*/ 24461 w 561210"/>
                    <a:gd name="connsiteY1" fmla="*/ 214956 h 508025"/>
                    <a:gd name="connsiteX2" fmla="*/ 40336 w 561210"/>
                    <a:gd name="connsiteY2" fmla="*/ 176856 h 508025"/>
                    <a:gd name="connsiteX3" fmla="*/ 87961 w 561210"/>
                    <a:gd name="connsiteY3" fmla="*/ 160981 h 508025"/>
                    <a:gd name="connsiteX4" fmla="*/ 189561 w 561210"/>
                    <a:gd name="connsiteY4" fmla="*/ 154631 h 508025"/>
                    <a:gd name="connsiteX5" fmla="*/ 214961 w 561210"/>
                    <a:gd name="connsiteY5" fmla="*/ 151456 h 508025"/>
                    <a:gd name="connsiteX6" fmla="*/ 218136 w 561210"/>
                    <a:gd name="connsiteY6" fmla="*/ 18106 h 508025"/>
                    <a:gd name="connsiteX7" fmla="*/ 329261 w 561210"/>
                    <a:gd name="connsiteY7" fmla="*/ 14931 h 508025"/>
                    <a:gd name="connsiteX8" fmla="*/ 329261 w 561210"/>
                    <a:gd name="connsiteY8" fmla="*/ 145106 h 508025"/>
                    <a:gd name="connsiteX9" fmla="*/ 370536 w 561210"/>
                    <a:gd name="connsiteY9" fmla="*/ 151456 h 508025"/>
                    <a:gd name="connsiteX10" fmla="*/ 462611 w 561210"/>
                    <a:gd name="connsiteY10" fmla="*/ 164156 h 508025"/>
                    <a:gd name="connsiteX11" fmla="*/ 503886 w 561210"/>
                    <a:gd name="connsiteY11" fmla="*/ 189556 h 508025"/>
                    <a:gd name="connsiteX12" fmla="*/ 526111 w 561210"/>
                    <a:gd name="connsiteY12" fmla="*/ 234006 h 508025"/>
                    <a:gd name="connsiteX13" fmla="*/ 522936 w 561210"/>
                    <a:gd name="connsiteY13" fmla="*/ 488006 h 508025"/>
                    <a:gd name="connsiteX14" fmla="*/ 21286 w 561210"/>
                    <a:gd name="connsiteY14" fmla="*/ 449906 h 508025"/>
                    <a:gd name="connsiteX0" fmla="*/ 21286 w 561210"/>
                    <a:gd name="connsiteY0" fmla="*/ 449906 h 508025"/>
                    <a:gd name="connsiteX1" fmla="*/ 24461 w 561210"/>
                    <a:gd name="connsiteY1" fmla="*/ 214956 h 508025"/>
                    <a:gd name="connsiteX2" fmla="*/ 40336 w 561210"/>
                    <a:gd name="connsiteY2" fmla="*/ 176856 h 508025"/>
                    <a:gd name="connsiteX3" fmla="*/ 87961 w 561210"/>
                    <a:gd name="connsiteY3" fmla="*/ 160981 h 508025"/>
                    <a:gd name="connsiteX4" fmla="*/ 189561 w 561210"/>
                    <a:gd name="connsiteY4" fmla="*/ 154631 h 508025"/>
                    <a:gd name="connsiteX5" fmla="*/ 214961 w 561210"/>
                    <a:gd name="connsiteY5" fmla="*/ 151456 h 508025"/>
                    <a:gd name="connsiteX6" fmla="*/ 218136 w 561210"/>
                    <a:gd name="connsiteY6" fmla="*/ 18106 h 508025"/>
                    <a:gd name="connsiteX7" fmla="*/ 329261 w 561210"/>
                    <a:gd name="connsiteY7" fmla="*/ 14931 h 508025"/>
                    <a:gd name="connsiteX8" fmla="*/ 329261 w 561210"/>
                    <a:gd name="connsiteY8" fmla="*/ 145106 h 508025"/>
                    <a:gd name="connsiteX9" fmla="*/ 370536 w 561210"/>
                    <a:gd name="connsiteY9" fmla="*/ 151456 h 508025"/>
                    <a:gd name="connsiteX10" fmla="*/ 462611 w 561210"/>
                    <a:gd name="connsiteY10" fmla="*/ 164156 h 508025"/>
                    <a:gd name="connsiteX11" fmla="*/ 503886 w 561210"/>
                    <a:gd name="connsiteY11" fmla="*/ 189556 h 508025"/>
                    <a:gd name="connsiteX12" fmla="*/ 526111 w 561210"/>
                    <a:gd name="connsiteY12" fmla="*/ 234006 h 508025"/>
                    <a:gd name="connsiteX13" fmla="*/ 522936 w 561210"/>
                    <a:gd name="connsiteY13" fmla="*/ 488006 h 508025"/>
                    <a:gd name="connsiteX14" fmla="*/ 21286 w 561210"/>
                    <a:gd name="connsiteY14" fmla="*/ 449906 h 508025"/>
                    <a:gd name="connsiteX0" fmla="*/ 4360 w 544284"/>
                    <a:gd name="connsiteY0" fmla="*/ 449906 h 508025"/>
                    <a:gd name="connsiteX1" fmla="*/ 7535 w 544284"/>
                    <a:gd name="connsiteY1" fmla="*/ 214956 h 508025"/>
                    <a:gd name="connsiteX2" fmla="*/ 23410 w 544284"/>
                    <a:gd name="connsiteY2" fmla="*/ 176856 h 508025"/>
                    <a:gd name="connsiteX3" fmla="*/ 71035 w 544284"/>
                    <a:gd name="connsiteY3" fmla="*/ 160981 h 508025"/>
                    <a:gd name="connsiteX4" fmla="*/ 172635 w 544284"/>
                    <a:gd name="connsiteY4" fmla="*/ 154631 h 508025"/>
                    <a:gd name="connsiteX5" fmla="*/ 198035 w 544284"/>
                    <a:gd name="connsiteY5" fmla="*/ 151456 h 508025"/>
                    <a:gd name="connsiteX6" fmla="*/ 201210 w 544284"/>
                    <a:gd name="connsiteY6" fmla="*/ 18106 h 508025"/>
                    <a:gd name="connsiteX7" fmla="*/ 312335 w 544284"/>
                    <a:gd name="connsiteY7" fmla="*/ 14931 h 508025"/>
                    <a:gd name="connsiteX8" fmla="*/ 312335 w 544284"/>
                    <a:gd name="connsiteY8" fmla="*/ 145106 h 508025"/>
                    <a:gd name="connsiteX9" fmla="*/ 353610 w 544284"/>
                    <a:gd name="connsiteY9" fmla="*/ 151456 h 508025"/>
                    <a:gd name="connsiteX10" fmla="*/ 445685 w 544284"/>
                    <a:gd name="connsiteY10" fmla="*/ 164156 h 508025"/>
                    <a:gd name="connsiteX11" fmla="*/ 486960 w 544284"/>
                    <a:gd name="connsiteY11" fmla="*/ 189556 h 508025"/>
                    <a:gd name="connsiteX12" fmla="*/ 509185 w 544284"/>
                    <a:gd name="connsiteY12" fmla="*/ 234006 h 508025"/>
                    <a:gd name="connsiteX13" fmla="*/ 506010 w 544284"/>
                    <a:gd name="connsiteY13" fmla="*/ 488006 h 508025"/>
                    <a:gd name="connsiteX14" fmla="*/ 4360 w 544284"/>
                    <a:gd name="connsiteY14" fmla="*/ 449906 h 508025"/>
                    <a:gd name="connsiteX0" fmla="*/ 4360 w 544284"/>
                    <a:gd name="connsiteY0" fmla="*/ 449906 h 500804"/>
                    <a:gd name="connsiteX1" fmla="*/ 7535 w 544284"/>
                    <a:gd name="connsiteY1" fmla="*/ 214956 h 500804"/>
                    <a:gd name="connsiteX2" fmla="*/ 23410 w 544284"/>
                    <a:gd name="connsiteY2" fmla="*/ 176856 h 500804"/>
                    <a:gd name="connsiteX3" fmla="*/ 71035 w 544284"/>
                    <a:gd name="connsiteY3" fmla="*/ 160981 h 500804"/>
                    <a:gd name="connsiteX4" fmla="*/ 172635 w 544284"/>
                    <a:gd name="connsiteY4" fmla="*/ 154631 h 500804"/>
                    <a:gd name="connsiteX5" fmla="*/ 198035 w 544284"/>
                    <a:gd name="connsiteY5" fmla="*/ 151456 h 500804"/>
                    <a:gd name="connsiteX6" fmla="*/ 201210 w 544284"/>
                    <a:gd name="connsiteY6" fmla="*/ 18106 h 500804"/>
                    <a:gd name="connsiteX7" fmla="*/ 312335 w 544284"/>
                    <a:gd name="connsiteY7" fmla="*/ 14931 h 500804"/>
                    <a:gd name="connsiteX8" fmla="*/ 312335 w 544284"/>
                    <a:gd name="connsiteY8" fmla="*/ 145106 h 500804"/>
                    <a:gd name="connsiteX9" fmla="*/ 353610 w 544284"/>
                    <a:gd name="connsiteY9" fmla="*/ 151456 h 500804"/>
                    <a:gd name="connsiteX10" fmla="*/ 445685 w 544284"/>
                    <a:gd name="connsiteY10" fmla="*/ 164156 h 500804"/>
                    <a:gd name="connsiteX11" fmla="*/ 486960 w 544284"/>
                    <a:gd name="connsiteY11" fmla="*/ 189556 h 500804"/>
                    <a:gd name="connsiteX12" fmla="*/ 509185 w 544284"/>
                    <a:gd name="connsiteY12" fmla="*/ 234006 h 500804"/>
                    <a:gd name="connsiteX13" fmla="*/ 506010 w 544284"/>
                    <a:gd name="connsiteY13" fmla="*/ 488006 h 500804"/>
                    <a:gd name="connsiteX14" fmla="*/ 4360 w 544284"/>
                    <a:gd name="connsiteY14" fmla="*/ 449906 h 500804"/>
                    <a:gd name="connsiteX0" fmla="*/ 4360 w 544284"/>
                    <a:gd name="connsiteY0" fmla="*/ 449906 h 500804"/>
                    <a:gd name="connsiteX1" fmla="*/ 7535 w 544284"/>
                    <a:gd name="connsiteY1" fmla="*/ 214956 h 500804"/>
                    <a:gd name="connsiteX2" fmla="*/ 23410 w 544284"/>
                    <a:gd name="connsiteY2" fmla="*/ 176856 h 500804"/>
                    <a:gd name="connsiteX3" fmla="*/ 71035 w 544284"/>
                    <a:gd name="connsiteY3" fmla="*/ 160981 h 500804"/>
                    <a:gd name="connsiteX4" fmla="*/ 172635 w 544284"/>
                    <a:gd name="connsiteY4" fmla="*/ 154631 h 500804"/>
                    <a:gd name="connsiteX5" fmla="*/ 198035 w 544284"/>
                    <a:gd name="connsiteY5" fmla="*/ 151456 h 500804"/>
                    <a:gd name="connsiteX6" fmla="*/ 201210 w 544284"/>
                    <a:gd name="connsiteY6" fmla="*/ 18106 h 500804"/>
                    <a:gd name="connsiteX7" fmla="*/ 312335 w 544284"/>
                    <a:gd name="connsiteY7" fmla="*/ 14931 h 500804"/>
                    <a:gd name="connsiteX8" fmla="*/ 312335 w 544284"/>
                    <a:gd name="connsiteY8" fmla="*/ 145106 h 500804"/>
                    <a:gd name="connsiteX9" fmla="*/ 353610 w 544284"/>
                    <a:gd name="connsiteY9" fmla="*/ 151456 h 500804"/>
                    <a:gd name="connsiteX10" fmla="*/ 445685 w 544284"/>
                    <a:gd name="connsiteY10" fmla="*/ 164156 h 500804"/>
                    <a:gd name="connsiteX11" fmla="*/ 486960 w 544284"/>
                    <a:gd name="connsiteY11" fmla="*/ 189556 h 500804"/>
                    <a:gd name="connsiteX12" fmla="*/ 509185 w 544284"/>
                    <a:gd name="connsiteY12" fmla="*/ 234006 h 500804"/>
                    <a:gd name="connsiteX13" fmla="*/ 506010 w 544284"/>
                    <a:gd name="connsiteY13" fmla="*/ 488006 h 500804"/>
                    <a:gd name="connsiteX14" fmla="*/ 4360 w 544284"/>
                    <a:gd name="connsiteY14" fmla="*/ 449906 h 500804"/>
                    <a:gd name="connsiteX0" fmla="*/ 4360 w 519024"/>
                    <a:gd name="connsiteY0" fmla="*/ 449906 h 500804"/>
                    <a:gd name="connsiteX1" fmla="*/ 7535 w 519024"/>
                    <a:gd name="connsiteY1" fmla="*/ 214956 h 500804"/>
                    <a:gd name="connsiteX2" fmla="*/ 23410 w 519024"/>
                    <a:gd name="connsiteY2" fmla="*/ 176856 h 500804"/>
                    <a:gd name="connsiteX3" fmla="*/ 71035 w 519024"/>
                    <a:gd name="connsiteY3" fmla="*/ 160981 h 500804"/>
                    <a:gd name="connsiteX4" fmla="*/ 172635 w 519024"/>
                    <a:gd name="connsiteY4" fmla="*/ 154631 h 500804"/>
                    <a:gd name="connsiteX5" fmla="*/ 198035 w 519024"/>
                    <a:gd name="connsiteY5" fmla="*/ 151456 h 500804"/>
                    <a:gd name="connsiteX6" fmla="*/ 201210 w 519024"/>
                    <a:gd name="connsiteY6" fmla="*/ 18106 h 500804"/>
                    <a:gd name="connsiteX7" fmla="*/ 312335 w 519024"/>
                    <a:gd name="connsiteY7" fmla="*/ 14931 h 500804"/>
                    <a:gd name="connsiteX8" fmla="*/ 312335 w 519024"/>
                    <a:gd name="connsiteY8" fmla="*/ 145106 h 500804"/>
                    <a:gd name="connsiteX9" fmla="*/ 353610 w 519024"/>
                    <a:gd name="connsiteY9" fmla="*/ 151456 h 500804"/>
                    <a:gd name="connsiteX10" fmla="*/ 445685 w 519024"/>
                    <a:gd name="connsiteY10" fmla="*/ 164156 h 500804"/>
                    <a:gd name="connsiteX11" fmla="*/ 486960 w 519024"/>
                    <a:gd name="connsiteY11" fmla="*/ 189556 h 500804"/>
                    <a:gd name="connsiteX12" fmla="*/ 509185 w 519024"/>
                    <a:gd name="connsiteY12" fmla="*/ 234006 h 500804"/>
                    <a:gd name="connsiteX13" fmla="*/ 506010 w 519024"/>
                    <a:gd name="connsiteY13" fmla="*/ 488006 h 500804"/>
                    <a:gd name="connsiteX14" fmla="*/ 4360 w 519024"/>
                    <a:gd name="connsiteY14" fmla="*/ 449906 h 500804"/>
                    <a:gd name="connsiteX0" fmla="*/ 4360 w 519024"/>
                    <a:gd name="connsiteY0" fmla="*/ 449906 h 488006"/>
                    <a:gd name="connsiteX1" fmla="*/ 7535 w 519024"/>
                    <a:gd name="connsiteY1" fmla="*/ 214956 h 488006"/>
                    <a:gd name="connsiteX2" fmla="*/ 23410 w 519024"/>
                    <a:gd name="connsiteY2" fmla="*/ 176856 h 488006"/>
                    <a:gd name="connsiteX3" fmla="*/ 71035 w 519024"/>
                    <a:gd name="connsiteY3" fmla="*/ 160981 h 488006"/>
                    <a:gd name="connsiteX4" fmla="*/ 172635 w 519024"/>
                    <a:gd name="connsiteY4" fmla="*/ 154631 h 488006"/>
                    <a:gd name="connsiteX5" fmla="*/ 198035 w 519024"/>
                    <a:gd name="connsiteY5" fmla="*/ 151456 h 488006"/>
                    <a:gd name="connsiteX6" fmla="*/ 201210 w 519024"/>
                    <a:gd name="connsiteY6" fmla="*/ 18106 h 488006"/>
                    <a:gd name="connsiteX7" fmla="*/ 312335 w 519024"/>
                    <a:gd name="connsiteY7" fmla="*/ 14931 h 488006"/>
                    <a:gd name="connsiteX8" fmla="*/ 312335 w 519024"/>
                    <a:gd name="connsiteY8" fmla="*/ 145106 h 488006"/>
                    <a:gd name="connsiteX9" fmla="*/ 353610 w 519024"/>
                    <a:gd name="connsiteY9" fmla="*/ 151456 h 488006"/>
                    <a:gd name="connsiteX10" fmla="*/ 445685 w 519024"/>
                    <a:gd name="connsiteY10" fmla="*/ 164156 h 488006"/>
                    <a:gd name="connsiteX11" fmla="*/ 486960 w 519024"/>
                    <a:gd name="connsiteY11" fmla="*/ 189556 h 488006"/>
                    <a:gd name="connsiteX12" fmla="*/ 509185 w 519024"/>
                    <a:gd name="connsiteY12" fmla="*/ 234006 h 488006"/>
                    <a:gd name="connsiteX13" fmla="*/ 506010 w 519024"/>
                    <a:gd name="connsiteY13" fmla="*/ 488006 h 488006"/>
                    <a:gd name="connsiteX14" fmla="*/ 4360 w 519024"/>
                    <a:gd name="connsiteY14" fmla="*/ 449906 h 488006"/>
                    <a:gd name="connsiteX0" fmla="*/ 4360 w 523534"/>
                    <a:gd name="connsiteY0" fmla="*/ 449906 h 472131"/>
                    <a:gd name="connsiteX1" fmla="*/ 7535 w 523534"/>
                    <a:gd name="connsiteY1" fmla="*/ 214956 h 472131"/>
                    <a:gd name="connsiteX2" fmla="*/ 23410 w 523534"/>
                    <a:gd name="connsiteY2" fmla="*/ 176856 h 472131"/>
                    <a:gd name="connsiteX3" fmla="*/ 71035 w 523534"/>
                    <a:gd name="connsiteY3" fmla="*/ 160981 h 472131"/>
                    <a:gd name="connsiteX4" fmla="*/ 172635 w 523534"/>
                    <a:gd name="connsiteY4" fmla="*/ 154631 h 472131"/>
                    <a:gd name="connsiteX5" fmla="*/ 198035 w 523534"/>
                    <a:gd name="connsiteY5" fmla="*/ 151456 h 472131"/>
                    <a:gd name="connsiteX6" fmla="*/ 201210 w 523534"/>
                    <a:gd name="connsiteY6" fmla="*/ 18106 h 472131"/>
                    <a:gd name="connsiteX7" fmla="*/ 312335 w 523534"/>
                    <a:gd name="connsiteY7" fmla="*/ 14931 h 472131"/>
                    <a:gd name="connsiteX8" fmla="*/ 312335 w 523534"/>
                    <a:gd name="connsiteY8" fmla="*/ 145106 h 472131"/>
                    <a:gd name="connsiteX9" fmla="*/ 353610 w 523534"/>
                    <a:gd name="connsiteY9" fmla="*/ 151456 h 472131"/>
                    <a:gd name="connsiteX10" fmla="*/ 445685 w 523534"/>
                    <a:gd name="connsiteY10" fmla="*/ 164156 h 472131"/>
                    <a:gd name="connsiteX11" fmla="*/ 486960 w 523534"/>
                    <a:gd name="connsiteY11" fmla="*/ 189556 h 472131"/>
                    <a:gd name="connsiteX12" fmla="*/ 509185 w 523534"/>
                    <a:gd name="connsiteY12" fmla="*/ 234006 h 472131"/>
                    <a:gd name="connsiteX13" fmla="*/ 512360 w 523534"/>
                    <a:gd name="connsiteY13" fmla="*/ 472131 h 472131"/>
                    <a:gd name="connsiteX14" fmla="*/ 4360 w 523534"/>
                    <a:gd name="connsiteY14" fmla="*/ 449906 h 472131"/>
                    <a:gd name="connsiteX0" fmla="*/ 4360 w 513675"/>
                    <a:gd name="connsiteY0" fmla="*/ 449906 h 472131"/>
                    <a:gd name="connsiteX1" fmla="*/ 7535 w 513675"/>
                    <a:gd name="connsiteY1" fmla="*/ 214956 h 472131"/>
                    <a:gd name="connsiteX2" fmla="*/ 23410 w 513675"/>
                    <a:gd name="connsiteY2" fmla="*/ 176856 h 472131"/>
                    <a:gd name="connsiteX3" fmla="*/ 71035 w 513675"/>
                    <a:gd name="connsiteY3" fmla="*/ 160981 h 472131"/>
                    <a:gd name="connsiteX4" fmla="*/ 172635 w 513675"/>
                    <a:gd name="connsiteY4" fmla="*/ 154631 h 472131"/>
                    <a:gd name="connsiteX5" fmla="*/ 198035 w 513675"/>
                    <a:gd name="connsiteY5" fmla="*/ 151456 h 472131"/>
                    <a:gd name="connsiteX6" fmla="*/ 201210 w 513675"/>
                    <a:gd name="connsiteY6" fmla="*/ 18106 h 472131"/>
                    <a:gd name="connsiteX7" fmla="*/ 312335 w 513675"/>
                    <a:gd name="connsiteY7" fmla="*/ 14931 h 472131"/>
                    <a:gd name="connsiteX8" fmla="*/ 312335 w 513675"/>
                    <a:gd name="connsiteY8" fmla="*/ 145106 h 472131"/>
                    <a:gd name="connsiteX9" fmla="*/ 353610 w 513675"/>
                    <a:gd name="connsiteY9" fmla="*/ 151456 h 472131"/>
                    <a:gd name="connsiteX10" fmla="*/ 445685 w 513675"/>
                    <a:gd name="connsiteY10" fmla="*/ 164156 h 472131"/>
                    <a:gd name="connsiteX11" fmla="*/ 486960 w 513675"/>
                    <a:gd name="connsiteY11" fmla="*/ 189556 h 472131"/>
                    <a:gd name="connsiteX12" fmla="*/ 509185 w 513675"/>
                    <a:gd name="connsiteY12" fmla="*/ 234006 h 472131"/>
                    <a:gd name="connsiteX13" fmla="*/ 512360 w 513675"/>
                    <a:gd name="connsiteY13" fmla="*/ 472131 h 472131"/>
                    <a:gd name="connsiteX14" fmla="*/ 4360 w 513675"/>
                    <a:gd name="connsiteY14" fmla="*/ 449906 h 472131"/>
                    <a:gd name="connsiteX0" fmla="*/ 4360 w 513675"/>
                    <a:gd name="connsiteY0" fmla="*/ 446969 h 469194"/>
                    <a:gd name="connsiteX1" fmla="*/ 7535 w 513675"/>
                    <a:gd name="connsiteY1" fmla="*/ 212019 h 469194"/>
                    <a:gd name="connsiteX2" fmla="*/ 23410 w 513675"/>
                    <a:gd name="connsiteY2" fmla="*/ 173919 h 469194"/>
                    <a:gd name="connsiteX3" fmla="*/ 71035 w 513675"/>
                    <a:gd name="connsiteY3" fmla="*/ 158044 h 469194"/>
                    <a:gd name="connsiteX4" fmla="*/ 172635 w 513675"/>
                    <a:gd name="connsiteY4" fmla="*/ 151694 h 469194"/>
                    <a:gd name="connsiteX5" fmla="*/ 188510 w 513675"/>
                    <a:gd name="connsiteY5" fmla="*/ 94544 h 469194"/>
                    <a:gd name="connsiteX6" fmla="*/ 201210 w 513675"/>
                    <a:gd name="connsiteY6" fmla="*/ 15169 h 469194"/>
                    <a:gd name="connsiteX7" fmla="*/ 312335 w 513675"/>
                    <a:gd name="connsiteY7" fmla="*/ 11994 h 469194"/>
                    <a:gd name="connsiteX8" fmla="*/ 312335 w 513675"/>
                    <a:gd name="connsiteY8" fmla="*/ 142169 h 469194"/>
                    <a:gd name="connsiteX9" fmla="*/ 353610 w 513675"/>
                    <a:gd name="connsiteY9" fmla="*/ 148519 h 469194"/>
                    <a:gd name="connsiteX10" fmla="*/ 445685 w 513675"/>
                    <a:gd name="connsiteY10" fmla="*/ 161219 h 469194"/>
                    <a:gd name="connsiteX11" fmla="*/ 486960 w 513675"/>
                    <a:gd name="connsiteY11" fmla="*/ 186619 h 469194"/>
                    <a:gd name="connsiteX12" fmla="*/ 509185 w 513675"/>
                    <a:gd name="connsiteY12" fmla="*/ 231069 h 469194"/>
                    <a:gd name="connsiteX13" fmla="*/ 512360 w 513675"/>
                    <a:gd name="connsiteY13" fmla="*/ 469194 h 469194"/>
                    <a:gd name="connsiteX14" fmla="*/ 4360 w 513675"/>
                    <a:gd name="connsiteY14" fmla="*/ 446969 h 469194"/>
                    <a:gd name="connsiteX0" fmla="*/ 4360 w 513675"/>
                    <a:gd name="connsiteY0" fmla="*/ 443409 h 465634"/>
                    <a:gd name="connsiteX1" fmla="*/ 7535 w 513675"/>
                    <a:gd name="connsiteY1" fmla="*/ 208459 h 465634"/>
                    <a:gd name="connsiteX2" fmla="*/ 23410 w 513675"/>
                    <a:gd name="connsiteY2" fmla="*/ 170359 h 465634"/>
                    <a:gd name="connsiteX3" fmla="*/ 71035 w 513675"/>
                    <a:gd name="connsiteY3" fmla="*/ 154484 h 465634"/>
                    <a:gd name="connsiteX4" fmla="*/ 172635 w 513675"/>
                    <a:gd name="connsiteY4" fmla="*/ 148134 h 465634"/>
                    <a:gd name="connsiteX5" fmla="*/ 188510 w 513675"/>
                    <a:gd name="connsiteY5" fmla="*/ 90984 h 465634"/>
                    <a:gd name="connsiteX6" fmla="*/ 201210 w 513675"/>
                    <a:gd name="connsiteY6" fmla="*/ 11609 h 465634"/>
                    <a:gd name="connsiteX7" fmla="*/ 312335 w 513675"/>
                    <a:gd name="connsiteY7" fmla="*/ 8434 h 465634"/>
                    <a:gd name="connsiteX8" fmla="*/ 312335 w 513675"/>
                    <a:gd name="connsiteY8" fmla="*/ 87809 h 465634"/>
                    <a:gd name="connsiteX9" fmla="*/ 353610 w 513675"/>
                    <a:gd name="connsiteY9" fmla="*/ 144959 h 465634"/>
                    <a:gd name="connsiteX10" fmla="*/ 445685 w 513675"/>
                    <a:gd name="connsiteY10" fmla="*/ 157659 h 465634"/>
                    <a:gd name="connsiteX11" fmla="*/ 486960 w 513675"/>
                    <a:gd name="connsiteY11" fmla="*/ 183059 h 465634"/>
                    <a:gd name="connsiteX12" fmla="*/ 509185 w 513675"/>
                    <a:gd name="connsiteY12" fmla="*/ 227509 h 465634"/>
                    <a:gd name="connsiteX13" fmla="*/ 512360 w 513675"/>
                    <a:gd name="connsiteY13" fmla="*/ 465634 h 465634"/>
                    <a:gd name="connsiteX14" fmla="*/ 4360 w 513675"/>
                    <a:gd name="connsiteY14" fmla="*/ 443409 h 465634"/>
                    <a:gd name="connsiteX0" fmla="*/ 4360 w 513675"/>
                    <a:gd name="connsiteY0" fmla="*/ 443409 h 465634"/>
                    <a:gd name="connsiteX1" fmla="*/ 7535 w 513675"/>
                    <a:gd name="connsiteY1" fmla="*/ 208459 h 465634"/>
                    <a:gd name="connsiteX2" fmla="*/ 23410 w 513675"/>
                    <a:gd name="connsiteY2" fmla="*/ 170359 h 465634"/>
                    <a:gd name="connsiteX3" fmla="*/ 71035 w 513675"/>
                    <a:gd name="connsiteY3" fmla="*/ 154484 h 465634"/>
                    <a:gd name="connsiteX4" fmla="*/ 172635 w 513675"/>
                    <a:gd name="connsiteY4" fmla="*/ 148134 h 465634"/>
                    <a:gd name="connsiteX5" fmla="*/ 188510 w 513675"/>
                    <a:gd name="connsiteY5" fmla="*/ 90984 h 465634"/>
                    <a:gd name="connsiteX6" fmla="*/ 201210 w 513675"/>
                    <a:gd name="connsiteY6" fmla="*/ 11609 h 465634"/>
                    <a:gd name="connsiteX7" fmla="*/ 312335 w 513675"/>
                    <a:gd name="connsiteY7" fmla="*/ 8434 h 465634"/>
                    <a:gd name="connsiteX8" fmla="*/ 312335 w 513675"/>
                    <a:gd name="connsiteY8" fmla="*/ 87809 h 465634"/>
                    <a:gd name="connsiteX9" fmla="*/ 334560 w 513675"/>
                    <a:gd name="connsiteY9" fmla="*/ 135434 h 465634"/>
                    <a:gd name="connsiteX10" fmla="*/ 445685 w 513675"/>
                    <a:gd name="connsiteY10" fmla="*/ 157659 h 465634"/>
                    <a:gd name="connsiteX11" fmla="*/ 486960 w 513675"/>
                    <a:gd name="connsiteY11" fmla="*/ 183059 h 465634"/>
                    <a:gd name="connsiteX12" fmla="*/ 509185 w 513675"/>
                    <a:gd name="connsiteY12" fmla="*/ 227509 h 465634"/>
                    <a:gd name="connsiteX13" fmla="*/ 512360 w 513675"/>
                    <a:gd name="connsiteY13" fmla="*/ 465634 h 465634"/>
                    <a:gd name="connsiteX14" fmla="*/ 4360 w 513675"/>
                    <a:gd name="connsiteY14" fmla="*/ 443409 h 465634"/>
                    <a:gd name="connsiteX0" fmla="*/ 4360 w 510500"/>
                    <a:gd name="connsiteY0" fmla="*/ 443409 h 449759"/>
                    <a:gd name="connsiteX1" fmla="*/ 7535 w 510500"/>
                    <a:gd name="connsiteY1" fmla="*/ 208459 h 449759"/>
                    <a:gd name="connsiteX2" fmla="*/ 23410 w 510500"/>
                    <a:gd name="connsiteY2" fmla="*/ 170359 h 449759"/>
                    <a:gd name="connsiteX3" fmla="*/ 71035 w 510500"/>
                    <a:gd name="connsiteY3" fmla="*/ 154484 h 449759"/>
                    <a:gd name="connsiteX4" fmla="*/ 172635 w 510500"/>
                    <a:gd name="connsiteY4" fmla="*/ 148134 h 449759"/>
                    <a:gd name="connsiteX5" fmla="*/ 188510 w 510500"/>
                    <a:gd name="connsiteY5" fmla="*/ 90984 h 449759"/>
                    <a:gd name="connsiteX6" fmla="*/ 201210 w 510500"/>
                    <a:gd name="connsiteY6" fmla="*/ 11609 h 449759"/>
                    <a:gd name="connsiteX7" fmla="*/ 312335 w 510500"/>
                    <a:gd name="connsiteY7" fmla="*/ 8434 h 449759"/>
                    <a:gd name="connsiteX8" fmla="*/ 312335 w 510500"/>
                    <a:gd name="connsiteY8" fmla="*/ 87809 h 449759"/>
                    <a:gd name="connsiteX9" fmla="*/ 334560 w 510500"/>
                    <a:gd name="connsiteY9" fmla="*/ 135434 h 449759"/>
                    <a:gd name="connsiteX10" fmla="*/ 445685 w 510500"/>
                    <a:gd name="connsiteY10" fmla="*/ 157659 h 449759"/>
                    <a:gd name="connsiteX11" fmla="*/ 486960 w 510500"/>
                    <a:gd name="connsiteY11" fmla="*/ 183059 h 449759"/>
                    <a:gd name="connsiteX12" fmla="*/ 509185 w 510500"/>
                    <a:gd name="connsiteY12" fmla="*/ 227509 h 449759"/>
                    <a:gd name="connsiteX13" fmla="*/ 506010 w 510500"/>
                    <a:gd name="connsiteY13" fmla="*/ 449759 h 449759"/>
                    <a:gd name="connsiteX14" fmla="*/ 4360 w 510500"/>
                    <a:gd name="connsiteY14" fmla="*/ 443409 h 449759"/>
                    <a:gd name="connsiteX0" fmla="*/ 4360 w 510500"/>
                    <a:gd name="connsiteY0" fmla="*/ 443409 h 454926"/>
                    <a:gd name="connsiteX1" fmla="*/ 7535 w 510500"/>
                    <a:gd name="connsiteY1" fmla="*/ 208459 h 454926"/>
                    <a:gd name="connsiteX2" fmla="*/ 23410 w 510500"/>
                    <a:gd name="connsiteY2" fmla="*/ 170359 h 454926"/>
                    <a:gd name="connsiteX3" fmla="*/ 71035 w 510500"/>
                    <a:gd name="connsiteY3" fmla="*/ 154484 h 454926"/>
                    <a:gd name="connsiteX4" fmla="*/ 172635 w 510500"/>
                    <a:gd name="connsiteY4" fmla="*/ 148134 h 454926"/>
                    <a:gd name="connsiteX5" fmla="*/ 188510 w 510500"/>
                    <a:gd name="connsiteY5" fmla="*/ 90984 h 454926"/>
                    <a:gd name="connsiteX6" fmla="*/ 201210 w 510500"/>
                    <a:gd name="connsiteY6" fmla="*/ 11609 h 454926"/>
                    <a:gd name="connsiteX7" fmla="*/ 312335 w 510500"/>
                    <a:gd name="connsiteY7" fmla="*/ 8434 h 454926"/>
                    <a:gd name="connsiteX8" fmla="*/ 312335 w 510500"/>
                    <a:gd name="connsiteY8" fmla="*/ 87809 h 454926"/>
                    <a:gd name="connsiteX9" fmla="*/ 334560 w 510500"/>
                    <a:gd name="connsiteY9" fmla="*/ 135434 h 454926"/>
                    <a:gd name="connsiteX10" fmla="*/ 445685 w 510500"/>
                    <a:gd name="connsiteY10" fmla="*/ 157659 h 454926"/>
                    <a:gd name="connsiteX11" fmla="*/ 486960 w 510500"/>
                    <a:gd name="connsiteY11" fmla="*/ 183059 h 454926"/>
                    <a:gd name="connsiteX12" fmla="*/ 509185 w 510500"/>
                    <a:gd name="connsiteY12" fmla="*/ 227509 h 454926"/>
                    <a:gd name="connsiteX13" fmla="*/ 506010 w 510500"/>
                    <a:gd name="connsiteY13" fmla="*/ 449759 h 454926"/>
                    <a:gd name="connsiteX14" fmla="*/ 4360 w 510500"/>
                    <a:gd name="connsiteY14" fmla="*/ 443409 h 454926"/>
                    <a:gd name="connsiteX0" fmla="*/ 6473 w 512613"/>
                    <a:gd name="connsiteY0" fmla="*/ 443409 h 454926"/>
                    <a:gd name="connsiteX1" fmla="*/ 9648 w 512613"/>
                    <a:gd name="connsiteY1" fmla="*/ 208459 h 454926"/>
                    <a:gd name="connsiteX2" fmla="*/ 73148 w 512613"/>
                    <a:gd name="connsiteY2" fmla="*/ 154484 h 454926"/>
                    <a:gd name="connsiteX3" fmla="*/ 174748 w 512613"/>
                    <a:gd name="connsiteY3" fmla="*/ 148134 h 454926"/>
                    <a:gd name="connsiteX4" fmla="*/ 190623 w 512613"/>
                    <a:gd name="connsiteY4" fmla="*/ 90984 h 454926"/>
                    <a:gd name="connsiteX5" fmla="*/ 203323 w 512613"/>
                    <a:gd name="connsiteY5" fmla="*/ 11609 h 454926"/>
                    <a:gd name="connsiteX6" fmla="*/ 314448 w 512613"/>
                    <a:gd name="connsiteY6" fmla="*/ 8434 h 454926"/>
                    <a:gd name="connsiteX7" fmla="*/ 314448 w 512613"/>
                    <a:gd name="connsiteY7" fmla="*/ 87809 h 454926"/>
                    <a:gd name="connsiteX8" fmla="*/ 336673 w 512613"/>
                    <a:gd name="connsiteY8" fmla="*/ 135434 h 454926"/>
                    <a:gd name="connsiteX9" fmla="*/ 447798 w 512613"/>
                    <a:gd name="connsiteY9" fmla="*/ 157659 h 454926"/>
                    <a:gd name="connsiteX10" fmla="*/ 489073 w 512613"/>
                    <a:gd name="connsiteY10" fmla="*/ 183059 h 454926"/>
                    <a:gd name="connsiteX11" fmla="*/ 511298 w 512613"/>
                    <a:gd name="connsiteY11" fmla="*/ 227509 h 454926"/>
                    <a:gd name="connsiteX12" fmla="*/ 508123 w 512613"/>
                    <a:gd name="connsiteY12" fmla="*/ 449759 h 454926"/>
                    <a:gd name="connsiteX13" fmla="*/ 6473 w 512613"/>
                    <a:gd name="connsiteY13" fmla="*/ 443409 h 454926"/>
                    <a:gd name="connsiteX0" fmla="*/ 4049 w 510189"/>
                    <a:gd name="connsiteY0" fmla="*/ 443409 h 454926"/>
                    <a:gd name="connsiteX1" fmla="*/ 7224 w 510189"/>
                    <a:gd name="connsiteY1" fmla="*/ 208459 h 454926"/>
                    <a:gd name="connsiteX2" fmla="*/ 70724 w 510189"/>
                    <a:gd name="connsiteY2" fmla="*/ 154484 h 454926"/>
                    <a:gd name="connsiteX3" fmla="*/ 172324 w 510189"/>
                    <a:gd name="connsiteY3" fmla="*/ 148134 h 454926"/>
                    <a:gd name="connsiteX4" fmla="*/ 188199 w 510189"/>
                    <a:gd name="connsiteY4" fmla="*/ 90984 h 454926"/>
                    <a:gd name="connsiteX5" fmla="*/ 200899 w 510189"/>
                    <a:gd name="connsiteY5" fmla="*/ 11609 h 454926"/>
                    <a:gd name="connsiteX6" fmla="*/ 312024 w 510189"/>
                    <a:gd name="connsiteY6" fmla="*/ 8434 h 454926"/>
                    <a:gd name="connsiteX7" fmla="*/ 312024 w 510189"/>
                    <a:gd name="connsiteY7" fmla="*/ 87809 h 454926"/>
                    <a:gd name="connsiteX8" fmla="*/ 334249 w 510189"/>
                    <a:gd name="connsiteY8" fmla="*/ 135434 h 454926"/>
                    <a:gd name="connsiteX9" fmla="*/ 445374 w 510189"/>
                    <a:gd name="connsiteY9" fmla="*/ 157659 h 454926"/>
                    <a:gd name="connsiteX10" fmla="*/ 486649 w 510189"/>
                    <a:gd name="connsiteY10" fmla="*/ 183059 h 454926"/>
                    <a:gd name="connsiteX11" fmla="*/ 508874 w 510189"/>
                    <a:gd name="connsiteY11" fmla="*/ 227509 h 454926"/>
                    <a:gd name="connsiteX12" fmla="*/ 505699 w 510189"/>
                    <a:gd name="connsiteY12" fmla="*/ 449759 h 454926"/>
                    <a:gd name="connsiteX13" fmla="*/ 4049 w 510189"/>
                    <a:gd name="connsiteY13" fmla="*/ 443409 h 454926"/>
                    <a:gd name="connsiteX0" fmla="*/ 4049 w 510189"/>
                    <a:gd name="connsiteY0" fmla="*/ 443409 h 454926"/>
                    <a:gd name="connsiteX1" fmla="*/ 7224 w 510189"/>
                    <a:gd name="connsiteY1" fmla="*/ 208459 h 454926"/>
                    <a:gd name="connsiteX2" fmla="*/ 70724 w 510189"/>
                    <a:gd name="connsiteY2" fmla="*/ 154484 h 454926"/>
                    <a:gd name="connsiteX3" fmla="*/ 172324 w 510189"/>
                    <a:gd name="connsiteY3" fmla="*/ 148134 h 454926"/>
                    <a:gd name="connsiteX4" fmla="*/ 188199 w 510189"/>
                    <a:gd name="connsiteY4" fmla="*/ 90984 h 454926"/>
                    <a:gd name="connsiteX5" fmla="*/ 200899 w 510189"/>
                    <a:gd name="connsiteY5" fmla="*/ 11609 h 454926"/>
                    <a:gd name="connsiteX6" fmla="*/ 312024 w 510189"/>
                    <a:gd name="connsiteY6" fmla="*/ 8434 h 454926"/>
                    <a:gd name="connsiteX7" fmla="*/ 312024 w 510189"/>
                    <a:gd name="connsiteY7" fmla="*/ 87809 h 454926"/>
                    <a:gd name="connsiteX8" fmla="*/ 334249 w 510189"/>
                    <a:gd name="connsiteY8" fmla="*/ 135434 h 454926"/>
                    <a:gd name="connsiteX9" fmla="*/ 445374 w 510189"/>
                    <a:gd name="connsiteY9" fmla="*/ 157659 h 454926"/>
                    <a:gd name="connsiteX10" fmla="*/ 508874 w 510189"/>
                    <a:gd name="connsiteY10" fmla="*/ 227509 h 454926"/>
                    <a:gd name="connsiteX11" fmla="*/ 505699 w 510189"/>
                    <a:gd name="connsiteY11" fmla="*/ 449759 h 454926"/>
                    <a:gd name="connsiteX12" fmla="*/ 4049 w 510189"/>
                    <a:gd name="connsiteY12" fmla="*/ 443409 h 454926"/>
                    <a:gd name="connsiteX0" fmla="*/ 4049 w 510189"/>
                    <a:gd name="connsiteY0" fmla="*/ 443409 h 454926"/>
                    <a:gd name="connsiteX1" fmla="*/ 7224 w 510189"/>
                    <a:gd name="connsiteY1" fmla="*/ 208459 h 454926"/>
                    <a:gd name="connsiteX2" fmla="*/ 70724 w 510189"/>
                    <a:gd name="connsiteY2" fmla="*/ 154484 h 454926"/>
                    <a:gd name="connsiteX3" fmla="*/ 172324 w 510189"/>
                    <a:gd name="connsiteY3" fmla="*/ 148134 h 454926"/>
                    <a:gd name="connsiteX4" fmla="*/ 188199 w 510189"/>
                    <a:gd name="connsiteY4" fmla="*/ 90984 h 454926"/>
                    <a:gd name="connsiteX5" fmla="*/ 200899 w 510189"/>
                    <a:gd name="connsiteY5" fmla="*/ 11609 h 454926"/>
                    <a:gd name="connsiteX6" fmla="*/ 312024 w 510189"/>
                    <a:gd name="connsiteY6" fmla="*/ 8434 h 454926"/>
                    <a:gd name="connsiteX7" fmla="*/ 312024 w 510189"/>
                    <a:gd name="connsiteY7" fmla="*/ 87809 h 454926"/>
                    <a:gd name="connsiteX8" fmla="*/ 334249 w 510189"/>
                    <a:gd name="connsiteY8" fmla="*/ 135434 h 454926"/>
                    <a:gd name="connsiteX9" fmla="*/ 445374 w 510189"/>
                    <a:gd name="connsiteY9" fmla="*/ 157659 h 454926"/>
                    <a:gd name="connsiteX10" fmla="*/ 508874 w 510189"/>
                    <a:gd name="connsiteY10" fmla="*/ 227509 h 454926"/>
                    <a:gd name="connsiteX11" fmla="*/ 505699 w 510189"/>
                    <a:gd name="connsiteY11" fmla="*/ 449759 h 454926"/>
                    <a:gd name="connsiteX12" fmla="*/ 4049 w 510189"/>
                    <a:gd name="connsiteY12" fmla="*/ 443409 h 454926"/>
                    <a:gd name="connsiteX0" fmla="*/ 5987 w 512127"/>
                    <a:gd name="connsiteY0" fmla="*/ 443409 h 454926"/>
                    <a:gd name="connsiteX1" fmla="*/ 2812 w 512127"/>
                    <a:gd name="connsiteY1" fmla="*/ 217984 h 454926"/>
                    <a:gd name="connsiteX2" fmla="*/ 72662 w 512127"/>
                    <a:gd name="connsiteY2" fmla="*/ 154484 h 454926"/>
                    <a:gd name="connsiteX3" fmla="*/ 174262 w 512127"/>
                    <a:gd name="connsiteY3" fmla="*/ 148134 h 454926"/>
                    <a:gd name="connsiteX4" fmla="*/ 190137 w 512127"/>
                    <a:gd name="connsiteY4" fmla="*/ 90984 h 454926"/>
                    <a:gd name="connsiteX5" fmla="*/ 202837 w 512127"/>
                    <a:gd name="connsiteY5" fmla="*/ 11609 h 454926"/>
                    <a:gd name="connsiteX6" fmla="*/ 313962 w 512127"/>
                    <a:gd name="connsiteY6" fmla="*/ 8434 h 454926"/>
                    <a:gd name="connsiteX7" fmla="*/ 313962 w 512127"/>
                    <a:gd name="connsiteY7" fmla="*/ 87809 h 454926"/>
                    <a:gd name="connsiteX8" fmla="*/ 336187 w 512127"/>
                    <a:gd name="connsiteY8" fmla="*/ 135434 h 454926"/>
                    <a:gd name="connsiteX9" fmla="*/ 447312 w 512127"/>
                    <a:gd name="connsiteY9" fmla="*/ 157659 h 454926"/>
                    <a:gd name="connsiteX10" fmla="*/ 510812 w 512127"/>
                    <a:gd name="connsiteY10" fmla="*/ 227509 h 454926"/>
                    <a:gd name="connsiteX11" fmla="*/ 507637 w 512127"/>
                    <a:gd name="connsiteY11" fmla="*/ 449759 h 454926"/>
                    <a:gd name="connsiteX12" fmla="*/ 5987 w 512127"/>
                    <a:gd name="connsiteY12" fmla="*/ 443409 h 454926"/>
                    <a:gd name="connsiteX0" fmla="*/ 9762 w 515902"/>
                    <a:gd name="connsiteY0" fmla="*/ 443409 h 454926"/>
                    <a:gd name="connsiteX1" fmla="*/ 6587 w 515902"/>
                    <a:gd name="connsiteY1" fmla="*/ 217984 h 454926"/>
                    <a:gd name="connsiteX2" fmla="*/ 76437 w 515902"/>
                    <a:gd name="connsiteY2" fmla="*/ 154484 h 454926"/>
                    <a:gd name="connsiteX3" fmla="*/ 178037 w 515902"/>
                    <a:gd name="connsiteY3" fmla="*/ 148134 h 454926"/>
                    <a:gd name="connsiteX4" fmla="*/ 193912 w 515902"/>
                    <a:gd name="connsiteY4" fmla="*/ 90984 h 454926"/>
                    <a:gd name="connsiteX5" fmla="*/ 206612 w 515902"/>
                    <a:gd name="connsiteY5" fmla="*/ 11609 h 454926"/>
                    <a:gd name="connsiteX6" fmla="*/ 317737 w 515902"/>
                    <a:gd name="connsiteY6" fmla="*/ 8434 h 454926"/>
                    <a:gd name="connsiteX7" fmla="*/ 317737 w 515902"/>
                    <a:gd name="connsiteY7" fmla="*/ 87809 h 454926"/>
                    <a:gd name="connsiteX8" fmla="*/ 339962 w 515902"/>
                    <a:gd name="connsiteY8" fmla="*/ 135434 h 454926"/>
                    <a:gd name="connsiteX9" fmla="*/ 451087 w 515902"/>
                    <a:gd name="connsiteY9" fmla="*/ 157659 h 454926"/>
                    <a:gd name="connsiteX10" fmla="*/ 514587 w 515902"/>
                    <a:gd name="connsiteY10" fmla="*/ 227509 h 454926"/>
                    <a:gd name="connsiteX11" fmla="*/ 511412 w 515902"/>
                    <a:gd name="connsiteY11" fmla="*/ 449759 h 454926"/>
                    <a:gd name="connsiteX12" fmla="*/ 9762 w 515902"/>
                    <a:gd name="connsiteY12" fmla="*/ 443409 h 454926"/>
                    <a:gd name="connsiteX0" fmla="*/ 9762 w 515902"/>
                    <a:gd name="connsiteY0" fmla="*/ 443409 h 454926"/>
                    <a:gd name="connsiteX1" fmla="*/ 6587 w 515902"/>
                    <a:gd name="connsiteY1" fmla="*/ 217984 h 454926"/>
                    <a:gd name="connsiteX2" fmla="*/ 76437 w 515902"/>
                    <a:gd name="connsiteY2" fmla="*/ 154484 h 454926"/>
                    <a:gd name="connsiteX3" fmla="*/ 178037 w 515902"/>
                    <a:gd name="connsiteY3" fmla="*/ 148134 h 454926"/>
                    <a:gd name="connsiteX4" fmla="*/ 193912 w 515902"/>
                    <a:gd name="connsiteY4" fmla="*/ 90984 h 454926"/>
                    <a:gd name="connsiteX5" fmla="*/ 206612 w 515902"/>
                    <a:gd name="connsiteY5" fmla="*/ 11609 h 454926"/>
                    <a:gd name="connsiteX6" fmla="*/ 317737 w 515902"/>
                    <a:gd name="connsiteY6" fmla="*/ 8434 h 454926"/>
                    <a:gd name="connsiteX7" fmla="*/ 317737 w 515902"/>
                    <a:gd name="connsiteY7" fmla="*/ 87809 h 454926"/>
                    <a:gd name="connsiteX8" fmla="*/ 339962 w 515902"/>
                    <a:gd name="connsiteY8" fmla="*/ 135434 h 454926"/>
                    <a:gd name="connsiteX9" fmla="*/ 451087 w 515902"/>
                    <a:gd name="connsiteY9" fmla="*/ 157659 h 454926"/>
                    <a:gd name="connsiteX10" fmla="*/ 514587 w 515902"/>
                    <a:gd name="connsiteY10" fmla="*/ 227509 h 454926"/>
                    <a:gd name="connsiteX11" fmla="*/ 511412 w 515902"/>
                    <a:gd name="connsiteY11" fmla="*/ 449759 h 454926"/>
                    <a:gd name="connsiteX12" fmla="*/ 9762 w 515902"/>
                    <a:gd name="connsiteY12" fmla="*/ 443409 h 454926"/>
                    <a:gd name="connsiteX0" fmla="*/ 9762 w 515902"/>
                    <a:gd name="connsiteY0" fmla="*/ 443409 h 454926"/>
                    <a:gd name="connsiteX1" fmla="*/ 6587 w 515902"/>
                    <a:gd name="connsiteY1" fmla="*/ 217984 h 454926"/>
                    <a:gd name="connsiteX2" fmla="*/ 76437 w 515902"/>
                    <a:gd name="connsiteY2" fmla="*/ 154484 h 454926"/>
                    <a:gd name="connsiteX3" fmla="*/ 193912 w 515902"/>
                    <a:gd name="connsiteY3" fmla="*/ 90984 h 454926"/>
                    <a:gd name="connsiteX4" fmla="*/ 206612 w 515902"/>
                    <a:gd name="connsiteY4" fmla="*/ 11609 h 454926"/>
                    <a:gd name="connsiteX5" fmla="*/ 317737 w 515902"/>
                    <a:gd name="connsiteY5" fmla="*/ 8434 h 454926"/>
                    <a:gd name="connsiteX6" fmla="*/ 317737 w 515902"/>
                    <a:gd name="connsiteY6" fmla="*/ 87809 h 454926"/>
                    <a:gd name="connsiteX7" fmla="*/ 339962 w 515902"/>
                    <a:gd name="connsiteY7" fmla="*/ 135434 h 454926"/>
                    <a:gd name="connsiteX8" fmla="*/ 451087 w 515902"/>
                    <a:gd name="connsiteY8" fmla="*/ 157659 h 454926"/>
                    <a:gd name="connsiteX9" fmla="*/ 514587 w 515902"/>
                    <a:gd name="connsiteY9" fmla="*/ 227509 h 454926"/>
                    <a:gd name="connsiteX10" fmla="*/ 511412 w 515902"/>
                    <a:gd name="connsiteY10" fmla="*/ 449759 h 454926"/>
                    <a:gd name="connsiteX11" fmla="*/ 9762 w 515902"/>
                    <a:gd name="connsiteY11" fmla="*/ 443409 h 454926"/>
                    <a:gd name="connsiteX0" fmla="*/ 9762 w 515902"/>
                    <a:gd name="connsiteY0" fmla="*/ 446099 h 457616"/>
                    <a:gd name="connsiteX1" fmla="*/ 6587 w 515902"/>
                    <a:gd name="connsiteY1" fmla="*/ 220674 h 457616"/>
                    <a:gd name="connsiteX2" fmla="*/ 76437 w 515902"/>
                    <a:gd name="connsiteY2" fmla="*/ 157174 h 457616"/>
                    <a:gd name="connsiteX3" fmla="*/ 190737 w 515902"/>
                    <a:gd name="connsiteY3" fmla="*/ 138124 h 457616"/>
                    <a:gd name="connsiteX4" fmla="*/ 206612 w 515902"/>
                    <a:gd name="connsiteY4" fmla="*/ 14299 h 457616"/>
                    <a:gd name="connsiteX5" fmla="*/ 317737 w 515902"/>
                    <a:gd name="connsiteY5" fmla="*/ 11124 h 457616"/>
                    <a:gd name="connsiteX6" fmla="*/ 317737 w 515902"/>
                    <a:gd name="connsiteY6" fmla="*/ 90499 h 457616"/>
                    <a:gd name="connsiteX7" fmla="*/ 339962 w 515902"/>
                    <a:gd name="connsiteY7" fmla="*/ 138124 h 457616"/>
                    <a:gd name="connsiteX8" fmla="*/ 451087 w 515902"/>
                    <a:gd name="connsiteY8" fmla="*/ 160349 h 457616"/>
                    <a:gd name="connsiteX9" fmla="*/ 514587 w 515902"/>
                    <a:gd name="connsiteY9" fmla="*/ 230199 h 457616"/>
                    <a:gd name="connsiteX10" fmla="*/ 511412 w 515902"/>
                    <a:gd name="connsiteY10" fmla="*/ 452449 h 457616"/>
                    <a:gd name="connsiteX11" fmla="*/ 9762 w 515902"/>
                    <a:gd name="connsiteY11" fmla="*/ 446099 h 457616"/>
                    <a:gd name="connsiteX0" fmla="*/ 9762 w 515902"/>
                    <a:gd name="connsiteY0" fmla="*/ 446099 h 457616"/>
                    <a:gd name="connsiteX1" fmla="*/ 6587 w 515902"/>
                    <a:gd name="connsiteY1" fmla="*/ 220674 h 457616"/>
                    <a:gd name="connsiteX2" fmla="*/ 76437 w 515902"/>
                    <a:gd name="connsiteY2" fmla="*/ 157174 h 457616"/>
                    <a:gd name="connsiteX3" fmla="*/ 190737 w 515902"/>
                    <a:gd name="connsiteY3" fmla="*/ 138124 h 457616"/>
                    <a:gd name="connsiteX4" fmla="*/ 206612 w 515902"/>
                    <a:gd name="connsiteY4" fmla="*/ 14299 h 457616"/>
                    <a:gd name="connsiteX5" fmla="*/ 317737 w 515902"/>
                    <a:gd name="connsiteY5" fmla="*/ 11124 h 457616"/>
                    <a:gd name="connsiteX6" fmla="*/ 317737 w 515902"/>
                    <a:gd name="connsiteY6" fmla="*/ 90499 h 457616"/>
                    <a:gd name="connsiteX7" fmla="*/ 451087 w 515902"/>
                    <a:gd name="connsiteY7" fmla="*/ 160349 h 457616"/>
                    <a:gd name="connsiteX8" fmla="*/ 514587 w 515902"/>
                    <a:gd name="connsiteY8" fmla="*/ 230199 h 457616"/>
                    <a:gd name="connsiteX9" fmla="*/ 511412 w 515902"/>
                    <a:gd name="connsiteY9" fmla="*/ 452449 h 457616"/>
                    <a:gd name="connsiteX10" fmla="*/ 9762 w 515902"/>
                    <a:gd name="connsiteY10" fmla="*/ 446099 h 457616"/>
                    <a:gd name="connsiteX0" fmla="*/ 9762 w 515902"/>
                    <a:gd name="connsiteY0" fmla="*/ 447482 h 458999"/>
                    <a:gd name="connsiteX1" fmla="*/ 6587 w 515902"/>
                    <a:gd name="connsiteY1" fmla="*/ 222057 h 458999"/>
                    <a:gd name="connsiteX2" fmla="*/ 76437 w 515902"/>
                    <a:gd name="connsiteY2" fmla="*/ 158557 h 458999"/>
                    <a:gd name="connsiteX3" fmla="*/ 190737 w 515902"/>
                    <a:gd name="connsiteY3" fmla="*/ 139507 h 458999"/>
                    <a:gd name="connsiteX4" fmla="*/ 206612 w 515902"/>
                    <a:gd name="connsiteY4" fmla="*/ 15682 h 458999"/>
                    <a:gd name="connsiteX5" fmla="*/ 317737 w 515902"/>
                    <a:gd name="connsiteY5" fmla="*/ 12507 h 458999"/>
                    <a:gd name="connsiteX6" fmla="*/ 330437 w 515902"/>
                    <a:gd name="connsiteY6" fmla="*/ 114107 h 458999"/>
                    <a:gd name="connsiteX7" fmla="*/ 451087 w 515902"/>
                    <a:gd name="connsiteY7" fmla="*/ 161732 h 458999"/>
                    <a:gd name="connsiteX8" fmla="*/ 514587 w 515902"/>
                    <a:gd name="connsiteY8" fmla="*/ 231582 h 458999"/>
                    <a:gd name="connsiteX9" fmla="*/ 511412 w 515902"/>
                    <a:gd name="connsiteY9" fmla="*/ 453832 h 458999"/>
                    <a:gd name="connsiteX10" fmla="*/ 9762 w 515902"/>
                    <a:gd name="connsiteY10" fmla="*/ 447482 h 458999"/>
                    <a:gd name="connsiteX0" fmla="*/ 9762 w 515902"/>
                    <a:gd name="connsiteY0" fmla="*/ 446348 h 457865"/>
                    <a:gd name="connsiteX1" fmla="*/ 6587 w 515902"/>
                    <a:gd name="connsiteY1" fmla="*/ 220923 h 457865"/>
                    <a:gd name="connsiteX2" fmla="*/ 76437 w 515902"/>
                    <a:gd name="connsiteY2" fmla="*/ 157423 h 457865"/>
                    <a:gd name="connsiteX3" fmla="*/ 200262 w 515902"/>
                    <a:gd name="connsiteY3" fmla="*/ 119323 h 457865"/>
                    <a:gd name="connsiteX4" fmla="*/ 206612 w 515902"/>
                    <a:gd name="connsiteY4" fmla="*/ 14548 h 457865"/>
                    <a:gd name="connsiteX5" fmla="*/ 317737 w 515902"/>
                    <a:gd name="connsiteY5" fmla="*/ 11373 h 457865"/>
                    <a:gd name="connsiteX6" fmla="*/ 330437 w 515902"/>
                    <a:gd name="connsiteY6" fmla="*/ 112973 h 457865"/>
                    <a:gd name="connsiteX7" fmla="*/ 451087 w 515902"/>
                    <a:gd name="connsiteY7" fmla="*/ 160598 h 457865"/>
                    <a:gd name="connsiteX8" fmla="*/ 514587 w 515902"/>
                    <a:gd name="connsiteY8" fmla="*/ 230448 h 457865"/>
                    <a:gd name="connsiteX9" fmla="*/ 511412 w 515902"/>
                    <a:gd name="connsiteY9" fmla="*/ 452698 h 457865"/>
                    <a:gd name="connsiteX10" fmla="*/ 9762 w 515902"/>
                    <a:gd name="connsiteY10" fmla="*/ 446348 h 457865"/>
                    <a:gd name="connsiteX0" fmla="*/ 8840 w 514980"/>
                    <a:gd name="connsiteY0" fmla="*/ 446348 h 457865"/>
                    <a:gd name="connsiteX1" fmla="*/ 5665 w 514980"/>
                    <a:gd name="connsiteY1" fmla="*/ 220923 h 457865"/>
                    <a:gd name="connsiteX2" fmla="*/ 62412 w 514980"/>
                    <a:gd name="connsiteY2" fmla="*/ 133367 h 457865"/>
                    <a:gd name="connsiteX3" fmla="*/ 199340 w 514980"/>
                    <a:gd name="connsiteY3" fmla="*/ 119323 h 457865"/>
                    <a:gd name="connsiteX4" fmla="*/ 205690 w 514980"/>
                    <a:gd name="connsiteY4" fmla="*/ 14548 h 457865"/>
                    <a:gd name="connsiteX5" fmla="*/ 316815 w 514980"/>
                    <a:gd name="connsiteY5" fmla="*/ 11373 h 457865"/>
                    <a:gd name="connsiteX6" fmla="*/ 329515 w 514980"/>
                    <a:gd name="connsiteY6" fmla="*/ 112973 h 457865"/>
                    <a:gd name="connsiteX7" fmla="*/ 450165 w 514980"/>
                    <a:gd name="connsiteY7" fmla="*/ 160598 h 457865"/>
                    <a:gd name="connsiteX8" fmla="*/ 513665 w 514980"/>
                    <a:gd name="connsiteY8" fmla="*/ 230448 h 457865"/>
                    <a:gd name="connsiteX9" fmla="*/ 510490 w 514980"/>
                    <a:gd name="connsiteY9" fmla="*/ 452698 h 457865"/>
                    <a:gd name="connsiteX10" fmla="*/ 8840 w 514980"/>
                    <a:gd name="connsiteY10" fmla="*/ 446348 h 457865"/>
                    <a:gd name="connsiteX0" fmla="*/ 8840 w 514980"/>
                    <a:gd name="connsiteY0" fmla="*/ 445015 h 456532"/>
                    <a:gd name="connsiteX1" fmla="*/ 5665 w 514980"/>
                    <a:gd name="connsiteY1" fmla="*/ 219590 h 456532"/>
                    <a:gd name="connsiteX2" fmla="*/ 62412 w 514980"/>
                    <a:gd name="connsiteY2" fmla="*/ 132034 h 456532"/>
                    <a:gd name="connsiteX3" fmla="*/ 186237 w 514980"/>
                    <a:gd name="connsiteY3" fmla="*/ 93934 h 456532"/>
                    <a:gd name="connsiteX4" fmla="*/ 205690 w 514980"/>
                    <a:gd name="connsiteY4" fmla="*/ 13215 h 456532"/>
                    <a:gd name="connsiteX5" fmla="*/ 316815 w 514980"/>
                    <a:gd name="connsiteY5" fmla="*/ 10040 h 456532"/>
                    <a:gd name="connsiteX6" fmla="*/ 329515 w 514980"/>
                    <a:gd name="connsiteY6" fmla="*/ 111640 h 456532"/>
                    <a:gd name="connsiteX7" fmla="*/ 450165 w 514980"/>
                    <a:gd name="connsiteY7" fmla="*/ 159265 h 456532"/>
                    <a:gd name="connsiteX8" fmla="*/ 513665 w 514980"/>
                    <a:gd name="connsiteY8" fmla="*/ 229115 h 456532"/>
                    <a:gd name="connsiteX9" fmla="*/ 510490 w 514980"/>
                    <a:gd name="connsiteY9" fmla="*/ 451365 h 456532"/>
                    <a:gd name="connsiteX10" fmla="*/ 8840 w 514980"/>
                    <a:gd name="connsiteY10" fmla="*/ 445015 h 456532"/>
                    <a:gd name="connsiteX0" fmla="*/ 8840 w 514980"/>
                    <a:gd name="connsiteY0" fmla="*/ 445015 h 456532"/>
                    <a:gd name="connsiteX1" fmla="*/ 5665 w 514980"/>
                    <a:gd name="connsiteY1" fmla="*/ 219590 h 456532"/>
                    <a:gd name="connsiteX2" fmla="*/ 62412 w 514980"/>
                    <a:gd name="connsiteY2" fmla="*/ 132034 h 456532"/>
                    <a:gd name="connsiteX3" fmla="*/ 186237 w 514980"/>
                    <a:gd name="connsiteY3" fmla="*/ 93934 h 456532"/>
                    <a:gd name="connsiteX4" fmla="*/ 205690 w 514980"/>
                    <a:gd name="connsiteY4" fmla="*/ 13215 h 456532"/>
                    <a:gd name="connsiteX5" fmla="*/ 316815 w 514980"/>
                    <a:gd name="connsiteY5" fmla="*/ 10040 h 456532"/>
                    <a:gd name="connsiteX6" fmla="*/ 329515 w 514980"/>
                    <a:gd name="connsiteY6" fmla="*/ 111640 h 456532"/>
                    <a:gd name="connsiteX7" fmla="*/ 461084 w 514980"/>
                    <a:gd name="connsiteY7" fmla="*/ 146143 h 456532"/>
                    <a:gd name="connsiteX8" fmla="*/ 513665 w 514980"/>
                    <a:gd name="connsiteY8" fmla="*/ 229115 h 456532"/>
                    <a:gd name="connsiteX9" fmla="*/ 510490 w 514980"/>
                    <a:gd name="connsiteY9" fmla="*/ 451365 h 456532"/>
                    <a:gd name="connsiteX10" fmla="*/ 8840 w 514980"/>
                    <a:gd name="connsiteY10" fmla="*/ 445015 h 456532"/>
                    <a:gd name="connsiteX0" fmla="*/ 8840 w 514980"/>
                    <a:gd name="connsiteY0" fmla="*/ 444105 h 455622"/>
                    <a:gd name="connsiteX1" fmla="*/ 5665 w 514980"/>
                    <a:gd name="connsiteY1" fmla="*/ 218680 h 455622"/>
                    <a:gd name="connsiteX2" fmla="*/ 62412 w 514980"/>
                    <a:gd name="connsiteY2" fmla="*/ 131124 h 455622"/>
                    <a:gd name="connsiteX3" fmla="*/ 186237 w 514980"/>
                    <a:gd name="connsiteY3" fmla="*/ 93024 h 455622"/>
                    <a:gd name="connsiteX4" fmla="*/ 205690 w 514980"/>
                    <a:gd name="connsiteY4" fmla="*/ 12305 h 455622"/>
                    <a:gd name="connsiteX5" fmla="*/ 316815 w 514980"/>
                    <a:gd name="connsiteY5" fmla="*/ 9130 h 455622"/>
                    <a:gd name="connsiteX6" fmla="*/ 351353 w 514980"/>
                    <a:gd name="connsiteY6" fmla="*/ 97608 h 455622"/>
                    <a:gd name="connsiteX7" fmla="*/ 461084 w 514980"/>
                    <a:gd name="connsiteY7" fmla="*/ 145233 h 455622"/>
                    <a:gd name="connsiteX8" fmla="*/ 513665 w 514980"/>
                    <a:gd name="connsiteY8" fmla="*/ 228205 h 455622"/>
                    <a:gd name="connsiteX9" fmla="*/ 510490 w 514980"/>
                    <a:gd name="connsiteY9" fmla="*/ 450455 h 455622"/>
                    <a:gd name="connsiteX10" fmla="*/ 8840 w 514980"/>
                    <a:gd name="connsiteY10" fmla="*/ 444105 h 455622"/>
                    <a:gd name="connsiteX0" fmla="*/ 8840 w 514980"/>
                    <a:gd name="connsiteY0" fmla="*/ 442755 h 454272"/>
                    <a:gd name="connsiteX1" fmla="*/ 5665 w 514980"/>
                    <a:gd name="connsiteY1" fmla="*/ 217330 h 454272"/>
                    <a:gd name="connsiteX2" fmla="*/ 62412 w 514980"/>
                    <a:gd name="connsiteY2" fmla="*/ 129774 h 454272"/>
                    <a:gd name="connsiteX3" fmla="*/ 186237 w 514980"/>
                    <a:gd name="connsiteY3" fmla="*/ 91674 h 454272"/>
                    <a:gd name="connsiteX4" fmla="*/ 205690 w 514980"/>
                    <a:gd name="connsiteY4" fmla="*/ 10955 h 454272"/>
                    <a:gd name="connsiteX5" fmla="*/ 325550 w 514980"/>
                    <a:gd name="connsiteY5" fmla="*/ 9967 h 454272"/>
                    <a:gd name="connsiteX6" fmla="*/ 351353 w 514980"/>
                    <a:gd name="connsiteY6" fmla="*/ 96258 h 454272"/>
                    <a:gd name="connsiteX7" fmla="*/ 461084 w 514980"/>
                    <a:gd name="connsiteY7" fmla="*/ 143883 h 454272"/>
                    <a:gd name="connsiteX8" fmla="*/ 513665 w 514980"/>
                    <a:gd name="connsiteY8" fmla="*/ 226855 h 454272"/>
                    <a:gd name="connsiteX9" fmla="*/ 510490 w 514980"/>
                    <a:gd name="connsiteY9" fmla="*/ 449105 h 454272"/>
                    <a:gd name="connsiteX10" fmla="*/ 8840 w 514980"/>
                    <a:gd name="connsiteY10" fmla="*/ 442755 h 454272"/>
                    <a:gd name="connsiteX0" fmla="*/ 8840 w 514980"/>
                    <a:gd name="connsiteY0" fmla="*/ 442755 h 454272"/>
                    <a:gd name="connsiteX1" fmla="*/ 5665 w 514980"/>
                    <a:gd name="connsiteY1" fmla="*/ 217330 h 454272"/>
                    <a:gd name="connsiteX2" fmla="*/ 62412 w 514980"/>
                    <a:gd name="connsiteY2" fmla="*/ 129774 h 454272"/>
                    <a:gd name="connsiteX3" fmla="*/ 186237 w 514980"/>
                    <a:gd name="connsiteY3" fmla="*/ 91674 h 454272"/>
                    <a:gd name="connsiteX4" fmla="*/ 205690 w 514980"/>
                    <a:gd name="connsiteY4" fmla="*/ 10955 h 454272"/>
                    <a:gd name="connsiteX5" fmla="*/ 325550 w 514980"/>
                    <a:gd name="connsiteY5" fmla="*/ 9967 h 454272"/>
                    <a:gd name="connsiteX6" fmla="*/ 351353 w 514980"/>
                    <a:gd name="connsiteY6" fmla="*/ 96258 h 454272"/>
                    <a:gd name="connsiteX7" fmla="*/ 461084 w 514980"/>
                    <a:gd name="connsiteY7" fmla="*/ 143883 h 454272"/>
                    <a:gd name="connsiteX8" fmla="*/ 513665 w 514980"/>
                    <a:gd name="connsiteY8" fmla="*/ 226855 h 454272"/>
                    <a:gd name="connsiteX9" fmla="*/ 510490 w 514980"/>
                    <a:gd name="connsiteY9" fmla="*/ 449105 h 454272"/>
                    <a:gd name="connsiteX10" fmla="*/ 8840 w 514980"/>
                    <a:gd name="connsiteY10" fmla="*/ 442755 h 454272"/>
                    <a:gd name="connsiteX0" fmla="*/ 8840 w 514980"/>
                    <a:gd name="connsiteY0" fmla="*/ 442755 h 454272"/>
                    <a:gd name="connsiteX1" fmla="*/ 5665 w 514980"/>
                    <a:gd name="connsiteY1" fmla="*/ 217330 h 454272"/>
                    <a:gd name="connsiteX2" fmla="*/ 62412 w 514980"/>
                    <a:gd name="connsiteY2" fmla="*/ 129774 h 454272"/>
                    <a:gd name="connsiteX3" fmla="*/ 186237 w 514980"/>
                    <a:gd name="connsiteY3" fmla="*/ 91674 h 454272"/>
                    <a:gd name="connsiteX4" fmla="*/ 205690 w 514980"/>
                    <a:gd name="connsiteY4" fmla="*/ 10955 h 454272"/>
                    <a:gd name="connsiteX5" fmla="*/ 325550 w 514980"/>
                    <a:gd name="connsiteY5" fmla="*/ 9967 h 454272"/>
                    <a:gd name="connsiteX6" fmla="*/ 351353 w 514980"/>
                    <a:gd name="connsiteY6" fmla="*/ 96258 h 454272"/>
                    <a:gd name="connsiteX7" fmla="*/ 461084 w 514980"/>
                    <a:gd name="connsiteY7" fmla="*/ 143883 h 454272"/>
                    <a:gd name="connsiteX8" fmla="*/ 513665 w 514980"/>
                    <a:gd name="connsiteY8" fmla="*/ 226855 h 454272"/>
                    <a:gd name="connsiteX9" fmla="*/ 510490 w 514980"/>
                    <a:gd name="connsiteY9" fmla="*/ 449105 h 454272"/>
                    <a:gd name="connsiteX10" fmla="*/ 8840 w 514980"/>
                    <a:gd name="connsiteY10" fmla="*/ 442755 h 454272"/>
                    <a:gd name="connsiteX0" fmla="*/ 8840 w 514980"/>
                    <a:gd name="connsiteY0" fmla="*/ 442755 h 454272"/>
                    <a:gd name="connsiteX1" fmla="*/ 5665 w 514980"/>
                    <a:gd name="connsiteY1" fmla="*/ 217330 h 454272"/>
                    <a:gd name="connsiteX2" fmla="*/ 62412 w 514980"/>
                    <a:gd name="connsiteY2" fmla="*/ 129774 h 454272"/>
                    <a:gd name="connsiteX3" fmla="*/ 186237 w 514980"/>
                    <a:gd name="connsiteY3" fmla="*/ 91674 h 454272"/>
                    <a:gd name="connsiteX4" fmla="*/ 205690 w 514980"/>
                    <a:gd name="connsiteY4" fmla="*/ 10955 h 454272"/>
                    <a:gd name="connsiteX5" fmla="*/ 325550 w 514980"/>
                    <a:gd name="connsiteY5" fmla="*/ 9967 h 454272"/>
                    <a:gd name="connsiteX6" fmla="*/ 351353 w 514980"/>
                    <a:gd name="connsiteY6" fmla="*/ 96258 h 454272"/>
                    <a:gd name="connsiteX7" fmla="*/ 461084 w 514980"/>
                    <a:gd name="connsiteY7" fmla="*/ 143883 h 454272"/>
                    <a:gd name="connsiteX8" fmla="*/ 513665 w 514980"/>
                    <a:gd name="connsiteY8" fmla="*/ 226855 h 454272"/>
                    <a:gd name="connsiteX9" fmla="*/ 510490 w 514980"/>
                    <a:gd name="connsiteY9" fmla="*/ 449105 h 454272"/>
                    <a:gd name="connsiteX10" fmla="*/ 8840 w 514980"/>
                    <a:gd name="connsiteY10" fmla="*/ 442755 h 454272"/>
                    <a:gd name="connsiteX0" fmla="*/ 8840 w 514980"/>
                    <a:gd name="connsiteY0" fmla="*/ 436996 h 448513"/>
                    <a:gd name="connsiteX1" fmla="*/ 5665 w 514980"/>
                    <a:gd name="connsiteY1" fmla="*/ 211571 h 448513"/>
                    <a:gd name="connsiteX2" fmla="*/ 62412 w 514980"/>
                    <a:gd name="connsiteY2" fmla="*/ 124015 h 448513"/>
                    <a:gd name="connsiteX3" fmla="*/ 186237 w 514980"/>
                    <a:gd name="connsiteY3" fmla="*/ 85915 h 448513"/>
                    <a:gd name="connsiteX4" fmla="*/ 205690 w 514980"/>
                    <a:gd name="connsiteY4" fmla="*/ 5196 h 448513"/>
                    <a:gd name="connsiteX5" fmla="*/ 325550 w 514980"/>
                    <a:gd name="connsiteY5" fmla="*/ 4208 h 448513"/>
                    <a:gd name="connsiteX6" fmla="*/ 351353 w 514980"/>
                    <a:gd name="connsiteY6" fmla="*/ 90499 h 448513"/>
                    <a:gd name="connsiteX7" fmla="*/ 461084 w 514980"/>
                    <a:gd name="connsiteY7" fmla="*/ 138124 h 448513"/>
                    <a:gd name="connsiteX8" fmla="*/ 513665 w 514980"/>
                    <a:gd name="connsiteY8" fmla="*/ 221096 h 448513"/>
                    <a:gd name="connsiteX9" fmla="*/ 510490 w 514980"/>
                    <a:gd name="connsiteY9" fmla="*/ 443346 h 448513"/>
                    <a:gd name="connsiteX10" fmla="*/ 8840 w 514980"/>
                    <a:gd name="connsiteY10" fmla="*/ 436996 h 448513"/>
                    <a:gd name="connsiteX0" fmla="*/ 8840 w 514980"/>
                    <a:gd name="connsiteY0" fmla="*/ 436996 h 448513"/>
                    <a:gd name="connsiteX1" fmla="*/ 5665 w 514980"/>
                    <a:gd name="connsiteY1" fmla="*/ 211571 h 448513"/>
                    <a:gd name="connsiteX2" fmla="*/ 62412 w 514980"/>
                    <a:gd name="connsiteY2" fmla="*/ 124015 h 448513"/>
                    <a:gd name="connsiteX3" fmla="*/ 186237 w 514980"/>
                    <a:gd name="connsiteY3" fmla="*/ 85915 h 448513"/>
                    <a:gd name="connsiteX4" fmla="*/ 205690 w 514980"/>
                    <a:gd name="connsiteY4" fmla="*/ 5196 h 448513"/>
                    <a:gd name="connsiteX5" fmla="*/ 325550 w 514980"/>
                    <a:gd name="connsiteY5" fmla="*/ 4208 h 448513"/>
                    <a:gd name="connsiteX6" fmla="*/ 351353 w 514980"/>
                    <a:gd name="connsiteY6" fmla="*/ 90499 h 448513"/>
                    <a:gd name="connsiteX7" fmla="*/ 461084 w 514980"/>
                    <a:gd name="connsiteY7" fmla="*/ 138124 h 448513"/>
                    <a:gd name="connsiteX8" fmla="*/ 513665 w 514980"/>
                    <a:gd name="connsiteY8" fmla="*/ 221096 h 448513"/>
                    <a:gd name="connsiteX9" fmla="*/ 510490 w 514980"/>
                    <a:gd name="connsiteY9" fmla="*/ 443346 h 448513"/>
                    <a:gd name="connsiteX10" fmla="*/ 8840 w 514980"/>
                    <a:gd name="connsiteY10" fmla="*/ 436996 h 448513"/>
                    <a:gd name="connsiteX0" fmla="*/ 8840 w 514980"/>
                    <a:gd name="connsiteY0" fmla="*/ 436996 h 448513"/>
                    <a:gd name="connsiteX1" fmla="*/ 5665 w 514980"/>
                    <a:gd name="connsiteY1" fmla="*/ 211571 h 448513"/>
                    <a:gd name="connsiteX2" fmla="*/ 62412 w 514980"/>
                    <a:gd name="connsiteY2" fmla="*/ 124015 h 448513"/>
                    <a:gd name="connsiteX3" fmla="*/ 186237 w 514980"/>
                    <a:gd name="connsiteY3" fmla="*/ 85915 h 448513"/>
                    <a:gd name="connsiteX4" fmla="*/ 205690 w 514980"/>
                    <a:gd name="connsiteY4" fmla="*/ 5196 h 448513"/>
                    <a:gd name="connsiteX5" fmla="*/ 325550 w 514980"/>
                    <a:gd name="connsiteY5" fmla="*/ 4208 h 448513"/>
                    <a:gd name="connsiteX6" fmla="*/ 351353 w 514980"/>
                    <a:gd name="connsiteY6" fmla="*/ 90499 h 448513"/>
                    <a:gd name="connsiteX7" fmla="*/ 461084 w 514980"/>
                    <a:gd name="connsiteY7" fmla="*/ 138124 h 448513"/>
                    <a:gd name="connsiteX8" fmla="*/ 513665 w 514980"/>
                    <a:gd name="connsiteY8" fmla="*/ 221096 h 448513"/>
                    <a:gd name="connsiteX9" fmla="*/ 510490 w 514980"/>
                    <a:gd name="connsiteY9" fmla="*/ 443346 h 448513"/>
                    <a:gd name="connsiteX10" fmla="*/ 8840 w 514980"/>
                    <a:gd name="connsiteY10" fmla="*/ 436996 h 448513"/>
                    <a:gd name="connsiteX0" fmla="*/ 8840 w 514980"/>
                    <a:gd name="connsiteY0" fmla="*/ 436996 h 448513"/>
                    <a:gd name="connsiteX1" fmla="*/ 5665 w 514980"/>
                    <a:gd name="connsiteY1" fmla="*/ 211571 h 448513"/>
                    <a:gd name="connsiteX2" fmla="*/ 62412 w 514980"/>
                    <a:gd name="connsiteY2" fmla="*/ 124015 h 448513"/>
                    <a:gd name="connsiteX3" fmla="*/ 168766 w 514980"/>
                    <a:gd name="connsiteY3" fmla="*/ 88102 h 448513"/>
                    <a:gd name="connsiteX4" fmla="*/ 205690 w 514980"/>
                    <a:gd name="connsiteY4" fmla="*/ 5196 h 448513"/>
                    <a:gd name="connsiteX5" fmla="*/ 325550 w 514980"/>
                    <a:gd name="connsiteY5" fmla="*/ 4208 h 448513"/>
                    <a:gd name="connsiteX6" fmla="*/ 351353 w 514980"/>
                    <a:gd name="connsiteY6" fmla="*/ 90499 h 448513"/>
                    <a:gd name="connsiteX7" fmla="*/ 461084 w 514980"/>
                    <a:gd name="connsiteY7" fmla="*/ 138124 h 448513"/>
                    <a:gd name="connsiteX8" fmla="*/ 513665 w 514980"/>
                    <a:gd name="connsiteY8" fmla="*/ 221096 h 448513"/>
                    <a:gd name="connsiteX9" fmla="*/ 510490 w 514980"/>
                    <a:gd name="connsiteY9" fmla="*/ 443346 h 448513"/>
                    <a:gd name="connsiteX10" fmla="*/ 8840 w 514980"/>
                    <a:gd name="connsiteY10" fmla="*/ 436996 h 448513"/>
                    <a:gd name="connsiteX0" fmla="*/ 8840 w 514980"/>
                    <a:gd name="connsiteY0" fmla="*/ 440628 h 452145"/>
                    <a:gd name="connsiteX1" fmla="*/ 5665 w 514980"/>
                    <a:gd name="connsiteY1" fmla="*/ 215203 h 452145"/>
                    <a:gd name="connsiteX2" fmla="*/ 62412 w 514980"/>
                    <a:gd name="connsiteY2" fmla="*/ 127647 h 452145"/>
                    <a:gd name="connsiteX3" fmla="*/ 168766 w 514980"/>
                    <a:gd name="connsiteY3" fmla="*/ 91734 h 452145"/>
                    <a:gd name="connsiteX4" fmla="*/ 179484 w 514980"/>
                    <a:gd name="connsiteY4" fmla="*/ 4454 h 452145"/>
                    <a:gd name="connsiteX5" fmla="*/ 325550 w 514980"/>
                    <a:gd name="connsiteY5" fmla="*/ 7840 h 452145"/>
                    <a:gd name="connsiteX6" fmla="*/ 351353 w 514980"/>
                    <a:gd name="connsiteY6" fmla="*/ 94131 h 452145"/>
                    <a:gd name="connsiteX7" fmla="*/ 461084 w 514980"/>
                    <a:gd name="connsiteY7" fmla="*/ 141756 h 452145"/>
                    <a:gd name="connsiteX8" fmla="*/ 513665 w 514980"/>
                    <a:gd name="connsiteY8" fmla="*/ 224728 h 452145"/>
                    <a:gd name="connsiteX9" fmla="*/ 510490 w 514980"/>
                    <a:gd name="connsiteY9" fmla="*/ 446978 h 452145"/>
                    <a:gd name="connsiteX10" fmla="*/ 8840 w 514980"/>
                    <a:gd name="connsiteY10" fmla="*/ 440628 h 452145"/>
                    <a:gd name="connsiteX0" fmla="*/ 8840 w 514980"/>
                    <a:gd name="connsiteY0" fmla="*/ 442422 h 453939"/>
                    <a:gd name="connsiteX1" fmla="*/ 5665 w 514980"/>
                    <a:gd name="connsiteY1" fmla="*/ 216997 h 453939"/>
                    <a:gd name="connsiteX2" fmla="*/ 62412 w 514980"/>
                    <a:gd name="connsiteY2" fmla="*/ 129441 h 453939"/>
                    <a:gd name="connsiteX3" fmla="*/ 168766 w 514980"/>
                    <a:gd name="connsiteY3" fmla="*/ 93528 h 453939"/>
                    <a:gd name="connsiteX4" fmla="*/ 179484 w 514980"/>
                    <a:gd name="connsiteY4" fmla="*/ 6248 h 453939"/>
                    <a:gd name="connsiteX5" fmla="*/ 351756 w 514980"/>
                    <a:gd name="connsiteY5" fmla="*/ 886 h 453939"/>
                    <a:gd name="connsiteX6" fmla="*/ 351353 w 514980"/>
                    <a:gd name="connsiteY6" fmla="*/ 95925 h 453939"/>
                    <a:gd name="connsiteX7" fmla="*/ 461084 w 514980"/>
                    <a:gd name="connsiteY7" fmla="*/ 143550 h 453939"/>
                    <a:gd name="connsiteX8" fmla="*/ 513665 w 514980"/>
                    <a:gd name="connsiteY8" fmla="*/ 226522 h 453939"/>
                    <a:gd name="connsiteX9" fmla="*/ 510490 w 514980"/>
                    <a:gd name="connsiteY9" fmla="*/ 448772 h 453939"/>
                    <a:gd name="connsiteX10" fmla="*/ 8840 w 514980"/>
                    <a:gd name="connsiteY10" fmla="*/ 442422 h 453939"/>
                    <a:gd name="connsiteX0" fmla="*/ 8840 w 514980"/>
                    <a:gd name="connsiteY0" fmla="*/ 442422 h 453939"/>
                    <a:gd name="connsiteX1" fmla="*/ 5665 w 514980"/>
                    <a:gd name="connsiteY1" fmla="*/ 216997 h 453939"/>
                    <a:gd name="connsiteX2" fmla="*/ 62412 w 514980"/>
                    <a:gd name="connsiteY2" fmla="*/ 129441 h 453939"/>
                    <a:gd name="connsiteX3" fmla="*/ 168766 w 514980"/>
                    <a:gd name="connsiteY3" fmla="*/ 93528 h 453939"/>
                    <a:gd name="connsiteX4" fmla="*/ 179484 w 514980"/>
                    <a:gd name="connsiteY4" fmla="*/ 6248 h 453939"/>
                    <a:gd name="connsiteX5" fmla="*/ 351756 w 514980"/>
                    <a:gd name="connsiteY5" fmla="*/ 886 h 453939"/>
                    <a:gd name="connsiteX6" fmla="*/ 366640 w 514980"/>
                    <a:gd name="connsiteY6" fmla="*/ 100299 h 453939"/>
                    <a:gd name="connsiteX7" fmla="*/ 461084 w 514980"/>
                    <a:gd name="connsiteY7" fmla="*/ 143550 h 453939"/>
                    <a:gd name="connsiteX8" fmla="*/ 513665 w 514980"/>
                    <a:gd name="connsiteY8" fmla="*/ 226522 h 453939"/>
                    <a:gd name="connsiteX9" fmla="*/ 510490 w 514980"/>
                    <a:gd name="connsiteY9" fmla="*/ 448772 h 453939"/>
                    <a:gd name="connsiteX10" fmla="*/ 8840 w 514980"/>
                    <a:gd name="connsiteY10" fmla="*/ 442422 h 453939"/>
                    <a:gd name="connsiteX0" fmla="*/ 8840 w 514980"/>
                    <a:gd name="connsiteY0" fmla="*/ 442422 h 450476"/>
                    <a:gd name="connsiteX1" fmla="*/ 5665 w 514980"/>
                    <a:gd name="connsiteY1" fmla="*/ 216997 h 450476"/>
                    <a:gd name="connsiteX2" fmla="*/ 62412 w 514980"/>
                    <a:gd name="connsiteY2" fmla="*/ 129441 h 450476"/>
                    <a:gd name="connsiteX3" fmla="*/ 168766 w 514980"/>
                    <a:gd name="connsiteY3" fmla="*/ 93528 h 450476"/>
                    <a:gd name="connsiteX4" fmla="*/ 179484 w 514980"/>
                    <a:gd name="connsiteY4" fmla="*/ 6248 h 450476"/>
                    <a:gd name="connsiteX5" fmla="*/ 351756 w 514980"/>
                    <a:gd name="connsiteY5" fmla="*/ 886 h 450476"/>
                    <a:gd name="connsiteX6" fmla="*/ 366640 w 514980"/>
                    <a:gd name="connsiteY6" fmla="*/ 100299 h 450476"/>
                    <a:gd name="connsiteX7" fmla="*/ 461084 w 514980"/>
                    <a:gd name="connsiteY7" fmla="*/ 143550 h 450476"/>
                    <a:gd name="connsiteX8" fmla="*/ 513665 w 514980"/>
                    <a:gd name="connsiteY8" fmla="*/ 226522 h 450476"/>
                    <a:gd name="connsiteX9" fmla="*/ 510490 w 514980"/>
                    <a:gd name="connsiteY9" fmla="*/ 448772 h 450476"/>
                    <a:gd name="connsiteX10" fmla="*/ 8840 w 514980"/>
                    <a:gd name="connsiteY10" fmla="*/ 442422 h 450476"/>
                    <a:gd name="connsiteX0" fmla="*/ 8840 w 514980"/>
                    <a:gd name="connsiteY0" fmla="*/ 442422 h 448772"/>
                    <a:gd name="connsiteX1" fmla="*/ 5665 w 514980"/>
                    <a:gd name="connsiteY1" fmla="*/ 216997 h 448772"/>
                    <a:gd name="connsiteX2" fmla="*/ 62412 w 514980"/>
                    <a:gd name="connsiteY2" fmla="*/ 129441 h 448772"/>
                    <a:gd name="connsiteX3" fmla="*/ 168766 w 514980"/>
                    <a:gd name="connsiteY3" fmla="*/ 93528 h 448772"/>
                    <a:gd name="connsiteX4" fmla="*/ 179484 w 514980"/>
                    <a:gd name="connsiteY4" fmla="*/ 6248 h 448772"/>
                    <a:gd name="connsiteX5" fmla="*/ 351756 w 514980"/>
                    <a:gd name="connsiteY5" fmla="*/ 886 h 448772"/>
                    <a:gd name="connsiteX6" fmla="*/ 366640 w 514980"/>
                    <a:gd name="connsiteY6" fmla="*/ 100299 h 448772"/>
                    <a:gd name="connsiteX7" fmla="*/ 461084 w 514980"/>
                    <a:gd name="connsiteY7" fmla="*/ 143550 h 448772"/>
                    <a:gd name="connsiteX8" fmla="*/ 513665 w 514980"/>
                    <a:gd name="connsiteY8" fmla="*/ 226522 h 448772"/>
                    <a:gd name="connsiteX9" fmla="*/ 510490 w 514980"/>
                    <a:gd name="connsiteY9" fmla="*/ 448772 h 448772"/>
                    <a:gd name="connsiteX10" fmla="*/ 8840 w 514980"/>
                    <a:gd name="connsiteY10" fmla="*/ 442422 h 448772"/>
                    <a:gd name="connsiteX0" fmla="*/ 8840 w 514980"/>
                    <a:gd name="connsiteY0" fmla="*/ 442422 h 448772"/>
                    <a:gd name="connsiteX1" fmla="*/ 5665 w 514980"/>
                    <a:gd name="connsiteY1" fmla="*/ 216997 h 448772"/>
                    <a:gd name="connsiteX2" fmla="*/ 62412 w 514980"/>
                    <a:gd name="connsiteY2" fmla="*/ 129441 h 448772"/>
                    <a:gd name="connsiteX3" fmla="*/ 168766 w 514980"/>
                    <a:gd name="connsiteY3" fmla="*/ 93528 h 448772"/>
                    <a:gd name="connsiteX4" fmla="*/ 179484 w 514980"/>
                    <a:gd name="connsiteY4" fmla="*/ 6248 h 448772"/>
                    <a:gd name="connsiteX5" fmla="*/ 351756 w 514980"/>
                    <a:gd name="connsiteY5" fmla="*/ 886 h 448772"/>
                    <a:gd name="connsiteX6" fmla="*/ 357905 w 514980"/>
                    <a:gd name="connsiteY6" fmla="*/ 98112 h 448772"/>
                    <a:gd name="connsiteX7" fmla="*/ 461084 w 514980"/>
                    <a:gd name="connsiteY7" fmla="*/ 143550 h 448772"/>
                    <a:gd name="connsiteX8" fmla="*/ 513665 w 514980"/>
                    <a:gd name="connsiteY8" fmla="*/ 226522 h 448772"/>
                    <a:gd name="connsiteX9" fmla="*/ 510490 w 514980"/>
                    <a:gd name="connsiteY9" fmla="*/ 448772 h 448772"/>
                    <a:gd name="connsiteX10" fmla="*/ 8840 w 514980"/>
                    <a:gd name="connsiteY10" fmla="*/ 442422 h 448772"/>
                    <a:gd name="connsiteX0" fmla="*/ 8840 w 514980"/>
                    <a:gd name="connsiteY0" fmla="*/ 442422 h 448772"/>
                    <a:gd name="connsiteX1" fmla="*/ 5665 w 514980"/>
                    <a:gd name="connsiteY1" fmla="*/ 216997 h 448772"/>
                    <a:gd name="connsiteX2" fmla="*/ 62412 w 514980"/>
                    <a:gd name="connsiteY2" fmla="*/ 129441 h 448772"/>
                    <a:gd name="connsiteX3" fmla="*/ 168766 w 514980"/>
                    <a:gd name="connsiteY3" fmla="*/ 93528 h 448772"/>
                    <a:gd name="connsiteX4" fmla="*/ 179484 w 514980"/>
                    <a:gd name="connsiteY4" fmla="*/ 6248 h 448772"/>
                    <a:gd name="connsiteX5" fmla="*/ 351756 w 514980"/>
                    <a:gd name="connsiteY5" fmla="*/ 886 h 448772"/>
                    <a:gd name="connsiteX6" fmla="*/ 357905 w 514980"/>
                    <a:gd name="connsiteY6" fmla="*/ 98112 h 448772"/>
                    <a:gd name="connsiteX7" fmla="*/ 454533 w 514980"/>
                    <a:gd name="connsiteY7" fmla="*/ 136989 h 448772"/>
                    <a:gd name="connsiteX8" fmla="*/ 513665 w 514980"/>
                    <a:gd name="connsiteY8" fmla="*/ 226522 h 448772"/>
                    <a:gd name="connsiteX9" fmla="*/ 510490 w 514980"/>
                    <a:gd name="connsiteY9" fmla="*/ 448772 h 448772"/>
                    <a:gd name="connsiteX10" fmla="*/ 8840 w 514980"/>
                    <a:gd name="connsiteY10" fmla="*/ 442422 h 448772"/>
                    <a:gd name="connsiteX0" fmla="*/ 8840 w 514980"/>
                    <a:gd name="connsiteY0" fmla="*/ 442422 h 448772"/>
                    <a:gd name="connsiteX1" fmla="*/ 5665 w 514980"/>
                    <a:gd name="connsiteY1" fmla="*/ 216997 h 448772"/>
                    <a:gd name="connsiteX2" fmla="*/ 62412 w 514980"/>
                    <a:gd name="connsiteY2" fmla="*/ 129441 h 448772"/>
                    <a:gd name="connsiteX3" fmla="*/ 168766 w 514980"/>
                    <a:gd name="connsiteY3" fmla="*/ 93528 h 448772"/>
                    <a:gd name="connsiteX4" fmla="*/ 179484 w 514980"/>
                    <a:gd name="connsiteY4" fmla="*/ 6248 h 448772"/>
                    <a:gd name="connsiteX5" fmla="*/ 351756 w 514980"/>
                    <a:gd name="connsiteY5" fmla="*/ 886 h 448772"/>
                    <a:gd name="connsiteX6" fmla="*/ 357905 w 514980"/>
                    <a:gd name="connsiteY6" fmla="*/ 98112 h 448772"/>
                    <a:gd name="connsiteX7" fmla="*/ 454533 w 514980"/>
                    <a:gd name="connsiteY7" fmla="*/ 136989 h 448772"/>
                    <a:gd name="connsiteX8" fmla="*/ 513665 w 514980"/>
                    <a:gd name="connsiteY8" fmla="*/ 226522 h 448772"/>
                    <a:gd name="connsiteX9" fmla="*/ 510490 w 514980"/>
                    <a:gd name="connsiteY9" fmla="*/ 448772 h 448772"/>
                    <a:gd name="connsiteX10" fmla="*/ 8840 w 514980"/>
                    <a:gd name="connsiteY10" fmla="*/ 442422 h 448772"/>
                    <a:gd name="connsiteX0" fmla="*/ 8840 w 514980"/>
                    <a:gd name="connsiteY0" fmla="*/ 442422 h 448772"/>
                    <a:gd name="connsiteX1" fmla="*/ 5665 w 514980"/>
                    <a:gd name="connsiteY1" fmla="*/ 216997 h 448772"/>
                    <a:gd name="connsiteX2" fmla="*/ 62412 w 514980"/>
                    <a:gd name="connsiteY2" fmla="*/ 129441 h 448772"/>
                    <a:gd name="connsiteX3" fmla="*/ 168766 w 514980"/>
                    <a:gd name="connsiteY3" fmla="*/ 93528 h 448772"/>
                    <a:gd name="connsiteX4" fmla="*/ 179484 w 514980"/>
                    <a:gd name="connsiteY4" fmla="*/ 6248 h 448772"/>
                    <a:gd name="connsiteX5" fmla="*/ 351756 w 514980"/>
                    <a:gd name="connsiteY5" fmla="*/ 886 h 448772"/>
                    <a:gd name="connsiteX6" fmla="*/ 357905 w 514980"/>
                    <a:gd name="connsiteY6" fmla="*/ 98112 h 448772"/>
                    <a:gd name="connsiteX7" fmla="*/ 454533 w 514980"/>
                    <a:gd name="connsiteY7" fmla="*/ 136989 h 448772"/>
                    <a:gd name="connsiteX8" fmla="*/ 513665 w 514980"/>
                    <a:gd name="connsiteY8" fmla="*/ 226522 h 448772"/>
                    <a:gd name="connsiteX9" fmla="*/ 510490 w 514980"/>
                    <a:gd name="connsiteY9" fmla="*/ 448772 h 448772"/>
                    <a:gd name="connsiteX10" fmla="*/ 8840 w 514980"/>
                    <a:gd name="connsiteY10" fmla="*/ 442422 h 448772"/>
                    <a:gd name="connsiteX0" fmla="*/ 8840 w 514980"/>
                    <a:gd name="connsiteY0" fmla="*/ 442422 h 448772"/>
                    <a:gd name="connsiteX1" fmla="*/ 5665 w 514980"/>
                    <a:gd name="connsiteY1" fmla="*/ 216997 h 448772"/>
                    <a:gd name="connsiteX2" fmla="*/ 62412 w 514980"/>
                    <a:gd name="connsiteY2" fmla="*/ 129441 h 448772"/>
                    <a:gd name="connsiteX3" fmla="*/ 168766 w 514980"/>
                    <a:gd name="connsiteY3" fmla="*/ 93528 h 448772"/>
                    <a:gd name="connsiteX4" fmla="*/ 179484 w 514980"/>
                    <a:gd name="connsiteY4" fmla="*/ 6248 h 448772"/>
                    <a:gd name="connsiteX5" fmla="*/ 351756 w 514980"/>
                    <a:gd name="connsiteY5" fmla="*/ 886 h 448772"/>
                    <a:gd name="connsiteX6" fmla="*/ 353538 w 514980"/>
                    <a:gd name="connsiteY6" fmla="*/ 98112 h 448772"/>
                    <a:gd name="connsiteX7" fmla="*/ 454533 w 514980"/>
                    <a:gd name="connsiteY7" fmla="*/ 136989 h 448772"/>
                    <a:gd name="connsiteX8" fmla="*/ 513665 w 514980"/>
                    <a:gd name="connsiteY8" fmla="*/ 226522 h 448772"/>
                    <a:gd name="connsiteX9" fmla="*/ 510490 w 514980"/>
                    <a:gd name="connsiteY9" fmla="*/ 448772 h 448772"/>
                    <a:gd name="connsiteX10" fmla="*/ 8840 w 514980"/>
                    <a:gd name="connsiteY10" fmla="*/ 442422 h 448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14980" h="448772">
                      <a:moveTo>
                        <a:pt x="8840" y="442422"/>
                      </a:moveTo>
                      <a:cubicBezTo>
                        <a:pt x="-1214" y="377864"/>
                        <a:pt x="-3264" y="269160"/>
                        <a:pt x="5665" y="216997"/>
                      </a:cubicBezTo>
                      <a:cubicBezTo>
                        <a:pt x="14594" y="164834"/>
                        <a:pt x="35229" y="150019"/>
                        <a:pt x="62412" y="129441"/>
                      </a:cubicBezTo>
                      <a:cubicBezTo>
                        <a:pt x="89595" y="108863"/>
                        <a:pt x="149254" y="114060"/>
                        <a:pt x="168766" y="93528"/>
                      </a:cubicBezTo>
                      <a:cubicBezTo>
                        <a:pt x="188278" y="72996"/>
                        <a:pt x="189023" y="43922"/>
                        <a:pt x="179484" y="6248"/>
                      </a:cubicBezTo>
                      <a:cubicBezTo>
                        <a:pt x="202703" y="-7370"/>
                        <a:pt x="323111" y="6352"/>
                        <a:pt x="351756" y="886"/>
                      </a:cubicBezTo>
                      <a:cubicBezTo>
                        <a:pt x="354195" y="39159"/>
                        <a:pt x="342961" y="75428"/>
                        <a:pt x="353538" y="98112"/>
                      </a:cubicBezTo>
                      <a:cubicBezTo>
                        <a:pt x="364115" y="120796"/>
                        <a:pt x="427845" y="115587"/>
                        <a:pt x="454533" y="136989"/>
                      </a:cubicBezTo>
                      <a:cubicBezTo>
                        <a:pt x="481221" y="158391"/>
                        <a:pt x="503611" y="177839"/>
                        <a:pt x="513665" y="226522"/>
                      </a:cubicBezTo>
                      <a:cubicBezTo>
                        <a:pt x="516840" y="276264"/>
                        <a:pt x="513665" y="323360"/>
                        <a:pt x="510490" y="448772"/>
                      </a:cubicBezTo>
                      <a:lnTo>
                        <a:pt x="8840" y="442422"/>
                      </a:lnTo>
                      <a:close/>
                    </a:path>
                  </a:pathLst>
                </a:custGeom>
                <a:grpFill/>
                <a:ln w="571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148" name="Oval 147">
                  <a:extLst>
                    <a:ext uri="{FF2B5EF4-FFF2-40B4-BE49-F238E27FC236}">
                      <a16:creationId xmlns:a16="http://schemas.microsoft.com/office/drawing/2014/main" id="{1D46E0A5-2968-AA4A-A151-A26724B42D71}"/>
                    </a:ext>
                  </a:extLst>
                </p:cNvPr>
                <p:cNvSpPr/>
                <p:nvPr/>
              </p:nvSpPr>
              <p:spPr>
                <a:xfrm>
                  <a:off x="1971467" y="3508300"/>
                  <a:ext cx="282088" cy="336550"/>
                </a:xfrm>
                <a:prstGeom prst="ellipse">
                  <a:avLst/>
                </a:prstGeom>
                <a:grpFill/>
                <a:ln w="571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grpSp>
          <p:grpSp>
            <p:nvGrpSpPr>
              <p:cNvPr id="144" name="Group 143">
                <a:extLst>
                  <a:ext uri="{FF2B5EF4-FFF2-40B4-BE49-F238E27FC236}">
                    <a16:creationId xmlns:a16="http://schemas.microsoft.com/office/drawing/2014/main" id="{02509FBD-45EB-3C4D-9F15-B1D4BBEFBDD7}"/>
                  </a:ext>
                </a:extLst>
              </p:cNvPr>
              <p:cNvGrpSpPr/>
              <p:nvPr/>
            </p:nvGrpSpPr>
            <p:grpSpPr>
              <a:xfrm>
                <a:off x="1553120" y="3388644"/>
                <a:ext cx="633802" cy="938165"/>
                <a:chOff x="1806977" y="3500843"/>
                <a:chExt cx="539989" cy="738018"/>
              </a:xfrm>
            </p:grpSpPr>
            <p:sp>
              <p:nvSpPr>
                <p:cNvPr id="145" name="Freeform 144">
                  <a:extLst>
                    <a:ext uri="{FF2B5EF4-FFF2-40B4-BE49-F238E27FC236}">
                      <a16:creationId xmlns:a16="http://schemas.microsoft.com/office/drawing/2014/main" id="{F29696F6-D038-3A46-8A1A-19C298408420}"/>
                    </a:ext>
                  </a:extLst>
                </p:cNvPr>
                <p:cNvSpPr/>
                <p:nvPr/>
              </p:nvSpPr>
              <p:spPr>
                <a:xfrm>
                  <a:off x="1806977" y="3782373"/>
                  <a:ext cx="539989" cy="456488"/>
                </a:xfrm>
                <a:custGeom>
                  <a:avLst/>
                  <a:gdLst>
                    <a:gd name="connsiteX0" fmla="*/ 36807 w 576731"/>
                    <a:gd name="connsiteY0" fmla="*/ 449906 h 505924"/>
                    <a:gd name="connsiteX1" fmla="*/ 39982 w 576731"/>
                    <a:gd name="connsiteY1" fmla="*/ 214956 h 505924"/>
                    <a:gd name="connsiteX2" fmla="*/ 55857 w 576731"/>
                    <a:gd name="connsiteY2" fmla="*/ 176856 h 505924"/>
                    <a:gd name="connsiteX3" fmla="*/ 103482 w 576731"/>
                    <a:gd name="connsiteY3" fmla="*/ 160981 h 505924"/>
                    <a:gd name="connsiteX4" fmla="*/ 205082 w 576731"/>
                    <a:gd name="connsiteY4" fmla="*/ 154631 h 505924"/>
                    <a:gd name="connsiteX5" fmla="*/ 230482 w 576731"/>
                    <a:gd name="connsiteY5" fmla="*/ 151456 h 505924"/>
                    <a:gd name="connsiteX6" fmla="*/ 233657 w 576731"/>
                    <a:gd name="connsiteY6" fmla="*/ 18106 h 505924"/>
                    <a:gd name="connsiteX7" fmla="*/ 344782 w 576731"/>
                    <a:gd name="connsiteY7" fmla="*/ 14931 h 505924"/>
                    <a:gd name="connsiteX8" fmla="*/ 344782 w 576731"/>
                    <a:gd name="connsiteY8" fmla="*/ 145106 h 505924"/>
                    <a:gd name="connsiteX9" fmla="*/ 386057 w 576731"/>
                    <a:gd name="connsiteY9" fmla="*/ 151456 h 505924"/>
                    <a:gd name="connsiteX10" fmla="*/ 478132 w 576731"/>
                    <a:gd name="connsiteY10" fmla="*/ 164156 h 505924"/>
                    <a:gd name="connsiteX11" fmla="*/ 519407 w 576731"/>
                    <a:gd name="connsiteY11" fmla="*/ 189556 h 505924"/>
                    <a:gd name="connsiteX12" fmla="*/ 541632 w 576731"/>
                    <a:gd name="connsiteY12" fmla="*/ 234006 h 505924"/>
                    <a:gd name="connsiteX13" fmla="*/ 538457 w 576731"/>
                    <a:gd name="connsiteY13" fmla="*/ 488006 h 505924"/>
                    <a:gd name="connsiteX14" fmla="*/ 36807 w 576731"/>
                    <a:gd name="connsiteY14" fmla="*/ 449906 h 505924"/>
                    <a:gd name="connsiteX0" fmla="*/ 5769 w 545693"/>
                    <a:gd name="connsiteY0" fmla="*/ 449906 h 505924"/>
                    <a:gd name="connsiteX1" fmla="*/ 8944 w 545693"/>
                    <a:gd name="connsiteY1" fmla="*/ 214956 h 505924"/>
                    <a:gd name="connsiteX2" fmla="*/ 24819 w 545693"/>
                    <a:gd name="connsiteY2" fmla="*/ 176856 h 505924"/>
                    <a:gd name="connsiteX3" fmla="*/ 72444 w 545693"/>
                    <a:gd name="connsiteY3" fmla="*/ 160981 h 505924"/>
                    <a:gd name="connsiteX4" fmla="*/ 174044 w 545693"/>
                    <a:gd name="connsiteY4" fmla="*/ 154631 h 505924"/>
                    <a:gd name="connsiteX5" fmla="*/ 199444 w 545693"/>
                    <a:gd name="connsiteY5" fmla="*/ 151456 h 505924"/>
                    <a:gd name="connsiteX6" fmla="*/ 202619 w 545693"/>
                    <a:gd name="connsiteY6" fmla="*/ 18106 h 505924"/>
                    <a:gd name="connsiteX7" fmla="*/ 313744 w 545693"/>
                    <a:gd name="connsiteY7" fmla="*/ 14931 h 505924"/>
                    <a:gd name="connsiteX8" fmla="*/ 313744 w 545693"/>
                    <a:gd name="connsiteY8" fmla="*/ 145106 h 505924"/>
                    <a:gd name="connsiteX9" fmla="*/ 355019 w 545693"/>
                    <a:gd name="connsiteY9" fmla="*/ 151456 h 505924"/>
                    <a:gd name="connsiteX10" fmla="*/ 447094 w 545693"/>
                    <a:gd name="connsiteY10" fmla="*/ 164156 h 505924"/>
                    <a:gd name="connsiteX11" fmla="*/ 488369 w 545693"/>
                    <a:gd name="connsiteY11" fmla="*/ 189556 h 505924"/>
                    <a:gd name="connsiteX12" fmla="*/ 510594 w 545693"/>
                    <a:gd name="connsiteY12" fmla="*/ 234006 h 505924"/>
                    <a:gd name="connsiteX13" fmla="*/ 507419 w 545693"/>
                    <a:gd name="connsiteY13" fmla="*/ 488006 h 505924"/>
                    <a:gd name="connsiteX14" fmla="*/ 5769 w 545693"/>
                    <a:gd name="connsiteY14" fmla="*/ 449906 h 505924"/>
                    <a:gd name="connsiteX0" fmla="*/ 21286 w 561210"/>
                    <a:gd name="connsiteY0" fmla="*/ 449906 h 508025"/>
                    <a:gd name="connsiteX1" fmla="*/ 24461 w 561210"/>
                    <a:gd name="connsiteY1" fmla="*/ 214956 h 508025"/>
                    <a:gd name="connsiteX2" fmla="*/ 40336 w 561210"/>
                    <a:gd name="connsiteY2" fmla="*/ 176856 h 508025"/>
                    <a:gd name="connsiteX3" fmla="*/ 87961 w 561210"/>
                    <a:gd name="connsiteY3" fmla="*/ 160981 h 508025"/>
                    <a:gd name="connsiteX4" fmla="*/ 189561 w 561210"/>
                    <a:gd name="connsiteY4" fmla="*/ 154631 h 508025"/>
                    <a:gd name="connsiteX5" fmla="*/ 214961 w 561210"/>
                    <a:gd name="connsiteY5" fmla="*/ 151456 h 508025"/>
                    <a:gd name="connsiteX6" fmla="*/ 218136 w 561210"/>
                    <a:gd name="connsiteY6" fmla="*/ 18106 h 508025"/>
                    <a:gd name="connsiteX7" fmla="*/ 329261 w 561210"/>
                    <a:gd name="connsiteY7" fmla="*/ 14931 h 508025"/>
                    <a:gd name="connsiteX8" fmla="*/ 329261 w 561210"/>
                    <a:gd name="connsiteY8" fmla="*/ 145106 h 508025"/>
                    <a:gd name="connsiteX9" fmla="*/ 370536 w 561210"/>
                    <a:gd name="connsiteY9" fmla="*/ 151456 h 508025"/>
                    <a:gd name="connsiteX10" fmla="*/ 462611 w 561210"/>
                    <a:gd name="connsiteY10" fmla="*/ 164156 h 508025"/>
                    <a:gd name="connsiteX11" fmla="*/ 503886 w 561210"/>
                    <a:gd name="connsiteY11" fmla="*/ 189556 h 508025"/>
                    <a:gd name="connsiteX12" fmla="*/ 526111 w 561210"/>
                    <a:gd name="connsiteY12" fmla="*/ 234006 h 508025"/>
                    <a:gd name="connsiteX13" fmla="*/ 522936 w 561210"/>
                    <a:gd name="connsiteY13" fmla="*/ 488006 h 508025"/>
                    <a:gd name="connsiteX14" fmla="*/ 21286 w 561210"/>
                    <a:gd name="connsiteY14" fmla="*/ 449906 h 508025"/>
                    <a:gd name="connsiteX0" fmla="*/ 21286 w 561210"/>
                    <a:gd name="connsiteY0" fmla="*/ 449906 h 508025"/>
                    <a:gd name="connsiteX1" fmla="*/ 24461 w 561210"/>
                    <a:gd name="connsiteY1" fmla="*/ 214956 h 508025"/>
                    <a:gd name="connsiteX2" fmla="*/ 40336 w 561210"/>
                    <a:gd name="connsiteY2" fmla="*/ 176856 h 508025"/>
                    <a:gd name="connsiteX3" fmla="*/ 87961 w 561210"/>
                    <a:gd name="connsiteY3" fmla="*/ 160981 h 508025"/>
                    <a:gd name="connsiteX4" fmla="*/ 189561 w 561210"/>
                    <a:gd name="connsiteY4" fmla="*/ 154631 h 508025"/>
                    <a:gd name="connsiteX5" fmla="*/ 214961 w 561210"/>
                    <a:gd name="connsiteY5" fmla="*/ 151456 h 508025"/>
                    <a:gd name="connsiteX6" fmla="*/ 218136 w 561210"/>
                    <a:gd name="connsiteY6" fmla="*/ 18106 h 508025"/>
                    <a:gd name="connsiteX7" fmla="*/ 329261 w 561210"/>
                    <a:gd name="connsiteY7" fmla="*/ 14931 h 508025"/>
                    <a:gd name="connsiteX8" fmla="*/ 329261 w 561210"/>
                    <a:gd name="connsiteY8" fmla="*/ 145106 h 508025"/>
                    <a:gd name="connsiteX9" fmla="*/ 370536 w 561210"/>
                    <a:gd name="connsiteY9" fmla="*/ 151456 h 508025"/>
                    <a:gd name="connsiteX10" fmla="*/ 462611 w 561210"/>
                    <a:gd name="connsiteY10" fmla="*/ 164156 h 508025"/>
                    <a:gd name="connsiteX11" fmla="*/ 503886 w 561210"/>
                    <a:gd name="connsiteY11" fmla="*/ 189556 h 508025"/>
                    <a:gd name="connsiteX12" fmla="*/ 526111 w 561210"/>
                    <a:gd name="connsiteY12" fmla="*/ 234006 h 508025"/>
                    <a:gd name="connsiteX13" fmla="*/ 522936 w 561210"/>
                    <a:gd name="connsiteY13" fmla="*/ 488006 h 508025"/>
                    <a:gd name="connsiteX14" fmla="*/ 21286 w 561210"/>
                    <a:gd name="connsiteY14" fmla="*/ 449906 h 508025"/>
                    <a:gd name="connsiteX0" fmla="*/ 4360 w 544284"/>
                    <a:gd name="connsiteY0" fmla="*/ 449906 h 508025"/>
                    <a:gd name="connsiteX1" fmla="*/ 7535 w 544284"/>
                    <a:gd name="connsiteY1" fmla="*/ 214956 h 508025"/>
                    <a:gd name="connsiteX2" fmla="*/ 23410 w 544284"/>
                    <a:gd name="connsiteY2" fmla="*/ 176856 h 508025"/>
                    <a:gd name="connsiteX3" fmla="*/ 71035 w 544284"/>
                    <a:gd name="connsiteY3" fmla="*/ 160981 h 508025"/>
                    <a:gd name="connsiteX4" fmla="*/ 172635 w 544284"/>
                    <a:gd name="connsiteY4" fmla="*/ 154631 h 508025"/>
                    <a:gd name="connsiteX5" fmla="*/ 198035 w 544284"/>
                    <a:gd name="connsiteY5" fmla="*/ 151456 h 508025"/>
                    <a:gd name="connsiteX6" fmla="*/ 201210 w 544284"/>
                    <a:gd name="connsiteY6" fmla="*/ 18106 h 508025"/>
                    <a:gd name="connsiteX7" fmla="*/ 312335 w 544284"/>
                    <a:gd name="connsiteY7" fmla="*/ 14931 h 508025"/>
                    <a:gd name="connsiteX8" fmla="*/ 312335 w 544284"/>
                    <a:gd name="connsiteY8" fmla="*/ 145106 h 508025"/>
                    <a:gd name="connsiteX9" fmla="*/ 353610 w 544284"/>
                    <a:gd name="connsiteY9" fmla="*/ 151456 h 508025"/>
                    <a:gd name="connsiteX10" fmla="*/ 445685 w 544284"/>
                    <a:gd name="connsiteY10" fmla="*/ 164156 h 508025"/>
                    <a:gd name="connsiteX11" fmla="*/ 486960 w 544284"/>
                    <a:gd name="connsiteY11" fmla="*/ 189556 h 508025"/>
                    <a:gd name="connsiteX12" fmla="*/ 509185 w 544284"/>
                    <a:gd name="connsiteY12" fmla="*/ 234006 h 508025"/>
                    <a:gd name="connsiteX13" fmla="*/ 506010 w 544284"/>
                    <a:gd name="connsiteY13" fmla="*/ 488006 h 508025"/>
                    <a:gd name="connsiteX14" fmla="*/ 4360 w 544284"/>
                    <a:gd name="connsiteY14" fmla="*/ 449906 h 508025"/>
                    <a:gd name="connsiteX0" fmla="*/ 4360 w 544284"/>
                    <a:gd name="connsiteY0" fmla="*/ 449906 h 500804"/>
                    <a:gd name="connsiteX1" fmla="*/ 7535 w 544284"/>
                    <a:gd name="connsiteY1" fmla="*/ 214956 h 500804"/>
                    <a:gd name="connsiteX2" fmla="*/ 23410 w 544284"/>
                    <a:gd name="connsiteY2" fmla="*/ 176856 h 500804"/>
                    <a:gd name="connsiteX3" fmla="*/ 71035 w 544284"/>
                    <a:gd name="connsiteY3" fmla="*/ 160981 h 500804"/>
                    <a:gd name="connsiteX4" fmla="*/ 172635 w 544284"/>
                    <a:gd name="connsiteY4" fmla="*/ 154631 h 500804"/>
                    <a:gd name="connsiteX5" fmla="*/ 198035 w 544284"/>
                    <a:gd name="connsiteY5" fmla="*/ 151456 h 500804"/>
                    <a:gd name="connsiteX6" fmla="*/ 201210 w 544284"/>
                    <a:gd name="connsiteY6" fmla="*/ 18106 h 500804"/>
                    <a:gd name="connsiteX7" fmla="*/ 312335 w 544284"/>
                    <a:gd name="connsiteY7" fmla="*/ 14931 h 500804"/>
                    <a:gd name="connsiteX8" fmla="*/ 312335 w 544284"/>
                    <a:gd name="connsiteY8" fmla="*/ 145106 h 500804"/>
                    <a:gd name="connsiteX9" fmla="*/ 353610 w 544284"/>
                    <a:gd name="connsiteY9" fmla="*/ 151456 h 500804"/>
                    <a:gd name="connsiteX10" fmla="*/ 445685 w 544284"/>
                    <a:gd name="connsiteY10" fmla="*/ 164156 h 500804"/>
                    <a:gd name="connsiteX11" fmla="*/ 486960 w 544284"/>
                    <a:gd name="connsiteY11" fmla="*/ 189556 h 500804"/>
                    <a:gd name="connsiteX12" fmla="*/ 509185 w 544284"/>
                    <a:gd name="connsiteY12" fmla="*/ 234006 h 500804"/>
                    <a:gd name="connsiteX13" fmla="*/ 506010 w 544284"/>
                    <a:gd name="connsiteY13" fmla="*/ 488006 h 500804"/>
                    <a:gd name="connsiteX14" fmla="*/ 4360 w 544284"/>
                    <a:gd name="connsiteY14" fmla="*/ 449906 h 500804"/>
                    <a:gd name="connsiteX0" fmla="*/ 4360 w 544284"/>
                    <a:gd name="connsiteY0" fmla="*/ 449906 h 500804"/>
                    <a:gd name="connsiteX1" fmla="*/ 7535 w 544284"/>
                    <a:gd name="connsiteY1" fmla="*/ 214956 h 500804"/>
                    <a:gd name="connsiteX2" fmla="*/ 23410 w 544284"/>
                    <a:gd name="connsiteY2" fmla="*/ 176856 h 500804"/>
                    <a:gd name="connsiteX3" fmla="*/ 71035 w 544284"/>
                    <a:gd name="connsiteY3" fmla="*/ 160981 h 500804"/>
                    <a:gd name="connsiteX4" fmla="*/ 172635 w 544284"/>
                    <a:gd name="connsiteY4" fmla="*/ 154631 h 500804"/>
                    <a:gd name="connsiteX5" fmla="*/ 198035 w 544284"/>
                    <a:gd name="connsiteY5" fmla="*/ 151456 h 500804"/>
                    <a:gd name="connsiteX6" fmla="*/ 201210 w 544284"/>
                    <a:gd name="connsiteY6" fmla="*/ 18106 h 500804"/>
                    <a:gd name="connsiteX7" fmla="*/ 312335 w 544284"/>
                    <a:gd name="connsiteY7" fmla="*/ 14931 h 500804"/>
                    <a:gd name="connsiteX8" fmla="*/ 312335 w 544284"/>
                    <a:gd name="connsiteY8" fmla="*/ 145106 h 500804"/>
                    <a:gd name="connsiteX9" fmla="*/ 353610 w 544284"/>
                    <a:gd name="connsiteY9" fmla="*/ 151456 h 500804"/>
                    <a:gd name="connsiteX10" fmla="*/ 445685 w 544284"/>
                    <a:gd name="connsiteY10" fmla="*/ 164156 h 500804"/>
                    <a:gd name="connsiteX11" fmla="*/ 486960 w 544284"/>
                    <a:gd name="connsiteY11" fmla="*/ 189556 h 500804"/>
                    <a:gd name="connsiteX12" fmla="*/ 509185 w 544284"/>
                    <a:gd name="connsiteY12" fmla="*/ 234006 h 500804"/>
                    <a:gd name="connsiteX13" fmla="*/ 506010 w 544284"/>
                    <a:gd name="connsiteY13" fmla="*/ 488006 h 500804"/>
                    <a:gd name="connsiteX14" fmla="*/ 4360 w 544284"/>
                    <a:gd name="connsiteY14" fmla="*/ 449906 h 500804"/>
                    <a:gd name="connsiteX0" fmla="*/ 4360 w 519024"/>
                    <a:gd name="connsiteY0" fmla="*/ 449906 h 500804"/>
                    <a:gd name="connsiteX1" fmla="*/ 7535 w 519024"/>
                    <a:gd name="connsiteY1" fmla="*/ 214956 h 500804"/>
                    <a:gd name="connsiteX2" fmla="*/ 23410 w 519024"/>
                    <a:gd name="connsiteY2" fmla="*/ 176856 h 500804"/>
                    <a:gd name="connsiteX3" fmla="*/ 71035 w 519024"/>
                    <a:gd name="connsiteY3" fmla="*/ 160981 h 500804"/>
                    <a:gd name="connsiteX4" fmla="*/ 172635 w 519024"/>
                    <a:gd name="connsiteY4" fmla="*/ 154631 h 500804"/>
                    <a:gd name="connsiteX5" fmla="*/ 198035 w 519024"/>
                    <a:gd name="connsiteY5" fmla="*/ 151456 h 500804"/>
                    <a:gd name="connsiteX6" fmla="*/ 201210 w 519024"/>
                    <a:gd name="connsiteY6" fmla="*/ 18106 h 500804"/>
                    <a:gd name="connsiteX7" fmla="*/ 312335 w 519024"/>
                    <a:gd name="connsiteY7" fmla="*/ 14931 h 500804"/>
                    <a:gd name="connsiteX8" fmla="*/ 312335 w 519024"/>
                    <a:gd name="connsiteY8" fmla="*/ 145106 h 500804"/>
                    <a:gd name="connsiteX9" fmla="*/ 353610 w 519024"/>
                    <a:gd name="connsiteY9" fmla="*/ 151456 h 500804"/>
                    <a:gd name="connsiteX10" fmla="*/ 445685 w 519024"/>
                    <a:gd name="connsiteY10" fmla="*/ 164156 h 500804"/>
                    <a:gd name="connsiteX11" fmla="*/ 486960 w 519024"/>
                    <a:gd name="connsiteY11" fmla="*/ 189556 h 500804"/>
                    <a:gd name="connsiteX12" fmla="*/ 509185 w 519024"/>
                    <a:gd name="connsiteY12" fmla="*/ 234006 h 500804"/>
                    <a:gd name="connsiteX13" fmla="*/ 506010 w 519024"/>
                    <a:gd name="connsiteY13" fmla="*/ 488006 h 500804"/>
                    <a:gd name="connsiteX14" fmla="*/ 4360 w 519024"/>
                    <a:gd name="connsiteY14" fmla="*/ 449906 h 500804"/>
                    <a:gd name="connsiteX0" fmla="*/ 4360 w 519024"/>
                    <a:gd name="connsiteY0" fmla="*/ 449906 h 488006"/>
                    <a:gd name="connsiteX1" fmla="*/ 7535 w 519024"/>
                    <a:gd name="connsiteY1" fmla="*/ 214956 h 488006"/>
                    <a:gd name="connsiteX2" fmla="*/ 23410 w 519024"/>
                    <a:gd name="connsiteY2" fmla="*/ 176856 h 488006"/>
                    <a:gd name="connsiteX3" fmla="*/ 71035 w 519024"/>
                    <a:gd name="connsiteY3" fmla="*/ 160981 h 488006"/>
                    <a:gd name="connsiteX4" fmla="*/ 172635 w 519024"/>
                    <a:gd name="connsiteY4" fmla="*/ 154631 h 488006"/>
                    <a:gd name="connsiteX5" fmla="*/ 198035 w 519024"/>
                    <a:gd name="connsiteY5" fmla="*/ 151456 h 488006"/>
                    <a:gd name="connsiteX6" fmla="*/ 201210 w 519024"/>
                    <a:gd name="connsiteY6" fmla="*/ 18106 h 488006"/>
                    <a:gd name="connsiteX7" fmla="*/ 312335 w 519024"/>
                    <a:gd name="connsiteY7" fmla="*/ 14931 h 488006"/>
                    <a:gd name="connsiteX8" fmla="*/ 312335 w 519024"/>
                    <a:gd name="connsiteY8" fmla="*/ 145106 h 488006"/>
                    <a:gd name="connsiteX9" fmla="*/ 353610 w 519024"/>
                    <a:gd name="connsiteY9" fmla="*/ 151456 h 488006"/>
                    <a:gd name="connsiteX10" fmla="*/ 445685 w 519024"/>
                    <a:gd name="connsiteY10" fmla="*/ 164156 h 488006"/>
                    <a:gd name="connsiteX11" fmla="*/ 486960 w 519024"/>
                    <a:gd name="connsiteY11" fmla="*/ 189556 h 488006"/>
                    <a:gd name="connsiteX12" fmla="*/ 509185 w 519024"/>
                    <a:gd name="connsiteY12" fmla="*/ 234006 h 488006"/>
                    <a:gd name="connsiteX13" fmla="*/ 506010 w 519024"/>
                    <a:gd name="connsiteY13" fmla="*/ 488006 h 488006"/>
                    <a:gd name="connsiteX14" fmla="*/ 4360 w 519024"/>
                    <a:gd name="connsiteY14" fmla="*/ 449906 h 488006"/>
                    <a:gd name="connsiteX0" fmla="*/ 4360 w 523534"/>
                    <a:gd name="connsiteY0" fmla="*/ 449906 h 472131"/>
                    <a:gd name="connsiteX1" fmla="*/ 7535 w 523534"/>
                    <a:gd name="connsiteY1" fmla="*/ 214956 h 472131"/>
                    <a:gd name="connsiteX2" fmla="*/ 23410 w 523534"/>
                    <a:gd name="connsiteY2" fmla="*/ 176856 h 472131"/>
                    <a:gd name="connsiteX3" fmla="*/ 71035 w 523534"/>
                    <a:gd name="connsiteY3" fmla="*/ 160981 h 472131"/>
                    <a:gd name="connsiteX4" fmla="*/ 172635 w 523534"/>
                    <a:gd name="connsiteY4" fmla="*/ 154631 h 472131"/>
                    <a:gd name="connsiteX5" fmla="*/ 198035 w 523534"/>
                    <a:gd name="connsiteY5" fmla="*/ 151456 h 472131"/>
                    <a:gd name="connsiteX6" fmla="*/ 201210 w 523534"/>
                    <a:gd name="connsiteY6" fmla="*/ 18106 h 472131"/>
                    <a:gd name="connsiteX7" fmla="*/ 312335 w 523534"/>
                    <a:gd name="connsiteY7" fmla="*/ 14931 h 472131"/>
                    <a:gd name="connsiteX8" fmla="*/ 312335 w 523534"/>
                    <a:gd name="connsiteY8" fmla="*/ 145106 h 472131"/>
                    <a:gd name="connsiteX9" fmla="*/ 353610 w 523534"/>
                    <a:gd name="connsiteY9" fmla="*/ 151456 h 472131"/>
                    <a:gd name="connsiteX10" fmla="*/ 445685 w 523534"/>
                    <a:gd name="connsiteY10" fmla="*/ 164156 h 472131"/>
                    <a:gd name="connsiteX11" fmla="*/ 486960 w 523534"/>
                    <a:gd name="connsiteY11" fmla="*/ 189556 h 472131"/>
                    <a:gd name="connsiteX12" fmla="*/ 509185 w 523534"/>
                    <a:gd name="connsiteY12" fmla="*/ 234006 h 472131"/>
                    <a:gd name="connsiteX13" fmla="*/ 512360 w 523534"/>
                    <a:gd name="connsiteY13" fmla="*/ 472131 h 472131"/>
                    <a:gd name="connsiteX14" fmla="*/ 4360 w 523534"/>
                    <a:gd name="connsiteY14" fmla="*/ 449906 h 472131"/>
                    <a:gd name="connsiteX0" fmla="*/ 4360 w 513675"/>
                    <a:gd name="connsiteY0" fmla="*/ 449906 h 472131"/>
                    <a:gd name="connsiteX1" fmla="*/ 7535 w 513675"/>
                    <a:gd name="connsiteY1" fmla="*/ 214956 h 472131"/>
                    <a:gd name="connsiteX2" fmla="*/ 23410 w 513675"/>
                    <a:gd name="connsiteY2" fmla="*/ 176856 h 472131"/>
                    <a:gd name="connsiteX3" fmla="*/ 71035 w 513675"/>
                    <a:gd name="connsiteY3" fmla="*/ 160981 h 472131"/>
                    <a:gd name="connsiteX4" fmla="*/ 172635 w 513675"/>
                    <a:gd name="connsiteY4" fmla="*/ 154631 h 472131"/>
                    <a:gd name="connsiteX5" fmla="*/ 198035 w 513675"/>
                    <a:gd name="connsiteY5" fmla="*/ 151456 h 472131"/>
                    <a:gd name="connsiteX6" fmla="*/ 201210 w 513675"/>
                    <a:gd name="connsiteY6" fmla="*/ 18106 h 472131"/>
                    <a:gd name="connsiteX7" fmla="*/ 312335 w 513675"/>
                    <a:gd name="connsiteY7" fmla="*/ 14931 h 472131"/>
                    <a:gd name="connsiteX8" fmla="*/ 312335 w 513675"/>
                    <a:gd name="connsiteY8" fmla="*/ 145106 h 472131"/>
                    <a:gd name="connsiteX9" fmla="*/ 353610 w 513675"/>
                    <a:gd name="connsiteY9" fmla="*/ 151456 h 472131"/>
                    <a:gd name="connsiteX10" fmla="*/ 445685 w 513675"/>
                    <a:gd name="connsiteY10" fmla="*/ 164156 h 472131"/>
                    <a:gd name="connsiteX11" fmla="*/ 486960 w 513675"/>
                    <a:gd name="connsiteY11" fmla="*/ 189556 h 472131"/>
                    <a:gd name="connsiteX12" fmla="*/ 509185 w 513675"/>
                    <a:gd name="connsiteY12" fmla="*/ 234006 h 472131"/>
                    <a:gd name="connsiteX13" fmla="*/ 512360 w 513675"/>
                    <a:gd name="connsiteY13" fmla="*/ 472131 h 472131"/>
                    <a:gd name="connsiteX14" fmla="*/ 4360 w 513675"/>
                    <a:gd name="connsiteY14" fmla="*/ 449906 h 472131"/>
                    <a:gd name="connsiteX0" fmla="*/ 4360 w 513675"/>
                    <a:gd name="connsiteY0" fmla="*/ 446969 h 469194"/>
                    <a:gd name="connsiteX1" fmla="*/ 7535 w 513675"/>
                    <a:gd name="connsiteY1" fmla="*/ 212019 h 469194"/>
                    <a:gd name="connsiteX2" fmla="*/ 23410 w 513675"/>
                    <a:gd name="connsiteY2" fmla="*/ 173919 h 469194"/>
                    <a:gd name="connsiteX3" fmla="*/ 71035 w 513675"/>
                    <a:gd name="connsiteY3" fmla="*/ 158044 h 469194"/>
                    <a:gd name="connsiteX4" fmla="*/ 172635 w 513675"/>
                    <a:gd name="connsiteY4" fmla="*/ 151694 h 469194"/>
                    <a:gd name="connsiteX5" fmla="*/ 188510 w 513675"/>
                    <a:gd name="connsiteY5" fmla="*/ 94544 h 469194"/>
                    <a:gd name="connsiteX6" fmla="*/ 201210 w 513675"/>
                    <a:gd name="connsiteY6" fmla="*/ 15169 h 469194"/>
                    <a:gd name="connsiteX7" fmla="*/ 312335 w 513675"/>
                    <a:gd name="connsiteY7" fmla="*/ 11994 h 469194"/>
                    <a:gd name="connsiteX8" fmla="*/ 312335 w 513675"/>
                    <a:gd name="connsiteY8" fmla="*/ 142169 h 469194"/>
                    <a:gd name="connsiteX9" fmla="*/ 353610 w 513675"/>
                    <a:gd name="connsiteY9" fmla="*/ 148519 h 469194"/>
                    <a:gd name="connsiteX10" fmla="*/ 445685 w 513675"/>
                    <a:gd name="connsiteY10" fmla="*/ 161219 h 469194"/>
                    <a:gd name="connsiteX11" fmla="*/ 486960 w 513675"/>
                    <a:gd name="connsiteY11" fmla="*/ 186619 h 469194"/>
                    <a:gd name="connsiteX12" fmla="*/ 509185 w 513675"/>
                    <a:gd name="connsiteY12" fmla="*/ 231069 h 469194"/>
                    <a:gd name="connsiteX13" fmla="*/ 512360 w 513675"/>
                    <a:gd name="connsiteY13" fmla="*/ 469194 h 469194"/>
                    <a:gd name="connsiteX14" fmla="*/ 4360 w 513675"/>
                    <a:gd name="connsiteY14" fmla="*/ 446969 h 469194"/>
                    <a:gd name="connsiteX0" fmla="*/ 4360 w 513675"/>
                    <a:gd name="connsiteY0" fmla="*/ 443409 h 465634"/>
                    <a:gd name="connsiteX1" fmla="*/ 7535 w 513675"/>
                    <a:gd name="connsiteY1" fmla="*/ 208459 h 465634"/>
                    <a:gd name="connsiteX2" fmla="*/ 23410 w 513675"/>
                    <a:gd name="connsiteY2" fmla="*/ 170359 h 465634"/>
                    <a:gd name="connsiteX3" fmla="*/ 71035 w 513675"/>
                    <a:gd name="connsiteY3" fmla="*/ 154484 h 465634"/>
                    <a:gd name="connsiteX4" fmla="*/ 172635 w 513675"/>
                    <a:gd name="connsiteY4" fmla="*/ 148134 h 465634"/>
                    <a:gd name="connsiteX5" fmla="*/ 188510 w 513675"/>
                    <a:gd name="connsiteY5" fmla="*/ 90984 h 465634"/>
                    <a:gd name="connsiteX6" fmla="*/ 201210 w 513675"/>
                    <a:gd name="connsiteY6" fmla="*/ 11609 h 465634"/>
                    <a:gd name="connsiteX7" fmla="*/ 312335 w 513675"/>
                    <a:gd name="connsiteY7" fmla="*/ 8434 h 465634"/>
                    <a:gd name="connsiteX8" fmla="*/ 312335 w 513675"/>
                    <a:gd name="connsiteY8" fmla="*/ 87809 h 465634"/>
                    <a:gd name="connsiteX9" fmla="*/ 353610 w 513675"/>
                    <a:gd name="connsiteY9" fmla="*/ 144959 h 465634"/>
                    <a:gd name="connsiteX10" fmla="*/ 445685 w 513675"/>
                    <a:gd name="connsiteY10" fmla="*/ 157659 h 465634"/>
                    <a:gd name="connsiteX11" fmla="*/ 486960 w 513675"/>
                    <a:gd name="connsiteY11" fmla="*/ 183059 h 465634"/>
                    <a:gd name="connsiteX12" fmla="*/ 509185 w 513675"/>
                    <a:gd name="connsiteY12" fmla="*/ 227509 h 465634"/>
                    <a:gd name="connsiteX13" fmla="*/ 512360 w 513675"/>
                    <a:gd name="connsiteY13" fmla="*/ 465634 h 465634"/>
                    <a:gd name="connsiteX14" fmla="*/ 4360 w 513675"/>
                    <a:gd name="connsiteY14" fmla="*/ 443409 h 465634"/>
                    <a:gd name="connsiteX0" fmla="*/ 4360 w 513675"/>
                    <a:gd name="connsiteY0" fmla="*/ 443409 h 465634"/>
                    <a:gd name="connsiteX1" fmla="*/ 7535 w 513675"/>
                    <a:gd name="connsiteY1" fmla="*/ 208459 h 465634"/>
                    <a:gd name="connsiteX2" fmla="*/ 23410 w 513675"/>
                    <a:gd name="connsiteY2" fmla="*/ 170359 h 465634"/>
                    <a:gd name="connsiteX3" fmla="*/ 71035 w 513675"/>
                    <a:gd name="connsiteY3" fmla="*/ 154484 h 465634"/>
                    <a:gd name="connsiteX4" fmla="*/ 172635 w 513675"/>
                    <a:gd name="connsiteY4" fmla="*/ 148134 h 465634"/>
                    <a:gd name="connsiteX5" fmla="*/ 188510 w 513675"/>
                    <a:gd name="connsiteY5" fmla="*/ 90984 h 465634"/>
                    <a:gd name="connsiteX6" fmla="*/ 201210 w 513675"/>
                    <a:gd name="connsiteY6" fmla="*/ 11609 h 465634"/>
                    <a:gd name="connsiteX7" fmla="*/ 312335 w 513675"/>
                    <a:gd name="connsiteY7" fmla="*/ 8434 h 465634"/>
                    <a:gd name="connsiteX8" fmla="*/ 312335 w 513675"/>
                    <a:gd name="connsiteY8" fmla="*/ 87809 h 465634"/>
                    <a:gd name="connsiteX9" fmla="*/ 334560 w 513675"/>
                    <a:gd name="connsiteY9" fmla="*/ 135434 h 465634"/>
                    <a:gd name="connsiteX10" fmla="*/ 445685 w 513675"/>
                    <a:gd name="connsiteY10" fmla="*/ 157659 h 465634"/>
                    <a:gd name="connsiteX11" fmla="*/ 486960 w 513675"/>
                    <a:gd name="connsiteY11" fmla="*/ 183059 h 465634"/>
                    <a:gd name="connsiteX12" fmla="*/ 509185 w 513675"/>
                    <a:gd name="connsiteY12" fmla="*/ 227509 h 465634"/>
                    <a:gd name="connsiteX13" fmla="*/ 512360 w 513675"/>
                    <a:gd name="connsiteY13" fmla="*/ 465634 h 465634"/>
                    <a:gd name="connsiteX14" fmla="*/ 4360 w 513675"/>
                    <a:gd name="connsiteY14" fmla="*/ 443409 h 465634"/>
                    <a:gd name="connsiteX0" fmla="*/ 4360 w 510500"/>
                    <a:gd name="connsiteY0" fmla="*/ 443409 h 449759"/>
                    <a:gd name="connsiteX1" fmla="*/ 7535 w 510500"/>
                    <a:gd name="connsiteY1" fmla="*/ 208459 h 449759"/>
                    <a:gd name="connsiteX2" fmla="*/ 23410 w 510500"/>
                    <a:gd name="connsiteY2" fmla="*/ 170359 h 449759"/>
                    <a:gd name="connsiteX3" fmla="*/ 71035 w 510500"/>
                    <a:gd name="connsiteY3" fmla="*/ 154484 h 449759"/>
                    <a:gd name="connsiteX4" fmla="*/ 172635 w 510500"/>
                    <a:gd name="connsiteY4" fmla="*/ 148134 h 449759"/>
                    <a:gd name="connsiteX5" fmla="*/ 188510 w 510500"/>
                    <a:gd name="connsiteY5" fmla="*/ 90984 h 449759"/>
                    <a:gd name="connsiteX6" fmla="*/ 201210 w 510500"/>
                    <a:gd name="connsiteY6" fmla="*/ 11609 h 449759"/>
                    <a:gd name="connsiteX7" fmla="*/ 312335 w 510500"/>
                    <a:gd name="connsiteY7" fmla="*/ 8434 h 449759"/>
                    <a:gd name="connsiteX8" fmla="*/ 312335 w 510500"/>
                    <a:gd name="connsiteY8" fmla="*/ 87809 h 449759"/>
                    <a:gd name="connsiteX9" fmla="*/ 334560 w 510500"/>
                    <a:gd name="connsiteY9" fmla="*/ 135434 h 449759"/>
                    <a:gd name="connsiteX10" fmla="*/ 445685 w 510500"/>
                    <a:gd name="connsiteY10" fmla="*/ 157659 h 449759"/>
                    <a:gd name="connsiteX11" fmla="*/ 486960 w 510500"/>
                    <a:gd name="connsiteY11" fmla="*/ 183059 h 449759"/>
                    <a:gd name="connsiteX12" fmla="*/ 509185 w 510500"/>
                    <a:gd name="connsiteY12" fmla="*/ 227509 h 449759"/>
                    <a:gd name="connsiteX13" fmla="*/ 506010 w 510500"/>
                    <a:gd name="connsiteY13" fmla="*/ 449759 h 449759"/>
                    <a:gd name="connsiteX14" fmla="*/ 4360 w 510500"/>
                    <a:gd name="connsiteY14" fmla="*/ 443409 h 449759"/>
                    <a:gd name="connsiteX0" fmla="*/ 4360 w 510500"/>
                    <a:gd name="connsiteY0" fmla="*/ 443409 h 454926"/>
                    <a:gd name="connsiteX1" fmla="*/ 7535 w 510500"/>
                    <a:gd name="connsiteY1" fmla="*/ 208459 h 454926"/>
                    <a:gd name="connsiteX2" fmla="*/ 23410 w 510500"/>
                    <a:gd name="connsiteY2" fmla="*/ 170359 h 454926"/>
                    <a:gd name="connsiteX3" fmla="*/ 71035 w 510500"/>
                    <a:gd name="connsiteY3" fmla="*/ 154484 h 454926"/>
                    <a:gd name="connsiteX4" fmla="*/ 172635 w 510500"/>
                    <a:gd name="connsiteY4" fmla="*/ 148134 h 454926"/>
                    <a:gd name="connsiteX5" fmla="*/ 188510 w 510500"/>
                    <a:gd name="connsiteY5" fmla="*/ 90984 h 454926"/>
                    <a:gd name="connsiteX6" fmla="*/ 201210 w 510500"/>
                    <a:gd name="connsiteY6" fmla="*/ 11609 h 454926"/>
                    <a:gd name="connsiteX7" fmla="*/ 312335 w 510500"/>
                    <a:gd name="connsiteY7" fmla="*/ 8434 h 454926"/>
                    <a:gd name="connsiteX8" fmla="*/ 312335 w 510500"/>
                    <a:gd name="connsiteY8" fmla="*/ 87809 h 454926"/>
                    <a:gd name="connsiteX9" fmla="*/ 334560 w 510500"/>
                    <a:gd name="connsiteY9" fmla="*/ 135434 h 454926"/>
                    <a:gd name="connsiteX10" fmla="*/ 445685 w 510500"/>
                    <a:gd name="connsiteY10" fmla="*/ 157659 h 454926"/>
                    <a:gd name="connsiteX11" fmla="*/ 486960 w 510500"/>
                    <a:gd name="connsiteY11" fmla="*/ 183059 h 454926"/>
                    <a:gd name="connsiteX12" fmla="*/ 509185 w 510500"/>
                    <a:gd name="connsiteY12" fmla="*/ 227509 h 454926"/>
                    <a:gd name="connsiteX13" fmla="*/ 506010 w 510500"/>
                    <a:gd name="connsiteY13" fmla="*/ 449759 h 454926"/>
                    <a:gd name="connsiteX14" fmla="*/ 4360 w 510500"/>
                    <a:gd name="connsiteY14" fmla="*/ 443409 h 454926"/>
                    <a:gd name="connsiteX0" fmla="*/ 6473 w 512613"/>
                    <a:gd name="connsiteY0" fmla="*/ 443409 h 454926"/>
                    <a:gd name="connsiteX1" fmla="*/ 9648 w 512613"/>
                    <a:gd name="connsiteY1" fmla="*/ 208459 h 454926"/>
                    <a:gd name="connsiteX2" fmla="*/ 73148 w 512613"/>
                    <a:gd name="connsiteY2" fmla="*/ 154484 h 454926"/>
                    <a:gd name="connsiteX3" fmla="*/ 174748 w 512613"/>
                    <a:gd name="connsiteY3" fmla="*/ 148134 h 454926"/>
                    <a:gd name="connsiteX4" fmla="*/ 190623 w 512613"/>
                    <a:gd name="connsiteY4" fmla="*/ 90984 h 454926"/>
                    <a:gd name="connsiteX5" fmla="*/ 203323 w 512613"/>
                    <a:gd name="connsiteY5" fmla="*/ 11609 h 454926"/>
                    <a:gd name="connsiteX6" fmla="*/ 314448 w 512613"/>
                    <a:gd name="connsiteY6" fmla="*/ 8434 h 454926"/>
                    <a:gd name="connsiteX7" fmla="*/ 314448 w 512613"/>
                    <a:gd name="connsiteY7" fmla="*/ 87809 h 454926"/>
                    <a:gd name="connsiteX8" fmla="*/ 336673 w 512613"/>
                    <a:gd name="connsiteY8" fmla="*/ 135434 h 454926"/>
                    <a:gd name="connsiteX9" fmla="*/ 447798 w 512613"/>
                    <a:gd name="connsiteY9" fmla="*/ 157659 h 454926"/>
                    <a:gd name="connsiteX10" fmla="*/ 489073 w 512613"/>
                    <a:gd name="connsiteY10" fmla="*/ 183059 h 454926"/>
                    <a:gd name="connsiteX11" fmla="*/ 511298 w 512613"/>
                    <a:gd name="connsiteY11" fmla="*/ 227509 h 454926"/>
                    <a:gd name="connsiteX12" fmla="*/ 508123 w 512613"/>
                    <a:gd name="connsiteY12" fmla="*/ 449759 h 454926"/>
                    <a:gd name="connsiteX13" fmla="*/ 6473 w 512613"/>
                    <a:gd name="connsiteY13" fmla="*/ 443409 h 454926"/>
                    <a:gd name="connsiteX0" fmla="*/ 4049 w 510189"/>
                    <a:gd name="connsiteY0" fmla="*/ 443409 h 454926"/>
                    <a:gd name="connsiteX1" fmla="*/ 7224 w 510189"/>
                    <a:gd name="connsiteY1" fmla="*/ 208459 h 454926"/>
                    <a:gd name="connsiteX2" fmla="*/ 70724 w 510189"/>
                    <a:gd name="connsiteY2" fmla="*/ 154484 h 454926"/>
                    <a:gd name="connsiteX3" fmla="*/ 172324 w 510189"/>
                    <a:gd name="connsiteY3" fmla="*/ 148134 h 454926"/>
                    <a:gd name="connsiteX4" fmla="*/ 188199 w 510189"/>
                    <a:gd name="connsiteY4" fmla="*/ 90984 h 454926"/>
                    <a:gd name="connsiteX5" fmla="*/ 200899 w 510189"/>
                    <a:gd name="connsiteY5" fmla="*/ 11609 h 454926"/>
                    <a:gd name="connsiteX6" fmla="*/ 312024 w 510189"/>
                    <a:gd name="connsiteY6" fmla="*/ 8434 h 454926"/>
                    <a:gd name="connsiteX7" fmla="*/ 312024 w 510189"/>
                    <a:gd name="connsiteY7" fmla="*/ 87809 h 454926"/>
                    <a:gd name="connsiteX8" fmla="*/ 334249 w 510189"/>
                    <a:gd name="connsiteY8" fmla="*/ 135434 h 454926"/>
                    <a:gd name="connsiteX9" fmla="*/ 445374 w 510189"/>
                    <a:gd name="connsiteY9" fmla="*/ 157659 h 454926"/>
                    <a:gd name="connsiteX10" fmla="*/ 486649 w 510189"/>
                    <a:gd name="connsiteY10" fmla="*/ 183059 h 454926"/>
                    <a:gd name="connsiteX11" fmla="*/ 508874 w 510189"/>
                    <a:gd name="connsiteY11" fmla="*/ 227509 h 454926"/>
                    <a:gd name="connsiteX12" fmla="*/ 505699 w 510189"/>
                    <a:gd name="connsiteY12" fmla="*/ 449759 h 454926"/>
                    <a:gd name="connsiteX13" fmla="*/ 4049 w 510189"/>
                    <a:gd name="connsiteY13" fmla="*/ 443409 h 454926"/>
                    <a:gd name="connsiteX0" fmla="*/ 4049 w 510189"/>
                    <a:gd name="connsiteY0" fmla="*/ 443409 h 454926"/>
                    <a:gd name="connsiteX1" fmla="*/ 7224 w 510189"/>
                    <a:gd name="connsiteY1" fmla="*/ 208459 h 454926"/>
                    <a:gd name="connsiteX2" fmla="*/ 70724 w 510189"/>
                    <a:gd name="connsiteY2" fmla="*/ 154484 h 454926"/>
                    <a:gd name="connsiteX3" fmla="*/ 172324 w 510189"/>
                    <a:gd name="connsiteY3" fmla="*/ 148134 h 454926"/>
                    <a:gd name="connsiteX4" fmla="*/ 188199 w 510189"/>
                    <a:gd name="connsiteY4" fmla="*/ 90984 h 454926"/>
                    <a:gd name="connsiteX5" fmla="*/ 200899 w 510189"/>
                    <a:gd name="connsiteY5" fmla="*/ 11609 h 454926"/>
                    <a:gd name="connsiteX6" fmla="*/ 312024 w 510189"/>
                    <a:gd name="connsiteY6" fmla="*/ 8434 h 454926"/>
                    <a:gd name="connsiteX7" fmla="*/ 312024 w 510189"/>
                    <a:gd name="connsiteY7" fmla="*/ 87809 h 454926"/>
                    <a:gd name="connsiteX8" fmla="*/ 334249 w 510189"/>
                    <a:gd name="connsiteY8" fmla="*/ 135434 h 454926"/>
                    <a:gd name="connsiteX9" fmla="*/ 445374 w 510189"/>
                    <a:gd name="connsiteY9" fmla="*/ 157659 h 454926"/>
                    <a:gd name="connsiteX10" fmla="*/ 508874 w 510189"/>
                    <a:gd name="connsiteY10" fmla="*/ 227509 h 454926"/>
                    <a:gd name="connsiteX11" fmla="*/ 505699 w 510189"/>
                    <a:gd name="connsiteY11" fmla="*/ 449759 h 454926"/>
                    <a:gd name="connsiteX12" fmla="*/ 4049 w 510189"/>
                    <a:gd name="connsiteY12" fmla="*/ 443409 h 454926"/>
                    <a:gd name="connsiteX0" fmla="*/ 4049 w 510189"/>
                    <a:gd name="connsiteY0" fmla="*/ 443409 h 454926"/>
                    <a:gd name="connsiteX1" fmla="*/ 7224 w 510189"/>
                    <a:gd name="connsiteY1" fmla="*/ 208459 h 454926"/>
                    <a:gd name="connsiteX2" fmla="*/ 70724 w 510189"/>
                    <a:gd name="connsiteY2" fmla="*/ 154484 h 454926"/>
                    <a:gd name="connsiteX3" fmla="*/ 172324 w 510189"/>
                    <a:gd name="connsiteY3" fmla="*/ 148134 h 454926"/>
                    <a:gd name="connsiteX4" fmla="*/ 188199 w 510189"/>
                    <a:gd name="connsiteY4" fmla="*/ 90984 h 454926"/>
                    <a:gd name="connsiteX5" fmla="*/ 200899 w 510189"/>
                    <a:gd name="connsiteY5" fmla="*/ 11609 h 454926"/>
                    <a:gd name="connsiteX6" fmla="*/ 312024 w 510189"/>
                    <a:gd name="connsiteY6" fmla="*/ 8434 h 454926"/>
                    <a:gd name="connsiteX7" fmla="*/ 312024 w 510189"/>
                    <a:gd name="connsiteY7" fmla="*/ 87809 h 454926"/>
                    <a:gd name="connsiteX8" fmla="*/ 334249 w 510189"/>
                    <a:gd name="connsiteY8" fmla="*/ 135434 h 454926"/>
                    <a:gd name="connsiteX9" fmla="*/ 445374 w 510189"/>
                    <a:gd name="connsiteY9" fmla="*/ 157659 h 454926"/>
                    <a:gd name="connsiteX10" fmla="*/ 508874 w 510189"/>
                    <a:gd name="connsiteY10" fmla="*/ 227509 h 454926"/>
                    <a:gd name="connsiteX11" fmla="*/ 505699 w 510189"/>
                    <a:gd name="connsiteY11" fmla="*/ 449759 h 454926"/>
                    <a:gd name="connsiteX12" fmla="*/ 4049 w 510189"/>
                    <a:gd name="connsiteY12" fmla="*/ 443409 h 454926"/>
                    <a:gd name="connsiteX0" fmla="*/ 5987 w 512127"/>
                    <a:gd name="connsiteY0" fmla="*/ 443409 h 454926"/>
                    <a:gd name="connsiteX1" fmla="*/ 2812 w 512127"/>
                    <a:gd name="connsiteY1" fmla="*/ 217984 h 454926"/>
                    <a:gd name="connsiteX2" fmla="*/ 72662 w 512127"/>
                    <a:gd name="connsiteY2" fmla="*/ 154484 h 454926"/>
                    <a:gd name="connsiteX3" fmla="*/ 174262 w 512127"/>
                    <a:gd name="connsiteY3" fmla="*/ 148134 h 454926"/>
                    <a:gd name="connsiteX4" fmla="*/ 190137 w 512127"/>
                    <a:gd name="connsiteY4" fmla="*/ 90984 h 454926"/>
                    <a:gd name="connsiteX5" fmla="*/ 202837 w 512127"/>
                    <a:gd name="connsiteY5" fmla="*/ 11609 h 454926"/>
                    <a:gd name="connsiteX6" fmla="*/ 313962 w 512127"/>
                    <a:gd name="connsiteY6" fmla="*/ 8434 h 454926"/>
                    <a:gd name="connsiteX7" fmla="*/ 313962 w 512127"/>
                    <a:gd name="connsiteY7" fmla="*/ 87809 h 454926"/>
                    <a:gd name="connsiteX8" fmla="*/ 336187 w 512127"/>
                    <a:gd name="connsiteY8" fmla="*/ 135434 h 454926"/>
                    <a:gd name="connsiteX9" fmla="*/ 447312 w 512127"/>
                    <a:gd name="connsiteY9" fmla="*/ 157659 h 454926"/>
                    <a:gd name="connsiteX10" fmla="*/ 510812 w 512127"/>
                    <a:gd name="connsiteY10" fmla="*/ 227509 h 454926"/>
                    <a:gd name="connsiteX11" fmla="*/ 507637 w 512127"/>
                    <a:gd name="connsiteY11" fmla="*/ 449759 h 454926"/>
                    <a:gd name="connsiteX12" fmla="*/ 5987 w 512127"/>
                    <a:gd name="connsiteY12" fmla="*/ 443409 h 454926"/>
                    <a:gd name="connsiteX0" fmla="*/ 9762 w 515902"/>
                    <a:gd name="connsiteY0" fmla="*/ 443409 h 454926"/>
                    <a:gd name="connsiteX1" fmla="*/ 6587 w 515902"/>
                    <a:gd name="connsiteY1" fmla="*/ 217984 h 454926"/>
                    <a:gd name="connsiteX2" fmla="*/ 76437 w 515902"/>
                    <a:gd name="connsiteY2" fmla="*/ 154484 h 454926"/>
                    <a:gd name="connsiteX3" fmla="*/ 178037 w 515902"/>
                    <a:gd name="connsiteY3" fmla="*/ 148134 h 454926"/>
                    <a:gd name="connsiteX4" fmla="*/ 193912 w 515902"/>
                    <a:gd name="connsiteY4" fmla="*/ 90984 h 454926"/>
                    <a:gd name="connsiteX5" fmla="*/ 206612 w 515902"/>
                    <a:gd name="connsiteY5" fmla="*/ 11609 h 454926"/>
                    <a:gd name="connsiteX6" fmla="*/ 317737 w 515902"/>
                    <a:gd name="connsiteY6" fmla="*/ 8434 h 454926"/>
                    <a:gd name="connsiteX7" fmla="*/ 317737 w 515902"/>
                    <a:gd name="connsiteY7" fmla="*/ 87809 h 454926"/>
                    <a:gd name="connsiteX8" fmla="*/ 339962 w 515902"/>
                    <a:gd name="connsiteY8" fmla="*/ 135434 h 454926"/>
                    <a:gd name="connsiteX9" fmla="*/ 451087 w 515902"/>
                    <a:gd name="connsiteY9" fmla="*/ 157659 h 454926"/>
                    <a:gd name="connsiteX10" fmla="*/ 514587 w 515902"/>
                    <a:gd name="connsiteY10" fmla="*/ 227509 h 454926"/>
                    <a:gd name="connsiteX11" fmla="*/ 511412 w 515902"/>
                    <a:gd name="connsiteY11" fmla="*/ 449759 h 454926"/>
                    <a:gd name="connsiteX12" fmla="*/ 9762 w 515902"/>
                    <a:gd name="connsiteY12" fmla="*/ 443409 h 454926"/>
                    <a:gd name="connsiteX0" fmla="*/ 9762 w 515902"/>
                    <a:gd name="connsiteY0" fmla="*/ 443409 h 454926"/>
                    <a:gd name="connsiteX1" fmla="*/ 6587 w 515902"/>
                    <a:gd name="connsiteY1" fmla="*/ 217984 h 454926"/>
                    <a:gd name="connsiteX2" fmla="*/ 76437 w 515902"/>
                    <a:gd name="connsiteY2" fmla="*/ 154484 h 454926"/>
                    <a:gd name="connsiteX3" fmla="*/ 178037 w 515902"/>
                    <a:gd name="connsiteY3" fmla="*/ 148134 h 454926"/>
                    <a:gd name="connsiteX4" fmla="*/ 193912 w 515902"/>
                    <a:gd name="connsiteY4" fmla="*/ 90984 h 454926"/>
                    <a:gd name="connsiteX5" fmla="*/ 206612 w 515902"/>
                    <a:gd name="connsiteY5" fmla="*/ 11609 h 454926"/>
                    <a:gd name="connsiteX6" fmla="*/ 317737 w 515902"/>
                    <a:gd name="connsiteY6" fmla="*/ 8434 h 454926"/>
                    <a:gd name="connsiteX7" fmla="*/ 317737 w 515902"/>
                    <a:gd name="connsiteY7" fmla="*/ 87809 h 454926"/>
                    <a:gd name="connsiteX8" fmla="*/ 339962 w 515902"/>
                    <a:gd name="connsiteY8" fmla="*/ 135434 h 454926"/>
                    <a:gd name="connsiteX9" fmla="*/ 451087 w 515902"/>
                    <a:gd name="connsiteY9" fmla="*/ 157659 h 454926"/>
                    <a:gd name="connsiteX10" fmla="*/ 514587 w 515902"/>
                    <a:gd name="connsiteY10" fmla="*/ 227509 h 454926"/>
                    <a:gd name="connsiteX11" fmla="*/ 511412 w 515902"/>
                    <a:gd name="connsiteY11" fmla="*/ 449759 h 454926"/>
                    <a:gd name="connsiteX12" fmla="*/ 9762 w 515902"/>
                    <a:gd name="connsiteY12" fmla="*/ 443409 h 454926"/>
                    <a:gd name="connsiteX0" fmla="*/ 9762 w 515902"/>
                    <a:gd name="connsiteY0" fmla="*/ 443409 h 454926"/>
                    <a:gd name="connsiteX1" fmla="*/ 6587 w 515902"/>
                    <a:gd name="connsiteY1" fmla="*/ 217984 h 454926"/>
                    <a:gd name="connsiteX2" fmla="*/ 76437 w 515902"/>
                    <a:gd name="connsiteY2" fmla="*/ 154484 h 454926"/>
                    <a:gd name="connsiteX3" fmla="*/ 193912 w 515902"/>
                    <a:gd name="connsiteY3" fmla="*/ 90984 h 454926"/>
                    <a:gd name="connsiteX4" fmla="*/ 206612 w 515902"/>
                    <a:gd name="connsiteY4" fmla="*/ 11609 h 454926"/>
                    <a:gd name="connsiteX5" fmla="*/ 317737 w 515902"/>
                    <a:gd name="connsiteY5" fmla="*/ 8434 h 454926"/>
                    <a:gd name="connsiteX6" fmla="*/ 317737 w 515902"/>
                    <a:gd name="connsiteY6" fmla="*/ 87809 h 454926"/>
                    <a:gd name="connsiteX7" fmla="*/ 339962 w 515902"/>
                    <a:gd name="connsiteY7" fmla="*/ 135434 h 454926"/>
                    <a:gd name="connsiteX8" fmla="*/ 451087 w 515902"/>
                    <a:gd name="connsiteY8" fmla="*/ 157659 h 454926"/>
                    <a:gd name="connsiteX9" fmla="*/ 514587 w 515902"/>
                    <a:gd name="connsiteY9" fmla="*/ 227509 h 454926"/>
                    <a:gd name="connsiteX10" fmla="*/ 511412 w 515902"/>
                    <a:gd name="connsiteY10" fmla="*/ 449759 h 454926"/>
                    <a:gd name="connsiteX11" fmla="*/ 9762 w 515902"/>
                    <a:gd name="connsiteY11" fmla="*/ 443409 h 454926"/>
                    <a:gd name="connsiteX0" fmla="*/ 9762 w 515902"/>
                    <a:gd name="connsiteY0" fmla="*/ 446099 h 457616"/>
                    <a:gd name="connsiteX1" fmla="*/ 6587 w 515902"/>
                    <a:gd name="connsiteY1" fmla="*/ 220674 h 457616"/>
                    <a:gd name="connsiteX2" fmla="*/ 76437 w 515902"/>
                    <a:gd name="connsiteY2" fmla="*/ 157174 h 457616"/>
                    <a:gd name="connsiteX3" fmla="*/ 190737 w 515902"/>
                    <a:gd name="connsiteY3" fmla="*/ 138124 h 457616"/>
                    <a:gd name="connsiteX4" fmla="*/ 206612 w 515902"/>
                    <a:gd name="connsiteY4" fmla="*/ 14299 h 457616"/>
                    <a:gd name="connsiteX5" fmla="*/ 317737 w 515902"/>
                    <a:gd name="connsiteY5" fmla="*/ 11124 h 457616"/>
                    <a:gd name="connsiteX6" fmla="*/ 317737 w 515902"/>
                    <a:gd name="connsiteY6" fmla="*/ 90499 h 457616"/>
                    <a:gd name="connsiteX7" fmla="*/ 339962 w 515902"/>
                    <a:gd name="connsiteY7" fmla="*/ 138124 h 457616"/>
                    <a:gd name="connsiteX8" fmla="*/ 451087 w 515902"/>
                    <a:gd name="connsiteY8" fmla="*/ 160349 h 457616"/>
                    <a:gd name="connsiteX9" fmla="*/ 514587 w 515902"/>
                    <a:gd name="connsiteY9" fmla="*/ 230199 h 457616"/>
                    <a:gd name="connsiteX10" fmla="*/ 511412 w 515902"/>
                    <a:gd name="connsiteY10" fmla="*/ 452449 h 457616"/>
                    <a:gd name="connsiteX11" fmla="*/ 9762 w 515902"/>
                    <a:gd name="connsiteY11" fmla="*/ 446099 h 457616"/>
                    <a:gd name="connsiteX0" fmla="*/ 9762 w 515902"/>
                    <a:gd name="connsiteY0" fmla="*/ 446099 h 457616"/>
                    <a:gd name="connsiteX1" fmla="*/ 6587 w 515902"/>
                    <a:gd name="connsiteY1" fmla="*/ 220674 h 457616"/>
                    <a:gd name="connsiteX2" fmla="*/ 76437 w 515902"/>
                    <a:gd name="connsiteY2" fmla="*/ 157174 h 457616"/>
                    <a:gd name="connsiteX3" fmla="*/ 190737 w 515902"/>
                    <a:gd name="connsiteY3" fmla="*/ 138124 h 457616"/>
                    <a:gd name="connsiteX4" fmla="*/ 206612 w 515902"/>
                    <a:gd name="connsiteY4" fmla="*/ 14299 h 457616"/>
                    <a:gd name="connsiteX5" fmla="*/ 317737 w 515902"/>
                    <a:gd name="connsiteY5" fmla="*/ 11124 h 457616"/>
                    <a:gd name="connsiteX6" fmla="*/ 317737 w 515902"/>
                    <a:gd name="connsiteY6" fmla="*/ 90499 h 457616"/>
                    <a:gd name="connsiteX7" fmla="*/ 451087 w 515902"/>
                    <a:gd name="connsiteY7" fmla="*/ 160349 h 457616"/>
                    <a:gd name="connsiteX8" fmla="*/ 514587 w 515902"/>
                    <a:gd name="connsiteY8" fmla="*/ 230199 h 457616"/>
                    <a:gd name="connsiteX9" fmla="*/ 511412 w 515902"/>
                    <a:gd name="connsiteY9" fmla="*/ 452449 h 457616"/>
                    <a:gd name="connsiteX10" fmla="*/ 9762 w 515902"/>
                    <a:gd name="connsiteY10" fmla="*/ 446099 h 457616"/>
                    <a:gd name="connsiteX0" fmla="*/ 9762 w 515902"/>
                    <a:gd name="connsiteY0" fmla="*/ 447482 h 458999"/>
                    <a:gd name="connsiteX1" fmla="*/ 6587 w 515902"/>
                    <a:gd name="connsiteY1" fmla="*/ 222057 h 458999"/>
                    <a:gd name="connsiteX2" fmla="*/ 76437 w 515902"/>
                    <a:gd name="connsiteY2" fmla="*/ 158557 h 458999"/>
                    <a:gd name="connsiteX3" fmla="*/ 190737 w 515902"/>
                    <a:gd name="connsiteY3" fmla="*/ 139507 h 458999"/>
                    <a:gd name="connsiteX4" fmla="*/ 206612 w 515902"/>
                    <a:gd name="connsiteY4" fmla="*/ 15682 h 458999"/>
                    <a:gd name="connsiteX5" fmla="*/ 317737 w 515902"/>
                    <a:gd name="connsiteY5" fmla="*/ 12507 h 458999"/>
                    <a:gd name="connsiteX6" fmla="*/ 330437 w 515902"/>
                    <a:gd name="connsiteY6" fmla="*/ 114107 h 458999"/>
                    <a:gd name="connsiteX7" fmla="*/ 451087 w 515902"/>
                    <a:gd name="connsiteY7" fmla="*/ 161732 h 458999"/>
                    <a:gd name="connsiteX8" fmla="*/ 514587 w 515902"/>
                    <a:gd name="connsiteY8" fmla="*/ 231582 h 458999"/>
                    <a:gd name="connsiteX9" fmla="*/ 511412 w 515902"/>
                    <a:gd name="connsiteY9" fmla="*/ 453832 h 458999"/>
                    <a:gd name="connsiteX10" fmla="*/ 9762 w 515902"/>
                    <a:gd name="connsiteY10" fmla="*/ 447482 h 458999"/>
                    <a:gd name="connsiteX0" fmla="*/ 9762 w 515902"/>
                    <a:gd name="connsiteY0" fmla="*/ 446348 h 457865"/>
                    <a:gd name="connsiteX1" fmla="*/ 6587 w 515902"/>
                    <a:gd name="connsiteY1" fmla="*/ 220923 h 457865"/>
                    <a:gd name="connsiteX2" fmla="*/ 76437 w 515902"/>
                    <a:gd name="connsiteY2" fmla="*/ 157423 h 457865"/>
                    <a:gd name="connsiteX3" fmla="*/ 200262 w 515902"/>
                    <a:gd name="connsiteY3" fmla="*/ 119323 h 457865"/>
                    <a:gd name="connsiteX4" fmla="*/ 206612 w 515902"/>
                    <a:gd name="connsiteY4" fmla="*/ 14548 h 457865"/>
                    <a:gd name="connsiteX5" fmla="*/ 317737 w 515902"/>
                    <a:gd name="connsiteY5" fmla="*/ 11373 h 457865"/>
                    <a:gd name="connsiteX6" fmla="*/ 330437 w 515902"/>
                    <a:gd name="connsiteY6" fmla="*/ 112973 h 457865"/>
                    <a:gd name="connsiteX7" fmla="*/ 451087 w 515902"/>
                    <a:gd name="connsiteY7" fmla="*/ 160598 h 457865"/>
                    <a:gd name="connsiteX8" fmla="*/ 514587 w 515902"/>
                    <a:gd name="connsiteY8" fmla="*/ 230448 h 457865"/>
                    <a:gd name="connsiteX9" fmla="*/ 511412 w 515902"/>
                    <a:gd name="connsiteY9" fmla="*/ 452698 h 457865"/>
                    <a:gd name="connsiteX10" fmla="*/ 9762 w 515902"/>
                    <a:gd name="connsiteY10" fmla="*/ 446348 h 457865"/>
                    <a:gd name="connsiteX0" fmla="*/ 9762 w 515902"/>
                    <a:gd name="connsiteY0" fmla="*/ 446681 h 458198"/>
                    <a:gd name="connsiteX1" fmla="*/ 6587 w 515902"/>
                    <a:gd name="connsiteY1" fmla="*/ 221256 h 458198"/>
                    <a:gd name="connsiteX2" fmla="*/ 76437 w 515902"/>
                    <a:gd name="connsiteY2" fmla="*/ 157756 h 458198"/>
                    <a:gd name="connsiteX3" fmla="*/ 200262 w 515902"/>
                    <a:gd name="connsiteY3" fmla="*/ 119656 h 458198"/>
                    <a:gd name="connsiteX4" fmla="*/ 206612 w 515902"/>
                    <a:gd name="connsiteY4" fmla="*/ 14881 h 458198"/>
                    <a:gd name="connsiteX5" fmla="*/ 317737 w 515902"/>
                    <a:gd name="connsiteY5" fmla="*/ 11706 h 458198"/>
                    <a:gd name="connsiteX6" fmla="*/ 311502 w 515902"/>
                    <a:gd name="connsiteY6" fmla="*/ 118302 h 458198"/>
                    <a:gd name="connsiteX7" fmla="*/ 451087 w 515902"/>
                    <a:gd name="connsiteY7" fmla="*/ 160931 h 458198"/>
                    <a:gd name="connsiteX8" fmla="*/ 514587 w 515902"/>
                    <a:gd name="connsiteY8" fmla="*/ 230781 h 458198"/>
                    <a:gd name="connsiteX9" fmla="*/ 511412 w 515902"/>
                    <a:gd name="connsiteY9" fmla="*/ 453031 h 458198"/>
                    <a:gd name="connsiteX10" fmla="*/ 9762 w 515902"/>
                    <a:gd name="connsiteY10" fmla="*/ 446681 h 458198"/>
                    <a:gd name="connsiteX0" fmla="*/ 9762 w 515902"/>
                    <a:gd name="connsiteY0" fmla="*/ 446681 h 458198"/>
                    <a:gd name="connsiteX1" fmla="*/ 6587 w 515902"/>
                    <a:gd name="connsiteY1" fmla="*/ 221256 h 458198"/>
                    <a:gd name="connsiteX2" fmla="*/ 76437 w 515902"/>
                    <a:gd name="connsiteY2" fmla="*/ 157756 h 458198"/>
                    <a:gd name="connsiteX3" fmla="*/ 200262 w 515902"/>
                    <a:gd name="connsiteY3" fmla="*/ 119656 h 458198"/>
                    <a:gd name="connsiteX4" fmla="*/ 206612 w 515902"/>
                    <a:gd name="connsiteY4" fmla="*/ 14881 h 458198"/>
                    <a:gd name="connsiteX5" fmla="*/ 301506 w 515902"/>
                    <a:gd name="connsiteY5" fmla="*/ 11706 h 458198"/>
                    <a:gd name="connsiteX6" fmla="*/ 311502 w 515902"/>
                    <a:gd name="connsiteY6" fmla="*/ 118302 h 458198"/>
                    <a:gd name="connsiteX7" fmla="*/ 451087 w 515902"/>
                    <a:gd name="connsiteY7" fmla="*/ 160931 h 458198"/>
                    <a:gd name="connsiteX8" fmla="*/ 514587 w 515902"/>
                    <a:gd name="connsiteY8" fmla="*/ 230781 h 458198"/>
                    <a:gd name="connsiteX9" fmla="*/ 511412 w 515902"/>
                    <a:gd name="connsiteY9" fmla="*/ 453031 h 458198"/>
                    <a:gd name="connsiteX10" fmla="*/ 9762 w 515902"/>
                    <a:gd name="connsiteY10" fmla="*/ 446681 h 458198"/>
                    <a:gd name="connsiteX0" fmla="*/ 9762 w 515902"/>
                    <a:gd name="connsiteY0" fmla="*/ 446681 h 458198"/>
                    <a:gd name="connsiteX1" fmla="*/ 6587 w 515902"/>
                    <a:gd name="connsiteY1" fmla="*/ 221256 h 458198"/>
                    <a:gd name="connsiteX2" fmla="*/ 76437 w 515902"/>
                    <a:gd name="connsiteY2" fmla="*/ 157756 h 458198"/>
                    <a:gd name="connsiteX3" fmla="*/ 200262 w 515902"/>
                    <a:gd name="connsiteY3" fmla="*/ 119656 h 458198"/>
                    <a:gd name="connsiteX4" fmla="*/ 206612 w 515902"/>
                    <a:gd name="connsiteY4" fmla="*/ 14881 h 458198"/>
                    <a:gd name="connsiteX5" fmla="*/ 301506 w 515902"/>
                    <a:gd name="connsiteY5" fmla="*/ 11706 h 458198"/>
                    <a:gd name="connsiteX6" fmla="*/ 311502 w 515902"/>
                    <a:gd name="connsiteY6" fmla="*/ 118302 h 458198"/>
                    <a:gd name="connsiteX7" fmla="*/ 442972 w 515902"/>
                    <a:gd name="connsiteY7" fmla="*/ 180912 h 458198"/>
                    <a:gd name="connsiteX8" fmla="*/ 514587 w 515902"/>
                    <a:gd name="connsiteY8" fmla="*/ 230781 h 458198"/>
                    <a:gd name="connsiteX9" fmla="*/ 511412 w 515902"/>
                    <a:gd name="connsiteY9" fmla="*/ 453031 h 458198"/>
                    <a:gd name="connsiteX10" fmla="*/ 9762 w 515902"/>
                    <a:gd name="connsiteY10" fmla="*/ 446681 h 458198"/>
                    <a:gd name="connsiteX0" fmla="*/ 9762 w 511905"/>
                    <a:gd name="connsiteY0" fmla="*/ 446681 h 458198"/>
                    <a:gd name="connsiteX1" fmla="*/ 6587 w 511905"/>
                    <a:gd name="connsiteY1" fmla="*/ 221256 h 458198"/>
                    <a:gd name="connsiteX2" fmla="*/ 76437 w 511905"/>
                    <a:gd name="connsiteY2" fmla="*/ 157756 h 458198"/>
                    <a:gd name="connsiteX3" fmla="*/ 200262 w 511905"/>
                    <a:gd name="connsiteY3" fmla="*/ 119656 h 458198"/>
                    <a:gd name="connsiteX4" fmla="*/ 206612 w 511905"/>
                    <a:gd name="connsiteY4" fmla="*/ 14881 h 458198"/>
                    <a:gd name="connsiteX5" fmla="*/ 301506 w 511905"/>
                    <a:gd name="connsiteY5" fmla="*/ 11706 h 458198"/>
                    <a:gd name="connsiteX6" fmla="*/ 311502 w 511905"/>
                    <a:gd name="connsiteY6" fmla="*/ 118302 h 458198"/>
                    <a:gd name="connsiteX7" fmla="*/ 442972 w 511905"/>
                    <a:gd name="connsiteY7" fmla="*/ 180912 h 458198"/>
                    <a:gd name="connsiteX8" fmla="*/ 498357 w 511905"/>
                    <a:gd name="connsiteY8" fmla="*/ 250762 h 458198"/>
                    <a:gd name="connsiteX9" fmla="*/ 511412 w 511905"/>
                    <a:gd name="connsiteY9" fmla="*/ 453031 h 458198"/>
                    <a:gd name="connsiteX10" fmla="*/ 9762 w 511905"/>
                    <a:gd name="connsiteY10" fmla="*/ 446681 h 458198"/>
                    <a:gd name="connsiteX0" fmla="*/ 9762 w 511905"/>
                    <a:gd name="connsiteY0" fmla="*/ 446681 h 458198"/>
                    <a:gd name="connsiteX1" fmla="*/ 6587 w 511905"/>
                    <a:gd name="connsiteY1" fmla="*/ 221256 h 458198"/>
                    <a:gd name="connsiteX2" fmla="*/ 76437 w 511905"/>
                    <a:gd name="connsiteY2" fmla="*/ 157756 h 458198"/>
                    <a:gd name="connsiteX3" fmla="*/ 200262 w 511905"/>
                    <a:gd name="connsiteY3" fmla="*/ 119656 h 458198"/>
                    <a:gd name="connsiteX4" fmla="*/ 206612 w 511905"/>
                    <a:gd name="connsiteY4" fmla="*/ 14881 h 458198"/>
                    <a:gd name="connsiteX5" fmla="*/ 301506 w 511905"/>
                    <a:gd name="connsiteY5" fmla="*/ 11706 h 458198"/>
                    <a:gd name="connsiteX6" fmla="*/ 311502 w 511905"/>
                    <a:gd name="connsiteY6" fmla="*/ 118302 h 458198"/>
                    <a:gd name="connsiteX7" fmla="*/ 437562 w 511905"/>
                    <a:gd name="connsiteY7" fmla="*/ 198396 h 458198"/>
                    <a:gd name="connsiteX8" fmla="*/ 498357 w 511905"/>
                    <a:gd name="connsiteY8" fmla="*/ 250762 h 458198"/>
                    <a:gd name="connsiteX9" fmla="*/ 511412 w 511905"/>
                    <a:gd name="connsiteY9" fmla="*/ 453031 h 458198"/>
                    <a:gd name="connsiteX10" fmla="*/ 9762 w 511905"/>
                    <a:gd name="connsiteY10" fmla="*/ 446681 h 458198"/>
                    <a:gd name="connsiteX0" fmla="*/ 9762 w 511905"/>
                    <a:gd name="connsiteY0" fmla="*/ 446681 h 458198"/>
                    <a:gd name="connsiteX1" fmla="*/ 6587 w 511905"/>
                    <a:gd name="connsiteY1" fmla="*/ 221256 h 458198"/>
                    <a:gd name="connsiteX2" fmla="*/ 76437 w 511905"/>
                    <a:gd name="connsiteY2" fmla="*/ 157756 h 458198"/>
                    <a:gd name="connsiteX3" fmla="*/ 200262 w 511905"/>
                    <a:gd name="connsiteY3" fmla="*/ 119656 h 458198"/>
                    <a:gd name="connsiteX4" fmla="*/ 206612 w 511905"/>
                    <a:gd name="connsiteY4" fmla="*/ 14881 h 458198"/>
                    <a:gd name="connsiteX5" fmla="*/ 301506 w 511905"/>
                    <a:gd name="connsiteY5" fmla="*/ 11706 h 458198"/>
                    <a:gd name="connsiteX6" fmla="*/ 311502 w 511905"/>
                    <a:gd name="connsiteY6" fmla="*/ 118302 h 458198"/>
                    <a:gd name="connsiteX7" fmla="*/ 451087 w 511905"/>
                    <a:gd name="connsiteY7" fmla="*/ 188406 h 458198"/>
                    <a:gd name="connsiteX8" fmla="*/ 498357 w 511905"/>
                    <a:gd name="connsiteY8" fmla="*/ 250762 h 458198"/>
                    <a:gd name="connsiteX9" fmla="*/ 511412 w 511905"/>
                    <a:gd name="connsiteY9" fmla="*/ 453031 h 458198"/>
                    <a:gd name="connsiteX10" fmla="*/ 9762 w 511905"/>
                    <a:gd name="connsiteY10" fmla="*/ 446681 h 458198"/>
                    <a:gd name="connsiteX0" fmla="*/ 9762 w 511905"/>
                    <a:gd name="connsiteY0" fmla="*/ 447695 h 459212"/>
                    <a:gd name="connsiteX1" fmla="*/ 6587 w 511905"/>
                    <a:gd name="connsiteY1" fmla="*/ 222270 h 459212"/>
                    <a:gd name="connsiteX2" fmla="*/ 76437 w 511905"/>
                    <a:gd name="connsiteY2" fmla="*/ 158770 h 459212"/>
                    <a:gd name="connsiteX3" fmla="*/ 200262 w 511905"/>
                    <a:gd name="connsiteY3" fmla="*/ 120670 h 459212"/>
                    <a:gd name="connsiteX4" fmla="*/ 206612 w 511905"/>
                    <a:gd name="connsiteY4" fmla="*/ 15895 h 459212"/>
                    <a:gd name="connsiteX5" fmla="*/ 301506 w 511905"/>
                    <a:gd name="connsiteY5" fmla="*/ 12720 h 459212"/>
                    <a:gd name="connsiteX6" fmla="*/ 311502 w 511905"/>
                    <a:gd name="connsiteY6" fmla="*/ 134302 h 459212"/>
                    <a:gd name="connsiteX7" fmla="*/ 451087 w 511905"/>
                    <a:gd name="connsiteY7" fmla="*/ 189420 h 459212"/>
                    <a:gd name="connsiteX8" fmla="*/ 498357 w 511905"/>
                    <a:gd name="connsiteY8" fmla="*/ 251776 h 459212"/>
                    <a:gd name="connsiteX9" fmla="*/ 511412 w 511905"/>
                    <a:gd name="connsiteY9" fmla="*/ 454045 h 459212"/>
                    <a:gd name="connsiteX10" fmla="*/ 9762 w 511905"/>
                    <a:gd name="connsiteY10" fmla="*/ 447695 h 459212"/>
                    <a:gd name="connsiteX0" fmla="*/ 4227 w 522600"/>
                    <a:gd name="connsiteY0" fmla="*/ 455188 h 463021"/>
                    <a:gd name="connsiteX1" fmla="*/ 17282 w 522600"/>
                    <a:gd name="connsiteY1" fmla="*/ 222270 h 463021"/>
                    <a:gd name="connsiteX2" fmla="*/ 87132 w 522600"/>
                    <a:gd name="connsiteY2" fmla="*/ 158770 h 463021"/>
                    <a:gd name="connsiteX3" fmla="*/ 210957 w 522600"/>
                    <a:gd name="connsiteY3" fmla="*/ 120670 h 463021"/>
                    <a:gd name="connsiteX4" fmla="*/ 217307 w 522600"/>
                    <a:gd name="connsiteY4" fmla="*/ 15895 h 463021"/>
                    <a:gd name="connsiteX5" fmla="*/ 312201 w 522600"/>
                    <a:gd name="connsiteY5" fmla="*/ 12720 h 463021"/>
                    <a:gd name="connsiteX6" fmla="*/ 322197 w 522600"/>
                    <a:gd name="connsiteY6" fmla="*/ 134302 h 463021"/>
                    <a:gd name="connsiteX7" fmla="*/ 461782 w 522600"/>
                    <a:gd name="connsiteY7" fmla="*/ 189420 h 463021"/>
                    <a:gd name="connsiteX8" fmla="*/ 509052 w 522600"/>
                    <a:gd name="connsiteY8" fmla="*/ 251776 h 463021"/>
                    <a:gd name="connsiteX9" fmla="*/ 522107 w 522600"/>
                    <a:gd name="connsiteY9" fmla="*/ 454045 h 463021"/>
                    <a:gd name="connsiteX10" fmla="*/ 4227 w 522600"/>
                    <a:gd name="connsiteY10" fmla="*/ 455188 h 463021"/>
                    <a:gd name="connsiteX0" fmla="*/ 4227 w 522600"/>
                    <a:gd name="connsiteY0" fmla="*/ 455188 h 457596"/>
                    <a:gd name="connsiteX1" fmla="*/ 17282 w 522600"/>
                    <a:gd name="connsiteY1" fmla="*/ 222270 h 457596"/>
                    <a:gd name="connsiteX2" fmla="*/ 87132 w 522600"/>
                    <a:gd name="connsiteY2" fmla="*/ 158770 h 457596"/>
                    <a:gd name="connsiteX3" fmla="*/ 210957 w 522600"/>
                    <a:gd name="connsiteY3" fmla="*/ 120670 h 457596"/>
                    <a:gd name="connsiteX4" fmla="*/ 217307 w 522600"/>
                    <a:gd name="connsiteY4" fmla="*/ 15895 h 457596"/>
                    <a:gd name="connsiteX5" fmla="*/ 312201 w 522600"/>
                    <a:gd name="connsiteY5" fmla="*/ 12720 h 457596"/>
                    <a:gd name="connsiteX6" fmla="*/ 322197 w 522600"/>
                    <a:gd name="connsiteY6" fmla="*/ 134302 h 457596"/>
                    <a:gd name="connsiteX7" fmla="*/ 461782 w 522600"/>
                    <a:gd name="connsiteY7" fmla="*/ 189420 h 457596"/>
                    <a:gd name="connsiteX8" fmla="*/ 509052 w 522600"/>
                    <a:gd name="connsiteY8" fmla="*/ 251776 h 457596"/>
                    <a:gd name="connsiteX9" fmla="*/ 522107 w 522600"/>
                    <a:gd name="connsiteY9" fmla="*/ 454045 h 457596"/>
                    <a:gd name="connsiteX10" fmla="*/ 4227 w 522600"/>
                    <a:gd name="connsiteY10" fmla="*/ 455188 h 457596"/>
                    <a:gd name="connsiteX0" fmla="*/ 12757 w 531130"/>
                    <a:gd name="connsiteY0" fmla="*/ 455188 h 457596"/>
                    <a:gd name="connsiteX1" fmla="*/ 6876 w 531130"/>
                    <a:gd name="connsiteY1" fmla="*/ 237256 h 457596"/>
                    <a:gd name="connsiteX2" fmla="*/ 95662 w 531130"/>
                    <a:gd name="connsiteY2" fmla="*/ 158770 h 457596"/>
                    <a:gd name="connsiteX3" fmla="*/ 219487 w 531130"/>
                    <a:gd name="connsiteY3" fmla="*/ 120670 h 457596"/>
                    <a:gd name="connsiteX4" fmla="*/ 225837 w 531130"/>
                    <a:gd name="connsiteY4" fmla="*/ 15895 h 457596"/>
                    <a:gd name="connsiteX5" fmla="*/ 320731 w 531130"/>
                    <a:gd name="connsiteY5" fmla="*/ 12720 h 457596"/>
                    <a:gd name="connsiteX6" fmla="*/ 330727 w 531130"/>
                    <a:gd name="connsiteY6" fmla="*/ 134302 h 457596"/>
                    <a:gd name="connsiteX7" fmla="*/ 470312 w 531130"/>
                    <a:gd name="connsiteY7" fmla="*/ 189420 h 457596"/>
                    <a:gd name="connsiteX8" fmla="*/ 517582 w 531130"/>
                    <a:gd name="connsiteY8" fmla="*/ 251776 h 457596"/>
                    <a:gd name="connsiteX9" fmla="*/ 530637 w 531130"/>
                    <a:gd name="connsiteY9" fmla="*/ 454045 h 457596"/>
                    <a:gd name="connsiteX10" fmla="*/ 12757 w 531130"/>
                    <a:gd name="connsiteY10" fmla="*/ 455188 h 457596"/>
                    <a:gd name="connsiteX0" fmla="*/ 7226 w 536419"/>
                    <a:gd name="connsiteY0" fmla="*/ 447695 h 456315"/>
                    <a:gd name="connsiteX1" fmla="*/ 12165 w 536419"/>
                    <a:gd name="connsiteY1" fmla="*/ 237256 h 456315"/>
                    <a:gd name="connsiteX2" fmla="*/ 100951 w 536419"/>
                    <a:gd name="connsiteY2" fmla="*/ 158770 h 456315"/>
                    <a:gd name="connsiteX3" fmla="*/ 224776 w 536419"/>
                    <a:gd name="connsiteY3" fmla="*/ 120670 h 456315"/>
                    <a:gd name="connsiteX4" fmla="*/ 231126 w 536419"/>
                    <a:gd name="connsiteY4" fmla="*/ 15895 h 456315"/>
                    <a:gd name="connsiteX5" fmla="*/ 326020 w 536419"/>
                    <a:gd name="connsiteY5" fmla="*/ 12720 h 456315"/>
                    <a:gd name="connsiteX6" fmla="*/ 336016 w 536419"/>
                    <a:gd name="connsiteY6" fmla="*/ 134302 h 456315"/>
                    <a:gd name="connsiteX7" fmla="*/ 475601 w 536419"/>
                    <a:gd name="connsiteY7" fmla="*/ 189420 h 456315"/>
                    <a:gd name="connsiteX8" fmla="*/ 522871 w 536419"/>
                    <a:gd name="connsiteY8" fmla="*/ 251776 h 456315"/>
                    <a:gd name="connsiteX9" fmla="*/ 535926 w 536419"/>
                    <a:gd name="connsiteY9" fmla="*/ 454045 h 456315"/>
                    <a:gd name="connsiteX10" fmla="*/ 7226 w 536419"/>
                    <a:gd name="connsiteY10" fmla="*/ 447695 h 456315"/>
                    <a:gd name="connsiteX0" fmla="*/ 7226 w 528834"/>
                    <a:gd name="connsiteY0" fmla="*/ 447695 h 456315"/>
                    <a:gd name="connsiteX1" fmla="*/ 12165 w 528834"/>
                    <a:gd name="connsiteY1" fmla="*/ 237256 h 456315"/>
                    <a:gd name="connsiteX2" fmla="*/ 100951 w 528834"/>
                    <a:gd name="connsiteY2" fmla="*/ 158770 h 456315"/>
                    <a:gd name="connsiteX3" fmla="*/ 224776 w 528834"/>
                    <a:gd name="connsiteY3" fmla="*/ 120670 h 456315"/>
                    <a:gd name="connsiteX4" fmla="*/ 231126 w 528834"/>
                    <a:gd name="connsiteY4" fmla="*/ 15895 h 456315"/>
                    <a:gd name="connsiteX5" fmla="*/ 326020 w 528834"/>
                    <a:gd name="connsiteY5" fmla="*/ 12720 h 456315"/>
                    <a:gd name="connsiteX6" fmla="*/ 336016 w 528834"/>
                    <a:gd name="connsiteY6" fmla="*/ 134302 h 456315"/>
                    <a:gd name="connsiteX7" fmla="*/ 475601 w 528834"/>
                    <a:gd name="connsiteY7" fmla="*/ 189420 h 456315"/>
                    <a:gd name="connsiteX8" fmla="*/ 522871 w 528834"/>
                    <a:gd name="connsiteY8" fmla="*/ 251776 h 456315"/>
                    <a:gd name="connsiteX9" fmla="*/ 527811 w 528834"/>
                    <a:gd name="connsiteY9" fmla="*/ 454045 h 456315"/>
                    <a:gd name="connsiteX10" fmla="*/ 7226 w 528834"/>
                    <a:gd name="connsiteY10" fmla="*/ 447695 h 456315"/>
                    <a:gd name="connsiteX0" fmla="*/ 7226 w 528834"/>
                    <a:gd name="connsiteY0" fmla="*/ 447695 h 456315"/>
                    <a:gd name="connsiteX1" fmla="*/ 12165 w 528834"/>
                    <a:gd name="connsiteY1" fmla="*/ 237256 h 456315"/>
                    <a:gd name="connsiteX2" fmla="*/ 100951 w 528834"/>
                    <a:gd name="connsiteY2" fmla="*/ 158770 h 456315"/>
                    <a:gd name="connsiteX3" fmla="*/ 224776 w 528834"/>
                    <a:gd name="connsiteY3" fmla="*/ 120670 h 456315"/>
                    <a:gd name="connsiteX4" fmla="*/ 231126 w 528834"/>
                    <a:gd name="connsiteY4" fmla="*/ 15895 h 456315"/>
                    <a:gd name="connsiteX5" fmla="*/ 326020 w 528834"/>
                    <a:gd name="connsiteY5" fmla="*/ 12720 h 456315"/>
                    <a:gd name="connsiteX6" fmla="*/ 336016 w 528834"/>
                    <a:gd name="connsiteY6" fmla="*/ 134302 h 456315"/>
                    <a:gd name="connsiteX7" fmla="*/ 462076 w 528834"/>
                    <a:gd name="connsiteY7" fmla="*/ 184425 h 456315"/>
                    <a:gd name="connsiteX8" fmla="*/ 522871 w 528834"/>
                    <a:gd name="connsiteY8" fmla="*/ 251776 h 456315"/>
                    <a:gd name="connsiteX9" fmla="*/ 527811 w 528834"/>
                    <a:gd name="connsiteY9" fmla="*/ 454045 h 456315"/>
                    <a:gd name="connsiteX10" fmla="*/ 7226 w 528834"/>
                    <a:gd name="connsiteY10" fmla="*/ 447695 h 456315"/>
                    <a:gd name="connsiteX0" fmla="*/ 8515 w 530123"/>
                    <a:gd name="connsiteY0" fmla="*/ 447695 h 456315"/>
                    <a:gd name="connsiteX1" fmla="*/ 10749 w 530123"/>
                    <a:gd name="connsiteY1" fmla="*/ 244749 h 456315"/>
                    <a:gd name="connsiteX2" fmla="*/ 102240 w 530123"/>
                    <a:gd name="connsiteY2" fmla="*/ 158770 h 456315"/>
                    <a:gd name="connsiteX3" fmla="*/ 226065 w 530123"/>
                    <a:gd name="connsiteY3" fmla="*/ 120670 h 456315"/>
                    <a:gd name="connsiteX4" fmla="*/ 232415 w 530123"/>
                    <a:gd name="connsiteY4" fmla="*/ 15895 h 456315"/>
                    <a:gd name="connsiteX5" fmla="*/ 327309 w 530123"/>
                    <a:gd name="connsiteY5" fmla="*/ 12720 h 456315"/>
                    <a:gd name="connsiteX6" fmla="*/ 337305 w 530123"/>
                    <a:gd name="connsiteY6" fmla="*/ 134302 h 456315"/>
                    <a:gd name="connsiteX7" fmla="*/ 463365 w 530123"/>
                    <a:gd name="connsiteY7" fmla="*/ 184425 h 456315"/>
                    <a:gd name="connsiteX8" fmla="*/ 524160 w 530123"/>
                    <a:gd name="connsiteY8" fmla="*/ 251776 h 456315"/>
                    <a:gd name="connsiteX9" fmla="*/ 529100 w 530123"/>
                    <a:gd name="connsiteY9" fmla="*/ 454045 h 456315"/>
                    <a:gd name="connsiteX10" fmla="*/ 8515 w 530123"/>
                    <a:gd name="connsiteY10" fmla="*/ 447695 h 456315"/>
                    <a:gd name="connsiteX0" fmla="*/ 7671 w 529279"/>
                    <a:gd name="connsiteY0" fmla="*/ 447695 h 456315"/>
                    <a:gd name="connsiteX1" fmla="*/ 9905 w 529279"/>
                    <a:gd name="connsiteY1" fmla="*/ 244749 h 456315"/>
                    <a:gd name="connsiteX2" fmla="*/ 87870 w 529279"/>
                    <a:gd name="connsiteY2" fmla="*/ 166263 h 456315"/>
                    <a:gd name="connsiteX3" fmla="*/ 225221 w 529279"/>
                    <a:gd name="connsiteY3" fmla="*/ 120670 h 456315"/>
                    <a:gd name="connsiteX4" fmla="*/ 231571 w 529279"/>
                    <a:gd name="connsiteY4" fmla="*/ 15895 h 456315"/>
                    <a:gd name="connsiteX5" fmla="*/ 326465 w 529279"/>
                    <a:gd name="connsiteY5" fmla="*/ 12720 h 456315"/>
                    <a:gd name="connsiteX6" fmla="*/ 336461 w 529279"/>
                    <a:gd name="connsiteY6" fmla="*/ 134302 h 456315"/>
                    <a:gd name="connsiteX7" fmla="*/ 462521 w 529279"/>
                    <a:gd name="connsiteY7" fmla="*/ 184425 h 456315"/>
                    <a:gd name="connsiteX8" fmla="*/ 523316 w 529279"/>
                    <a:gd name="connsiteY8" fmla="*/ 251776 h 456315"/>
                    <a:gd name="connsiteX9" fmla="*/ 528256 w 529279"/>
                    <a:gd name="connsiteY9" fmla="*/ 454045 h 456315"/>
                    <a:gd name="connsiteX10" fmla="*/ 7671 w 529279"/>
                    <a:gd name="connsiteY10" fmla="*/ 447695 h 456315"/>
                    <a:gd name="connsiteX0" fmla="*/ 7671 w 529279"/>
                    <a:gd name="connsiteY0" fmla="*/ 447558 h 456178"/>
                    <a:gd name="connsiteX1" fmla="*/ 9905 w 529279"/>
                    <a:gd name="connsiteY1" fmla="*/ 244612 h 456178"/>
                    <a:gd name="connsiteX2" fmla="*/ 87870 w 529279"/>
                    <a:gd name="connsiteY2" fmla="*/ 166126 h 456178"/>
                    <a:gd name="connsiteX3" fmla="*/ 206285 w 529279"/>
                    <a:gd name="connsiteY3" fmla="*/ 118035 h 456178"/>
                    <a:gd name="connsiteX4" fmla="*/ 231571 w 529279"/>
                    <a:gd name="connsiteY4" fmla="*/ 15758 h 456178"/>
                    <a:gd name="connsiteX5" fmla="*/ 326465 w 529279"/>
                    <a:gd name="connsiteY5" fmla="*/ 12583 h 456178"/>
                    <a:gd name="connsiteX6" fmla="*/ 336461 w 529279"/>
                    <a:gd name="connsiteY6" fmla="*/ 134165 h 456178"/>
                    <a:gd name="connsiteX7" fmla="*/ 462521 w 529279"/>
                    <a:gd name="connsiteY7" fmla="*/ 184288 h 456178"/>
                    <a:gd name="connsiteX8" fmla="*/ 523316 w 529279"/>
                    <a:gd name="connsiteY8" fmla="*/ 251639 h 456178"/>
                    <a:gd name="connsiteX9" fmla="*/ 528256 w 529279"/>
                    <a:gd name="connsiteY9" fmla="*/ 453908 h 456178"/>
                    <a:gd name="connsiteX10" fmla="*/ 7671 w 529279"/>
                    <a:gd name="connsiteY10" fmla="*/ 447558 h 456178"/>
                    <a:gd name="connsiteX0" fmla="*/ 14544 w 536152"/>
                    <a:gd name="connsiteY0" fmla="*/ 447558 h 456178"/>
                    <a:gd name="connsiteX1" fmla="*/ 5958 w 536152"/>
                    <a:gd name="connsiteY1" fmla="*/ 247109 h 456178"/>
                    <a:gd name="connsiteX2" fmla="*/ 94743 w 536152"/>
                    <a:gd name="connsiteY2" fmla="*/ 166126 h 456178"/>
                    <a:gd name="connsiteX3" fmla="*/ 213158 w 536152"/>
                    <a:gd name="connsiteY3" fmla="*/ 118035 h 456178"/>
                    <a:gd name="connsiteX4" fmla="*/ 238444 w 536152"/>
                    <a:gd name="connsiteY4" fmla="*/ 15758 h 456178"/>
                    <a:gd name="connsiteX5" fmla="*/ 333338 w 536152"/>
                    <a:gd name="connsiteY5" fmla="*/ 12583 h 456178"/>
                    <a:gd name="connsiteX6" fmla="*/ 343334 w 536152"/>
                    <a:gd name="connsiteY6" fmla="*/ 134165 h 456178"/>
                    <a:gd name="connsiteX7" fmla="*/ 469394 w 536152"/>
                    <a:gd name="connsiteY7" fmla="*/ 184288 h 456178"/>
                    <a:gd name="connsiteX8" fmla="*/ 530189 w 536152"/>
                    <a:gd name="connsiteY8" fmla="*/ 251639 h 456178"/>
                    <a:gd name="connsiteX9" fmla="*/ 535129 w 536152"/>
                    <a:gd name="connsiteY9" fmla="*/ 453908 h 456178"/>
                    <a:gd name="connsiteX10" fmla="*/ 14544 w 536152"/>
                    <a:gd name="connsiteY10" fmla="*/ 447558 h 456178"/>
                    <a:gd name="connsiteX0" fmla="*/ 7226 w 542359"/>
                    <a:gd name="connsiteY0" fmla="*/ 450055 h 456488"/>
                    <a:gd name="connsiteX1" fmla="*/ 12165 w 542359"/>
                    <a:gd name="connsiteY1" fmla="*/ 247109 h 456488"/>
                    <a:gd name="connsiteX2" fmla="*/ 100950 w 542359"/>
                    <a:gd name="connsiteY2" fmla="*/ 166126 h 456488"/>
                    <a:gd name="connsiteX3" fmla="*/ 219365 w 542359"/>
                    <a:gd name="connsiteY3" fmla="*/ 118035 h 456488"/>
                    <a:gd name="connsiteX4" fmla="*/ 244651 w 542359"/>
                    <a:gd name="connsiteY4" fmla="*/ 15758 h 456488"/>
                    <a:gd name="connsiteX5" fmla="*/ 339545 w 542359"/>
                    <a:gd name="connsiteY5" fmla="*/ 12583 h 456488"/>
                    <a:gd name="connsiteX6" fmla="*/ 349541 w 542359"/>
                    <a:gd name="connsiteY6" fmla="*/ 134165 h 456488"/>
                    <a:gd name="connsiteX7" fmla="*/ 475601 w 542359"/>
                    <a:gd name="connsiteY7" fmla="*/ 184288 h 456488"/>
                    <a:gd name="connsiteX8" fmla="*/ 536396 w 542359"/>
                    <a:gd name="connsiteY8" fmla="*/ 251639 h 456488"/>
                    <a:gd name="connsiteX9" fmla="*/ 541336 w 542359"/>
                    <a:gd name="connsiteY9" fmla="*/ 453908 h 456488"/>
                    <a:gd name="connsiteX10" fmla="*/ 7226 w 542359"/>
                    <a:gd name="connsiteY10" fmla="*/ 450055 h 456488"/>
                    <a:gd name="connsiteX0" fmla="*/ 7226 w 542359"/>
                    <a:gd name="connsiteY0" fmla="*/ 450055 h 456488"/>
                    <a:gd name="connsiteX1" fmla="*/ 12165 w 542359"/>
                    <a:gd name="connsiteY1" fmla="*/ 247109 h 456488"/>
                    <a:gd name="connsiteX2" fmla="*/ 100950 w 542359"/>
                    <a:gd name="connsiteY2" fmla="*/ 166126 h 456488"/>
                    <a:gd name="connsiteX3" fmla="*/ 219365 w 542359"/>
                    <a:gd name="connsiteY3" fmla="*/ 118035 h 456488"/>
                    <a:gd name="connsiteX4" fmla="*/ 244651 w 542359"/>
                    <a:gd name="connsiteY4" fmla="*/ 15758 h 456488"/>
                    <a:gd name="connsiteX5" fmla="*/ 331430 w 542359"/>
                    <a:gd name="connsiteY5" fmla="*/ 12583 h 456488"/>
                    <a:gd name="connsiteX6" fmla="*/ 349541 w 542359"/>
                    <a:gd name="connsiteY6" fmla="*/ 134165 h 456488"/>
                    <a:gd name="connsiteX7" fmla="*/ 475601 w 542359"/>
                    <a:gd name="connsiteY7" fmla="*/ 184288 h 456488"/>
                    <a:gd name="connsiteX8" fmla="*/ 536396 w 542359"/>
                    <a:gd name="connsiteY8" fmla="*/ 251639 h 456488"/>
                    <a:gd name="connsiteX9" fmla="*/ 541336 w 542359"/>
                    <a:gd name="connsiteY9" fmla="*/ 453908 h 456488"/>
                    <a:gd name="connsiteX10" fmla="*/ 7226 w 542359"/>
                    <a:gd name="connsiteY10" fmla="*/ 450055 h 456488"/>
                    <a:gd name="connsiteX0" fmla="*/ 7226 w 542359"/>
                    <a:gd name="connsiteY0" fmla="*/ 450055 h 456488"/>
                    <a:gd name="connsiteX1" fmla="*/ 12165 w 542359"/>
                    <a:gd name="connsiteY1" fmla="*/ 247109 h 456488"/>
                    <a:gd name="connsiteX2" fmla="*/ 100950 w 542359"/>
                    <a:gd name="connsiteY2" fmla="*/ 166126 h 456488"/>
                    <a:gd name="connsiteX3" fmla="*/ 219365 w 542359"/>
                    <a:gd name="connsiteY3" fmla="*/ 118035 h 456488"/>
                    <a:gd name="connsiteX4" fmla="*/ 244651 w 542359"/>
                    <a:gd name="connsiteY4" fmla="*/ 15758 h 456488"/>
                    <a:gd name="connsiteX5" fmla="*/ 331430 w 542359"/>
                    <a:gd name="connsiteY5" fmla="*/ 12583 h 456488"/>
                    <a:gd name="connsiteX6" fmla="*/ 349541 w 542359"/>
                    <a:gd name="connsiteY6" fmla="*/ 134165 h 456488"/>
                    <a:gd name="connsiteX7" fmla="*/ 483716 w 542359"/>
                    <a:gd name="connsiteY7" fmla="*/ 179293 h 456488"/>
                    <a:gd name="connsiteX8" fmla="*/ 536396 w 542359"/>
                    <a:gd name="connsiteY8" fmla="*/ 251639 h 456488"/>
                    <a:gd name="connsiteX9" fmla="*/ 541336 w 542359"/>
                    <a:gd name="connsiteY9" fmla="*/ 453908 h 456488"/>
                    <a:gd name="connsiteX10" fmla="*/ 7226 w 542359"/>
                    <a:gd name="connsiteY10" fmla="*/ 450055 h 456488"/>
                    <a:gd name="connsiteX0" fmla="*/ 6630 w 541763"/>
                    <a:gd name="connsiteY0" fmla="*/ 450055 h 456488"/>
                    <a:gd name="connsiteX1" fmla="*/ 11569 w 541763"/>
                    <a:gd name="connsiteY1" fmla="*/ 247109 h 456488"/>
                    <a:gd name="connsiteX2" fmla="*/ 89534 w 541763"/>
                    <a:gd name="connsiteY2" fmla="*/ 166126 h 456488"/>
                    <a:gd name="connsiteX3" fmla="*/ 218769 w 541763"/>
                    <a:gd name="connsiteY3" fmla="*/ 118035 h 456488"/>
                    <a:gd name="connsiteX4" fmla="*/ 244055 w 541763"/>
                    <a:gd name="connsiteY4" fmla="*/ 15758 h 456488"/>
                    <a:gd name="connsiteX5" fmla="*/ 330834 w 541763"/>
                    <a:gd name="connsiteY5" fmla="*/ 12583 h 456488"/>
                    <a:gd name="connsiteX6" fmla="*/ 348945 w 541763"/>
                    <a:gd name="connsiteY6" fmla="*/ 134165 h 456488"/>
                    <a:gd name="connsiteX7" fmla="*/ 483120 w 541763"/>
                    <a:gd name="connsiteY7" fmla="*/ 179293 h 456488"/>
                    <a:gd name="connsiteX8" fmla="*/ 535800 w 541763"/>
                    <a:gd name="connsiteY8" fmla="*/ 251639 h 456488"/>
                    <a:gd name="connsiteX9" fmla="*/ 540740 w 541763"/>
                    <a:gd name="connsiteY9" fmla="*/ 453908 h 456488"/>
                    <a:gd name="connsiteX10" fmla="*/ 6630 w 541763"/>
                    <a:gd name="connsiteY10" fmla="*/ 450055 h 456488"/>
                    <a:gd name="connsiteX0" fmla="*/ 4856 w 539989"/>
                    <a:gd name="connsiteY0" fmla="*/ 450055 h 456488"/>
                    <a:gd name="connsiteX1" fmla="*/ 15205 w 539989"/>
                    <a:gd name="connsiteY1" fmla="*/ 227128 h 456488"/>
                    <a:gd name="connsiteX2" fmla="*/ 87760 w 539989"/>
                    <a:gd name="connsiteY2" fmla="*/ 166126 h 456488"/>
                    <a:gd name="connsiteX3" fmla="*/ 216995 w 539989"/>
                    <a:gd name="connsiteY3" fmla="*/ 118035 h 456488"/>
                    <a:gd name="connsiteX4" fmla="*/ 242281 w 539989"/>
                    <a:gd name="connsiteY4" fmla="*/ 15758 h 456488"/>
                    <a:gd name="connsiteX5" fmla="*/ 329060 w 539989"/>
                    <a:gd name="connsiteY5" fmla="*/ 12583 h 456488"/>
                    <a:gd name="connsiteX6" fmla="*/ 347171 w 539989"/>
                    <a:gd name="connsiteY6" fmla="*/ 134165 h 456488"/>
                    <a:gd name="connsiteX7" fmla="*/ 481346 w 539989"/>
                    <a:gd name="connsiteY7" fmla="*/ 179293 h 456488"/>
                    <a:gd name="connsiteX8" fmla="*/ 534026 w 539989"/>
                    <a:gd name="connsiteY8" fmla="*/ 251639 h 456488"/>
                    <a:gd name="connsiteX9" fmla="*/ 538966 w 539989"/>
                    <a:gd name="connsiteY9" fmla="*/ 453908 h 456488"/>
                    <a:gd name="connsiteX10" fmla="*/ 4856 w 539989"/>
                    <a:gd name="connsiteY10" fmla="*/ 450055 h 4564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39989" h="456488">
                      <a:moveTo>
                        <a:pt x="4856" y="450055"/>
                      </a:moveTo>
                      <a:cubicBezTo>
                        <a:pt x="-5198" y="385497"/>
                        <a:pt x="1388" y="274449"/>
                        <a:pt x="15205" y="227128"/>
                      </a:cubicBezTo>
                      <a:cubicBezTo>
                        <a:pt x="29022" y="179807"/>
                        <a:pt x="54128" y="184308"/>
                        <a:pt x="87760" y="166126"/>
                      </a:cubicBezTo>
                      <a:cubicBezTo>
                        <a:pt x="121392" y="147944"/>
                        <a:pt x="191242" y="143096"/>
                        <a:pt x="216995" y="118035"/>
                      </a:cubicBezTo>
                      <a:cubicBezTo>
                        <a:pt x="242748" y="92974"/>
                        <a:pt x="223604" y="33333"/>
                        <a:pt x="242281" y="15758"/>
                      </a:cubicBezTo>
                      <a:cubicBezTo>
                        <a:pt x="260958" y="-1817"/>
                        <a:pt x="311578" y="-7151"/>
                        <a:pt x="329060" y="12583"/>
                      </a:cubicBezTo>
                      <a:cubicBezTo>
                        <a:pt x="346542" y="32317"/>
                        <a:pt x="321790" y="106380"/>
                        <a:pt x="347171" y="134165"/>
                      </a:cubicBezTo>
                      <a:cubicBezTo>
                        <a:pt x="372552" y="161950"/>
                        <a:pt x="450204" y="159714"/>
                        <a:pt x="481346" y="179293"/>
                      </a:cubicBezTo>
                      <a:cubicBezTo>
                        <a:pt x="512489" y="198872"/>
                        <a:pt x="523972" y="202956"/>
                        <a:pt x="534026" y="251639"/>
                      </a:cubicBezTo>
                      <a:cubicBezTo>
                        <a:pt x="537201" y="301381"/>
                        <a:pt x="542141" y="328496"/>
                        <a:pt x="538966" y="453908"/>
                      </a:cubicBezTo>
                      <a:cubicBezTo>
                        <a:pt x="307191" y="461845"/>
                        <a:pt x="250800" y="448827"/>
                        <a:pt x="4856" y="450055"/>
                      </a:cubicBezTo>
                      <a:close/>
                    </a:path>
                  </a:pathLst>
                </a:custGeom>
                <a:solidFill>
                  <a:schemeClr val="bg1"/>
                </a:solidFill>
                <a:ln w="57150">
                  <a:solidFill>
                    <a:schemeClr val="tx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146" name="Oval 145">
                  <a:extLst>
                    <a:ext uri="{FF2B5EF4-FFF2-40B4-BE49-F238E27FC236}">
                      <a16:creationId xmlns:a16="http://schemas.microsoft.com/office/drawing/2014/main" id="{7445C7AB-2F8D-2841-B494-E19E58698191}"/>
                    </a:ext>
                  </a:extLst>
                </p:cNvPr>
                <p:cNvSpPr/>
                <p:nvPr/>
              </p:nvSpPr>
              <p:spPr>
                <a:xfrm>
                  <a:off x="1964431" y="3500843"/>
                  <a:ext cx="259337" cy="299858"/>
                </a:xfrm>
                <a:prstGeom prst="ellipse">
                  <a:avLst/>
                </a:prstGeom>
                <a:solidFill>
                  <a:schemeClr val="bg1"/>
                </a:solidFill>
                <a:ln w="57150">
                  <a:solidFill>
                    <a:schemeClr val="tx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grpSp>
        </p:grpSp>
        <p:grpSp>
          <p:nvGrpSpPr>
            <p:cNvPr id="137" name="Group 136">
              <a:extLst>
                <a:ext uri="{FF2B5EF4-FFF2-40B4-BE49-F238E27FC236}">
                  <a16:creationId xmlns:a16="http://schemas.microsoft.com/office/drawing/2014/main" id="{01D2F088-31AD-C14B-905B-F3B2A5EF341B}"/>
                </a:ext>
              </a:extLst>
            </p:cNvPr>
            <p:cNvGrpSpPr/>
            <p:nvPr/>
          </p:nvGrpSpPr>
          <p:grpSpPr>
            <a:xfrm>
              <a:off x="2495712" y="4589934"/>
              <a:ext cx="1256698" cy="510604"/>
              <a:chOff x="2495712" y="4589934"/>
              <a:chExt cx="1256698" cy="510604"/>
            </a:xfrm>
            <a:solidFill>
              <a:schemeClr val="tx1">
                <a:lumMod val="50000"/>
              </a:schemeClr>
            </a:solidFill>
          </p:grpSpPr>
          <p:sp>
            <p:nvSpPr>
              <p:cNvPr id="139" name="Rounded Rectangle 138">
                <a:extLst>
                  <a:ext uri="{FF2B5EF4-FFF2-40B4-BE49-F238E27FC236}">
                    <a16:creationId xmlns:a16="http://schemas.microsoft.com/office/drawing/2014/main" id="{5BD208DC-B116-3240-A95D-81614E2E5832}"/>
                  </a:ext>
                </a:extLst>
              </p:cNvPr>
              <p:cNvSpPr/>
              <p:nvPr/>
            </p:nvSpPr>
            <p:spPr>
              <a:xfrm>
                <a:off x="2495712" y="4589934"/>
                <a:ext cx="1256697" cy="251941"/>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140" name="Rectangle 139">
                <a:extLst>
                  <a:ext uri="{FF2B5EF4-FFF2-40B4-BE49-F238E27FC236}">
                    <a16:creationId xmlns:a16="http://schemas.microsoft.com/office/drawing/2014/main" id="{B2BE441C-DA17-3E49-8D42-E5A41276E1B9}"/>
                  </a:ext>
                </a:extLst>
              </p:cNvPr>
              <p:cNvSpPr/>
              <p:nvPr/>
            </p:nvSpPr>
            <p:spPr>
              <a:xfrm>
                <a:off x="2498725" y="4797790"/>
                <a:ext cx="1253685" cy="13315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141" name="Rectangle 140">
                <a:extLst>
                  <a:ext uri="{FF2B5EF4-FFF2-40B4-BE49-F238E27FC236}">
                    <a16:creationId xmlns:a16="http://schemas.microsoft.com/office/drawing/2014/main" id="{A24079BA-FBD5-8243-82F7-1FEC5872C326}"/>
                  </a:ext>
                </a:extLst>
              </p:cNvPr>
              <p:cNvSpPr/>
              <p:nvPr/>
            </p:nvSpPr>
            <p:spPr>
              <a:xfrm>
                <a:off x="2546350" y="4923041"/>
                <a:ext cx="109152" cy="17749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142" name="Rectangle 141">
                <a:extLst>
                  <a:ext uri="{FF2B5EF4-FFF2-40B4-BE49-F238E27FC236}">
                    <a16:creationId xmlns:a16="http://schemas.microsoft.com/office/drawing/2014/main" id="{BA90B901-23CA-2047-9C24-5C61DF7BEAE5}"/>
                  </a:ext>
                </a:extLst>
              </p:cNvPr>
              <p:cNvSpPr/>
              <p:nvPr/>
            </p:nvSpPr>
            <p:spPr>
              <a:xfrm>
                <a:off x="3610945" y="4923041"/>
                <a:ext cx="109152" cy="17749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grpSp>
        <p:sp>
          <p:nvSpPr>
            <p:cNvPr id="138" name="Trapezoid 137">
              <a:extLst>
                <a:ext uri="{FF2B5EF4-FFF2-40B4-BE49-F238E27FC236}">
                  <a16:creationId xmlns:a16="http://schemas.microsoft.com/office/drawing/2014/main" id="{F9013B34-8EB3-8C4B-BC29-0DD5C0BFB837}"/>
                </a:ext>
              </a:extLst>
            </p:cNvPr>
            <p:cNvSpPr/>
            <p:nvPr/>
          </p:nvSpPr>
          <p:spPr>
            <a:xfrm>
              <a:off x="2655502" y="4181475"/>
              <a:ext cx="958850" cy="363303"/>
            </a:xfrm>
            <a:prstGeom prst="trapezoid">
              <a:avLst/>
            </a:prstGeom>
            <a:solidFill>
              <a:schemeClr val="tx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grpSp>
      <p:grpSp>
        <p:nvGrpSpPr>
          <p:cNvPr id="149" name="Group 148">
            <a:extLst>
              <a:ext uri="{FF2B5EF4-FFF2-40B4-BE49-F238E27FC236}">
                <a16:creationId xmlns:a16="http://schemas.microsoft.com/office/drawing/2014/main" id="{32D31BFC-F369-8243-820A-E3D4388E0DF5}"/>
              </a:ext>
            </a:extLst>
          </p:cNvPr>
          <p:cNvGrpSpPr/>
          <p:nvPr/>
        </p:nvGrpSpPr>
        <p:grpSpPr>
          <a:xfrm>
            <a:off x="10555349" y="3977876"/>
            <a:ext cx="1025213" cy="1261037"/>
            <a:chOff x="2441771" y="3385414"/>
            <a:chExt cx="1325481" cy="1781019"/>
          </a:xfrm>
        </p:grpSpPr>
        <p:pic>
          <p:nvPicPr>
            <p:cNvPr id="150" name="Picture 149">
              <a:extLst>
                <a:ext uri="{FF2B5EF4-FFF2-40B4-BE49-F238E27FC236}">
                  <a16:creationId xmlns:a16="http://schemas.microsoft.com/office/drawing/2014/main" id="{D098B7B6-1FAB-C248-B959-8C12DE0B5EE7}"/>
                </a:ext>
              </a:extLst>
            </p:cNvPr>
            <p:cNvPicPr>
              <a:picLocks noChangeAspect="1"/>
            </p:cNvPicPr>
            <p:nvPr/>
          </p:nvPicPr>
          <p:blipFill rotWithShape="1">
            <a:blip r:embed="rId2"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a:xfrm>
              <a:off x="2441771" y="3385414"/>
              <a:ext cx="1325481" cy="1781019"/>
            </a:xfrm>
            <a:prstGeom prst="rect">
              <a:avLst/>
            </a:prstGeom>
          </p:spPr>
        </p:pic>
        <p:sp>
          <p:nvSpPr>
            <p:cNvPr id="151" name="Rounded Rectangle 150">
              <a:extLst>
                <a:ext uri="{FF2B5EF4-FFF2-40B4-BE49-F238E27FC236}">
                  <a16:creationId xmlns:a16="http://schemas.microsoft.com/office/drawing/2014/main" id="{86712B8F-E120-B24E-B208-D663AC571AA1}"/>
                </a:ext>
              </a:extLst>
            </p:cNvPr>
            <p:cNvSpPr/>
            <p:nvPr/>
          </p:nvSpPr>
          <p:spPr>
            <a:xfrm>
              <a:off x="2655502" y="3670300"/>
              <a:ext cx="958850" cy="436656"/>
            </a:xfrm>
            <a:prstGeom prst="roundRect">
              <a:avLst/>
            </a:prstGeom>
            <a:solidFill>
              <a:schemeClr val="tx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grpSp>
          <p:nvGrpSpPr>
            <p:cNvPr id="152" name="Group 151">
              <a:extLst>
                <a:ext uri="{FF2B5EF4-FFF2-40B4-BE49-F238E27FC236}">
                  <a16:creationId xmlns:a16="http://schemas.microsoft.com/office/drawing/2014/main" id="{92BF644F-007E-C14D-8ADD-9C3B269E6A0E}"/>
                </a:ext>
              </a:extLst>
            </p:cNvPr>
            <p:cNvGrpSpPr/>
            <p:nvPr/>
          </p:nvGrpSpPr>
          <p:grpSpPr>
            <a:xfrm>
              <a:off x="2776471" y="3456093"/>
              <a:ext cx="748710" cy="1056883"/>
              <a:chOff x="1496718" y="3334932"/>
              <a:chExt cx="748710" cy="1056883"/>
            </a:xfrm>
          </p:grpSpPr>
          <p:grpSp>
            <p:nvGrpSpPr>
              <p:cNvPr id="159" name="Group 158">
                <a:extLst>
                  <a:ext uri="{FF2B5EF4-FFF2-40B4-BE49-F238E27FC236}">
                    <a16:creationId xmlns:a16="http://schemas.microsoft.com/office/drawing/2014/main" id="{327F0CE3-18F5-EA4F-88AA-F4A0BC13A3E9}"/>
                  </a:ext>
                </a:extLst>
              </p:cNvPr>
              <p:cNvGrpSpPr/>
              <p:nvPr/>
            </p:nvGrpSpPr>
            <p:grpSpPr>
              <a:xfrm>
                <a:off x="1496718" y="3334932"/>
                <a:ext cx="748710" cy="1056883"/>
                <a:chOff x="1843570" y="3508300"/>
                <a:chExt cx="514980" cy="727982"/>
              </a:xfrm>
              <a:solidFill>
                <a:schemeClr val="bg1"/>
              </a:solidFill>
            </p:grpSpPr>
            <p:sp>
              <p:nvSpPr>
                <p:cNvPr id="163" name="Freeform 162">
                  <a:extLst>
                    <a:ext uri="{FF2B5EF4-FFF2-40B4-BE49-F238E27FC236}">
                      <a16:creationId xmlns:a16="http://schemas.microsoft.com/office/drawing/2014/main" id="{323DC6E5-67D9-3C47-A2D6-1F9AB7334576}"/>
                    </a:ext>
                  </a:extLst>
                </p:cNvPr>
                <p:cNvSpPr/>
                <p:nvPr/>
              </p:nvSpPr>
              <p:spPr>
                <a:xfrm>
                  <a:off x="1843570" y="3787509"/>
                  <a:ext cx="514980" cy="448773"/>
                </a:xfrm>
                <a:custGeom>
                  <a:avLst/>
                  <a:gdLst>
                    <a:gd name="connsiteX0" fmla="*/ 36807 w 576731"/>
                    <a:gd name="connsiteY0" fmla="*/ 449906 h 505924"/>
                    <a:gd name="connsiteX1" fmla="*/ 39982 w 576731"/>
                    <a:gd name="connsiteY1" fmla="*/ 214956 h 505924"/>
                    <a:gd name="connsiteX2" fmla="*/ 55857 w 576731"/>
                    <a:gd name="connsiteY2" fmla="*/ 176856 h 505924"/>
                    <a:gd name="connsiteX3" fmla="*/ 103482 w 576731"/>
                    <a:gd name="connsiteY3" fmla="*/ 160981 h 505924"/>
                    <a:gd name="connsiteX4" fmla="*/ 205082 w 576731"/>
                    <a:gd name="connsiteY4" fmla="*/ 154631 h 505924"/>
                    <a:gd name="connsiteX5" fmla="*/ 230482 w 576731"/>
                    <a:gd name="connsiteY5" fmla="*/ 151456 h 505924"/>
                    <a:gd name="connsiteX6" fmla="*/ 233657 w 576731"/>
                    <a:gd name="connsiteY6" fmla="*/ 18106 h 505924"/>
                    <a:gd name="connsiteX7" fmla="*/ 344782 w 576731"/>
                    <a:gd name="connsiteY7" fmla="*/ 14931 h 505924"/>
                    <a:gd name="connsiteX8" fmla="*/ 344782 w 576731"/>
                    <a:gd name="connsiteY8" fmla="*/ 145106 h 505924"/>
                    <a:gd name="connsiteX9" fmla="*/ 386057 w 576731"/>
                    <a:gd name="connsiteY9" fmla="*/ 151456 h 505924"/>
                    <a:gd name="connsiteX10" fmla="*/ 478132 w 576731"/>
                    <a:gd name="connsiteY10" fmla="*/ 164156 h 505924"/>
                    <a:gd name="connsiteX11" fmla="*/ 519407 w 576731"/>
                    <a:gd name="connsiteY11" fmla="*/ 189556 h 505924"/>
                    <a:gd name="connsiteX12" fmla="*/ 541632 w 576731"/>
                    <a:gd name="connsiteY12" fmla="*/ 234006 h 505924"/>
                    <a:gd name="connsiteX13" fmla="*/ 538457 w 576731"/>
                    <a:gd name="connsiteY13" fmla="*/ 488006 h 505924"/>
                    <a:gd name="connsiteX14" fmla="*/ 36807 w 576731"/>
                    <a:gd name="connsiteY14" fmla="*/ 449906 h 505924"/>
                    <a:gd name="connsiteX0" fmla="*/ 5769 w 545693"/>
                    <a:gd name="connsiteY0" fmla="*/ 449906 h 505924"/>
                    <a:gd name="connsiteX1" fmla="*/ 8944 w 545693"/>
                    <a:gd name="connsiteY1" fmla="*/ 214956 h 505924"/>
                    <a:gd name="connsiteX2" fmla="*/ 24819 w 545693"/>
                    <a:gd name="connsiteY2" fmla="*/ 176856 h 505924"/>
                    <a:gd name="connsiteX3" fmla="*/ 72444 w 545693"/>
                    <a:gd name="connsiteY3" fmla="*/ 160981 h 505924"/>
                    <a:gd name="connsiteX4" fmla="*/ 174044 w 545693"/>
                    <a:gd name="connsiteY4" fmla="*/ 154631 h 505924"/>
                    <a:gd name="connsiteX5" fmla="*/ 199444 w 545693"/>
                    <a:gd name="connsiteY5" fmla="*/ 151456 h 505924"/>
                    <a:gd name="connsiteX6" fmla="*/ 202619 w 545693"/>
                    <a:gd name="connsiteY6" fmla="*/ 18106 h 505924"/>
                    <a:gd name="connsiteX7" fmla="*/ 313744 w 545693"/>
                    <a:gd name="connsiteY7" fmla="*/ 14931 h 505924"/>
                    <a:gd name="connsiteX8" fmla="*/ 313744 w 545693"/>
                    <a:gd name="connsiteY8" fmla="*/ 145106 h 505924"/>
                    <a:gd name="connsiteX9" fmla="*/ 355019 w 545693"/>
                    <a:gd name="connsiteY9" fmla="*/ 151456 h 505924"/>
                    <a:gd name="connsiteX10" fmla="*/ 447094 w 545693"/>
                    <a:gd name="connsiteY10" fmla="*/ 164156 h 505924"/>
                    <a:gd name="connsiteX11" fmla="*/ 488369 w 545693"/>
                    <a:gd name="connsiteY11" fmla="*/ 189556 h 505924"/>
                    <a:gd name="connsiteX12" fmla="*/ 510594 w 545693"/>
                    <a:gd name="connsiteY12" fmla="*/ 234006 h 505924"/>
                    <a:gd name="connsiteX13" fmla="*/ 507419 w 545693"/>
                    <a:gd name="connsiteY13" fmla="*/ 488006 h 505924"/>
                    <a:gd name="connsiteX14" fmla="*/ 5769 w 545693"/>
                    <a:gd name="connsiteY14" fmla="*/ 449906 h 505924"/>
                    <a:gd name="connsiteX0" fmla="*/ 21286 w 561210"/>
                    <a:gd name="connsiteY0" fmla="*/ 449906 h 508025"/>
                    <a:gd name="connsiteX1" fmla="*/ 24461 w 561210"/>
                    <a:gd name="connsiteY1" fmla="*/ 214956 h 508025"/>
                    <a:gd name="connsiteX2" fmla="*/ 40336 w 561210"/>
                    <a:gd name="connsiteY2" fmla="*/ 176856 h 508025"/>
                    <a:gd name="connsiteX3" fmla="*/ 87961 w 561210"/>
                    <a:gd name="connsiteY3" fmla="*/ 160981 h 508025"/>
                    <a:gd name="connsiteX4" fmla="*/ 189561 w 561210"/>
                    <a:gd name="connsiteY4" fmla="*/ 154631 h 508025"/>
                    <a:gd name="connsiteX5" fmla="*/ 214961 w 561210"/>
                    <a:gd name="connsiteY5" fmla="*/ 151456 h 508025"/>
                    <a:gd name="connsiteX6" fmla="*/ 218136 w 561210"/>
                    <a:gd name="connsiteY6" fmla="*/ 18106 h 508025"/>
                    <a:gd name="connsiteX7" fmla="*/ 329261 w 561210"/>
                    <a:gd name="connsiteY7" fmla="*/ 14931 h 508025"/>
                    <a:gd name="connsiteX8" fmla="*/ 329261 w 561210"/>
                    <a:gd name="connsiteY8" fmla="*/ 145106 h 508025"/>
                    <a:gd name="connsiteX9" fmla="*/ 370536 w 561210"/>
                    <a:gd name="connsiteY9" fmla="*/ 151456 h 508025"/>
                    <a:gd name="connsiteX10" fmla="*/ 462611 w 561210"/>
                    <a:gd name="connsiteY10" fmla="*/ 164156 h 508025"/>
                    <a:gd name="connsiteX11" fmla="*/ 503886 w 561210"/>
                    <a:gd name="connsiteY11" fmla="*/ 189556 h 508025"/>
                    <a:gd name="connsiteX12" fmla="*/ 526111 w 561210"/>
                    <a:gd name="connsiteY12" fmla="*/ 234006 h 508025"/>
                    <a:gd name="connsiteX13" fmla="*/ 522936 w 561210"/>
                    <a:gd name="connsiteY13" fmla="*/ 488006 h 508025"/>
                    <a:gd name="connsiteX14" fmla="*/ 21286 w 561210"/>
                    <a:gd name="connsiteY14" fmla="*/ 449906 h 508025"/>
                    <a:gd name="connsiteX0" fmla="*/ 21286 w 561210"/>
                    <a:gd name="connsiteY0" fmla="*/ 449906 h 508025"/>
                    <a:gd name="connsiteX1" fmla="*/ 24461 w 561210"/>
                    <a:gd name="connsiteY1" fmla="*/ 214956 h 508025"/>
                    <a:gd name="connsiteX2" fmla="*/ 40336 w 561210"/>
                    <a:gd name="connsiteY2" fmla="*/ 176856 h 508025"/>
                    <a:gd name="connsiteX3" fmla="*/ 87961 w 561210"/>
                    <a:gd name="connsiteY3" fmla="*/ 160981 h 508025"/>
                    <a:gd name="connsiteX4" fmla="*/ 189561 w 561210"/>
                    <a:gd name="connsiteY4" fmla="*/ 154631 h 508025"/>
                    <a:gd name="connsiteX5" fmla="*/ 214961 w 561210"/>
                    <a:gd name="connsiteY5" fmla="*/ 151456 h 508025"/>
                    <a:gd name="connsiteX6" fmla="*/ 218136 w 561210"/>
                    <a:gd name="connsiteY6" fmla="*/ 18106 h 508025"/>
                    <a:gd name="connsiteX7" fmla="*/ 329261 w 561210"/>
                    <a:gd name="connsiteY7" fmla="*/ 14931 h 508025"/>
                    <a:gd name="connsiteX8" fmla="*/ 329261 w 561210"/>
                    <a:gd name="connsiteY8" fmla="*/ 145106 h 508025"/>
                    <a:gd name="connsiteX9" fmla="*/ 370536 w 561210"/>
                    <a:gd name="connsiteY9" fmla="*/ 151456 h 508025"/>
                    <a:gd name="connsiteX10" fmla="*/ 462611 w 561210"/>
                    <a:gd name="connsiteY10" fmla="*/ 164156 h 508025"/>
                    <a:gd name="connsiteX11" fmla="*/ 503886 w 561210"/>
                    <a:gd name="connsiteY11" fmla="*/ 189556 h 508025"/>
                    <a:gd name="connsiteX12" fmla="*/ 526111 w 561210"/>
                    <a:gd name="connsiteY12" fmla="*/ 234006 h 508025"/>
                    <a:gd name="connsiteX13" fmla="*/ 522936 w 561210"/>
                    <a:gd name="connsiteY13" fmla="*/ 488006 h 508025"/>
                    <a:gd name="connsiteX14" fmla="*/ 21286 w 561210"/>
                    <a:gd name="connsiteY14" fmla="*/ 449906 h 508025"/>
                    <a:gd name="connsiteX0" fmla="*/ 4360 w 544284"/>
                    <a:gd name="connsiteY0" fmla="*/ 449906 h 508025"/>
                    <a:gd name="connsiteX1" fmla="*/ 7535 w 544284"/>
                    <a:gd name="connsiteY1" fmla="*/ 214956 h 508025"/>
                    <a:gd name="connsiteX2" fmla="*/ 23410 w 544284"/>
                    <a:gd name="connsiteY2" fmla="*/ 176856 h 508025"/>
                    <a:gd name="connsiteX3" fmla="*/ 71035 w 544284"/>
                    <a:gd name="connsiteY3" fmla="*/ 160981 h 508025"/>
                    <a:gd name="connsiteX4" fmla="*/ 172635 w 544284"/>
                    <a:gd name="connsiteY4" fmla="*/ 154631 h 508025"/>
                    <a:gd name="connsiteX5" fmla="*/ 198035 w 544284"/>
                    <a:gd name="connsiteY5" fmla="*/ 151456 h 508025"/>
                    <a:gd name="connsiteX6" fmla="*/ 201210 w 544284"/>
                    <a:gd name="connsiteY6" fmla="*/ 18106 h 508025"/>
                    <a:gd name="connsiteX7" fmla="*/ 312335 w 544284"/>
                    <a:gd name="connsiteY7" fmla="*/ 14931 h 508025"/>
                    <a:gd name="connsiteX8" fmla="*/ 312335 w 544284"/>
                    <a:gd name="connsiteY8" fmla="*/ 145106 h 508025"/>
                    <a:gd name="connsiteX9" fmla="*/ 353610 w 544284"/>
                    <a:gd name="connsiteY9" fmla="*/ 151456 h 508025"/>
                    <a:gd name="connsiteX10" fmla="*/ 445685 w 544284"/>
                    <a:gd name="connsiteY10" fmla="*/ 164156 h 508025"/>
                    <a:gd name="connsiteX11" fmla="*/ 486960 w 544284"/>
                    <a:gd name="connsiteY11" fmla="*/ 189556 h 508025"/>
                    <a:gd name="connsiteX12" fmla="*/ 509185 w 544284"/>
                    <a:gd name="connsiteY12" fmla="*/ 234006 h 508025"/>
                    <a:gd name="connsiteX13" fmla="*/ 506010 w 544284"/>
                    <a:gd name="connsiteY13" fmla="*/ 488006 h 508025"/>
                    <a:gd name="connsiteX14" fmla="*/ 4360 w 544284"/>
                    <a:gd name="connsiteY14" fmla="*/ 449906 h 508025"/>
                    <a:gd name="connsiteX0" fmla="*/ 4360 w 544284"/>
                    <a:gd name="connsiteY0" fmla="*/ 449906 h 500804"/>
                    <a:gd name="connsiteX1" fmla="*/ 7535 w 544284"/>
                    <a:gd name="connsiteY1" fmla="*/ 214956 h 500804"/>
                    <a:gd name="connsiteX2" fmla="*/ 23410 w 544284"/>
                    <a:gd name="connsiteY2" fmla="*/ 176856 h 500804"/>
                    <a:gd name="connsiteX3" fmla="*/ 71035 w 544284"/>
                    <a:gd name="connsiteY3" fmla="*/ 160981 h 500804"/>
                    <a:gd name="connsiteX4" fmla="*/ 172635 w 544284"/>
                    <a:gd name="connsiteY4" fmla="*/ 154631 h 500804"/>
                    <a:gd name="connsiteX5" fmla="*/ 198035 w 544284"/>
                    <a:gd name="connsiteY5" fmla="*/ 151456 h 500804"/>
                    <a:gd name="connsiteX6" fmla="*/ 201210 w 544284"/>
                    <a:gd name="connsiteY6" fmla="*/ 18106 h 500804"/>
                    <a:gd name="connsiteX7" fmla="*/ 312335 w 544284"/>
                    <a:gd name="connsiteY7" fmla="*/ 14931 h 500804"/>
                    <a:gd name="connsiteX8" fmla="*/ 312335 w 544284"/>
                    <a:gd name="connsiteY8" fmla="*/ 145106 h 500804"/>
                    <a:gd name="connsiteX9" fmla="*/ 353610 w 544284"/>
                    <a:gd name="connsiteY9" fmla="*/ 151456 h 500804"/>
                    <a:gd name="connsiteX10" fmla="*/ 445685 w 544284"/>
                    <a:gd name="connsiteY10" fmla="*/ 164156 h 500804"/>
                    <a:gd name="connsiteX11" fmla="*/ 486960 w 544284"/>
                    <a:gd name="connsiteY11" fmla="*/ 189556 h 500804"/>
                    <a:gd name="connsiteX12" fmla="*/ 509185 w 544284"/>
                    <a:gd name="connsiteY12" fmla="*/ 234006 h 500804"/>
                    <a:gd name="connsiteX13" fmla="*/ 506010 w 544284"/>
                    <a:gd name="connsiteY13" fmla="*/ 488006 h 500804"/>
                    <a:gd name="connsiteX14" fmla="*/ 4360 w 544284"/>
                    <a:gd name="connsiteY14" fmla="*/ 449906 h 500804"/>
                    <a:gd name="connsiteX0" fmla="*/ 4360 w 544284"/>
                    <a:gd name="connsiteY0" fmla="*/ 449906 h 500804"/>
                    <a:gd name="connsiteX1" fmla="*/ 7535 w 544284"/>
                    <a:gd name="connsiteY1" fmla="*/ 214956 h 500804"/>
                    <a:gd name="connsiteX2" fmla="*/ 23410 w 544284"/>
                    <a:gd name="connsiteY2" fmla="*/ 176856 h 500804"/>
                    <a:gd name="connsiteX3" fmla="*/ 71035 w 544284"/>
                    <a:gd name="connsiteY3" fmla="*/ 160981 h 500804"/>
                    <a:gd name="connsiteX4" fmla="*/ 172635 w 544284"/>
                    <a:gd name="connsiteY4" fmla="*/ 154631 h 500804"/>
                    <a:gd name="connsiteX5" fmla="*/ 198035 w 544284"/>
                    <a:gd name="connsiteY5" fmla="*/ 151456 h 500804"/>
                    <a:gd name="connsiteX6" fmla="*/ 201210 w 544284"/>
                    <a:gd name="connsiteY6" fmla="*/ 18106 h 500804"/>
                    <a:gd name="connsiteX7" fmla="*/ 312335 w 544284"/>
                    <a:gd name="connsiteY7" fmla="*/ 14931 h 500804"/>
                    <a:gd name="connsiteX8" fmla="*/ 312335 w 544284"/>
                    <a:gd name="connsiteY8" fmla="*/ 145106 h 500804"/>
                    <a:gd name="connsiteX9" fmla="*/ 353610 w 544284"/>
                    <a:gd name="connsiteY9" fmla="*/ 151456 h 500804"/>
                    <a:gd name="connsiteX10" fmla="*/ 445685 w 544284"/>
                    <a:gd name="connsiteY10" fmla="*/ 164156 h 500804"/>
                    <a:gd name="connsiteX11" fmla="*/ 486960 w 544284"/>
                    <a:gd name="connsiteY11" fmla="*/ 189556 h 500804"/>
                    <a:gd name="connsiteX12" fmla="*/ 509185 w 544284"/>
                    <a:gd name="connsiteY12" fmla="*/ 234006 h 500804"/>
                    <a:gd name="connsiteX13" fmla="*/ 506010 w 544284"/>
                    <a:gd name="connsiteY13" fmla="*/ 488006 h 500804"/>
                    <a:gd name="connsiteX14" fmla="*/ 4360 w 544284"/>
                    <a:gd name="connsiteY14" fmla="*/ 449906 h 500804"/>
                    <a:gd name="connsiteX0" fmla="*/ 4360 w 519024"/>
                    <a:gd name="connsiteY0" fmla="*/ 449906 h 500804"/>
                    <a:gd name="connsiteX1" fmla="*/ 7535 w 519024"/>
                    <a:gd name="connsiteY1" fmla="*/ 214956 h 500804"/>
                    <a:gd name="connsiteX2" fmla="*/ 23410 w 519024"/>
                    <a:gd name="connsiteY2" fmla="*/ 176856 h 500804"/>
                    <a:gd name="connsiteX3" fmla="*/ 71035 w 519024"/>
                    <a:gd name="connsiteY3" fmla="*/ 160981 h 500804"/>
                    <a:gd name="connsiteX4" fmla="*/ 172635 w 519024"/>
                    <a:gd name="connsiteY4" fmla="*/ 154631 h 500804"/>
                    <a:gd name="connsiteX5" fmla="*/ 198035 w 519024"/>
                    <a:gd name="connsiteY5" fmla="*/ 151456 h 500804"/>
                    <a:gd name="connsiteX6" fmla="*/ 201210 w 519024"/>
                    <a:gd name="connsiteY6" fmla="*/ 18106 h 500804"/>
                    <a:gd name="connsiteX7" fmla="*/ 312335 w 519024"/>
                    <a:gd name="connsiteY7" fmla="*/ 14931 h 500804"/>
                    <a:gd name="connsiteX8" fmla="*/ 312335 w 519024"/>
                    <a:gd name="connsiteY8" fmla="*/ 145106 h 500804"/>
                    <a:gd name="connsiteX9" fmla="*/ 353610 w 519024"/>
                    <a:gd name="connsiteY9" fmla="*/ 151456 h 500804"/>
                    <a:gd name="connsiteX10" fmla="*/ 445685 w 519024"/>
                    <a:gd name="connsiteY10" fmla="*/ 164156 h 500804"/>
                    <a:gd name="connsiteX11" fmla="*/ 486960 w 519024"/>
                    <a:gd name="connsiteY11" fmla="*/ 189556 h 500804"/>
                    <a:gd name="connsiteX12" fmla="*/ 509185 w 519024"/>
                    <a:gd name="connsiteY12" fmla="*/ 234006 h 500804"/>
                    <a:gd name="connsiteX13" fmla="*/ 506010 w 519024"/>
                    <a:gd name="connsiteY13" fmla="*/ 488006 h 500804"/>
                    <a:gd name="connsiteX14" fmla="*/ 4360 w 519024"/>
                    <a:gd name="connsiteY14" fmla="*/ 449906 h 500804"/>
                    <a:gd name="connsiteX0" fmla="*/ 4360 w 519024"/>
                    <a:gd name="connsiteY0" fmla="*/ 449906 h 488006"/>
                    <a:gd name="connsiteX1" fmla="*/ 7535 w 519024"/>
                    <a:gd name="connsiteY1" fmla="*/ 214956 h 488006"/>
                    <a:gd name="connsiteX2" fmla="*/ 23410 w 519024"/>
                    <a:gd name="connsiteY2" fmla="*/ 176856 h 488006"/>
                    <a:gd name="connsiteX3" fmla="*/ 71035 w 519024"/>
                    <a:gd name="connsiteY3" fmla="*/ 160981 h 488006"/>
                    <a:gd name="connsiteX4" fmla="*/ 172635 w 519024"/>
                    <a:gd name="connsiteY4" fmla="*/ 154631 h 488006"/>
                    <a:gd name="connsiteX5" fmla="*/ 198035 w 519024"/>
                    <a:gd name="connsiteY5" fmla="*/ 151456 h 488006"/>
                    <a:gd name="connsiteX6" fmla="*/ 201210 w 519024"/>
                    <a:gd name="connsiteY6" fmla="*/ 18106 h 488006"/>
                    <a:gd name="connsiteX7" fmla="*/ 312335 w 519024"/>
                    <a:gd name="connsiteY7" fmla="*/ 14931 h 488006"/>
                    <a:gd name="connsiteX8" fmla="*/ 312335 w 519024"/>
                    <a:gd name="connsiteY8" fmla="*/ 145106 h 488006"/>
                    <a:gd name="connsiteX9" fmla="*/ 353610 w 519024"/>
                    <a:gd name="connsiteY9" fmla="*/ 151456 h 488006"/>
                    <a:gd name="connsiteX10" fmla="*/ 445685 w 519024"/>
                    <a:gd name="connsiteY10" fmla="*/ 164156 h 488006"/>
                    <a:gd name="connsiteX11" fmla="*/ 486960 w 519024"/>
                    <a:gd name="connsiteY11" fmla="*/ 189556 h 488006"/>
                    <a:gd name="connsiteX12" fmla="*/ 509185 w 519024"/>
                    <a:gd name="connsiteY12" fmla="*/ 234006 h 488006"/>
                    <a:gd name="connsiteX13" fmla="*/ 506010 w 519024"/>
                    <a:gd name="connsiteY13" fmla="*/ 488006 h 488006"/>
                    <a:gd name="connsiteX14" fmla="*/ 4360 w 519024"/>
                    <a:gd name="connsiteY14" fmla="*/ 449906 h 488006"/>
                    <a:gd name="connsiteX0" fmla="*/ 4360 w 523534"/>
                    <a:gd name="connsiteY0" fmla="*/ 449906 h 472131"/>
                    <a:gd name="connsiteX1" fmla="*/ 7535 w 523534"/>
                    <a:gd name="connsiteY1" fmla="*/ 214956 h 472131"/>
                    <a:gd name="connsiteX2" fmla="*/ 23410 w 523534"/>
                    <a:gd name="connsiteY2" fmla="*/ 176856 h 472131"/>
                    <a:gd name="connsiteX3" fmla="*/ 71035 w 523534"/>
                    <a:gd name="connsiteY3" fmla="*/ 160981 h 472131"/>
                    <a:gd name="connsiteX4" fmla="*/ 172635 w 523534"/>
                    <a:gd name="connsiteY4" fmla="*/ 154631 h 472131"/>
                    <a:gd name="connsiteX5" fmla="*/ 198035 w 523534"/>
                    <a:gd name="connsiteY5" fmla="*/ 151456 h 472131"/>
                    <a:gd name="connsiteX6" fmla="*/ 201210 w 523534"/>
                    <a:gd name="connsiteY6" fmla="*/ 18106 h 472131"/>
                    <a:gd name="connsiteX7" fmla="*/ 312335 w 523534"/>
                    <a:gd name="connsiteY7" fmla="*/ 14931 h 472131"/>
                    <a:gd name="connsiteX8" fmla="*/ 312335 w 523534"/>
                    <a:gd name="connsiteY8" fmla="*/ 145106 h 472131"/>
                    <a:gd name="connsiteX9" fmla="*/ 353610 w 523534"/>
                    <a:gd name="connsiteY9" fmla="*/ 151456 h 472131"/>
                    <a:gd name="connsiteX10" fmla="*/ 445685 w 523534"/>
                    <a:gd name="connsiteY10" fmla="*/ 164156 h 472131"/>
                    <a:gd name="connsiteX11" fmla="*/ 486960 w 523534"/>
                    <a:gd name="connsiteY11" fmla="*/ 189556 h 472131"/>
                    <a:gd name="connsiteX12" fmla="*/ 509185 w 523534"/>
                    <a:gd name="connsiteY12" fmla="*/ 234006 h 472131"/>
                    <a:gd name="connsiteX13" fmla="*/ 512360 w 523534"/>
                    <a:gd name="connsiteY13" fmla="*/ 472131 h 472131"/>
                    <a:gd name="connsiteX14" fmla="*/ 4360 w 523534"/>
                    <a:gd name="connsiteY14" fmla="*/ 449906 h 472131"/>
                    <a:gd name="connsiteX0" fmla="*/ 4360 w 513675"/>
                    <a:gd name="connsiteY0" fmla="*/ 449906 h 472131"/>
                    <a:gd name="connsiteX1" fmla="*/ 7535 w 513675"/>
                    <a:gd name="connsiteY1" fmla="*/ 214956 h 472131"/>
                    <a:gd name="connsiteX2" fmla="*/ 23410 w 513675"/>
                    <a:gd name="connsiteY2" fmla="*/ 176856 h 472131"/>
                    <a:gd name="connsiteX3" fmla="*/ 71035 w 513675"/>
                    <a:gd name="connsiteY3" fmla="*/ 160981 h 472131"/>
                    <a:gd name="connsiteX4" fmla="*/ 172635 w 513675"/>
                    <a:gd name="connsiteY4" fmla="*/ 154631 h 472131"/>
                    <a:gd name="connsiteX5" fmla="*/ 198035 w 513675"/>
                    <a:gd name="connsiteY5" fmla="*/ 151456 h 472131"/>
                    <a:gd name="connsiteX6" fmla="*/ 201210 w 513675"/>
                    <a:gd name="connsiteY6" fmla="*/ 18106 h 472131"/>
                    <a:gd name="connsiteX7" fmla="*/ 312335 w 513675"/>
                    <a:gd name="connsiteY7" fmla="*/ 14931 h 472131"/>
                    <a:gd name="connsiteX8" fmla="*/ 312335 w 513675"/>
                    <a:gd name="connsiteY8" fmla="*/ 145106 h 472131"/>
                    <a:gd name="connsiteX9" fmla="*/ 353610 w 513675"/>
                    <a:gd name="connsiteY9" fmla="*/ 151456 h 472131"/>
                    <a:gd name="connsiteX10" fmla="*/ 445685 w 513675"/>
                    <a:gd name="connsiteY10" fmla="*/ 164156 h 472131"/>
                    <a:gd name="connsiteX11" fmla="*/ 486960 w 513675"/>
                    <a:gd name="connsiteY11" fmla="*/ 189556 h 472131"/>
                    <a:gd name="connsiteX12" fmla="*/ 509185 w 513675"/>
                    <a:gd name="connsiteY12" fmla="*/ 234006 h 472131"/>
                    <a:gd name="connsiteX13" fmla="*/ 512360 w 513675"/>
                    <a:gd name="connsiteY13" fmla="*/ 472131 h 472131"/>
                    <a:gd name="connsiteX14" fmla="*/ 4360 w 513675"/>
                    <a:gd name="connsiteY14" fmla="*/ 449906 h 472131"/>
                    <a:gd name="connsiteX0" fmla="*/ 4360 w 513675"/>
                    <a:gd name="connsiteY0" fmla="*/ 446969 h 469194"/>
                    <a:gd name="connsiteX1" fmla="*/ 7535 w 513675"/>
                    <a:gd name="connsiteY1" fmla="*/ 212019 h 469194"/>
                    <a:gd name="connsiteX2" fmla="*/ 23410 w 513675"/>
                    <a:gd name="connsiteY2" fmla="*/ 173919 h 469194"/>
                    <a:gd name="connsiteX3" fmla="*/ 71035 w 513675"/>
                    <a:gd name="connsiteY3" fmla="*/ 158044 h 469194"/>
                    <a:gd name="connsiteX4" fmla="*/ 172635 w 513675"/>
                    <a:gd name="connsiteY4" fmla="*/ 151694 h 469194"/>
                    <a:gd name="connsiteX5" fmla="*/ 188510 w 513675"/>
                    <a:gd name="connsiteY5" fmla="*/ 94544 h 469194"/>
                    <a:gd name="connsiteX6" fmla="*/ 201210 w 513675"/>
                    <a:gd name="connsiteY6" fmla="*/ 15169 h 469194"/>
                    <a:gd name="connsiteX7" fmla="*/ 312335 w 513675"/>
                    <a:gd name="connsiteY7" fmla="*/ 11994 h 469194"/>
                    <a:gd name="connsiteX8" fmla="*/ 312335 w 513675"/>
                    <a:gd name="connsiteY8" fmla="*/ 142169 h 469194"/>
                    <a:gd name="connsiteX9" fmla="*/ 353610 w 513675"/>
                    <a:gd name="connsiteY9" fmla="*/ 148519 h 469194"/>
                    <a:gd name="connsiteX10" fmla="*/ 445685 w 513675"/>
                    <a:gd name="connsiteY10" fmla="*/ 161219 h 469194"/>
                    <a:gd name="connsiteX11" fmla="*/ 486960 w 513675"/>
                    <a:gd name="connsiteY11" fmla="*/ 186619 h 469194"/>
                    <a:gd name="connsiteX12" fmla="*/ 509185 w 513675"/>
                    <a:gd name="connsiteY12" fmla="*/ 231069 h 469194"/>
                    <a:gd name="connsiteX13" fmla="*/ 512360 w 513675"/>
                    <a:gd name="connsiteY13" fmla="*/ 469194 h 469194"/>
                    <a:gd name="connsiteX14" fmla="*/ 4360 w 513675"/>
                    <a:gd name="connsiteY14" fmla="*/ 446969 h 469194"/>
                    <a:gd name="connsiteX0" fmla="*/ 4360 w 513675"/>
                    <a:gd name="connsiteY0" fmla="*/ 443409 h 465634"/>
                    <a:gd name="connsiteX1" fmla="*/ 7535 w 513675"/>
                    <a:gd name="connsiteY1" fmla="*/ 208459 h 465634"/>
                    <a:gd name="connsiteX2" fmla="*/ 23410 w 513675"/>
                    <a:gd name="connsiteY2" fmla="*/ 170359 h 465634"/>
                    <a:gd name="connsiteX3" fmla="*/ 71035 w 513675"/>
                    <a:gd name="connsiteY3" fmla="*/ 154484 h 465634"/>
                    <a:gd name="connsiteX4" fmla="*/ 172635 w 513675"/>
                    <a:gd name="connsiteY4" fmla="*/ 148134 h 465634"/>
                    <a:gd name="connsiteX5" fmla="*/ 188510 w 513675"/>
                    <a:gd name="connsiteY5" fmla="*/ 90984 h 465634"/>
                    <a:gd name="connsiteX6" fmla="*/ 201210 w 513675"/>
                    <a:gd name="connsiteY6" fmla="*/ 11609 h 465634"/>
                    <a:gd name="connsiteX7" fmla="*/ 312335 w 513675"/>
                    <a:gd name="connsiteY7" fmla="*/ 8434 h 465634"/>
                    <a:gd name="connsiteX8" fmla="*/ 312335 w 513675"/>
                    <a:gd name="connsiteY8" fmla="*/ 87809 h 465634"/>
                    <a:gd name="connsiteX9" fmla="*/ 353610 w 513675"/>
                    <a:gd name="connsiteY9" fmla="*/ 144959 h 465634"/>
                    <a:gd name="connsiteX10" fmla="*/ 445685 w 513675"/>
                    <a:gd name="connsiteY10" fmla="*/ 157659 h 465634"/>
                    <a:gd name="connsiteX11" fmla="*/ 486960 w 513675"/>
                    <a:gd name="connsiteY11" fmla="*/ 183059 h 465634"/>
                    <a:gd name="connsiteX12" fmla="*/ 509185 w 513675"/>
                    <a:gd name="connsiteY12" fmla="*/ 227509 h 465634"/>
                    <a:gd name="connsiteX13" fmla="*/ 512360 w 513675"/>
                    <a:gd name="connsiteY13" fmla="*/ 465634 h 465634"/>
                    <a:gd name="connsiteX14" fmla="*/ 4360 w 513675"/>
                    <a:gd name="connsiteY14" fmla="*/ 443409 h 465634"/>
                    <a:gd name="connsiteX0" fmla="*/ 4360 w 513675"/>
                    <a:gd name="connsiteY0" fmla="*/ 443409 h 465634"/>
                    <a:gd name="connsiteX1" fmla="*/ 7535 w 513675"/>
                    <a:gd name="connsiteY1" fmla="*/ 208459 h 465634"/>
                    <a:gd name="connsiteX2" fmla="*/ 23410 w 513675"/>
                    <a:gd name="connsiteY2" fmla="*/ 170359 h 465634"/>
                    <a:gd name="connsiteX3" fmla="*/ 71035 w 513675"/>
                    <a:gd name="connsiteY3" fmla="*/ 154484 h 465634"/>
                    <a:gd name="connsiteX4" fmla="*/ 172635 w 513675"/>
                    <a:gd name="connsiteY4" fmla="*/ 148134 h 465634"/>
                    <a:gd name="connsiteX5" fmla="*/ 188510 w 513675"/>
                    <a:gd name="connsiteY5" fmla="*/ 90984 h 465634"/>
                    <a:gd name="connsiteX6" fmla="*/ 201210 w 513675"/>
                    <a:gd name="connsiteY6" fmla="*/ 11609 h 465634"/>
                    <a:gd name="connsiteX7" fmla="*/ 312335 w 513675"/>
                    <a:gd name="connsiteY7" fmla="*/ 8434 h 465634"/>
                    <a:gd name="connsiteX8" fmla="*/ 312335 w 513675"/>
                    <a:gd name="connsiteY8" fmla="*/ 87809 h 465634"/>
                    <a:gd name="connsiteX9" fmla="*/ 334560 w 513675"/>
                    <a:gd name="connsiteY9" fmla="*/ 135434 h 465634"/>
                    <a:gd name="connsiteX10" fmla="*/ 445685 w 513675"/>
                    <a:gd name="connsiteY10" fmla="*/ 157659 h 465634"/>
                    <a:gd name="connsiteX11" fmla="*/ 486960 w 513675"/>
                    <a:gd name="connsiteY11" fmla="*/ 183059 h 465634"/>
                    <a:gd name="connsiteX12" fmla="*/ 509185 w 513675"/>
                    <a:gd name="connsiteY12" fmla="*/ 227509 h 465634"/>
                    <a:gd name="connsiteX13" fmla="*/ 512360 w 513675"/>
                    <a:gd name="connsiteY13" fmla="*/ 465634 h 465634"/>
                    <a:gd name="connsiteX14" fmla="*/ 4360 w 513675"/>
                    <a:gd name="connsiteY14" fmla="*/ 443409 h 465634"/>
                    <a:gd name="connsiteX0" fmla="*/ 4360 w 510500"/>
                    <a:gd name="connsiteY0" fmla="*/ 443409 h 449759"/>
                    <a:gd name="connsiteX1" fmla="*/ 7535 w 510500"/>
                    <a:gd name="connsiteY1" fmla="*/ 208459 h 449759"/>
                    <a:gd name="connsiteX2" fmla="*/ 23410 w 510500"/>
                    <a:gd name="connsiteY2" fmla="*/ 170359 h 449759"/>
                    <a:gd name="connsiteX3" fmla="*/ 71035 w 510500"/>
                    <a:gd name="connsiteY3" fmla="*/ 154484 h 449759"/>
                    <a:gd name="connsiteX4" fmla="*/ 172635 w 510500"/>
                    <a:gd name="connsiteY4" fmla="*/ 148134 h 449759"/>
                    <a:gd name="connsiteX5" fmla="*/ 188510 w 510500"/>
                    <a:gd name="connsiteY5" fmla="*/ 90984 h 449759"/>
                    <a:gd name="connsiteX6" fmla="*/ 201210 w 510500"/>
                    <a:gd name="connsiteY6" fmla="*/ 11609 h 449759"/>
                    <a:gd name="connsiteX7" fmla="*/ 312335 w 510500"/>
                    <a:gd name="connsiteY7" fmla="*/ 8434 h 449759"/>
                    <a:gd name="connsiteX8" fmla="*/ 312335 w 510500"/>
                    <a:gd name="connsiteY8" fmla="*/ 87809 h 449759"/>
                    <a:gd name="connsiteX9" fmla="*/ 334560 w 510500"/>
                    <a:gd name="connsiteY9" fmla="*/ 135434 h 449759"/>
                    <a:gd name="connsiteX10" fmla="*/ 445685 w 510500"/>
                    <a:gd name="connsiteY10" fmla="*/ 157659 h 449759"/>
                    <a:gd name="connsiteX11" fmla="*/ 486960 w 510500"/>
                    <a:gd name="connsiteY11" fmla="*/ 183059 h 449759"/>
                    <a:gd name="connsiteX12" fmla="*/ 509185 w 510500"/>
                    <a:gd name="connsiteY12" fmla="*/ 227509 h 449759"/>
                    <a:gd name="connsiteX13" fmla="*/ 506010 w 510500"/>
                    <a:gd name="connsiteY13" fmla="*/ 449759 h 449759"/>
                    <a:gd name="connsiteX14" fmla="*/ 4360 w 510500"/>
                    <a:gd name="connsiteY14" fmla="*/ 443409 h 449759"/>
                    <a:gd name="connsiteX0" fmla="*/ 4360 w 510500"/>
                    <a:gd name="connsiteY0" fmla="*/ 443409 h 454926"/>
                    <a:gd name="connsiteX1" fmla="*/ 7535 w 510500"/>
                    <a:gd name="connsiteY1" fmla="*/ 208459 h 454926"/>
                    <a:gd name="connsiteX2" fmla="*/ 23410 w 510500"/>
                    <a:gd name="connsiteY2" fmla="*/ 170359 h 454926"/>
                    <a:gd name="connsiteX3" fmla="*/ 71035 w 510500"/>
                    <a:gd name="connsiteY3" fmla="*/ 154484 h 454926"/>
                    <a:gd name="connsiteX4" fmla="*/ 172635 w 510500"/>
                    <a:gd name="connsiteY4" fmla="*/ 148134 h 454926"/>
                    <a:gd name="connsiteX5" fmla="*/ 188510 w 510500"/>
                    <a:gd name="connsiteY5" fmla="*/ 90984 h 454926"/>
                    <a:gd name="connsiteX6" fmla="*/ 201210 w 510500"/>
                    <a:gd name="connsiteY6" fmla="*/ 11609 h 454926"/>
                    <a:gd name="connsiteX7" fmla="*/ 312335 w 510500"/>
                    <a:gd name="connsiteY7" fmla="*/ 8434 h 454926"/>
                    <a:gd name="connsiteX8" fmla="*/ 312335 w 510500"/>
                    <a:gd name="connsiteY8" fmla="*/ 87809 h 454926"/>
                    <a:gd name="connsiteX9" fmla="*/ 334560 w 510500"/>
                    <a:gd name="connsiteY9" fmla="*/ 135434 h 454926"/>
                    <a:gd name="connsiteX10" fmla="*/ 445685 w 510500"/>
                    <a:gd name="connsiteY10" fmla="*/ 157659 h 454926"/>
                    <a:gd name="connsiteX11" fmla="*/ 486960 w 510500"/>
                    <a:gd name="connsiteY11" fmla="*/ 183059 h 454926"/>
                    <a:gd name="connsiteX12" fmla="*/ 509185 w 510500"/>
                    <a:gd name="connsiteY12" fmla="*/ 227509 h 454926"/>
                    <a:gd name="connsiteX13" fmla="*/ 506010 w 510500"/>
                    <a:gd name="connsiteY13" fmla="*/ 449759 h 454926"/>
                    <a:gd name="connsiteX14" fmla="*/ 4360 w 510500"/>
                    <a:gd name="connsiteY14" fmla="*/ 443409 h 454926"/>
                    <a:gd name="connsiteX0" fmla="*/ 6473 w 512613"/>
                    <a:gd name="connsiteY0" fmla="*/ 443409 h 454926"/>
                    <a:gd name="connsiteX1" fmla="*/ 9648 w 512613"/>
                    <a:gd name="connsiteY1" fmla="*/ 208459 h 454926"/>
                    <a:gd name="connsiteX2" fmla="*/ 73148 w 512613"/>
                    <a:gd name="connsiteY2" fmla="*/ 154484 h 454926"/>
                    <a:gd name="connsiteX3" fmla="*/ 174748 w 512613"/>
                    <a:gd name="connsiteY3" fmla="*/ 148134 h 454926"/>
                    <a:gd name="connsiteX4" fmla="*/ 190623 w 512613"/>
                    <a:gd name="connsiteY4" fmla="*/ 90984 h 454926"/>
                    <a:gd name="connsiteX5" fmla="*/ 203323 w 512613"/>
                    <a:gd name="connsiteY5" fmla="*/ 11609 h 454926"/>
                    <a:gd name="connsiteX6" fmla="*/ 314448 w 512613"/>
                    <a:gd name="connsiteY6" fmla="*/ 8434 h 454926"/>
                    <a:gd name="connsiteX7" fmla="*/ 314448 w 512613"/>
                    <a:gd name="connsiteY7" fmla="*/ 87809 h 454926"/>
                    <a:gd name="connsiteX8" fmla="*/ 336673 w 512613"/>
                    <a:gd name="connsiteY8" fmla="*/ 135434 h 454926"/>
                    <a:gd name="connsiteX9" fmla="*/ 447798 w 512613"/>
                    <a:gd name="connsiteY9" fmla="*/ 157659 h 454926"/>
                    <a:gd name="connsiteX10" fmla="*/ 489073 w 512613"/>
                    <a:gd name="connsiteY10" fmla="*/ 183059 h 454926"/>
                    <a:gd name="connsiteX11" fmla="*/ 511298 w 512613"/>
                    <a:gd name="connsiteY11" fmla="*/ 227509 h 454926"/>
                    <a:gd name="connsiteX12" fmla="*/ 508123 w 512613"/>
                    <a:gd name="connsiteY12" fmla="*/ 449759 h 454926"/>
                    <a:gd name="connsiteX13" fmla="*/ 6473 w 512613"/>
                    <a:gd name="connsiteY13" fmla="*/ 443409 h 454926"/>
                    <a:gd name="connsiteX0" fmla="*/ 4049 w 510189"/>
                    <a:gd name="connsiteY0" fmla="*/ 443409 h 454926"/>
                    <a:gd name="connsiteX1" fmla="*/ 7224 w 510189"/>
                    <a:gd name="connsiteY1" fmla="*/ 208459 h 454926"/>
                    <a:gd name="connsiteX2" fmla="*/ 70724 w 510189"/>
                    <a:gd name="connsiteY2" fmla="*/ 154484 h 454926"/>
                    <a:gd name="connsiteX3" fmla="*/ 172324 w 510189"/>
                    <a:gd name="connsiteY3" fmla="*/ 148134 h 454926"/>
                    <a:gd name="connsiteX4" fmla="*/ 188199 w 510189"/>
                    <a:gd name="connsiteY4" fmla="*/ 90984 h 454926"/>
                    <a:gd name="connsiteX5" fmla="*/ 200899 w 510189"/>
                    <a:gd name="connsiteY5" fmla="*/ 11609 h 454926"/>
                    <a:gd name="connsiteX6" fmla="*/ 312024 w 510189"/>
                    <a:gd name="connsiteY6" fmla="*/ 8434 h 454926"/>
                    <a:gd name="connsiteX7" fmla="*/ 312024 w 510189"/>
                    <a:gd name="connsiteY7" fmla="*/ 87809 h 454926"/>
                    <a:gd name="connsiteX8" fmla="*/ 334249 w 510189"/>
                    <a:gd name="connsiteY8" fmla="*/ 135434 h 454926"/>
                    <a:gd name="connsiteX9" fmla="*/ 445374 w 510189"/>
                    <a:gd name="connsiteY9" fmla="*/ 157659 h 454926"/>
                    <a:gd name="connsiteX10" fmla="*/ 486649 w 510189"/>
                    <a:gd name="connsiteY10" fmla="*/ 183059 h 454926"/>
                    <a:gd name="connsiteX11" fmla="*/ 508874 w 510189"/>
                    <a:gd name="connsiteY11" fmla="*/ 227509 h 454926"/>
                    <a:gd name="connsiteX12" fmla="*/ 505699 w 510189"/>
                    <a:gd name="connsiteY12" fmla="*/ 449759 h 454926"/>
                    <a:gd name="connsiteX13" fmla="*/ 4049 w 510189"/>
                    <a:gd name="connsiteY13" fmla="*/ 443409 h 454926"/>
                    <a:gd name="connsiteX0" fmla="*/ 4049 w 510189"/>
                    <a:gd name="connsiteY0" fmla="*/ 443409 h 454926"/>
                    <a:gd name="connsiteX1" fmla="*/ 7224 w 510189"/>
                    <a:gd name="connsiteY1" fmla="*/ 208459 h 454926"/>
                    <a:gd name="connsiteX2" fmla="*/ 70724 w 510189"/>
                    <a:gd name="connsiteY2" fmla="*/ 154484 h 454926"/>
                    <a:gd name="connsiteX3" fmla="*/ 172324 w 510189"/>
                    <a:gd name="connsiteY3" fmla="*/ 148134 h 454926"/>
                    <a:gd name="connsiteX4" fmla="*/ 188199 w 510189"/>
                    <a:gd name="connsiteY4" fmla="*/ 90984 h 454926"/>
                    <a:gd name="connsiteX5" fmla="*/ 200899 w 510189"/>
                    <a:gd name="connsiteY5" fmla="*/ 11609 h 454926"/>
                    <a:gd name="connsiteX6" fmla="*/ 312024 w 510189"/>
                    <a:gd name="connsiteY6" fmla="*/ 8434 h 454926"/>
                    <a:gd name="connsiteX7" fmla="*/ 312024 w 510189"/>
                    <a:gd name="connsiteY7" fmla="*/ 87809 h 454926"/>
                    <a:gd name="connsiteX8" fmla="*/ 334249 w 510189"/>
                    <a:gd name="connsiteY8" fmla="*/ 135434 h 454926"/>
                    <a:gd name="connsiteX9" fmla="*/ 445374 w 510189"/>
                    <a:gd name="connsiteY9" fmla="*/ 157659 h 454926"/>
                    <a:gd name="connsiteX10" fmla="*/ 508874 w 510189"/>
                    <a:gd name="connsiteY10" fmla="*/ 227509 h 454926"/>
                    <a:gd name="connsiteX11" fmla="*/ 505699 w 510189"/>
                    <a:gd name="connsiteY11" fmla="*/ 449759 h 454926"/>
                    <a:gd name="connsiteX12" fmla="*/ 4049 w 510189"/>
                    <a:gd name="connsiteY12" fmla="*/ 443409 h 454926"/>
                    <a:gd name="connsiteX0" fmla="*/ 4049 w 510189"/>
                    <a:gd name="connsiteY0" fmla="*/ 443409 h 454926"/>
                    <a:gd name="connsiteX1" fmla="*/ 7224 w 510189"/>
                    <a:gd name="connsiteY1" fmla="*/ 208459 h 454926"/>
                    <a:gd name="connsiteX2" fmla="*/ 70724 w 510189"/>
                    <a:gd name="connsiteY2" fmla="*/ 154484 h 454926"/>
                    <a:gd name="connsiteX3" fmla="*/ 172324 w 510189"/>
                    <a:gd name="connsiteY3" fmla="*/ 148134 h 454926"/>
                    <a:gd name="connsiteX4" fmla="*/ 188199 w 510189"/>
                    <a:gd name="connsiteY4" fmla="*/ 90984 h 454926"/>
                    <a:gd name="connsiteX5" fmla="*/ 200899 w 510189"/>
                    <a:gd name="connsiteY5" fmla="*/ 11609 h 454926"/>
                    <a:gd name="connsiteX6" fmla="*/ 312024 w 510189"/>
                    <a:gd name="connsiteY6" fmla="*/ 8434 h 454926"/>
                    <a:gd name="connsiteX7" fmla="*/ 312024 w 510189"/>
                    <a:gd name="connsiteY7" fmla="*/ 87809 h 454926"/>
                    <a:gd name="connsiteX8" fmla="*/ 334249 w 510189"/>
                    <a:gd name="connsiteY8" fmla="*/ 135434 h 454926"/>
                    <a:gd name="connsiteX9" fmla="*/ 445374 w 510189"/>
                    <a:gd name="connsiteY9" fmla="*/ 157659 h 454926"/>
                    <a:gd name="connsiteX10" fmla="*/ 508874 w 510189"/>
                    <a:gd name="connsiteY10" fmla="*/ 227509 h 454926"/>
                    <a:gd name="connsiteX11" fmla="*/ 505699 w 510189"/>
                    <a:gd name="connsiteY11" fmla="*/ 449759 h 454926"/>
                    <a:gd name="connsiteX12" fmla="*/ 4049 w 510189"/>
                    <a:gd name="connsiteY12" fmla="*/ 443409 h 454926"/>
                    <a:gd name="connsiteX0" fmla="*/ 5987 w 512127"/>
                    <a:gd name="connsiteY0" fmla="*/ 443409 h 454926"/>
                    <a:gd name="connsiteX1" fmla="*/ 2812 w 512127"/>
                    <a:gd name="connsiteY1" fmla="*/ 217984 h 454926"/>
                    <a:gd name="connsiteX2" fmla="*/ 72662 w 512127"/>
                    <a:gd name="connsiteY2" fmla="*/ 154484 h 454926"/>
                    <a:gd name="connsiteX3" fmla="*/ 174262 w 512127"/>
                    <a:gd name="connsiteY3" fmla="*/ 148134 h 454926"/>
                    <a:gd name="connsiteX4" fmla="*/ 190137 w 512127"/>
                    <a:gd name="connsiteY4" fmla="*/ 90984 h 454926"/>
                    <a:gd name="connsiteX5" fmla="*/ 202837 w 512127"/>
                    <a:gd name="connsiteY5" fmla="*/ 11609 h 454926"/>
                    <a:gd name="connsiteX6" fmla="*/ 313962 w 512127"/>
                    <a:gd name="connsiteY6" fmla="*/ 8434 h 454926"/>
                    <a:gd name="connsiteX7" fmla="*/ 313962 w 512127"/>
                    <a:gd name="connsiteY7" fmla="*/ 87809 h 454926"/>
                    <a:gd name="connsiteX8" fmla="*/ 336187 w 512127"/>
                    <a:gd name="connsiteY8" fmla="*/ 135434 h 454926"/>
                    <a:gd name="connsiteX9" fmla="*/ 447312 w 512127"/>
                    <a:gd name="connsiteY9" fmla="*/ 157659 h 454926"/>
                    <a:gd name="connsiteX10" fmla="*/ 510812 w 512127"/>
                    <a:gd name="connsiteY10" fmla="*/ 227509 h 454926"/>
                    <a:gd name="connsiteX11" fmla="*/ 507637 w 512127"/>
                    <a:gd name="connsiteY11" fmla="*/ 449759 h 454926"/>
                    <a:gd name="connsiteX12" fmla="*/ 5987 w 512127"/>
                    <a:gd name="connsiteY12" fmla="*/ 443409 h 454926"/>
                    <a:gd name="connsiteX0" fmla="*/ 9762 w 515902"/>
                    <a:gd name="connsiteY0" fmla="*/ 443409 h 454926"/>
                    <a:gd name="connsiteX1" fmla="*/ 6587 w 515902"/>
                    <a:gd name="connsiteY1" fmla="*/ 217984 h 454926"/>
                    <a:gd name="connsiteX2" fmla="*/ 76437 w 515902"/>
                    <a:gd name="connsiteY2" fmla="*/ 154484 h 454926"/>
                    <a:gd name="connsiteX3" fmla="*/ 178037 w 515902"/>
                    <a:gd name="connsiteY3" fmla="*/ 148134 h 454926"/>
                    <a:gd name="connsiteX4" fmla="*/ 193912 w 515902"/>
                    <a:gd name="connsiteY4" fmla="*/ 90984 h 454926"/>
                    <a:gd name="connsiteX5" fmla="*/ 206612 w 515902"/>
                    <a:gd name="connsiteY5" fmla="*/ 11609 h 454926"/>
                    <a:gd name="connsiteX6" fmla="*/ 317737 w 515902"/>
                    <a:gd name="connsiteY6" fmla="*/ 8434 h 454926"/>
                    <a:gd name="connsiteX7" fmla="*/ 317737 w 515902"/>
                    <a:gd name="connsiteY7" fmla="*/ 87809 h 454926"/>
                    <a:gd name="connsiteX8" fmla="*/ 339962 w 515902"/>
                    <a:gd name="connsiteY8" fmla="*/ 135434 h 454926"/>
                    <a:gd name="connsiteX9" fmla="*/ 451087 w 515902"/>
                    <a:gd name="connsiteY9" fmla="*/ 157659 h 454926"/>
                    <a:gd name="connsiteX10" fmla="*/ 514587 w 515902"/>
                    <a:gd name="connsiteY10" fmla="*/ 227509 h 454926"/>
                    <a:gd name="connsiteX11" fmla="*/ 511412 w 515902"/>
                    <a:gd name="connsiteY11" fmla="*/ 449759 h 454926"/>
                    <a:gd name="connsiteX12" fmla="*/ 9762 w 515902"/>
                    <a:gd name="connsiteY12" fmla="*/ 443409 h 454926"/>
                    <a:gd name="connsiteX0" fmla="*/ 9762 w 515902"/>
                    <a:gd name="connsiteY0" fmla="*/ 443409 h 454926"/>
                    <a:gd name="connsiteX1" fmla="*/ 6587 w 515902"/>
                    <a:gd name="connsiteY1" fmla="*/ 217984 h 454926"/>
                    <a:gd name="connsiteX2" fmla="*/ 76437 w 515902"/>
                    <a:gd name="connsiteY2" fmla="*/ 154484 h 454926"/>
                    <a:gd name="connsiteX3" fmla="*/ 178037 w 515902"/>
                    <a:gd name="connsiteY3" fmla="*/ 148134 h 454926"/>
                    <a:gd name="connsiteX4" fmla="*/ 193912 w 515902"/>
                    <a:gd name="connsiteY4" fmla="*/ 90984 h 454926"/>
                    <a:gd name="connsiteX5" fmla="*/ 206612 w 515902"/>
                    <a:gd name="connsiteY5" fmla="*/ 11609 h 454926"/>
                    <a:gd name="connsiteX6" fmla="*/ 317737 w 515902"/>
                    <a:gd name="connsiteY6" fmla="*/ 8434 h 454926"/>
                    <a:gd name="connsiteX7" fmla="*/ 317737 w 515902"/>
                    <a:gd name="connsiteY7" fmla="*/ 87809 h 454926"/>
                    <a:gd name="connsiteX8" fmla="*/ 339962 w 515902"/>
                    <a:gd name="connsiteY8" fmla="*/ 135434 h 454926"/>
                    <a:gd name="connsiteX9" fmla="*/ 451087 w 515902"/>
                    <a:gd name="connsiteY9" fmla="*/ 157659 h 454926"/>
                    <a:gd name="connsiteX10" fmla="*/ 514587 w 515902"/>
                    <a:gd name="connsiteY10" fmla="*/ 227509 h 454926"/>
                    <a:gd name="connsiteX11" fmla="*/ 511412 w 515902"/>
                    <a:gd name="connsiteY11" fmla="*/ 449759 h 454926"/>
                    <a:gd name="connsiteX12" fmla="*/ 9762 w 515902"/>
                    <a:gd name="connsiteY12" fmla="*/ 443409 h 454926"/>
                    <a:gd name="connsiteX0" fmla="*/ 9762 w 515902"/>
                    <a:gd name="connsiteY0" fmla="*/ 443409 h 454926"/>
                    <a:gd name="connsiteX1" fmla="*/ 6587 w 515902"/>
                    <a:gd name="connsiteY1" fmla="*/ 217984 h 454926"/>
                    <a:gd name="connsiteX2" fmla="*/ 76437 w 515902"/>
                    <a:gd name="connsiteY2" fmla="*/ 154484 h 454926"/>
                    <a:gd name="connsiteX3" fmla="*/ 193912 w 515902"/>
                    <a:gd name="connsiteY3" fmla="*/ 90984 h 454926"/>
                    <a:gd name="connsiteX4" fmla="*/ 206612 w 515902"/>
                    <a:gd name="connsiteY4" fmla="*/ 11609 h 454926"/>
                    <a:gd name="connsiteX5" fmla="*/ 317737 w 515902"/>
                    <a:gd name="connsiteY5" fmla="*/ 8434 h 454926"/>
                    <a:gd name="connsiteX6" fmla="*/ 317737 w 515902"/>
                    <a:gd name="connsiteY6" fmla="*/ 87809 h 454926"/>
                    <a:gd name="connsiteX7" fmla="*/ 339962 w 515902"/>
                    <a:gd name="connsiteY7" fmla="*/ 135434 h 454926"/>
                    <a:gd name="connsiteX8" fmla="*/ 451087 w 515902"/>
                    <a:gd name="connsiteY8" fmla="*/ 157659 h 454926"/>
                    <a:gd name="connsiteX9" fmla="*/ 514587 w 515902"/>
                    <a:gd name="connsiteY9" fmla="*/ 227509 h 454926"/>
                    <a:gd name="connsiteX10" fmla="*/ 511412 w 515902"/>
                    <a:gd name="connsiteY10" fmla="*/ 449759 h 454926"/>
                    <a:gd name="connsiteX11" fmla="*/ 9762 w 515902"/>
                    <a:gd name="connsiteY11" fmla="*/ 443409 h 454926"/>
                    <a:gd name="connsiteX0" fmla="*/ 9762 w 515902"/>
                    <a:gd name="connsiteY0" fmla="*/ 446099 h 457616"/>
                    <a:gd name="connsiteX1" fmla="*/ 6587 w 515902"/>
                    <a:gd name="connsiteY1" fmla="*/ 220674 h 457616"/>
                    <a:gd name="connsiteX2" fmla="*/ 76437 w 515902"/>
                    <a:gd name="connsiteY2" fmla="*/ 157174 h 457616"/>
                    <a:gd name="connsiteX3" fmla="*/ 190737 w 515902"/>
                    <a:gd name="connsiteY3" fmla="*/ 138124 h 457616"/>
                    <a:gd name="connsiteX4" fmla="*/ 206612 w 515902"/>
                    <a:gd name="connsiteY4" fmla="*/ 14299 h 457616"/>
                    <a:gd name="connsiteX5" fmla="*/ 317737 w 515902"/>
                    <a:gd name="connsiteY5" fmla="*/ 11124 h 457616"/>
                    <a:gd name="connsiteX6" fmla="*/ 317737 w 515902"/>
                    <a:gd name="connsiteY6" fmla="*/ 90499 h 457616"/>
                    <a:gd name="connsiteX7" fmla="*/ 339962 w 515902"/>
                    <a:gd name="connsiteY7" fmla="*/ 138124 h 457616"/>
                    <a:gd name="connsiteX8" fmla="*/ 451087 w 515902"/>
                    <a:gd name="connsiteY8" fmla="*/ 160349 h 457616"/>
                    <a:gd name="connsiteX9" fmla="*/ 514587 w 515902"/>
                    <a:gd name="connsiteY9" fmla="*/ 230199 h 457616"/>
                    <a:gd name="connsiteX10" fmla="*/ 511412 w 515902"/>
                    <a:gd name="connsiteY10" fmla="*/ 452449 h 457616"/>
                    <a:gd name="connsiteX11" fmla="*/ 9762 w 515902"/>
                    <a:gd name="connsiteY11" fmla="*/ 446099 h 457616"/>
                    <a:gd name="connsiteX0" fmla="*/ 9762 w 515902"/>
                    <a:gd name="connsiteY0" fmla="*/ 446099 h 457616"/>
                    <a:gd name="connsiteX1" fmla="*/ 6587 w 515902"/>
                    <a:gd name="connsiteY1" fmla="*/ 220674 h 457616"/>
                    <a:gd name="connsiteX2" fmla="*/ 76437 w 515902"/>
                    <a:gd name="connsiteY2" fmla="*/ 157174 h 457616"/>
                    <a:gd name="connsiteX3" fmla="*/ 190737 w 515902"/>
                    <a:gd name="connsiteY3" fmla="*/ 138124 h 457616"/>
                    <a:gd name="connsiteX4" fmla="*/ 206612 w 515902"/>
                    <a:gd name="connsiteY4" fmla="*/ 14299 h 457616"/>
                    <a:gd name="connsiteX5" fmla="*/ 317737 w 515902"/>
                    <a:gd name="connsiteY5" fmla="*/ 11124 h 457616"/>
                    <a:gd name="connsiteX6" fmla="*/ 317737 w 515902"/>
                    <a:gd name="connsiteY6" fmla="*/ 90499 h 457616"/>
                    <a:gd name="connsiteX7" fmla="*/ 451087 w 515902"/>
                    <a:gd name="connsiteY7" fmla="*/ 160349 h 457616"/>
                    <a:gd name="connsiteX8" fmla="*/ 514587 w 515902"/>
                    <a:gd name="connsiteY8" fmla="*/ 230199 h 457616"/>
                    <a:gd name="connsiteX9" fmla="*/ 511412 w 515902"/>
                    <a:gd name="connsiteY9" fmla="*/ 452449 h 457616"/>
                    <a:gd name="connsiteX10" fmla="*/ 9762 w 515902"/>
                    <a:gd name="connsiteY10" fmla="*/ 446099 h 457616"/>
                    <a:gd name="connsiteX0" fmla="*/ 9762 w 515902"/>
                    <a:gd name="connsiteY0" fmla="*/ 447482 h 458999"/>
                    <a:gd name="connsiteX1" fmla="*/ 6587 w 515902"/>
                    <a:gd name="connsiteY1" fmla="*/ 222057 h 458999"/>
                    <a:gd name="connsiteX2" fmla="*/ 76437 w 515902"/>
                    <a:gd name="connsiteY2" fmla="*/ 158557 h 458999"/>
                    <a:gd name="connsiteX3" fmla="*/ 190737 w 515902"/>
                    <a:gd name="connsiteY3" fmla="*/ 139507 h 458999"/>
                    <a:gd name="connsiteX4" fmla="*/ 206612 w 515902"/>
                    <a:gd name="connsiteY4" fmla="*/ 15682 h 458999"/>
                    <a:gd name="connsiteX5" fmla="*/ 317737 w 515902"/>
                    <a:gd name="connsiteY5" fmla="*/ 12507 h 458999"/>
                    <a:gd name="connsiteX6" fmla="*/ 330437 w 515902"/>
                    <a:gd name="connsiteY6" fmla="*/ 114107 h 458999"/>
                    <a:gd name="connsiteX7" fmla="*/ 451087 w 515902"/>
                    <a:gd name="connsiteY7" fmla="*/ 161732 h 458999"/>
                    <a:gd name="connsiteX8" fmla="*/ 514587 w 515902"/>
                    <a:gd name="connsiteY8" fmla="*/ 231582 h 458999"/>
                    <a:gd name="connsiteX9" fmla="*/ 511412 w 515902"/>
                    <a:gd name="connsiteY9" fmla="*/ 453832 h 458999"/>
                    <a:gd name="connsiteX10" fmla="*/ 9762 w 515902"/>
                    <a:gd name="connsiteY10" fmla="*/ 447482 h 458999"/>
                    <a:gd name="connsiteX0" fmla="*/ 9762 w 515902"/>
                    <a:gd name="connsiteY0" fmla="*/ 446348 h 457865"/>
                    <a:gd name="connsiteX1" fmla="*/ 6587 w 515902"/>
                    <a:gd name="connsiteY1" fmla="*/ 220923 h 457865"/>
                    <a:gd name="connsiteX2" fmla="*/ 76437 w 515902"/>
                    <a:gd name="connsiteY2" fmla="*/ 157423 h 457865"/>
                    <a:gd name="connsiteX3" fmla="*/ 200262 w 515902"/>
                    <a:gd name="connsiteY3" fmla="*/ 119323 h 457865"/>
                    <a:gd name="connsiteX4" fmla="*/ 206612 w 515902"/>
                    <a:gd name="connsiteY4" fmla="*/ 14548 h 457865"/>
                    <a:gd name="connsiteX5" fmla="*/ 317737 w 515902"/>
                    <a:gd name="connsiteY5" fmla="*/ 11373 h 457865"/>
                    <a:gd name="connsiteX6" fmla="*/ 330437 w 515902"/>
                    <a:gd name="connsiteY6" fmla="*/ 112973 h 457865"/>
                    <a:gd name="connsiteX7" fmla="*/ 451087 w 515902"/>
                    <a:gd name="connsiteY7" fmla="*/ 160598 h 457865"/>
                    <a:gd name="connsiteX8" fmla="*/ 514587 w 515902"/>
                    <a:gd name="connsiteY8" fmla="*/ 230448 h 457865"/>
                    <a:gd name="connsiteX9" fmla="*/ 511412 w 515902"/>
                    <a:gd name="connsiteY9" fmla="*/ 452698 h 457865"/>
                    <a:gd name="connsiteX10" fmla="*/ 9762 w 515902"/>
                    <a:gd name="connsiteY10" fmla="*/ 446348 h 457865"/>
                    <a:gd name="connsiteX0" fmla="*/ 8840 w 514980"/>
                    <a:gd name="connsiteY0" fmla="*/ 446348 h 457865"/>
                    <a:gd name="connsiteX1" fmla="*/ 5665 w 514980"/>
                    <a:gd name="connsiteY1" fmla="*/ 220923 h 457865"/>
                    <a:gd name="connsiteX2" fmla="*/ 62412 w 514980"/>
                    <a:gd name="connsiteY2" fmla="*/ 133367 h 457865"/>
                    <a:gd name="connsiteX3" fmla="*/ 199340 w 514980"/>
                    <a:gd name="connsiteY3" fmla="*/ 119323 h 457865"/>
                    <a:gd name="connsiteX4" fmla="*/ 205690 w 514980"/>
                    <a:gd name="connsiteY4" fmla="*/ 14548 h 457865"/>
                    <a:gd name="connsiteX5" fmla="*/ 316815 w 514980"/>
                    <a:gd name="connsiteY5" fmla="*/ 11373 h 457865"/>
                    <a:gd name="connsiteX6" fmla="*/ 329515 w 514980"/>
                    <a:gd name="connsiteY6" fmla="*/ 112973 h 457865"/>
                    <a:gd name="connsiteX7" fmla="*/ 450165 w 514980"/>
                    <a:gd name="connsiteY7" fmla="*/ 160598 h 457865"/>
                    <a:gd name="connsiteX8" fmla="*/ 513665 w 514980"/>
                    <a:gd name="connsiteY8" fmla="*/ 230448 h 457865"/>
                    <a:gd name="connsiteX9" fmla="*/ 510490 w 514980"/>
                    <a:gd name="connsiteY9" fmla="*/ 452698 h 457865"/>
                    <a:gd name="connsiteX10" fmla="*/ 8840 w 514980"/>
                    <a:gd name="connsiteY10" fmla="*/ 446348 h 457865"/>
                    <a:gd name="connsiteX0" fmla="*/ 8840 w 514980"/>
                    <a:gd name="connsiteY0" fmla="*/ 445015 h 456532"/>
                    <a:gd name="connsiteX1" fmla="*/ 5665 w 514980"/>
                    <a:gd name="connsiteY1" fmla="*/ 219590 h 456532"/>
                    <a:gd name="connsiteX2" fmla="*/ 62412 w 514980"/>
                    <a:gd name="connsiteY2" fmla="*/ 132034 h 456532"/>
                    <a:gd name="connsiteX3" fmla="*/ 186237 w 514980"/>
                    <a:gd name="connsiteY3" fmla="*/ 93934 h 456532"/>
                    <a:gd name="connsiteX4" fmla="*/ 205690 w 514980"/>
                    <a:gd name="connsiteY4" fmla="*/ 13215 h 456532"/>
                    <a:gd name="connsiteX5" fmla="*/ 316815 w 514980"/>
                    <a:gd name="connsiteY5" fmla="*/ 10040 h 456532"/>
                    <a:gd name="connsiteX6" fmla="*/ 329515 w 514980"/>
                    <a:gd name="connsiteY6" fmla="*/ 111640 h 456532"/>
                    <a:gd name="connsiteX7" fmla="*/ 450165 w 514980"/>
                    <a:gd name="connsiteY7" fmla="*/ 159265 h 456532"/>
                    <a:gd name="connsiteX8" fmla="*/ 513665 w 514980"/>
                    <a:gd name="connsiteY8" fmla="*/ 229115 h 456532"/>
                    <a:gd name="connsiteX9" fmla="*/ 510490 w 514980"/>
                    <a:gd name="connsiteY9" fmla="*/ 451365 h 456532"/>
                    <a:gd name="connsiteX10" fmla="*/ 8840 w 514980"/>
                    <a:gd name="connsiteY10" fmla="*/ 445015 h 456532"/>
                    <a:gd name="connsiteX0" fmla="*/ 8840 w 514980"/>
                    <a:gd name="connsiteY0" fmla="*/ 445015 h 456532"/>
                    <a:gd name="connsiteX1" fmla="*/ 5665 w 514980"/>
                    <a:gd name="connsiteY1" fmla="*/ 219590 h 456532"/>
                    <a:gd name="connsiteX2" fmla="*/ 62412 w 514980"/>
                    <a:gd name="connsiteY2" fmla="*/ 132034 h 456532"/>
                    <a:gd name="connsiteX3" fmla="*/ 186237 w 514980"/>
                    <a:gd name="connsiteY3" fmla="*/ 93934 h 456532"/>
                    <a:gd name="connsiteX4" fmla="*/ 205690 w 514980"/>
                    <a:gd name="connsiteY4" fmla="*/ 13215 h 456532"/>
                    <a:gd name="connsiteX5" fmla="*/ 316815 w 514980"/>
                    <a:gd name="connsiteY5" fmla="*/ 10040 h 456532"/>
                    <a:gd name="connsiteX6" fmla="*/ 329515 w 514980"/>
                    <a:gd name="connsiteY6" fmla="*/ 111640 h 456532"/>
                    <a:gd name="connsiteX7" fmla="*/ 461084 w 514980"/>
                    <a:gd name="connsiteY7" fmla="*/ 146143 h 456532"/>
                    <a:gd name="connsiteX8" fmla="*/ 513665 w 514980"/>
                    <a:gd name="connsiteY8" fmla="*/ 229115 h 456532"/>
                    <a:gd name="connsiteX9" fmla="*/ 510490 w 514980"/>
                    <a:gd name="connsiteY9" fmla="*/ 451365 h 456532"/>
                    <a:gd name="connsiteX10" fmla="*/ 8840 w 514980"/>
                    <a:gd name="connsiteY10" fmla="*/ 445015 h 456532"/>
                    <a:gd name="connsiteX0" fmla="*/ 8840 w 514980"/>
                    <a:gd name="connsiteY0" fmla="*/ 444105 h 455622"/>
                    <a:gd name="connsiteX1" fmla="*/ 5665 w 514980"/>
                    <a:gd name="connsiteY1" fmla="*/ 218680 h 455622"/>
                    <a:gd name="connsiteX2" fmla="*/ 62412 w 514980"/>
                    <a:gd name="connsiteY2" fmla="*/ 131124 h 455622"/>
                    <a:gd name="connsiteX3" fmla="*/ 186237 w 514980"/>
                    <a:gd name="connsiteY3" fmla="*/ 93024 h 455622"/>
                    <a:gd name="connsiteX4" fmla="*/ 205690 w 514980"/>
                    <a:gd name="connsiteY4" fmla="*/ 12305 h 455622"/>
                    <a:gd name="connsiteX5" fmla="*/ 316815 w 514980"/>
                    <a:gd name="connsiteY5" fmla="*/ 9130 h 455622"/>
                    <a:gd name="connsiteX6" fmla="*/ 351353 w 514980"/>
                    <a:gd name="connsiteY6" fmla="*/ 97608 h 455622"/>
                    <a:gd name="connsiteX7" fmla="*/ 461084 w 514980"/>
                    <a:gd name="connsiteY7" fmla="*/ 145233 h 455622"/>
                    <a:gd name="connsiteX8" fmla="*/ 513665 w 514980"/>
                    <a:gd name="connsiteY8" fmla="*/ 228205 h 455622"/>
                    <a:gd name="connsiteX9" fmla="*/ 510490 w 514980"/>
                    <a:gd name="connsiteY9" fmla="*/ 450455 h 455622"/>
                    <a:gd name="connsiteX10" fmla="*/ 8840 w 514980"/>
                    <a:gd name="connsiteY10" fmla="*/ 444105 h 455622"/>
                    <a:gd name="connsiteX0" fmla="*/ 8840 w 514980"/>
                    <a:gd name="connsiteY0" fmla="*/ 442755 h 454272"/>
                    <a:gd name="connsiteX1" fmla="*/ 5665 w 514980"/>
                    <a:gd name="connsiteY1" fmla="*/ 217330 h 454272"/>
                    <a:gd name="connsiteX2" fmla="*/ 62412 w 514980"/>
                    <a:gd name="connsiteY2" fmla="*/ 129774 h 454272"/>
                    <a:gd name="connsiteX3" fmla="*/ 186237 w 514980"/>
                    <a:gd name="connsiteY3" fmla="*/ 91674 h 454272"/>
                    <a:gd name="connsiteX4" fmla="*/ 205690 w 514980"/>
                    <a:gd name="connsiteY4" fmla="*/ 10955 h 454272"/>
                    <a:gd name="connsiteX5" fmla="*/ 325550 w 514980"/>
                    <a:gd name="connsiteY5" fmla="*/ 9967 h 454272"/>
                    <a:gd name="connsiteX6" fmla="*/ 351353 w 514980"/>
                    <a:gd name="connsiteY6" fmla="*/ 96258 h 454272"/>
                    <a:gd name="connsiteX7" fmla="*/ 461084 w 514980"/>
                    <a:gd name="connsiteY7" fmla="*/ 143883 h 454272"/>
                    <a:gd name="connsiteX8" fmla="*/ 513665 w 514980"/>
                    <a:gd name="connsiteY8" fmla="*/ 226855 h 454272"/>
                    <a:gd name="connsiteX9" fmla="*/ 510490 w 514980"/>
                    <a:gd name="connsiteY9" fmla="*/ 449105 h 454272"/>
                    <a:gd name="connsiteX10" fmla="*/ 8840 w 514980"/>
                    <a:gd name="connsiteY10" fmla="*/ 442755 h 454272"/>
                    <a:gd name="connsiteX0" fmla="*/ 8840 w 514980"/>
                    <a:gd name="connsiteY0" fmla="*/ 442755 h 454272"/>
                    <a:gd name="connsiteX1" fmla="*/ 5665 w 514980"/>
                    <a:gd name="connsiteY1" fmla="*/ 217330 h 454272"/>
                    <a:gd name="connsiteX2" fmla="*/ 62412 w 514980"/>
                    <a:gd name="connsiteY2" fmla="*/ 129774 h 454272"/>
                    <a:gd name="connsiteX3" fmla="*/ 186237 w 514980"/>
                    <a:gd name="connsiteY3" fmla="*/ 91674 h 454272"/>
                    <a:gd name="connsiteX4" fmla="*/ 205690 w 514980"/>
                    <a:gd name="connsiteY4" fmla="*/ 10955 h 454272"/>
                    <a:gd name="connsiteX5" fmla="*/ 325550 w 514980"/>
                    <a:gd name="connsiteY5" fmla="*/ 9967 h 454272"/>
                    <a:gd name="connsiteX6" fmla="*/ 351353 w 514980"/>
                    <a:gd name="connsiteY6" fmla="*/ 96258 h 454272"/>
                    <a:gd name="connsiteX7" fmla="*/ 461084 w 514980"/>
                    <a:gd name="connsiteY7" fmla="*/ 143883 h 454272"/>
                    <a:gd name="connsiteX8" fmla="*/ 513665 w 514980"/>
                    <a:gd name="connsiteY8" fmla="*/ 226855 h 454272"/>
                    <a:gd name="connsiteX9" fmla="*/ 510490 w 514980"/>
                    <a:gd name="connsiteY9" fmla="*/ 449105 h 454272"/>
                    <a:gd name="connsiteX10" fmla="*/ 8840 w 514980"/>
                    <a:gd name="connsiteY10" fmla="*/ 442755 h 454272"/>
                    <a:gd name="connsiteX0" fmla="*/ 8840 w 514980"/>
                    <a:gd name="connsiteY0" fmla="*/ 442755 h 454272"/>
                    <a:gd name="connsiteX1" fmla="*/ 5665 w 514980"/>
                    <a:gd name="connsiteY1" fmla="*/ 217330 h 454272"/>
                    <a:gd name="connsiteX2" fmla="*/ 62412 w 514980"/>
                    <a:gd name="connsiteY2" fmla="*/ 129774 h 454272"/>
                    <a:gd name="connsiteX3" fmla="*/ 186237 w 514980"/>
                    <a:gd name="connsiteY3" fmla="*/ 91674 h 454272"/>
                    <a:gd name="connsiteX4" fmla="*/ 205690 w 514980"/>
                    <a:gd name="connsiteY4" fmla="*/ 10955 h 454272"/>
                    <a:gd name="connsiteX5" fmla="*/ 325550 w 514980"/>
                    <a:gd name="connsiteY5" fmla="*/ 9967 h 454272"/>
                    <a:gd name="connsiteX6" fmla="*/ 351353 w 514980"/>
                    <a:gd name="connsiteY6" fmla="*/ 96258 h 454272"/>
                    <a:gd name="connsiteX7" fmla="*/ 461084 w 514980"/>
                    <a:gd name="connsiteY7" fmla="*/ 143883 h 454272"/>
                    <a:gd name="connsiteX8" fmla="*/ 513665 w 514980"/>
                    <a:gd name="connsiteY8" fmla="*/ 226855 h 454272"/>
                    <a:gd name="connsiteX9" fmla="*/ 510490 w 514980"/>
                    <a:gd name="connsiteY9" fmla="*/ 449105 h 454272"/>
                    <a:gd name="connsiteX10" fmla="*/ 8840 w 514980"/>
                    <a:gd name="connsiteY10" fmla="*/ 442755 h 454272"/>
                    <a:gd name="connsiteX0" fmla="*/ 8840 w 514980"/>
                    <a:gd name="connsiteY0" fmla="*/ 442755 h 454272"/>
                    <a:gd name="connsiteX1" fmla="*/ 5665 w 514980"/>
                    <a:gd name="connsiteY1" fmla="*/ 217330 h 454272"/>
                    <a:gd name="connsiteX2" fmla="*/ 62412 w 514980"/>
                    <a:gd name="connsiteY2" fmla="*/ 129774 h 454272"/>
                    <a:gd name="connsiteX3" fmla="*/ 186237 w 514980"/>
                    <a:gd name="connsiteY3" fmla="*/ 91674 h 454272"/>
                    <a:gd name="connsiteX4" fmla="*/ 205690 w 514980"/>
                    <a:gd name="connsiteY4" fmla="*/ 10955 h 454272"/>
                    <a:gd name="connsiteX5" fmla="*/ 325550 w 514980"/>
                    <a:gd name="connsiteY5" fmla="*/ 9967 h 454272"/>
                    <a:gd name="connsiteX6" fmla="*/ 351353 w 514980"/>
                    <a:gd name="connsiteY6" fmla="*/ 96258 h 454272"/>
                    <a:gd name="connsiteX7" fmla="*/ 461084 w 514980"/>
                    <a:gd name="connsiteY7" fmla="*/ 143883 h 454272"/>
                    <a:gd name="connsiteX8" fmla="*/ 513665 w 514980"/>
                    <a:gd name="connsiteY8" fmla="*/ 226855 h 454272"/>
                    <a:gd name="connsiteX9" fmla="*/ 510490 w 514980"/>
                    <a:gd name="connsiteY9" fmla="*/ 449105 h 454272"/>
                    <a:gd name="connsiteX10" fmla="*/ 8840 w 514980"/>
                    <a:gd name="connsiteY10" fmla="*/ 442755 h 454272"/>
                    <a:gd name="connsiteX0" fmla="*/ 8840 w 514980"/>
                    <a:gd name="connsiteY0" fmla="*/ 436996 h 448513"/>
                    <a:gd name="connsiteX1" fmla="*/ 5665 w 514980"/>
                    <a:gd name="connsiteY1" fmla="*/ 211571 h 448513"/>
                    <a:gd name="connsiteX2" fmla="*/ 62412 w 514980"/>
                    <a:gd name="connsiteY2" fmla="*/ 124015 h 448513"/>
                    <a:gd name="connsiteX3" fmla="*/ 186237 w 514980"/>
                    <a:gd name="connsiteY3" fmla="*/ 85915 h 448513"/>
                    <a:gd name="connsiteX4" fmla="*/ 205690 w 514980"/>
                    <a:gd name="connsiteY4" fmla="*/ 5196 h 448513"/>
                    <a:gd name="connsiteX5" fmla="*/ 325550 w 514980"/>
                    <a:gd name="connsiteY5" fmla="*/ 4208 h 448513"/>
                    <a:gd name="connsiteX6" fmla="*/ 351353 w 514980"/>
                    <a:gd name="connsiteY6" fmla="*/ 90499 h 448513"/>
                    <a:gd name="connsiteX7" fmla="*/ 461084 w 514980"/>
                    <a:gd name="connsiteY7" fmla="*/ 138124 h 448513"/>
                    <a:gd name="connsiteX8" fmla="*/ 513665 w 514980"/>
                    <a:gd name="connsiteY8" fmla="*/ 221096 h 448513"/>
                    <a:gd name="connsiteX9" fmla="*/ 510490 w 514980"/>
                    <a:gd name="connsiteY9" fmla="*/ 443346 h 448513"/>
                    <a:gd name="connsiteX10" fmla="*/ 8840 w 514980"/>
                    <a:gd name="connsiteY10" fmla="*/ 436996 h 448513"/>
                    <a:gd name="connsiteX0" fmla="*/ 8840 w 514980"/>
                    <a:gd name="connsiteY0" fmla="*/ 436996 h 448513"/>
                    <a:gd name="connsiteX1" fmla="*/ 5665 w 514980"/>
                    <a:gd name="connsiteY1" fmla="*/ 211571 h 448513"/>
                    <a:gd name="connsiteX2" fmla="*/ 62412 w 514980"/>
                    <a:gd name="connsiteY2" fmla="*/ 124015 h 448513"/>
                    <a:gd name="connsiteX3" fmla="*/ 186237 w 514980"/>
                    <a:gd name="connsiteY3" fmla="*/ 85915 h 448513"/>
                    <a:gd name="connsiteX4" fmla="*/ 205690 w 514980"/>
                    <a:gd name="connsiteY4" fmla="*/ 5196 h 448513"/>
                    <a:gd name="connsiteX5" fmla="*/ 325550 w 514980"/>
                    <a:gd name="connsiteY5" fmla="*/ 4208 h 448513"/>
                    <a:gd name="connsiteX6" fmla="*/ 351353 w 514980"/>
                    <a:gd name="connsiteY6" fmla="*/ 90499 h 448513"/>
                    <a:gd name="connsiteX7" fmla="*/ 461084 w 514980"/>
                    <a:gd name="connsiteY7" fmla="*/ 138124 h 448513"/>
                    <a:gd name="connsiteX8" fmla="*/ 513665 w 514980"/>
                    <a:gd name="connsiteY8" fmla="*/ 221096 h 448513"/>
                    <a:gd name="connsiteX9" fmla="*/ 510490 w 514980"/>
                    <a:gd name="connsiteY9" fmla="*/ 443346 h 448513"/>
                    <a:gd name="connsiteX10" fmla="*/ 8840 w 514980"/>
                    <a:gd name="connsiteY10" fmla="*/ 436996 h 448513"/>
                    <a:gd name="connsiteX0" fmla="*/ 8840 w 514980"/>
                    <a:gd name="connsiteY0" fmla="*/ 436996 h 448513"/>
                    <a:gd name="connsiteX1" fmla="*/ 5665 w 514980"/>
                    <a:gd name="connsiteY1" fmla="*/ 211571 h 448513"/>
                    <a:gd name="connsiteX2" fmla="*/ 62412 w 514980"/>
                    <a:gd name="connsiteY2" fmla="*/ 124015 h 448513"/>
                    <a:gd name="connsiteX3" fmla="*/ 186237 w 514980"/>
                    <a:gd name="connsiteY3" fmla="*/ 85915 h 448513"/>
                    <a:gd name="connsiteX4" fmla="*/ 205690 w 514980"/>
                    <a:gd name="connsiteY4" fmla="*/ 5196 h 448513"/>
                    <a:gd name="connsiteX5" fmla="*/ 325550 w 514980"/>
                    <a:gd name="connsiteY5" fmla="*/ 4208 h 448513"/>
                    <a:gd name="connsiteX6" fmla="*/ 351353 w 514980"/>
                    <a:gd name="connsiteY6" fmla="*/ 90499 h 448513"/>
                    <a:gd name="connsiteX7" fmla="*/ 461084 w 514980"/>
                    <a:gd name="connsiteY7" fmla="*/ 138124 h 448513"/>
                    <a:gd name="connsiteX8" fmla="*/ 513665 w 514980"/>
                    <a:gd name="connsiteY8" fmla="*/ 221096 h 448513"/>
                    <a:gd name="connsiteX9" fmla="*/ 510490 w 514980"/>
                    <a:gd name="connsiteY9" fmla="*/ 443346 h 448513"/>
                    <a:gd name="connsiteX10" fmla="*/ 8840 w 514980"/>
                    <a:gd name="connsiteY10" fmla="*/ 436996 h 448513"/>
                    <a:gd name="connsiteX0" fmla="*/ 8840 w 514980"/>
                    <a:gd name="connsiteY0" fmla="*/ 436996 h 448513"/>
                    <a:gd name="connsiteX1" fmla="*/ 5665 w 514980"/>
                    <a:gd name="connsiteY1" fmla="*/ 211571 h 448513"/>
                    <a:gd name="connsiteX2" fmla="*/ 62412 w 514980"/>
                    <a:gd name="connsiteY2" fmla="*/ 124015 h 448513"/>
                    <a:gd name="connsiteX3" fmla="*/ 168766 w 514980"/>
                    <a:gd name="connsiteY3" fmla="*/ 88102 h 448513"/>
                    <a:gd name="connsiteX4" fmla="*/ 205690 w 514980"/>
                    <a:gd name="connsiteY4" fmla="*/ 5196 h 448513"/>
                    <a:gd name="connsiteX5" fmla="*/ 325550 w 514980"/>
                    <a:gd name="connsiteY5" fmla="*/ 4208 h 448513"/>
                    <a:gd name="connsiteX6" fmla="*/ 351353 w 514980"/>
                    <a:gd name="connsiteY6" fmla="*/ 90499 h 448513"/>
                    <a:gd name="connsiteX7" fmla="*/ 461084 w 514980"/>
                    <a:gd name="connsiteY7" fmla="*/ 138124 h 448513"/>
                    <a:gd name="connsiteX8" fmla="*/ 513665 w 514980"/>
                    <a:gd name="connsiteY8" fmla="*/ 221096 h 448513"/>
                    <a:gd name="connsiteX9" fmla="*/ 510490 w 514980"/>
                    <a:gd name="connsiteY9" fmla="*/ 443346 h 448513"/>
                    <a:gd name="connsiteX10" fmla="*/ 8840 w 514980"/>
                    <a:gd name="connsiteY10" fmla="*/ 436996 h 448513"/>
                    <a:gd name="connsiteX0" fmla="*/ 8840 w 514980"/>
                    <a:gd name="connsiteY0" fmla="*/ 440628 h 452145"/>
                    <a:gd name="connsiteX1" fmla="*/ 5665 w 514980"/>
                    <a:gd name="connsiteY1" fmla="*/ 215203 h 452145"/>
                    <a:gd name="connsiteX2" fmla="*/ 62412 w 514980"/>
                    <a:gd name="connsiteY2" fmla="*/ 127647 h 452145"/>
                    <a:gd name="connsiteX3" fmla="*/ 168766 w 514980"/>
                    <a:gd name="connsiteY3" fmla="*/ 91734 h 452145"/>
                    <a:gd name="connsiteX4" fmla="*/ 179484 w 514980"/>
                    <a:gd name="connsiteY4" fmla="*/ 4454 h 452145"/>
                    <a:gd name="connsiteX5" fmla="*/ 325550 w 514980"/>
                    <a:gd name="connsiteY5" fmla="*/ 7840 h 452145"/>
                    <a:gd name="connsiteX6" fmla="*/ 351353 w 514980"/>
                    <a:gd name="connsiteY6" fmla="*/ 94131 h 452145"/>
                    <a:gd name="connsiteX7" fmla="*/ 461084 w 514980"/>
                    <a:gd name="connsiteY7" fmla="*/ 141756 h 452145"/>
                    <a:gd name="connsiteX8" fmla="*/ 513665 w 514980"/>
                    <a:gd name="connsiteY8" fmla="*/ 224728 h 452145"/>
                    <a:gd name="connsiteX9" fmla="*/ 510490 w 514980"/>
                    <a:gd name="connsiteY9" fmla="*/ 446978 h 452145"/>
                    <a:gd name="connsiteX10" fmla="*/ 8840 w 514980"/>
                    <a:gd name="connsiteY10" fmla="*/ 440628 h 452145"/>
                    <a:gd name="connsiteX0" fmla="*/ 8840 w 514980"/>
                    <a:gd name="connsiteY0" fmla="*/ 442422 h 453939"/>
                    <a:gd name="connsiteX1" fmla="*/ 5665 w 514980"/>
                    <a:gd name="connsiteY1" fmla="*/ 216997 h 453939"/>
                    <a:gd name="connsiteX2" fmla="*/ 62412 w 514980"/>
                    <a:gd name="connsiteY2" fmla="*/ 129441 h 453939"/>
                    <a:gd name="connsiteX3" fmla="*/ 168766 w 514980"/>
                    <a:gd name="connsiteY3" fmla="*/ 93528 h 453939"/>
                    <a:gd name="connsiteX4" fmla="*/ 179484 w 514980"/>
                    <a:gd name="connsiteY4" fmla="*/ 6248 h 453939"/>
                    <a:gd name="connsiteX5" fmla="*/ 351756 w 514980"/>
                    <a:gd name="connsiteY5" fmla="*/ 886 h 453939"/>
                    <a:gd name="connsiteX6" fmla="*/ 351353 w 514980"/>
                    <a:gd name="connsiteY6" fmla="*/ 95925 h 453939"/>
                    <a:gd name="connsiteX7" fmla="*/ 461084 w 514980"/>
                    <a:gd name="connsiteY7" fmla="*/ 143550 h 453939"/>
                    <a:gd name="connsiteX8" fmla="*/ 513665 w 514980"/>
                    <a:gd name="connsiteY8" fmla="*/ 226522 h 453939"/>
                    <a:gd name="connsiteX9" fmla="*/ 510490 w 514980"/>
                    <a:gd name="connsiteY9" fmla="*/ 448772 h 453939"/>
                    <a:gd name="connsiteX10" fmla="*/ 8840 w 514980"/>
                    <a:gd name="connsiteY10" fmla="*/ 442422 h 453939"/>
                    <a:gd name="connsiteX0" fmla="*/ 8840 w 514980"/>
                    <a:gd name="connsiteY0" fmla="*/ 442422 h 453939"/>
                    <a:gd name="connsiteX1" fmla="*/ 5665 w 514980"/>
                    <a:gd name="connsiteY1" fmla="*/ 216997 h 453939"/>
                    <a:gd name="connsiteX2" fmla="*/ 62412 w 514980"/>
                    <a:gd name="connsiteY2" fmla="*/ 129441 h 453939"/>
                    <a:gd name="connsiteX3" fmla="*/ 168766 w 514980"/>
                    <a:gd name="connsiteY3" fmla="*/ 93528 h 453939"/>
                    <a:gd name="connsiteX4" fmla="*/ 179484 w 514980"/>
                    <a:gd name="connsiteY4" fmla="*/ 6248 h 453939"/>
                    <a:gd name="connsiteX5" fmla="*/ 351756 w 514980"/>
                    <a:gd name="connsiteY5" fmla="*/ 886 h 453939"/>
                    <a:gd name="connsiteX6" fmla="*/ 366640 w 514980"/>
                    <a:gd name="connsiteY6" fmla="*/ 100299 h 453939"/>
                    <a:gd name="connsiteX7" fmla="*/ 461084 w 514980"/>
                    <a:gd name="connsiteY7" fmla="*/ 143550 h 453939"/>
                    <a:gd name="connsiteX8" fmla="*/ 513665 w 514980"/>
                    <a:gd name="connsiteY8" fmla="*/ 226522 h 453939"/>
                    <a:gd name="connsiteX9" fmla="*/ 510490 w 514980"/>
                    <a:gd name="connsiteY9" fmla="*/ 448772 h 453939"/>
                    <a:gd name="connsiteX10" fmla="*/ 8840 w 514980"/>
                    <a:gd name="connsiteY10" fmla="*/ 442422 h 453939"/>
                    <a:gd name="connsiteX0" fmla="*/ 8840 w 514980"/>
                    <a:gd name="connsiteY0" fmla="*/ 442422 h 450476"/>
                    <a:gd name="connsiteX1" fmla="*/ 5665 w 514980"/>
                    <a:gd name="connsiteY1" fmla="*/ 216997 h 450476"/>
                    <a:gd name="connsiteX2" fmla="*/ 62412 w 514980"/>
                    <a:gd name="connsiteY2" fmla="*/ 129441 h 450476"/>
                    <a:gd name="connsiteX3" fmla="*/ 168766 w 514980"/>
                    <a:gd name="connsiteY3" fmla="*/ 93528 h 450476"/>
                    <a:gd name="connsiteX4" fmla="*/ 179484 w 514980"/>
                    <a:gd name="connsiteY4" fmla="*/ 6248 h 450476"/>
                    <a:gd name="connsiteX5" fmla="*/ 351756 w 514980"/>
                    <a:gd name="connsiteY5" fmla="*/ 886 h 450476"/>
                    <a:gd name="connsiteX6" fmla="*/ 366640 w 514980"/>
                    <a:gd name="connsiteY6" fmla="*/ 100299 h 450476"/>
                    <a:gd name="connsiteX7" fmla="*/ 461084 w 514980"/>
                    <a:gd name="connsiteY7" fmla="*/ 143550 h 450476"/>
                    <a:gd name="connsiteX8" fmla="*/ 513665 w 514980"/>
                    <a:gd name="connsiteY8" fmla="*/ 226522 h 450476"/>
                    <a:gd name="connsiteX9" fmla="*/ 510490 w 514980"/>
                    <a:gd name="connsiteY9" fmla="*/ 448772 h 450476"/>
                    <a:gd name="connsiteX10" fmla="*/ 8840 w 514980"/>
                    <a:gd name="connsiteY10" fmla="*/ 442422 h 450476"/>
                    <a:gd name="connsiteX0" fmla="*/ 8840 w 514980"/>
                    <a:gd name="connsiteY0" fmla="*/ 442422 h 448772"/>
                    <a:gd name="connsiteX1" fmla="*/ 5665 w 514980"/>
                    <a:gd name="connsiteY1" fmla="*/ 216997 h 448772"/>
                    <a:gd name="connsiteX2" fmla="*/ 62412 w 514980"/>
                    <a:gd name="connsiteY2" fmla="*/ 129441 h 448772"/>
                    <a:gd name="connsiteX3" fmla="*/ 168766 w 514980"/>
                    <a:gd name="connsiteY3" fmla="*/ 93528 h 448772"/>
                    <a:gd name="connsiteX4" fmla="*/ 179484 w 514980"/>
                    <a:gd name="connsiteY4" fmla="*/ 6248 h 448772"/>
                    <a:gd name="connsiteX5" fmla="*/ 351756 w 514980"/>
                    <a:gd name="connsiteY5" fmla="*/ 886 h 448772"/>
                    <a:gd name="connsiteX6" fmla="*/ 366640 w 514980"/>
                    <a:gd name="connsiteY6" fmla="*/ 100299 h 448772"/>
                    <a:gd name="connsiteX7" fmla="*/ 461084 w 514980"/>
                    <a:gd name="connsiteY7" fmla="*/ 143550 h 448772"/>
                    <a:gd name="connsiteX8" fmla="*/ 513665 w 514980"/>
                    <a:gd name="connsiteY8" fmla="*/ 226522 h 448772"/>
                    <a:gd name="connsiteX9" fmla="*/ 510490 w 514980"/>
                    <a:gd name="connsiteY9" fmla="*/ 448772 h 448772"/>
                    <a:gd name="connsiteX10" fmla="*/ 8840 w 514980"/>
                    <a:gd name="connsiteY10" fmla="*/ 442422 h 448772"/>
                    <a:gd name="connsiteX0" fmla="*/ 8840 w 514980"/>
                    <a:gd name="connsiteY0" fmla="*/ 442422 h 448772"/>
                    <a:gd name="connsiteX1" fmla="*/ 5665 w 514980"/>
                    <a:gd name="connsiteY1" fmla="*/ 216997 h 448772"/>
                    <a:gd name="connsiteX2" fmla="*/ 62412 w 514980"/>
                    <a:gd name="connsiteY2" fmla="*/ 129441 h 448772"/>
                    <a:gd name="connsiteX3" fmla="*/ 168766 w 514980"/>
                    <a:gd name="connsiteY3" fmla="*/ 93528 h 448772"/>
                    <a:gd name="connsiteX4" fmla="*/ 179484 w 514980"/>
                    <a:gd name="connsiteY4" fmla="*/ 6248 h 448772"/>
                    <a:gd name="connsiteX5" fmla="*/ 351756 w 514980"/>
                    <a:gd name="connsiteY5" fmla="*/ 886 h 448772"/>
                    <a:gd name="connsiteX6" fmla="*/ 357905 w 514980"/>
                    <a:gd name="connsiteY6" fmla="*/ 98112 h 448772"/>
                    <a:gd name="connsiteX7" fmla="*/ 461084 w 514980"/>
                    <a:gd name="connsiteY7" fmla="*/ 143550 h 448772"/>
                    <a:gd name="connsiteX8" fmla="*/ 513665 w 514980"/>
                    <a:gd name="connsiteY8" fmla="*/ 226522 h 448772"/>
                    <a:gd name="connsiteX9" fmla="*/ 510490 w 514980"/>
                    <a:gd name="connsiteY9" fmla="*/ 448772 h 448772"/>
                    <a:gd name="connsiteX10" fmla="*/ 8840 w 514980"/>
                    <a:gd name="connsiteY10" fmla="*/ 442422 h 448772"/>
                    <a:gd name="connsiteX0" fmla="*/ 8840 w 514980"/>
                    <a:gd name="connsiteY0" fmla="*/ 442422 h 448772"/>
                    <a:gd name="connsiteX1" fmla="*/ 5665 w 514980"/>
                    <a:gd name="connsiteY1" fmla="*/ 216997 h 448772"/>
                    <a:gd name="connsiteX2" fmla="*/ 62412 w 514980"/>
                    <a:gd name="connsiteY2" fmla="*/ 129441 h 448772"/>
                    <a:gd name="connsiteX3" fmla="*/ 168766 w 514980"/>
                    <a:gd name="connsiteY3" fmla="*/ 93528 h 448772"/>
                    <a:gd name="connsiteX4" fmla="*/ 179484 w 514980"/>
                    <a:gd name="connsiteY4" fmla="*/ 6248 h 448772"/>
                    <a:gd name="connsiteX5" fmla="*/ 351756 w 514980"/>
                    <a:gd name="connsiteY5" fmla="*/ 886 h 448772"/>
                    <a:gd name="connsiteX6" fmla="*/ 357905 w 514980"/>
                    <a:gd name="connsiteY6" fmla="*/ 98112 h 448772"/>
                    <a:gd name="connsiteX7" fmla="*/ 454533 w 514980"/>
                    <a:gd name="connsiteY7" fmla="*/ 136989 h 448772"/>
                    <a:gd name="connsiteX8" fmla="*/ 513665 w 514980"/>
                    <a:gd name="connsiteY8" fmla="*/ 226522 h 448772"/>
                    <a:gd name="connsiteX9" fmla="*/ 510490 w 514980"/>
                    <a:gd name="connsiteY9" fmla="*/ 448772 h 448772"/>
                    <a:gd name="connsiteX10" fmla="*/ 8840 w 514980"/>
                    <a:gd name="connsiteY10" fmla="*/ 442422 h 448772"/>
                    <a:gd name="connsiteX0" fmla="*/ 8840 w 514980"/>
                    <a:gd name="connsiteY0" fmla="*/ 442422 h 448772"/>
                    <a:gd name="connsiteX1" fmla="*/ 5665 w 514980"/>
                    <a:gd name="connsiteY1" fmla="*/ 216997 h 448772"/>
                    <a:gd name="connsiteX2" fmla="*/ 62412 w 514980"/>
                    <a:gd name="connsiteY2" fmla="*/ 129441 h 448772"/>
                    <a:gd name="connsiteX3" fmla="*/ 168766 w 514980"/>
                    <a:gd name="connsiteY3" fmla="*/ 93528 h 448772"/>
                    <a:gd name="connsiteX4" fmla="*/ 179484 w 514980"/>
                    <a:gd name="connsiteY4" fmla="*/ 6248 h 448772"/>
                    <a:gd name="connsiteX5" fmla="*/ 351756 w 514980"/>
                    <a:gd name="connsiteY5" fmla="*/ 886 h 448772"/>
                    <a:gd name="connsiteX6" fmla="*/ 357905 w 514980"/>
                    <a:gd name="connsiteY6" fmla="*/ 98112 h 448772"/>
                    <a:gd name="connsiteX7" fmla="*/ 454533 w 514980"/>
                    <a:gd name="connsiteY7" fmla="*/ 136989 h 448772"/>
                    <a:gd name="connsiteX8" fmla="*/ 513665 w 514980"/>
                    <a:gd name="connsiteY8" fmla="*/ 226522 h 448772"/>
                    <a:gd name="connsiteX9" fmla="*/ 510490 w 514980"/>
                    <a:gd name="connsiteY9" fmla="*/ 448772 h 448772"/>
                    <a:gd name="connsiteX10" fmla="*/ 8840 w 514980"/>
                    <a:gd name="connsiteY10" fmla="*/ 442422 h 448772"/>
                    <a:gd name="connsiteX0" fmla="*/ 8840 w 514980"/>
                    <a:gd name="connsiteY0" fmla="*/ 442422 h 448772"/>
                    <a:gd name="connsiteX1" fmla="*/ 5665 w 514980"/>
                    <a:gd name="connsiteY1" fmla="*/ 216997 h 448772"/>
                    <a:gd name="connsiteX2" fmla="*/ 62412 w 514980"/>
                    <a:gd name="connsiteY2" fmla="*/ 129441 h 448772"/>
                    <a:gd name="connsiteX3" fmla="*/ 168766 w 514980"/>
                    <a:gd name="connsiteY3" fmla="*/ 93528 h 448772"/>
                    <a:gd name="connsiteX4" fmla="*/ 179484 w 514980"/>
                    <a:gd name="connsiteY4" fmla="*/ 6248 h 448772"/>
                    <a:gd name="connsiteX5" fmla="*/ 351756 w 514980"/>
                    <a:gd name="connsiteY5" fmla="*/ 886 h 448772"/>
                    <a:gd name="connsiteX6" fmla="*/ 357905 w 514980"/>
                    <a:gd name="connsiteY6" fmla="*/ 98112 h 448772"/>
                    <a:gd name="connsiteX7" fmla="*/ 454533 w 514980"/>
                    <a:gd name="connsiteY7" fmla="*/ 136989 h 448772"/>
                    <a:gd name="connsiteX8" fmla="*/ 513665 w 514980"/>
                    <a:gd name="connsiteY8" fmla="*/ 226522 h 448772"/>
                    <a:gd name="connsiteX9" fmla="*/ 510490 w 514980"/>
                    <a:gd name="connsiteY9" fmla="*/ 448772 h 448772"/>
                    <a:gd name="connsiteX10" fmla="*/ 8840 w 514980"/>
                    <a:gd name="connsiteY10" fmla="*/ 442422 h 448772"/>
                    <a:gd name="connsiteX0" fmla="*/ 8840 w 514980"/>
                    <a:gd name="connsiteY0" fmla="*/ 442422 h 448772"/>
                    <a:gd name="connsiteX1" fmla="*/ 5665 w 514980"/>
                    <a:gd name="connsiteY1" fmla="*/ 216997 h 448772"/>
                    <a:gd name="connsiteX2" fmla="*/ 62412 w 514980"/>
                    <a:gd name="connsiteY2" fmla="*/ 129441 h 448772"/>
                    <a:gd name="connsiteX3" fmla="*/ 168766 w 514980"/>
                    <a:gd name="connsiteY3" fmla="*/ 93528 h 448772"/>
                    <a:gd name="connsiteX4" fmla="*/ 179484 w 514980"/>
                    <a:gd name="connsiteY4" fmla="*/ 6248 h 448772"/>
                    <a:gd name="connsiteX5" fmla="*/ 351756 w 514980"/>
                    <a:gd name="connsiteY5" fmla="*/ 886 h 448772"/>
                    <a:gd name="connsiteX6" fmla="*/ 353538 w 514980"/>
                    <a:gd name="connsiteY6" fmla="*/ 98112 h 448772"/>
                    <a:gd name="connsiteX7" fmla="*/ 454533 w 514980"/>
                    <a:gd name="connsiteY7" fmla="*/ 136989 h 448772"/>
                    <a:gd name="connsiteX8" fmla="*/ 513665 w 514980"/>
                    <a:gd name="connsiteY8" fmla="*/ 226522 h 448772"/>
                    <a:gd name="connsiteX9" fmla="*/ 510490 w 514980"/>
                    <a:gd name="connsiteY9" fmla="*/ 448772 h 448772"/>
                    <a:gd name="connsiteX10" fmla="*/ 8840 w 514980"/>
                    <a:gd name="connsiteY10" fmla="*/ 442422 h 448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14980" h="448772">
                      <a:moveTo>
                        <a:pt x="8840" y="442422"/>
                      </a:moveTo>
                      <a:cubicBezTo>
                        <a:pt x="-1214" y="377864"/>
                        <a:pt x="-3264" y="269160"/>
                        <a:pt x="5665" y="216997"/>
                      </a:cubicBezTo>
                      <a:cubicBezTo>
                        <a:pt x="14594" y="164834"/>
                        <a:pt x="35229" y="150019"/>
                        <a:pt x="62412" y="129441"/>
                      </a:cubicBezTo>
                      <a:cubicBezTo>
                        <a:pt x="89595" y="108863"/>
                        <a:pt x="149254" y="114060"/>
                        <a:pt x="168766" y="93528"/>
                      </a:cubicBezTo>
                      <a:cubicBezTo>
                        <a:pt x="188278" y="72996"/>
                        <a:pt x="189023" y="43922"/>
                        <a:pt x="179484" y="6248"/>
                      </a:cubicBezTo>
                      <a:cubicBezTo>
                        <a:pt x="202703" y="-7370"/>
                        <a:pt x="323111" y="6352"/>
                        <a:pt x="351756" y="886"/>
                      </a:cubicBezTo>
                      <a:cubicBezTo>
                        <a:pt x="354195" y="39159"/>
                        <a:pt x="342961" y="75428"/>
                        <a:pt x="353538" y="98112"/>
                      </a:cubicBezTo>
                      <a:cubicBezTo>
                        <a:pt x="364115" y="120796"/>
                        <a:pt x="427845" y="115587"/>
                        <a:pt x="454533" y="136989"/>
                      </a:cubicBezTo>
                      <a:cubicBezTo>
                        <a:pt x="481221" y="158391"/>
                        <a:pt x="503611" y="177839"/>
                        <a:pt x="513665" y="226522"/>
                      </a:cubicBezTo>
                      <a:cubicBezTo>
                        <a:pt x="516840" y="276264"/>
                        <a:pt x="513665" y="323360"/>
                        <a:pt x="510490" y="448772"/>
                      </a:cubicBezTo>
                      <a:lnTo>
                        <a:pt x="8840" y="442422"/>
                      </a:lnTo>
                      <a:close/>
                    </a:path>
                  </a:pathLst>
                </a:custGeom>
                <a:grpFill/>
                <a:ln w="571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164" name="Oval 163">
                  <a:extLst>
                    <a:ext uri="{FF2B5EF4-FFF2-40B4-BE49-F238E27FC236}">
                      <a16:creationId xmlns:a16="http://schemas.microsoft.com/office/drawing/2014/main" id="{9B141066-155C-3542-B1C6-714BB3E8DA8D}"/>
                    </a:ext>
                  </a:extLst>
                </p:cNvPr>
                <p:cNvSpPr/>
                <p:nvPr/>
              </p:nvSpPr>
              <p:spPr>
                <a:xfrm>
                  <a:off x="1971467" y="3508300"/>
                  <a:ext cx="282088" cy="336550"/>
                </a:xfrm>
                <a:prstGeom prst="ellipse">
                  <a:avLst/>
                </a:prstGeom>
                <a:grpFill/>
                <a:ln w="571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grpSp>
          <p:grpSp>
            <p:nvGrpSpPr>
              <p:cNvPr id="160" name="Group 159">
                <a:extLst>
                  <a:ext uri="{FF2B5EF4-FFF2-40B4-BE49-F238E27FC236}">
                    <a16:creationId xmlns:a16="http://schemas.microsoft.com/office/drawing/2014/main" id="{B5D762B0-1200-1B44-8C39-6E3FA6ED7696}"/>
                  </a:ext>
                </a:extLst>
              </p:cNvPr>
              <p:cNvGrpSpPr/>
              <p:nvPr/>
            </p:nvGrpSpPr>
            <p:grpSpPr>
              <a:xfrm>
                <a:off x="1553120" y="3388644"/>
                <a:ext cx="633802" cy="938165"/>
                <a:chOff x="1806977" y="3500843"/>
                <a:chExt cx="539989" cy="738018"/>
              </a:xfrm>
            </p:grpSpPr>
            <p:sp>
              <p:nvSpPr>
                <p:cNvPr id="161" name="Freeform 160">
                  <a:extLst>
                    <a:ext uri="{FF2B5EF4-FFF2-40B4-BE49-F238E27FC236}">
                      <a16:creationId xmlns:a16="http://schemas.microsoft.com/office/drawing/2014/main" id="{1B185F12-73E2-BD43-A0E7-6C1649BE9618}"/>
                    </a:ext>
                  </a:extLst>
                </p:cNvPr>
                <p:cNvSpPr/>
                <p:nvPr/>
              </p:nvSpPr>
              <p:spPr>
                <a:xfrm>
                  <a:off x="1806977" y="3782373"/>
                  <a:ext cx="539989" cy="456488"/>
                </a:xfrm>
                <a:custGeom>
                  <a:avLst/>
                  <a:gdLst>
                    <a:gd name="connsiteX0" fmla="*/ 36807 w 576731"/>
                    <a:gd name="connsiteY0" fmla="*/ 449906 h 505924"/>
                    <a:gd name="connsiteX1" fmla="*/ 39982 w 576731"/>
                    <a:gd name="connsiteY1" fmla="*/ 214956 h 505924"/>
                    <a:gd name="connsiteX2" fmla="*/ 55857 w 576731"/>
                    <a:gd name="connsiteY2" fmla="*/ 176856 h 505924"/>
                    <a:gd name="connsiteX3" fmla="*/ 103482 w 576731"/>
                    <a:gd name="connsiteY3" fmla="*/ 160981 h 505924"/>
                    <a:gd name="connsiteX4" fmla="*/ 205082 w 576731"/>
                    <a:gd name="connsiteY4" fmla="*/ 154631 h 505924"/>
                    <a:gd name="connsiteX5" fmla="*/ 230482 w 576731"/>
                    <a:gd name="connsiteY5" fmla="*/ 151456 h 505924"/>
                    <a:gd name="connsiteX6" fmla="*/ 233657 w 576731"/>
                    <a:gd name="connsiteY6" fmla="*/ 18106 h 505924"/>
                    <a:gd name="connsiteX7" fmla="*/ 344782 w 576731"/>
                    <a:gd name="connsiteY7" fmla="*/ 14931 h 505924"/>
                    <a:gd name="connsiteX8" fmla="*/ 344782 w 576731"/>
                    <a:gd name="connsiteY8" fmla="*/ 145106 h 505924"/>
                    <a:gd name="connsiteX9" fmla="*/ 386057 w 576731"/>
                    <a:gd name="connsiteY9" fmla="*/ 151456 h 505924"/>
                    <a:gd name="connsiteX10" fmla="*/ 478132 w 576731"/>
                    <a:gd name="connsiteY10" fmla="*/ 164156 h 505924"/>
                    <a:gd name="connsiteX11" fmla="*/ 519407 w 576731"/>
                    <a:gd name="connsiteY11" fmla="*/ 189556 h 505924"/>
                    <a:gd name="connsiteX12" fmla="*/ 541632 w 576731"/>
                    <a:gd name="connsiteY12" fmla="*/ 234006 h 505924"/>
                    <a:gd name="connsiteX13" fmla="*/ 538457 w 576731"/>
                    <a:gd name="connsiteY13" fmla="*/ 488006 h 505924"/>
                    <a:gd name="connsiteX14" fmla="*/ 36807 w 576731"/>
                    <a:gd name="connsiteY14" fmla="*/ 449906 h 505924"/>
                    <a:gd name="connsiteX0" fmla="*/ 5769 w 545693"/>
                    <a:gd name="connsiteY0" fmla="*/ 449906 h 505924"/>
                    <a:gd name="connsiteX1" fmla="*/ 8944 w 545693"/>
                    <a:gd name="connsiteY1" fmla="*/ 214956 h 505924"/>
                    <a:gd name="connsiteX2" fmla="*/ 24819 w 545693"/>
                    <a:gd name="connsiteY2" fmla="*/ 176856 h 505924"/>
                    <a:gd name="connsiteX3" fmla="*/ 72444 w 545693"/>
                    <a:gd name="connsiteY3" fmla="*/ 160981 h 505924"/>
                    <a:gd name="connsiteX4" fmla="*/ 174044 w 545693"/>
                    <a:gd name="connsiteY4" fmla="*/ 154631 h 505924"/>
                    <a:gd name="connsiteX5" fmla="*/ 199444 w 545693"/>
                    <a:gd name="connsiteY5" fmla="*/ 151456 h 505924"/>
                    <a:gd name="connsiteX6" fmla="*/ 202619 w 545693"/>
                    <a:gd name="connsiteY6" fmla="*/ 18106 h 505924"/>
                    <a:gd name="connsiteX7" fmla="*/ 313744 w 545693"/>
                    <a:gd name="connsiteY7" fmla="*/ 14931 h 505924"/>
                    <a:gd name="connsiteX8" fmla="*/ 313744 w 545693"/>
                    <a:gd name="connsiteY8" fmla="*/ 145106 h 505924"/>
                    <a:gd name="connsiteX9" fmla="*/ 355019 w 545693"/>
                    <a:gd name="connsiteY9" fmla="*/ 151456 h 505924"/>
                    <a:gd name="connsiteX10" fmla="*/ 447094 w 545693"/>
                    <a:gd name="connsiteY10" fmla="*/ 164156 h 505924"/>
                    <a:gd name="connsiteX11" fmla="*/ 488369 w 545693"/>
                    <a:gd name="connsiteY11" fmla="*/ 189556 h 505924"/>
                    <a:gd name="connsiteX12" fmla="*/ 510594 w 545693"/>
                    <a:gd name="connsiteY12" fmla="*/ 234006 h 505924"/>
                    <a:gd name="connsiteX13" fmla="*/ 507419 w 545693"/>
                    <a:gd name="connsiteY13" fmla="*/ 488006 h 505924"/>
                    <a:gd name="connsiteX14" fmla="*/ 5769 w 545693"/>
                    <a:gd name="connsiteY14" fmla="*/ 449906 h 505924"/>
                    <a:gd name="connsiteX0" fmla="*/ 21286 w 561210"/>
                    <a:gd name="connsiteY0" fmla="*/ 449906 h 508025"/>
                    <a:gd name="connsiteX1" fmla="*/ 24461 w 561210"/>
                    <a:gd name="connsiteY1" fmla="*/ 214956 h 508025"/>
                    <a:gd name="connsiteX2" fmla="*/ 40336 w 561210"/>
                    <a:gd name="connsiteY2" fmla="*/ 176856 h 508025"/>
                    <a:gd name="connsiteX3" fmla="*/ 87961 w 561210"/>
                    <a:gd name="connsiteY3" fmla="*/ 160981 h 508025"/>
                    <a:gd name="connsiteX4" fmla="*/ 189561 w 561210"/>
                    <a:gd name="connsiteY4" fmla="*/ 154631 h 508025"/>
                    <a:gd name="connsiteX5" fmla="*/ 214961 w 561210"/>
                    <a:gd name="connsiteY5" fmla="*/ 151456 h 508025"/>
                    <a:gd name="connsiteX6" fmla="*/ 218136 w 561210"/>
                    <a:gd name="connsiteY6" fmla="*/ 18106 h 508025"/>
                    <a:gd name="connsiteX7" fmla="*/ 329261 w 561210"/>
                    <a:gd name="connsiteY7" fmla="*/ 14931 h 508025"/>
                    <a:gd name="connsiteX8" fmla="*/ 329261 w 561210"/>
                    <a:gd name="connsiteY8" fmla="*/ 145106 h 508025"/>
                    <a:gd name="connsiteX9" fmla="*/ 370536 w 561210"/>
                    <a:gd name="connsiteY9" fmla="*/ 151456 h 508025"/>
                    <a:gd name="connsiteX10" fmla="*/ 462611 w 561210"/>
                    <a:gd name="connsiteY10" fmla="*/ 164156 h 508025"/>
                    <a:gd name="connsiteX11" fmla="*/ 503886 w 561210"/>
                    <a:gd name="connsiteY11" fmla="*/ 189556 h 508025"/>
                    <a:gd name="connsiteX12" fmla="*/ 526111 w 561210"/>
                    <a:gd name="connsiteY12" fmla="*/ 234006 h 508025"/>
                    <a:gd name="connsiteX13" fmla="*/ 522936 w 561210"/>
                    <a:gd name="connsiteY13" fmla="*/ 488006 h 508025"/>
                    <a:gd name="connsiteX14" fmla="*/ 21286 w 561210"/>
                    <a:gd name="connsiteY14" fmla="*/ 449906 h 508025"/>
                    <a:gd name="connsiteX0" fmla="*/ 21286 w 561210"/>
                    <a:gd name="connsiteY0" fmla="*/ 449906 h 508025"/>
                    <a:gd name="connsiteX1" fmla="*/ 24461 w 561210"/>
                    <a:gd name="connsiteY1" fmla="*/ 214956 h 508025"/>
                    <a:gd name="connsiteX2" fmla="*/ 40336 w 561210"/>
                    <a:gd name="connsiteY2" fmla="*/ 176856 h 508025"/>
                    <a:gd name="connsiteX3" fmla="*/ 87961 w 561210"/>
                    <a:gd name="connsiteY3" fmla="*/ 160981 h 508025"/>
                    <a:gd name="connsiteX4" fmla="*/ 189561 w 561210"/>
                    <a:gd name="connsiteY4" fmla="*/ 154631 h 508025"/>
                    <a:gd name="connsiteX5" fmla="*/ 214961 w 561210"/>
                    <a:gd name="connsiteY5" fmla="*/ 151456 h 508025"/>
                    <a:gd name="connsiteX6" fmla="*/ 218136 w 561210"/>
                    <a:gd name="connsiteY6" fmla="*/ 18106 h 508025"/>
                    <a:gd name="connsiteX7" fmla="*/ 329261 w 561210"/>
                    <a:gd name="connsiteY7" fmla="*/ 14931 h 508025"/>
                    <a:gd name="connsiteX8" fmla="*/ 329261 w 561210"/>
                    <a:gd name="connsiteY8" fmla="*/ 145106 h 508025"/>
                    <a:gd name="connsiteX9" fmla="*/ 370536 w 561210"/>
                    <a:gd name="connsiteY9" fmla="*/ 151456 h 508025"/>
                    <a:gd name="connsiteX10" fmla="*/ 462611 w 561210"/>
                    <a:gd name="connsiteY10" fmla="*/ 164156 h 508025"/>
                    <a:gd name="connsiteX11" fmla="*/ 503886 w 561210"/>
                    <a:gd name="connsiteY11" fmla="*/ 189556 h 508025"/>
                    <a:gd name="connsiteX12" fmla="*/ 526111 w 561210"/>
                    <a:gd name="connsiteY12" fmla="*/ 234006 h 508025"/>
                    <a:gd name="connsiteX13" fmla="*/ 522936 w 561210"/>
                    <a:gd name="connsiteY13" fmla="*/ 488006 h 508025"/>
                    <a:gd name="connsiteX14" fmla="*/ 21286 w 561210"/>
                    <a:gd name="connsiteY14" fmla="*/ 449906 h 508025"/>
                    <a:gd name="connsiteX0" fmla="*/ 4360 w 544284"/>
                    <a:gd name="connsiteY0" fmla="*/ 449906 h 508025"/>
                    <a:gd name="connsiteX1" fmla="*/ 7535 w 544284"/>
                    <a:gd name="connsiteY1" fmla="*/ 214956 h 508025"/>
                    <a:gd name="connsiteX2" fmla="*/ 23410 w 544284"/>
                    <a:gd name="connsiteY2" fmla="*/ 176856 h 508025"/>
                    <a:gd name="connsiteX3" fmla="*/ 71035 w 544284"/>
                    <a:gd name="connsiteY3" fmla="*/ 160981 h 508025"/>
                    <a:gd name="connsiteX4" fmla="*/ 172635 w 544284"/>
                    <a:gd name="connsiteY4" fmla="*/ 154631 h 508025"/>
                    <a:gd name="connsiteX5" fmla="*/ 198035 w 544284"/>
                    <a:gd name="connsiteY5" fmla="*/ 151456 h 508025"/>
                    <a:gd name="connsiteX6" fmla="*/ 201210 w 544284"/>
                    <a:gd name="connsiteY6" fmla="*/ 18106 h 508025"/>
                    <a:gd name="connsiteX7" fmla="*/ 312335 w 544284"/>
                    <a:gd name="connsiteY7" fmla="*/ 14931 h 508025"/>
                    <a:gd name="connsiteX8" fmla="*/ 312335 w 544284"/>
                    <a:gd name="connsiteY8" fmla="*/ 145106 h 508025"/>
                    <a:gd name="connsiteX9" fmla="*/ 353610 w 544284"/>
                    <a:gd name="connsiteY9" fmla="*/ 151456 h 508025"/>
                    <a:gd name="connsiteX10" fmla="*/ 445685 w 544284"/>
                    <a:gd name="connsiteY10" fmla="*/ 164156 h 508025"/>
                    <a:gd name="connsiteX11" fmla="*/ 486960 w 544284"/>
                    <a:gd name="connsiteY11" fmla="*/ 189556 h 508025"/>
                    <a:gd name="connsiteX12" fmla="*/ 509185 w 544284"/>
                    <a:gd name="connsiteY12" fmla="*/ 234006 h 508025"/>
                    <a:gd name="connsiteX13" fmla="*/ 506010 w 544284"/>
                    <a:gd name="connsiteY13" fmla="*/ 488006 h 508025"/>
                    <a:gd name="connsiteX14" fmla="*/ 4360 w 544284"/>
                    <a:gd name="connsiteY14" fmla="*/ 449906 h 508025"/>
                    <a:gd name="connsiteX0" fmla="*/ 4360 w 544284"/>
                    <a:gd name="connsiteY0" fmla="*/ 449906 h 500804"/>
                    <a:gd name="connsiteX1" fmla="*/ 7535 w 544284"/>
                    <a:gd name="connsiteY1" fmla="*/ 214956 h 500804"/>
                    <a:gd name="connsiteX2" fmla="*/ 23410 w 544284"/>
                    <a:gd name="connsiteY2" fmla="*/ 176856 h 500804"/>
                    <a:gd name="connsiteX3" fmla="*/ 71035 w 544284"/>
                    <a:gd name="connsiteY3" fmla="*/ 160981 h 500804"/>
                    <a:gd name="connsiteX4" fmla="*/ 172635 w 544284"/>
                    <a:gd name="connsiteY4" fmla="*/ 154631 h 500804"/>
                    <a:gd name="connsiteX5" fmla="*/ 198035 w 544284"/>
                    <a:gd name="connsiteY5" fmla="*/ 151456 h 500804"/>
                    <a:gd name="connsiteX6" fmla="*/ 201210 w 544284"/>
                    <a:gd name="connsiteY6" fmla="*/ 18106 h 500804"/>
                    <a:gd name="connsiteX7" fmla="*/ 312335 w 544284"/>
                    <a:gd name="connsiteY7" fmla="*/ 14931 h 500804"/>
                    <a:gd name="connsiteX8" fmla="*/ 312335 w 544284"/>
                    <a:gd name="connsiteY8" fmla="*/ 145106 h 500804"/>
                    <a:gd name="connsiteX9" fmla="*/ 353610 w 544284"/>
                    <a:gd name="connsiteY9" fmla="*/ 151456 h 500804"/>
                    <a:gd name="connsiteX10" fmla="*/ 445685 w 544284"/>
                    <a:gd name="connsiteY10" fmla="*/ 164156 h 500804"/>
                    <a:gd name="connsiteX11" fmla="*/ 486960 w 544284"/>
                    <a:gd name="connsiteY11" fmla="*/ 189556 h 500804"/>
                    <a:gd name="connsiteX12" fmla="*/ 509185 w 544284"/>
                    <a:gd name="connsiteY12" fmla="*/ 234006 h 500804"/>
                    <a:gd name="connsiteX13" fmla="*/ 506010 w 544284"/>
                    <a:gd name="connsiteY13" fmla="*/ 488006 h 500804"/>
                    <a:gd name="connsiteX14" fmla="*/ 4360 w 544284"/>
                    <a:gd name="connsiteY14" fmla="*/ 449906 h 500804"/>
                    <a:gd name="connsiteX0" fmla="*/ 4360 w 544284"/>
                    <a:gd name="connsiteY0" fmla="*/ 449906 h 500804"/>
                    <a:gd name="connsiteX1" fmla="*/ 7535 w 544284"/>
                    <a:gd name="connsiteY1" fmla="*/ 214956 h 500804"/>
                    <a:gd name="connsiteX2" fmla="*/ 23410 w 544284"/>
                    <a:gd name="connsiteY2" fmla="*/ 176856 h 500804"/>
                    <a:gd name="connsiteX3" fmla="*/ 71035 w 544284"/>
                    <a:gd name="connsiteY3" fmla="*/ 160981 h 500804"/>
                    <a:gd name="connsiteX4" fmla="*/ 172635 w 544284"/>
                    <a:gd name="connsiteY4" fmla="*/ 154631 h 500804"/>
                    <a:gd name="connsiteX5" fmla="*/ 198035 w 544284"/>
                    <a:gd name="connsiteY5" fmla="*/ 151456 h 500804"/>
                    <a:gd name="connsiteX6" fmla="*/ 201210 w 544284"/>
                    <a:gd name="connsiteY6" fmla="*/ 18106 h 500804"/>
                    <a:gd name="connsiteX7" fmla="*/ 312335 w 544284"/>
                    <a:gd name="connsiteY7" fmla="*/ 14931 h 500804"/>
                    <a:gd name="connsiteX8" fmla="*/ 312335 w 544284"/>
                    <a:gd name="connsiteY8" fmla="*/ 145106 h 500804"/>
                    <a:gd name="connsiteX9" fmla="*/ 353610 w 544284"/>
                    <a:gd name="connsiteY9" fmla="*/ 151456 h 500804"/>
                    <a:gd name="connsiteX10" fmla="*/ 445685 w 544284"/>
                    <a:gd name="connsiteY10" fmla="*/ 164156 h 500804"/>
                    <a:gd name="connsiteX11" fmla="*/ 486960 w 544284"/>
                    <a:gd name="connsiteY11" fmla="*/ 189556 h 500804"/>
                    <a:gd name="connsiteX12" fmla="*/ 509185 w 544284"/>
                    <a:gd name="connsiteY12" fmla="*/ 234006 h 500804"/>
                    <a:gd name="connsiteX13" fmla="*/ 506010 w 544284"/>
                    <a:gd name="connsiteY13" fmla="*/ 488006 h 500804"/>
                    <a:gd name="connsiteX14" fmla="*/ 4360 w 544284"/>
                    <a:gd name="connsiteY14" fmla="*/ 449906 h 500804"/>
                    <a:gd name="connsiteX0" fmla="*/ 4360 w 519024"/>
                    <a:gd name="connsiteY0" fmla="*/ 449906 h 500804"/>
                    <a:gd name="connsiteX1" fmla="*/ 7535 w 519024"/>
                    <a:gd name="connsiteY1" fmla="*/ 214956 h 500804"/>
                    <a:gd name="connsiteX2" fmla="*/ 23410 w 519024"/>
                    <a:gd name="connsiteY2" fmla="*/ 176856 h 500804"/>
                    <a:gd name="connsiteX3" fmla="*/ 71035 w 519024"/>
                    <a:gd name="connsiteY3" fmla="*/ 160981 h 500804"/>
                    <a:gd name="connsiteX4" fmla="*/ 172635 w 519024"/>
                    <a:gd name="connsiteY4" fmla="*/ 154631 h 500804"/>
                    <a:gd name="connsiteX5" fmla="*/ 198035 w 519024"/>
                    <a:gd name="connsiteY5" fmla="*/ 151456 h 500804"/>
                    <a:gd name="connsiteX6" fmla="*/ 201210 w 519024"/>
                    <a:gd name="connsiteY6" fmla="*/ 18106 h 500804"/>
                    <a:gd name="connsiteX7" fmla="*/ 312335 w 519024"/>
                    <a:gd name="connsiteY7" fmla="*/ 14931 h 500804"/>
                    <a:gd name="connsiteX8" fmla="*/ 312335 w 519024"/>
                    <a:gd name="connsiteY8" fmla="*/ 145106 h 500804"/>
                    <a:gd name="connsiteX9" fmla="*/ 353610 w 519024"/>
                    <a:gd name="connsiteY9" fmla="*/ 151456 h 500804"/>
                    <a:gd name="connsiteX10" fmla="*/ 445685 w 519024"/>
                    <a:gd name="connsiteY10" fmla="*/ 164156 h 500804"/>
                    <a:gd name="connsiteX11" fmla="*/ 486960 w 519024"/>
                    <a:gd name="connsiteY11" fmla="*/ 189556 h 500804"/>
                    <a:gd name="connsiteX12" fmla="*/ 509185 w 519024"/>
                    <a:gd name="connsiteY12" fmla="*/ 234006 h 500804"/>
                    <a:gd name="connsiteX13" fmla="*/ 506010 w 519024"/>
                    <a:gd name="connsiteY13" fmla="*/ 488006 h 500804"/>
                    <a:gd name="connsiteX14" fmla="*/ 4360 w 519024"/>
                    <a:gd name="connsiteY14" fmla="*/ 449906 h 500804"/>
                    <a:gd name="connsiteX0" fmla="*/ 4360 w 519024"/>
                    <a:gd name="connsiteY0" fmla="*/ 449906 h 488006"/>
                    <a:gd name="connsiteX1" fmla="*/ 7535 w 519024"/>
                    <a:gd name="connsiteY1" fmla="*/ 214956 h 488006"/>
                    <a:gd name="connsiteX2" fmla="*/ 23410 w 519024"/>
                    <a:gd name="connsiteY2" fmla="*/ 176856 h 488006"/>
                    <a:gd name="connsiteX3" fmla="*/ 71035 w 519024"/>
                    <a:gd name="connsiteY3" fmla="*/ 160981 h 488006"/>
                    <a:gd name="connsiteX4" fmla="*/ 172635 w 519024"/>
                    <a:gd name="connsiteY4" fmla="*/ 154631 h 488006"/>
                    <a:gd name="connsiteX5" fmla="*/ 198035 w 519024"/>
                    <a:gd name="connsiteY5" fmla="*/ 151456 h 488006"/>
                    <a:gd name="connsiteX6" fmla="*/ 201210 w 519024"/>
                    <a:gd name="connsiteY6" fmla="*/ 18106 h 488006"/>
                    <a:gd name="connsiteX7" fmla="*/ 312335 w 519024"/>
                    <a:gd name="connsiteY7" fmla="*/ 14931 h 488006"/>
                    <a:gd name="connsiteX8" fmla="*/ 312335 w 519024"/>
                    <a:gd name="connsiteY8" fmla="*/ 145106 h 488006"/>
                    <a:gd name="connsiteX9" fmla="*/ 353610 w 519024"/>
                    <a:gd name="connsiteY9" fmla="*/ 151456 h 488006"/>
                    <a:gd name="connsiteX10" fmla="*/ 445685 w 519024"/>
                    <a:gd name="connsiteY10" fmla="*/ 164156 h 488006"/>
                    <a:gd name="connsiteX11" fmla="*/ 486960 w 519024"/>
                    <a:gd name="connsiteY11" fmla="*/ 189556 h 488006"/>
                    <a:gd name="connsiteX12" fmla="*/ 509185 w 519024"/>
                    <a:gd name="connsiteY12" fmla="*/ 234006 h 488006"/>
                    <a:gd name="connsiteX13" fmla="*/ 506010 w 519024"/>
                    <a:gd name="connsiteY13" fmla="*/ 488006 h 488006"/>
                    <a:gd name="connsiteX14" fmla="*/ 4360 w 519024"/>
                    <a:gd name="connsiteY14" fmla="*/ 449906 h 488006"/>
                    <a:gd name="connsiteX0" fmla="*/ 4360 w 523534"/>
                    <a:gd name="connsiteY0" fmla="*/ 449906 h 472131"/>
                    <a:gd name="connsiteX1" fmla="*/ 7535 w 523534"/>
                    <a:gd name="connsiteY1" fmla="*/ 214956 h 472131"/>
                    <a:gd name="connsiteX2" fmla="*/ 23410 w 523534"/>
                    <a:gd name="connsiteY2" fmla="*/ 176856 h 472131"/>
                    <a:gd name="connsiteX3" fmla="*/ 71035 w 523534"/>
                    <a:gd name="connsiteY3" fmla="*/ 160981 h 472131"/>
                    <a:gd name="connsiteX4" fmla="*/ 172635 w 523534"/>
                    <a:gd name="connsiteY4" fmla="*/ 154631 h 472131"/>
                    <a:gd name="connsiteX5" fmla="*/ 198035 w 523534"/>
                    <a:gd name="connsiteY5" fmla="*/ 151456 h 472131"/>
                    <a:gd name="connsiteX6" fmla="*/ 201210 w 523534"/>
                    <a:gd name="connsiteY6" fmla="*/ 18106 h 472131"/>
                    <a:gd name="connsiteX7" fmla="*/ 312335 w 523534"/>
                    <a:gd name="connsiteY7" fmla="*/ 14931 h 472131"/>
                    <a:gd name="connsiteX8" fmla="*/ 312335 w 523534"/>
                    <a:gd name="connsiteY8" fmla="*/ 145106 h 472131"/>
                    <a:gd name="connsiteX9" fmla="*/ 353610 w 523534"/>
                    <a:gd name="connsiteY9" fmla="*/ 151456 h 472131"/>
                    <a:gd name="connsiteX10" fmla="*/ 445685 w 523534"/>
                    <a:gd name="connsiteY10" fmla="*/ 164156 h 472131"/>
                    <a:gd name="connsiteX11" fmla="*/ 486960 w 523534"/>
                    <a:gd name="connsiteY11" fmla="*/ 189556 h 472131"/>
                    <a:gd name="connsiteX12" fmla="*/ 509185 w 523534"/>
                    <a:gd name="connsiteY12" fmla="*/ 234006 h 472131"/>
                    <a:gd name="connsiteX13" fmla="*/ 512360 w 523534"/>
                    <a:gd name="connsiteY13" fmla="*/ 472131 h 472131"/>
                    <a:gd name="connsiteX14" fmla="*/ 4360 w 523534"/>
                    <a:gd name="connsiteY14" fmla="*/ 449906 h 472131"/>
                    <a:gd name="connsiteX0" fmla="*/ 4360 w 513675"/>
                    <a:gd name="connsiteY0" fmla="*/ 449906 h 472131"/>
                    <a:gd name="connsiteX1" fmla="*/ 7535 w 513675"/>
                    <a:gd name="connsiteY1" fmla="*/ 214956 h 472131"/>
                    <a:gd name="connsiteX2" fmla="*/ 23410 w 513675"/>
                    <a:gd name="connsiteY2" fmla="*/ 176856 h 472131"/>
                    <a:gd name="connsiteX3" fmla="*/ 71035 w 513675"/>
                    <a:gd name="connsiteY3" fmla="*/ 160981 h 472131"/>
                    <a:gd name="connsiteX4" fmla="*/ 172635 w 513675"/>
                    <a:gd name="connsiteY4" fmla="*/ 154631 h 472131"/>
                    <a:gd name="connsiteX5" fmla="*/ 198035 w 513675"/>
                    <a:gd name="connsiteY5" fmla="*/ 151456 h 472131"/>
                    <a:gd name="connsiteX6" fmla="*/ 201210 w 513675"/>
                    <a:gd name="connsiteY6" fmla="*/ 18106 h 472131"/>
                    <a:gd name="connsiteX7" fmla="*/ 312335 w 513675"/>
                    <a:gd name="connsiteY7" fmla="*/ 14931 h 472131"/>
                    <a:gd name="connsiteX8" fmla="*/ 312335 w 513675"/>
                    <a:gd name="connsiteY8" fmla="*/ 145106 h 472131"/>
                    <a:gd name="connsiteX9" fmla="*/ 353610 w 513675"/>
                    <a:gd name="connsiteY9" fmla="*/ 151456 h 472131"/>
                    <a:gd name="connsiteX10" fmla="*/ 445685 w 513675"/>
                    <a:gd name="connsiteY10" fmla="*/ 164156 h 472131"/>
                    <a:gd name="connsiteX11" fmla="*/ 486960 w 513675"/>
                    <a:gd name="connsiteY11" fmla="*/ 189556 h 472131"/>
                    <a:gd name="connsiteX12" fmla="*/ 509185 w 513675"/>
                    <a:gd name="connsiteY12" fmla="*/ 234006 h 472131"/>
                    <a:gd name="connsiteX13" fmla="*/ 512360 w 513675"/>
                    <a:gd name="connsiteY13" fmla="*/ 472131 h 472131"/>
                    <a:gd name="connsiteX14" fmla="*/ 4360 w 513675"/>
                    <a:gd name="connsiteY14" fmla="*/ 449906 h 472131"/>
                    <a:gd name="connsiteX0" fmla="*/ 4360 w 513675"/>
                    <a:gd name="connsiteY0" fmla="*/ 446969 h 469194"/>
                    <a:gd name="connsiteX1" fmla="*/ 7535 w 513675"/>
                    <a:gd name="connsiteY1" fmla="*/ 212019 h 469194"/>
                    <a:gd name="connsiteX2" fmla="*/ 23410 w 513675"/>
                    <a:gd name="connsiteY2" fmla="*/ 173919 h 469194"/>
                    <a:gd name="connsiteX3" fmla="*/ 71035 w 513675"/>
                    <a:gd name="connsiteY3" fmla="*/ 158044 h 469194"/>
                    <a:gd name="connsiteX4" fmla="*/ 172635 w 513675"/>
                    <a:gd name="connsiteY4" fmla="*/ 151694 h 469194"/>
                    <a:gd name="connsiteX5" fmla="*/ 188510 w 513675"/>
                    <a:gd name="connsiteY5" fmla="*/ 94544 h 469194"/>
                    <a:gd name="connsiteX6" fmla="*/ 201210 w 513675"/>
                    <a:gd name="connsiteY6" fmla="*/ 15169 h 469194"/>
                    <a:gd name="connsiteX7" fmla="*/ 312335 w 513675"/>
                    <a:gd name="connsiteY7" fmla="*/ 11994 h 469194"/>
                    <a:gd name="connsiteX8" fmla="*/ 312335 w 513675"/>
                    <a:gd name="connsiteY8" fmla="*/ 142169 h 469194"/>
                    <a:gd name="connsiteX9" fmla="*/ 353610 w 513675"/>
                    <a:gd name="connsiteY9" fmla="*/ 148519 h 469194"/>
                    <a:gd name="connsiteX10" fmla="*/ 445685 w 513675"/>
                    <a:gd name="connsiteY10" fmla="*/ 161219 h 469194"/>
                    <a:gd name="connsiteX11" fmla="*/ 486960 w 513675"/>
                    <a:gd name="connsiteY11" fmla="*/ 186619 h 469194"/>
                    <a:gd name="connsiteX12" fmla="*/ 509185 w 513675"/>
                    <a:gd name="connsiteY12" fmla="*/ 231069 h 469194"/>
                    <a:gd name="connsiteX13" fmla="*/ 512360 w 513675"/>
                    <a:gd name="connsiteY13" fmla="*/ 469194 h 469194"/>
                    <a:gd name="connsiteX14" fmla="*/ 4360 w 513675"/>
                    <a:gd name="connsiteY14" fmla="*/ 446969 h 469194"/>
                    <a:gd name="connsiteX0" fmla="*/ 4360 w 513675"/>
                    <a:gd name="connsiteY0" fmla="*/ 443409 h 465634"/>
                    <a:gd name="connsiteX1" fmla="*/ 7535 w 513675"/>
                    <a:gd name="connsiteY1" fmla="*/ 208459 h 465634"/>
                    <a:gd name="connsiteX2" fmla="*/ 23410 w 513675"/>
                    <a:gd name="connsiteY2" fmla="*/ 170359 h 465634"/>
                    <a:gd name="connsiteX3" fmla="*/ 71035 w 513675"/>
                    <a:gd name="connsiteY3" fmla="*/ 154484 h 465634"/>
                    <a:gd name="connsiteX4" fmla="*/ 172635 w 513675"/>
                    <a:gd name="connsiteY4" fmla="*/ 148134 h 465634"/>
                    <a:gd name="connsiteX5" fmla="*/ 188510 w 513675"/>
                    <a:gd name="connsiteY5" fmla="*/ 90984 h 465634"/>
                    <a:gd name="connsiteX6" fmla="*/ 201210 w 513675"/>
                    <a:gd name="connsiteY6" fmla="*/ 11609 h 465634"/>
                    <a:gd name="connsiteX7" fmla="*/ 312335 w 513675"/>
                    <a:gd name="connsiteY7" fmla="*/ 8434 h 465634"/>
                    <a:gd name="connsiteX8" fmla="*/ 312335 w 513675"/>
                    <a:gd name="connsiteY8" fmla="*/ 87809 h 465634"/>
                    <a:gd name="connsiteX9" fmla="*/ 353610 w 513675"/>
                    <a:gd name="connsiteY9" fmla="*/ 144959 h 465634"/>
                    <a:gd name="connsiteX10" fmla="*/ 445685 w 513675"/>
                    <a:gd name="connsiteY10" fmla="*/ 157659 h 465634"/>
                    <a:gd name="connsiteX11" fmla="*/ 486960 w 513675"/>
                    <a:gd name="connsiteY11" fmla="*/ 183059 h 465634"/>
                    <a:gd name="connsiteX12" fmla="*/ 509185 w 513675"/>
                    <a:gd name="connsiteY12" fmla="*/ 227509 h 465634"/>
                    <a:gd name="connsiteX13" fmla="*/ 512360 w 513675"/>
                    <a:gd name="connsiteY13" fmla="*/ 465634 h 465634"/>
                    <a:gd name="connsiteX14" fmla="*/ 4360 w 513675"/>
                    <a:gd name="connsiteY14" fmla="*/ 443409 h 465634"/>
                    <a:gd name="connsiteX0" fmla="*/ 4360 w 513675"/>
                    <a:gd name="connsiteY0" fmla="*/ 443409 h 465634"/>
                    <a:gd name="connsiteX1" fmla="*/ 7535 w 513675"/>
                    <a:gd name="connsiteY1" fmla="*/ 208459 h 465634"/>
                    <a:gd name="connsiteX2" fmla="*/ 23410 w 513675"/>
                    <a:gd name="connsiteY2" fmla="*/ 170359 h 465634"/>
                    <a:gd name="connsiteX3" fmla="*/ 71035 w 513675"/>
                    <a:gd name="connsiteY3" fmla="*/ 154484 h 465634"/>
                    <a:gd name="connsiteX4" fmla="*/ 172635 w 513675"/>
                    <a:gd name="connsiteY4" fmla="*/ 148134 h 465634"/>
                    <a:gd name="connsiteX5" fmla="*/ 188510 w 513675"/>
                    <a:gd name="connsiteY5" fmla="*/ 90984 h 465634"/>
                    <a:gd name="connsiteX6" fmla="*/ 201210 w 513675"/>
                    <a:gd name="connsiteY6" fmla="*/ 11609 h 465634"/>
                    <a:gd name="connsiteX7" fmla="*/ 312335 w 513675"/>
                    <a:gd name="connsiteY7" fmla="*/ 8434 h 465634"/>
                    <a:gd name="connsiteX8" fmla="*/ 312335 w 513675"/>
                    <a:gd name="connsiteY8" fmla="*/ 87809 h 465634"/>
                    <a:gd name="connsiteX9" fmla="*/ 334560 w 513675"/>
                    <a:gd name="connsiteY9" fmla="*/ 135434 h 465634"/>
                    <a:gd name="connsiteX10" fmla="*/ 445685 w 513675"/>
                    <a:gd name="connsiteY10" fmla="*/ 157659 h 465634"/>
                    <a:gd name="connsiteX11" fmla="*/ 486960 w 513675"/>
                    <a:gd name="connsiteY11" fmla="*/ 183059 h 465634"/>
                    <a:gd name="connsiteX12" fmla="*/ 509185 w 513675"/>
                    <a:gd name="connsiteY12" fmla="*/ 227509 h 465634"/>
                    <a:gd name="connsiteX13" fmla="*/ 512360 w 513675"/>
                    <a:gd name="connsiteY13" fmla="*/ 465634 h 465634"/>
                    <a:gd name="connsiteX14" fmla="*/ 4360 w 513675"/>
                    <a:gd name="connsiteY14" fmla="*/ 443409 h 465634"/>
                    <a:gd name="connsiteX0" fmla="*/ 4360 w 510500"/>
                    <a:gd name="connsiteY0" fmla="*/ 443409 h 449759"/>
                    <a:gd name="connsiteX1" fmla="*/ 7535 w 510500"/>
                    <a:gd name="connsiteY1" fmla="*/ 208459 h 449759"/>
                    <a:gd name="connsiteX2" fmla="*/ 23410 w 510500"/>
                    <a:gd name="connsiteY2" fmla="*/ 170359 h 449759"/>
                    <a:gd name="connsiteX3" fmla="*/ 71035 w 510500"/>
                    <a:gd name="connsiteY3" fmla="*/ 154484 h 449759"/>
                    <a:gd name="connsiteX4" fmla="*/ 172635 w 510500"/>
                    <a:gd name="connsiteY4" fmla="*/ 148134 h 449759"/>
                    <a:gd name="connsiteX5" fmla="*/ 188510 w 510500"/>
                    <a:gd name="connsiteY5" fmla="*/ 90984 h 449759"/>
                    <a:gd name="connsiteX6" fmla="*/ 201210 w 510500"/>
                    <a:gd name="connsiteY6" fmla="*/ 11609 h 449759"/>
                    <a:gd name="connsiteX7" fmla="*/ 312335 w 510500"/>
                    <a:gd name="connsiteY7" fmla="*/ 8434 h 449759"/>
                    <a:gd name="connsiteX8" fmla="*/ 312335 w 510500"/>
                    <a:gd name="connsiteY8" fmla="*/ 87809 h 449759"/>
                    <a:gd name="connsiteX9" fmla="*/ 334560 w 510500"/>
                    <a:gd name="connsiteY9" fmla="*/ 135434 h 449759"/>
                    <a:gd name="connsiteX10" fmla="*/ 445685 w 510500"/>
                    <a:gd name="connsiteY10" fmla="*/ 157659 h 449759"/>
                    <a:gd name="connsiteX11" fmla="*/ 486960 w 510500"/>
                    <a:gd name="connsiteY11" fmla="*/ 183059 h 449759"/>
                    <a:gd name="connsiteX12" fmla="*/ 509185 w 510500"/>
                    <a:gd name="connsiteY12" fmla="*/ 227509 h 449759"/>
                    <a:gd name="connsiteX13" fmla="*/ 506010 w 510500"/>
                    <a:gd name="connsiteY13" fmla="*/ 449759 h 449759"/>
                    <a:gd name="connsiteX14" fmla="*/ 4360 w 510500"/>
                    <a:gd name="connsiteY14" fmla="*/ 443409 h 449759"/>
                    <a:gd name="connsiteX0" fmla="*/ 4360 w 510500"/>
                    <a:gd name="connsiteY0" fmla="*/ 443409 h 454926"/>
                    <a:gd name="connsiteX1" fmla="*/ 7535 w 510500"/>
                    <a:gd name="connsiteY1" fmla="*/ 208459 h 454926"/>
                    <a:gd name="connsiteX2" fmla="*/ 23410 w 510500"/>
                    <a:gd name="connsiteY2" fmla="*/ 170359 h 454926"/>
                    <a:gd name="connsiteX3" fmla="*/ 71035 w 510500"/>
                    <a:gd name="connsiteY3" fmla="*/ 154484 h 454926"/>
                    <a:gd name="connsiteX4" fmla="*/ 172635 w 510500"/>
                    <a:gd name="connsiteY4" fmla="*/ 148134 h 454926"/>
                    <a:gd name="connsiteX5" fmla="*/ 188510 w 510500"/>
                    <a:gd name="connsiteY5" fmla="*/ 90984 h 454926"/>
                    <a:gd name="connsiteX6" fmla="*/ 201210 w 510500"/>
                    <a:gd name="connsiteY6" fmla="*/ 11609 h 454926"/>
                    <a:gd name="connsiteX7" fmla="*/ 312335 w 510500"/>
                    <a:gd name="connsiteY7" fmla="*/ 8434 h 454926"/>
                    <a:gd name="connsiteX8" fmla="*/ 312335 w 510500"/>
                    <a:gd name="connsiteY8" fmla="*/ 87809 h 454926"/>
                    <a:gd name="connsiteX9" fmla="*/ 334560 w 510500"/>
                    <a:gd name="connsiteY9" fmla="*/ 135434 h 454926"/>
                    <a:gd name="connsiteX10" fmla="*/ 445685 w 510500"/>
                    <a:gd name="connsiteY10" fmla="*/ 157659 h 454926"/>
                    <a:gd name="connsiteX11" fmla="*/ 486960 w 510500"/>
                    <a:gd name="connsiteY11" fmla="*/ 183059 h 454926"/>
                    <a:gd name="connsiteX12" fmla="*/ 509185 w 510500"/>
                    <a:gd name="connsiteY12" fmla="*/ 227509 h 454926"/>
                    <a:gd name="connsiteX13" fmla="*/ 506010 w 510500"/>
                    <a:gd name="connsiteY13" fmla="*/ 449759 h 454926"/>
                    <a:gd name="connsiteX14" fmla="*/ 4360 w 510500"/>
                    <a:gd name="connsiteY14" fmla="*/ 443409 h 454926"/>
                    <a:gd name="connsiteX0" fmla="*/ 6473 w 512613"/>
                    <a:gd name="connsiteY0" fmla="*/ 443409 h 454926"/>
                    <a:gd name="connsiteX1" fmla="*/ 9648 w 512613"/>
                    <a:gd name="connsiteY1" fmla="*/ 208459 h 454926"/>
                    <a:gd name="connsiteX2" fmla="*/ 73148 w 512613"/>
                    <a:gd name="connsiteY2" fmla="*/ 154484 h 454926"/>
                    <a:gd name="connsiteX3" fmla="*/ 174748 w 512613"/>
                    <a:gd name="connsiteY3" fmla="*/ 148134 h 454926"/>
                    <a:gd name="connsiteX4" fmla="*/ 190623 w 512613"/>
                    <a:gd name="connsiteY4" fmla="*/ 90984 h 454926"/>
                    <a:gd name="connsiteX5" fmla="*/ 203323 w 512613"/>
                    <a:gd name="connsiteY5" fmla="*/ 11609 h 454926"/>
                    <a:gd name="connsiteX6" fmla="*/ 314448 w 512613"/>
                    <a:gd name="connsiteY6" fmla="*/ 8434 h 454926"/>
                    <a:gd name="connsiteX7" fmla="*/ 314448 w 512613"/>
                    <a:gd name="connsiteY7" fmla="*/ 87809 h 454926"/>
                    <a:gd name="connsiteX8" fmla="*/ 336673 w 512613"/>
                    <a:gd name="connsiteY8" fmla="*/ 135434 h 454926"/>
                    <a:gd name="connsiteX9" fmla="*/ 447798 w 512613"/>
                    <a:gd name="connsiteY9" fmla="*/ 157659 h 454926"/>
                    <a:gd name="connsiteX10" fmla="*/ 489073 w 512613"/>
                    <a:gd name="connsiteY10" fmla="*/ 183059 h 454926"/>
                    <a:gd name="connsiteX11" fmla="*/ 511298 w 512613"/>
                    <a:gd name="connsiteY11" fmla="*/ 227509 h 454926"/>
                    <a:gd name="connsiteX12" fmla="*/ 508123 w 512613"/>
                    <a:gd name="connsiteY12" fmla="*/ 449759 h 454926"/>
                    <a:gd name="connsiteX13" fmla="*/ 6473 w 512613"/>
                    <a:gd name="connsiteY13" fmla="*/ 443409 h 454926"/>
                    <a:gd name="connsiteX0" fmla="*/ 4049 w 510189"/>
                    <a:gd name="connsiteY0" fmla="*/ 443409 h 454926"/>
                    <a:gd name="connsiteX1" fmla="*/ 7224 w 510189"/>
                    <a:gd name="connsiteY1" fmla="*/ 208459 h 454926"/>
                    <a:gd name="connsiteX2" fmla="*/ 70724 w 510189"/>
                    <a:gd name="connsiteY2" fmla="*/ 154484 h 454926"/>
                    <a:gd name="connsiteX3" fmla="*/ 172324 w 510189"/>
                    <a:gd name="connsiteY3" fmla="*/ 148134 h 454926"/>
                    <a:gd name="connsiteX4" fmla="*/ 188199 w 510189"/>
                    <a:gd name="connsiteY4" fmla="*/ 90984 h 454926"/>
                    <a:gd name="connsiteX5" fmla="*/ 200899 w 510189"/>
                    <a:gd name="connsiteY5" fmla="*/ 11609 h 454926"/>
                    <a:gd name="connsiteX6" fmla="*/ 312024 w 510189"/>
                    <a:gd name="connsiteY6" fmla="*/ 8434 h 454926"/>
                    <a:gd name="connsiteX7" fmla="*/ 312024 w 510189"/>
                    <a:gd name="connsiteY7" fmla="*/ 87809 h 454926"/>
                    <a:gd name="connsiteX8" fmla="*/ 334249 w 510189"/>
                    <a:gd name="connsiteY8" fmla="*/ 135434 h 454926"/>
                    <a:gd name="connsiteX9" fmla="*/ 445374 w 510189"/>
                    <a:gd name="connsiteY9" fmla="*/ 157659 h 454926"/>
                    <a:gd name="connsiteX10" fmla="*/ 486649 w 510189"/>
                    <a:gd name="connsiteY10" fmla="*/ 183059 h 454926"/>
                    <a:gd name="connsiteX11" fmla="*/ 508874 w 510189"/>
                    <a:gd name="connsiteY11" fmla="*/ 227509 h 454926"/>
                    <a:gd name="connsiteX12" fmla="*/ 505699 w 510189"/>
                    <a:gd name="connsiteY12" fmla="*/ 449759 h 454926"/>
                    <a:gd name="connsiteX13" fmla="*/ 4049 w 510189"/>
                    <a:gd name="connsiteY13" fmla="*/ 443409 h 454926"/>
                    <a:gd name="connsiteX0" fmla="*/ 4049 w 510189"/>
                    <a:gd name="connsiteY0" fmla="*/ 443409 h 454926"/>
                    <a:gd name="connsiteX1" fmla="*/ 7224 w 510189"/>
                    <a:gd name="connsiteY1" fmla="*/ 208459 h 454926"/>
                    <a:gd name="connsiteX2" fmla="*/ 70724 w 510189"/>
                    <a:gd name="connsiteY2" fmla="*/ 154484 h 454926"/>
                    <a:gd name="connsiteX3" fmla="*/ 172324 w 510189"/>
                    <a:gd name="connsiteY3" fmla="*/ 148134 h 454926"/>
                    <a:gd name="connsiteX4" fmla="*/ 188199 w 510189"/>
                    <a:gd name="connsiteY4" fmla="*/ 90984 h 454926"/>
                    <a:gd name="connsiteX5" fmla="*/ 200899 w 510189"/>
                    <a:gd name="connsiteY5" fmla="*/ 11609 h 454926"/>
                    <a:gd name="connsiteX6" fmla="*/ 312024 w 510189"/>
                    <a:gd name="connsiteY6" fmla="*/ 8434 h 454926"/>
                    <a:gd name="connsiteX7" fmla="*/ 312024 w 510189"/>
                    <a:gd name="connsiteY7" fmla="*/ 87809 h 454926"/>
                    <a:gd name="connsiteX8" fmla="*/ 334249 w 510189"/>
                    <a:gd name="connsiteY8" fmla="*/ 135434 h 454926"/>
                    <a:gd name="connsiteX9" fmla="*/ 445374 w 510189"/>
                    <a:gd name="connsiteY9" fmla="*/ 157659 h 454926"/>
                    <a:gd name="connsiteX10" fmla="*/ 508874 w 510189"/>
                    <a:gd name="connsiteY10" fmla="*/ 227509 h 454926"/>
                    <a:gd name="connsiteX11" fmla="*/ 505699 w 510189"/>
                    <a:gd name="connsiteY11" fmla="*/ 449759 h 454926"/>
                    <a:gd name="connsiteX12" fmla="*/ 4049 w 510189"/>
                    <a:gd name="connsiteY12" fmla="*/ 443409 h 454926"/>
                    <a:gd name="connsiteX0" fmla="*/ 4049 w 510189"/>
                    <a:gd name="connsiteY0" fmla="*/ 443409 h 454926"/>
                    <a:gd name="connsiteX1" fmla="*/ 7224 w 510189"/>
                    <a:gd name="connsiteY1" fmla="*/ 208459 h 454926"/>
                    <a:gd name="connsiteX2" fmla="*/ 70724 w 510189"/>
                    <a:gd name="connsiteY2" fmla="*/ 154484 h 454926"/>
                    <a:gd name="connsiteX3" fmla="*/ 172324 w 510189"/>
                    <a:gd name="connsiteY3" fmla="*/ 148134 h 454926"/>
                    <a:gd name="connsiteX4" fmla="*/ 188199 w 510189"/>
                    <a:gd name="connsiteY4" fmla="*/ 90984 h 454926"/>
                    <a:gd name="connsiteX5" fmla="*/ 200899 w 510189"/>
                    <a:gd name="connsiteY5" fmla="*/ 11609 h 454926"/>
                    <a:gd name="connsiteX6" fmla="*/ 312024 w 510189"/>
                    <a:gd name="connsiteY6" fmla="*/ 8434 h 454926"/>
                    <a:gd name="connsiteX7" fmla="*/ 312024 w 510189"/>
                    <a:gd name="connsiteY7" fmla="*/ 87809 h 454926"/>
                    <a:gd name="connsiteX8" fmla="*/ 334249 w 510189"/>
                    <a:gd name="connsiteY8" fmla="*/ 135434 h 454926"/>
                    <a:gd name="connsiteX9" fmla="*/ 445374 w 510189"/>
                    <a:gd name="connsiteY9" fmla="*/ 157659 h 454926"/>
                    <a:gd name="connsiteX10" fmla="*/ 508874 w 510189"/>
                    <a:gd name="connsiteY10" fmla="*/ 227509 h 454926"/>
                    <a:gd name="connsiteX11" fmla="*/ 505699 w 510189"/>
                    <a:gd name="connsiteY11" fmla="*/ 449759 h 454926"/>
                    <a:gd name="connsiteX12" fmla="*/ 4049 w 510189"/>
                    <a:gd name="connsiteY12" fmla="*/ 443409 h 454926"/>
                    <a:gd name="connsiteX0" fmla="*/ 5987 w 512127"/>
                    <a:gd name="connsiteY0" fmla="*/ 443409 h 454926"/>
                    <a:gd name="connsiteX1" fmla="*/ 2812 w 512127"/>
                    <a:gd name="connsiteY1" fmla="*/ 217984 h 454926"/>
                    <a:gd name="connsiteX2" fmla="*/ 72662 w 512127"/>
                    <a:gd name="connsiteY2" fmla="*/ 154484 h 454926"/>
                    <a:gd name="connsiteX3" fmla="*/ 174262 w 512127"/>
                    <a:gd name="connsiteY3" fmla="*/ 148134 h 454926"/>
                    <a:gd name="connsiteX4" fmla="*/ 190137 w 512127"/>
                    <a:gd name="connsiteY4" fmla="*/ 90984 h 454926"/>
                    <a:gd name="connsiteX5" fmla="*/ 202837 w 512127"/>
                    <a:gd name="connsiteY5" fmla="*/ 11609 h 454926"/>
                    <a:gd name="connsiteX6" fmla="*/ 313962 w 512127"/>
                    <a:gd name="connsiteY6" fmla="*/ 8434 h 454926"/>
                    <a:gd name="connsiteX7" fmla="*/ 313962 w 512127"/>
                    <a:gd name="connsiteY7" fmla="*/ 87809 h 454926"/>
                    <a:gd name="connsiteX8" fmla="*/ 336187 w 512127"/>
                    <a:gd name="connsiteY8" fmla="*/ 135434 h 454926"/>
                    <a:gd name="connsiteX9" fmla="*/ 447312 w 512127"/>
                    <a:gd name="connsiteY9" fmla="*/ 157659 h 454926"/>
                    <a:gd name="connsiteX10" fmla="*/ 510812 w 512127"/>
                    <a:gd name="connsiteY10" fmla="*/ 227509 h 454926"/>
                    <a:gd name="connsiteX11" fmla="*/ 507637 w 512127"/>
                    <a:gd name="connsiteY11" fmla="*/ 449759 h 454926"/>
                    <a:gd name="connsiteX12" fmla="*/ 5987 w 512127"/>
                    <a:gd name="connsiteY12" fmla="*/ 443409 h 454926"/>
                    <a:gd name="connsiteX0" fmla="*/ 9762 w 515902"/>
                    <a:gd name="connsiteY0" fmla="*/ 443409 h 454926"/>
                    <a:gd name="connsiteX1" fmla="*/ 6587 w 515902"/>
                    <a:gd name="connsiteY1" fmla="*/ 217984 h 454926"/>
                    <a:gd name="connsiteX2" fmla="*/ 76437 w 515902"/>
                    <a:gd name="connsiteY2" fmla="*/ 154484 h 454926"/>
                    <a:gd name="connsiteX3" fmla="*/ 178037 w 515902"/>
                    <a:gd name="connsiteY3" fmla="*/ 148134 h 454926"/>
                    <a:gd name="connsiteX4" fmla="*/ 193912 w 515902"/>
                    <a:gd name="connsiteY4" fmla="*/ 90984 h 454926"/>
                    <a:gd name="connsiteX5" fmla="*/ 206612 w 515902"/>
                    <a:gd name="connsiteY5" fmla="*/ 11609 h 454926"/>
                    <a:gd name="connsiteX6" fmla="*/ 317737 w 515902"/>
                    <a:gd name="connsiteY6" fmla="*/ 8434 h 454926"/>
                    <a:gd name="connsiteX7" fmla="*/ 317737 w 515902"/>
                    <a:gd name="connsiteY7" fmla="*/ 87809 h 454926"/>
                    <a:gd name="connsiteX8" fmla="*/ 339962 w 515902"/>
                    <a:gd name="connsiteY8" fmla="*/ 135434 h 454926"/>
                    <a:gd name="connsiteX9" fmla="*/ 451087 w 515902"/>
                    <a:gd name="connsiteY9" fmla="*/ 157659 h 454926"/>
                    <a:gd name="connsiteX10" fmla="*/ 514587 w 515902"/>
                    <a:gd name="connsiteY10" fmla="*/ 227509 h 454926"/>
                    <a:gd name="connsiteX11" fmla="*/ 511412 w 515902"/>
                    <a:gd name="connsiteY11" fmla="*/ 449759 h 454926"/>
                    <a:gd name="connsiteX12" fmla="*/ 9762 w 515902"/>
                    <a:gd name="connsiteY12" fmla="*/ 443409 h 454926"/>
                    <a:gd name="connsiteX0" fmla="*/ 9762 w 515902"/>
                    <a:gd name="connsiteY0" fmla="*/ 443409 h 454926"/>
                    <a:gd name="connsiteX1" fmla="*/ 6587 w 515902"/>
                    <a:gd name="connsiteY1" fmla="*/ 217984 h 454926"/>
                    <a:gd name="connsiteX2" fmla="*/ 76437 w 515902"/>
                    <a:gd name="connsiteY2" fmla="*/ 154484 h 454926"/>
                    <a:gd name="connsiteX3" fmla="*/ 178037 w 515902"/>
                    <a:gd name="connsiteY3" fmla="*/ 148134 h 454926"/>
                    <a:gd name="connsiteX4" fmla="*/ 193912 w 515902"/>
                    <a:gd name="connsiteY4" fmla="*/ 90984 h 454926"/>
                    <a:gd name="connsiteX5" fmla="*/ 206612 w 515902"/>
                    <a:gd name="connsiteY5" fmla="*/ 11609 h 454926"/>
                    <a:gd name="connsiteX6" fmla="*/ 317737 w 515902"/>
                    <a:gd name="connsiteY6" fmla="*/ 8434 h 454926"/>
                    <a:gd name="connsiteX7" fmla="*/ 317737 w 515902"/>
                    <a:gd name="connsiteY7" fmla="*/ 87809 h 454926"/>
                    <a:gd name="connsiteX8" fmla="*/ 339962 w 515902"/>
                    <a:gd name="connsiteY8" fmla="*/ 135434 h 454926"/>
                    <a:gd name="connsiteX9" fmla="*/ 451087 w 515902"/>
                    <a:gd name="connsiteY9" fmla="*/ 157659 h 454926"/>
                    <a:gd name="connsiteX10" fmla="*/ 514587 w 515902"/>
                    <a:gd name="connsiteY10" fmla="*/ 227509 h 454926"/>
                    <a:gd name="connsiteX11" fmla="*/ 511412 w 515902"/>
                    <a:gd name="connsiteY11" fmla="*/ 449759 h 454926"/>
                    <a:gd name="connsiteX12" fmla="*/ 9762 w 515902"/>
                    <a:gd name="connsiteY12" fmla="*/ 443409 h 454926"/>
                    <a:gd name="connsiteX0" fmla="*/ 9762 w 515902"/>
                    <a:gd name="connsiteY0" fmla="*/ 443409 h 454926"/>
                    <a:gd name="connsiteX1" fmla="*/ 6587 w 515902"/>
                    <a:gd name="connsiteY1" fmla="*/ 217984 h 454926"/>
                    <a:gd name="connsiteX2" fmla="*/ 76437 w 515902"/>
                    <a:gd name="connsiteY2" fmla="*/ 154484 h 454926"/>
                    <a:gd name="connsiteX3" fmla="*/ 193912 w 515902"/>
                    <a:gd name="connsiteY3" fmla="*/ 90984 h 454926"/>
                    <a:gd name="connsiteX4" fmla="*/ 206612 w 515902"/>
                    <a:gd name="connsiteY4" fmla="*/ 11609 h 454926"/>
                    <a:gd name="connsiteX5" fmla="*/ 317737 w 515902"/>
                    <a:gd name="connsiteY5" fmla="*/ 8434 h 454926"/>
                    <a:gd name="connsiteX6" fmla="*/ 317737 w 515902"/>
                    <a:gd name="connsiteY6" fmla="*/ 87809 h 454926"/>
                    <a:gd name="connsiteX7" fmla="*/ 339962 w 515902"/>
                    <a:gd name="connsiteY7" fmla="*/ 135434 h 454926"/>
                    <a:gd name="connsiteX8" fmla="*/ 451087 w 515902"/>
                    <a:gd name="connsiteY8" fmla="*/ 157659 h 454926"/>
                    <a:gd name="connsiteX9" fmla="*/ 514587 w 515902"/>
                    <a:gd name="connsiteY9" fmla="*/ 227509 h 454926"/>
                    <a:gd name="connsiteX10" fmla="*/ 511412 w 515902"/>
                    <a:gd name="connsiteY10" fmla="*/ 449759 h 454926"/>
                    <a:gd name="connsiteX11" fmla="*/ 9762 w 515902"/>
                    <a:gd name="connsiteY11" fmla="*/ 443409 h 454926"/>
                    <a:gd name="connsiteX0" fmla="*/ 9762 w 515902"/>
                    <a:gd name="connsiteY0" fmla="*/ 446099 h 457616"/>
                    <a:gd name="connsiteX1" fmla="*/ 6587 w 515902"/>
                    <a:gd name="connsiteY1" fmla="*/ 220674 h 457616"/>
                    <a:gd name="connsiteX2" fmla="*/ 76437 w 515902"/>
                    <a:gd name="connsiteY2" fmla="*/ 157174 h 457616"/>
                    <a:gd name="connsiteX3" fmla="*/ 190737 w 515902"/>
                    <a:gd name="connsiteY3" fmla="*/ 138124 h 457616"/>
                    <a:gd name="connsiteX4" fmla="*/ 206612 w 515902"/>
                    <a:gd name="connsiteY4" fmla="*/ 14299 h 457616"/>
                    <a:gd name="connsiteX5" fmla="*/ 317737 w 515902"/>
                    <a:gd name="connsiteY5" fmla="*/ 11124 h 457616"/>
                    <a:gd name="connsiteX6" fmla="*/ 317737 w 515902"/>
                    <a:gd name="connsiteY6" fmla="*/ 90499 h 457616"/>
                    <a:gd name="connsiteX7" fmla="*/ 339962 w 515902"/>
                    <a:gd name="connsiteY7" fmla="*/ 138124 h 457616"/>
                    <a:gd name="connsiteX8" fmla="*/ 451087 w 515902"/>
                    <a:gd name="connsiteY8" fmla="*/ 160349 h 457616"/>
                    <a:gd name="connsiteX9" fmla="*/ 514587 w 515902"/>
                    <a:gd name="connsiteY9" fmla="*/ 230199 h 457616"/>
                    <a:gd name="connsiteX10" fmla="*/ 511412 w 515902"/>
                    <a:gd name="connsiteY10" fmla="*/ 452449 h 457616"/>
                    <a:gd name="connsiteX11" fmla="*/ 9762 w 515902"/>
                    <a:gd name="connsiteY11" fmla="*/ 446099 h 457616"/>
                    <a:gd name="connsiteX0" fmla="*/ 9762 w 515902"/>
                    <a:gd name="connsiteY0" fmla="*/ 446099 h 457616"/>
                    <a:gd name="connsiteX1" fmla="*/ 6587 w 515902"/>
                    <a:gd name="connsiteY1" fmla="*/ 220674 h 457616"/>
                    <a:gd name="connsiteX2" fmla="*/ 76437 w 515902"/>
                    <a:gd name="connsiteY2" fmla="*/ 157174 h 457616"/>
                    <a:gd name="connsiteX3" fmla="*/ 190737 w 515902"/>
                    <a:gd name="connsiteY3" fmla="*/ 138124 h 457616"/>
                    <a:gd name="connsiteX4" fmla="*/ 206612 w 515902"/>
                    <a:gd name="connsiteY4" fmla="*/ 14299 h 457616"/>
                    <a:gd name="connsiteX5" fmla="*/ 317737 w 515902"/>
                    <a:gd name="connsiteY5" fmla="*/ 11124 h 457616"/>
                    <a:gd name="connsiteX6" fmla="*/ 317737 w 515902"/>
                    <a:gd name="connsiteY6" fmla="*/ 90499 h 457616"/>
                    <a:gd name="connsiteX7" fmla="*/ 451087 w 515902"/>
                    <a:gd name="connsiteY7" fmla="*/ 160349 h 457616"/>
                    <a:gd name="connsiteX8" fmla="*/ 514587 w 515902"/>
                    <a:gd name="connsiteY8" fmla="*/ 230199 h 457616"/>
                    <a:gd name="connsiteX9" fmla="*/ 511412 w 515902"/>
                    <a:gd name="connsiteY9" fmla="*/ 452449 h 457616"/>
                    <a:gd name="connsiteX10" fmla="*/ 9762 w 515902"/>
                    <a:gd name="connsiteY10" fmla="*/ 446099 h 457616"/>
                    <a:gd name="connsiteX0" fmla="*/ 9762 w 515902"/>
                    <a:gd name="connsiteY0" fmla="*/ 447482 h 458999"/>
                    <a:gd name="connsiteX1" fmla="*/ 6587 w 515902"/>
                    <a:gd name="connsiteY1" fmla="*/ 222057 h 458999"/>
                    <a:gd name="connsiteX2" fmla="*/ 76437 w 515902"/>
                    <a:gd name="connsiteY2" fmla="*/ 158557 h 458999"/>
                    <a:gd name="connsiteX3" fmla="*/ 190737 w 515902"/>
                    <a:gd name="connsiteY3" fmla="*/ 139507 h 458999"/>
                    <a:gd name="connsiteX4" fmla="*/ 206612 w 515902"/>
                    <a:gd name="connsiteY4" fmla="*/ 15682 h 458999"/>
                    <a:gd name="connsiteX5" fmla="*/ 317737 w 515902"/>
                    <a:gd name="connsiteY5" fmla="*/ 12507 h 458999"/>
                    <a:gd name="connsiteX6" fmla="*/ 330437 w 515902"/>
                    <a:gd name="connsiteY6" fmla="*/ 114107 h 458999"/>
                    <a:gd name="connsiteX7" fmla="*/ 451087 w 515902"/>
                    <a:gd name="connsiteY7" fmla="*/ 161732 h 458999"/>
                    <a:gd name="connsiteX8" fmla="*/ 514587 w 515902"/>
                    <a:gd name="connsiteY8" fmla="*/ 231582 h 458999"/>
                    <a:gd name="connsiteX9" fmla="*/ 511412 w 515902"/>
                    <a:gd name="connsiteY9" fmla="*/ 453832 h 458999"/>
                    <a:gd name="connsiteX10" fmla="*/ 9762 w 515902"/>
                    <a:gd name="connsiteY10" fmla="*/ 447482 h 458999"/>
                    <a:gd name="connsiteX0" fmla="*/ 9762 w 515902"/>
                    <a:gd name="connsiteY0" fmla="*/ 446348 h 457865"/>
                    <a:gd name="connsiteX1" fmla="*/ 6587 w 515902"/>
                    <a:gd name="connsiteY1" fmla="*/ 220923 h 457865"/>
                    <a:gd name="connsiteX2" fmla="*/ 76437 w 515902"/>
                    <a:gd name="connsiteY2" fmla="*/ 157423 h 457865"/>
                    <a:gd name="connsiteX3" fmla="*/ 200262 w 515902"/>
                    <a:gd name="connsiteY3" fmla="*/ 119323 h 457865"/>
                    <a:gd name="connsiteX4" fmla="*/ 206612 w 515902"/>
                    <a:gd name="connsiteY4" fmla="*/ 14548 h 457865"/>
                    <a:gd name="connsiteX5" fmla="*/ 317737 w 515902"/>
                    <a:gd name="connsiteY5" fmla="*/ 11373 h 457865"/>
                    <a:gd name="connsiteX6" fmla="*/ 330437 w 515902"/>
                    <a:gd name="connsiteY6" fmla="*/ 112973 h 457865"/>
                    <a:gd name="connsiteX7" fmla="*/ 451087 w 515902"/>
                    <a:gd name="connsiteY7" fmla="*/ 160598 h 457865"/>
                    <a:gd name="connsiteX8" fmla="*/ 514587 w 515902"/>
                    <a:gd name="connsiteY8" fmla="*/ 230448 h 457865"/>
                    <a:gd name="connsiteX9" fmla="*/ 511412 w 515902"/>
                    <a:gd name="connsiteY9" fmla="*/ 452698 h 457865"/>
                    <a:gd name="connsiteX10" fmla="*/ 9762 w 515902"/>
                    <a:gd name="connsiteY10" fmla="*/ 446348 h 457865"/>
                    <a:gd name="connsiteX0" fmla="*/ 9762 w 515902"/>
                    <a:gd name="connsiteY0" fmla="*/ 446681 h 458198"/>
                    <a:gd name="connsiteX1" fmla="*/ 6587 w 515902"/>
                    <a:gd name="connsiteY1" fmla="*/ 221256 h 458198"/>
                    <a:gd name="connsiteX2" fmla="*/ 76437 w 515902"/>
                    <a:gd name="connsiteY2" fmla="*/ 157756 h 458198"/>
                    <a:gd name="connsiteX3" fmla="*/ 200262 w 515902"/>
                    <a:gd name="connsiteY3" fmla="*/ 119656 h 458198"/>
                    <a:gd name="connsiteX4" fmla="*/ 206612 w 515902"/>
                    <a:gd name="connsiteY4" fmla="*/ 14881 h 458198"/>
                    <a:gd name="connsiteX5" fmla="*/ 317737 w 515902"/>
                    <a:gd name="connsiteY5" fmla="*/ 11706 h 458198"/>
                    <a:gd name="connsiteX6" fmla="*/ 311502 w 515902"/>
                    <a:gd name="connsiteY6" fmla="*/ 118302 h 458198"/>
                    <a:gd name="connsiteX7" fmla="*/ 451087 w 515902"/>
                    <a:gd name="connsiteY7" fmla="*/ 160931 h 458198"/>
                    <a:gd name="connsiteX8" fmla="*/ 514587 w 515902"/>
                    <a:gd name="connsiteY8" fmla="*/ 230781 h 458198"/>
                    <a:gd name="connsiteX9" fmla="*/ 511412 w 515902"/>
                    <a:gd name="connsiteY9" fmla="*/ 453031 h 458198"/>
                    <a:gd name="connsiteX10" fmla="*/ 9762 w 515902"/>
                    <a:gd name="connsiteY10" fmla="*/ 446681 h 458198"/>
                    <a:gd name="connsiteX0" fmla="*/ 9762 w 515902"/>
                    <a:gd name="connsiteY0" fmla="*/ 446681 h 458198"/>
                    <a:gd name="connsiteX1" fmla="*/ 6587 w 515902"/>
                    <a:gd name="connsiteY1" fmla="*/ 221256 h 458198"/>
                    <a:gd name="connsiteX2" fmla="*/ 76437 w 515902"/>
                    <a:gd name="connsiteY2" fmla="*/ 157756 h 458198"/>
                    <a:gd name="connsiteX3" fmla="*/ 200262 w 515902"/>
                    <a:gd name="connsiteY3" fmla="*/ 119656 h 458198"/>
                    <a:gd name="connsiteX4" fmla="*/ 206612 w 515902"/>
                    <a:gd name="connsiteY4" fmla="*/ 14881 h 458198"/>
                    <a:gd name="connsiteX5" fmla="*/ 301506 w 515902"/>
                    <a:gd name="connsiteY5" fmla="*/ 11706 h 458198"/>
                    <a:gd name="connsiteX6" fmla="*/ 311502 w 515902"/>
                    <a:gd name="connsiteY6" fmla="*/ 118302 h 458198"/>
                    <a:gd name="connsiteX7" fmla="*/ 451087 w 515902"/>
                    <a:gd name="connsiteY7" fmla="*/ 160931 h 458198"/>
                    <a:gd name="connsiteX8" fmla="*/ 514587 w 515902"/>
                    <a:gd name="connsiteY8" fmla="*/ 230781 h 458198"/>
                    <a:gd name="connsiteX9" fmla="*/ 511412 w 515902"/>
                    <a:gd name="connsiteY9" fmla="*/ 453031 h 458198"/>
                    <a:gd name="connsiteX10" fmla="*/ 9762 w 515902"/>
                    <a:gd name="connsiteY10" fmla="*/ 446681 h 458198"/>
                    <a:gd name="connsiteX0" fmla="*/ 9762 w 515902"/>
                    <a:gd name="connsiteY0" fmla="*/ 446681 h 458198"/>
                    <a:gd name="connsiteX1" fmla="*/ 6587 w 515902"/>
                    <a:gd name="connsiteY1" fmla="*/ 221256 h 458198"/>
                    <a:gd name="connsiteX2" fmla="*/ 76437 w 515902"/>
                    <a:gd name="connsiteY2" fmla="*/ 157756 h 458198"/>
                    <a:gd name="connsiteX3" fmla="*/ 200262 w 515902"/>
                    <a:gd name="connsiteY3" fmla="*/ 119656 h 458198"/>
                    <a:gd name="connsiteX4" fmla="*/ 206612 w 515902"/>
                    <a:gd name="connsiteY4" fmla="*/ 14881 h 458198"/>
                    <a:gd name="connsiteX5" fmla="*/ 301506 w 515902"/>
                    <a:gd name="connsiteY5" fmla="*/ 11706 h 458198"/>
                    <a:gd name="connsiteX6" fmla="*/ 311502 w 515902"/>
                    <a:gd name="connsiteY6" fmla="*/ 118302 h 458198"/>
                    <a:gd name="connsiteX7" fmla="*/ 442972 w 515902"/>
                    <a:gd name="connsiteY7" fmla="*/ 180912 h 458198"/>
                    <a:gd name="connsiteX8" fmla="*/ 514587 w 515902"/>
                    <a:gd name="connsiteY8" fmla="*/ 230781 h 458198"/>
                    <a:gd name="connsiteX9" fmla="*/ 511412 w 515902"/>
                    <a:gd name="connsiteY9" fmla="*/ 453031 h 458198"/>
                    <a:gd name="connsiteX10" fmla="*/ 9762 w 515902"/>
                    <a:gd name="connsiteY10" fmla="*/ 446681 h 458198"/>
                    <a:gd name="connsiteX0" fmla="*/ 9762 w 511905"/>
                    <a:gd name="connsiteY0" fmla="*/ 446681 h 458198"/>
                    <a:gd name="connsiteX1" fmla="*/ 6587 w 511905"/>
                    <a:gd name="connsiteY1" fmla="*/ 221256 h 458198"/>
                    <a:gd name="connsiteX2" fmla="*/ 76437 w 511905"/>
                    <a:gd name="connsiteY2" fmla="*/ 157756 h 458198"/>
                    <a:gd name="connsiteX3" fmla="*/ 200262 w 511905"/>
                    <a:gd name="connsiteY3" fmla="*/ 119656 h 458198"/>
                    <a:gd name="connsiteX4" fmla="*/ 206612 w 511905"/>
                    <a:gd name="connsiteY4" fmla="*/ 14881 h 458198"/>
                    <a:gd name="connsiteX5" fmla="*/ 301506 w 511905"/>
                    <a:gd name="connsiteY5" fmla="*/ 11706 h 458198"/>
                    <a:gd name="connsiteX6" fmla="*/ 311502 w 511905"/>
                    <a:gd name="connsiteY6" fmla="*/ 118302 h 458198"/>
                    <a:gd name="connsiteX7" fmla="*/ 442972 w 511905"/>
                    <a:gd name="connsiteY7" fmla="*/ 180912 h 458198"/>
                    <a:gd name="connsiteX8" fmla="*/ 498357 w 511905"/>
                    <a:gd name="connsiteY8" fmla="*/ 250762 h 458198"/>
                    <a:gd name="connsiteX9" fmla="*/ 511412 w 511905"/>
                    <a:gd name="connsiteY9" fmla="*/ 453031 h 458198"/>
                    <a:gd name="connsiteX10" fmla="*/ 9762 w 511905"/>
                    <a:gd name="connsiteY10" fmla="*/ 446681 h 458198"/>
                    <a:gd name="connsiteX0" fmla="*/ 9762 w 511905"/>
                    <a:gd name="connsiteY0" fmla="*/ 446681 h 458198"/>
                    <a:gd name="connsiteX1" fmla="*/ 6587 w 511905"/>
                    <a:gd name="connsiteY1" fmla="*/ 221256 h 458198"/>
                    <a:gd name="connsiteX2" fmla="*/ 76437 w 511905"/>
                    <a:gd name="connsiteY2" fmla="*/ 157756 h 458198"/>
                    <a:gd name="connsiteX3" fmla="*/ 200262 w 511905"/>
                    <a:gd name="connsiteY3" fmla="*/ 119656 h 458198"/>
                    <a:gd name="connsiteX4" fmla="*/ 206612 w 511905"/>
                    <a:gd name="connsiteY4" fmla="*/ 14881 h 458198"/>
                    <a:gd name="connsiteX5" fmla="*/ 301506 w 511905"/>
                    <a:gd name="connsiteY5" fmla="*/ 11706 h 458198"/>
                    <a:gd name="connsiteX6" fmla="*/ 311502 w 511905"/>
                    <a:gd name="connsiteY6" fmla="*/ 118302 h 458198"/>
                    <a:gd name="connsiteX7" fmla="*/ 437562 w 511905"/>
                    <a:gd name="connsiteY7" fmla="*/ 198396 h 458198"/>
                    <a:gd name="connsiteX8" fmla="*/ 498357 w 511905"/>
                    <a:gd name="connsiteY8" fmla="*/ 250762 h 458198"/>
                    <a:gd name="connsiteX9" fmla="*/ 511412 w 511905"/>
                    <a:gd name="connsiteY9" fmla="*/ 453031 h 458198"/>
                    <a:gd name="connsiteX10" fmla="*/ 9762 w 511905"/>
                    <a:gd name="connsiteY10" fmla="*/ 446681 h 458198"/>
                    <a:gd name="connsiteX0" fmla="*/ 9762 w 511905"/>
                    <a:gd name="connsiteY0" fmla="*/ 446681 h 458198"/>
                    <a:gd name="connsiteX1" fmla="*/ 6587 w 511905"/>
                    <a:gd name="connsiteY1" fmla="*/ 221256 h 458198"/>
                    <a:gd name="connsiteX2" fmla="*/ 76437 w 511905"/>
                    <a:gd name="connsiteY2" fmla="*/ 157756 h 458198"/>
                    <a:gd name="connsiteX3" fmla="*/ 200262 w 511905"/>
                    <a:gd name="connsiteY3" fmla="*/ 119656 h 458198"/>
                    <a:gd name="connsiteX4" fmla="*/ 206612 w 511905"/>
                    <a:gd name="connsiteY4" fmla="*/ 14881 h 458198"/>
                    <a:gd name="connsiteX5" fmla="*/ 301506 w 511905"/>
                    <a:gd name="connsiteY5" fmla="*/ 11706 h 458198"/>
                    <a:gd name="connsiteX6" fmla="*/ 311502 w 511905"/>
                    <a:gd name="connsiteY6" fmla="*/ 118302 h 458198"/>
                    <a:gd name="connsiteX7" fmla="*/ 451087 w 511905"/>
                    <a:gd name="connsiteY7" fmla="*/ 188406 h 458198"/>
                    <a:gd name="connsiteX8" fmla="*/ 498357 w 511905"/>
                    <a:gd name="connsiteY8" fmla="*/ 250762 h 458198"/>
                    <a:gd name="connsiteX9" fmla="*/ 511412 w 511905"/>
                    <a:gd name="connsiteY9" fmla="*/ 453031 h 458198"/>
                    <a:gd name="connsiteX10" fmla="*/ 9762 w 511905"/>
                    <a:gd name="connsiteY10" fmla="*/ 446681 h 458198"/>
                    <a:gd name="connsiteX0" fmla="*/ 9762 w 511905"/>
                    <a:gd name="connsiteY0" fmla="*/ 447695 h 459212"/>
                    <a:gd name="connsiteX1" fmla="*/ 6587 w 511905"/>
                    <a:gd name="connsiteY1" fmla="*/ 222270 h 459212"/>
                    <a:gd name="connsiteX2" fmla="*/ 76437 w 511905"/>
                    <a:gd name="connsiteY2" fmla="*/ 158770 h 459212"/>
                    <a:gd name="connsiteX3" fmla="*/ 200262 w 511905"/>
                    <a:gd name="connsiteY3" fmla="*/ 120670 h 459212"/>
                    <a:gd name="connsiteX4" fmla="*/ 206612 w 511905"/>
                    <a:gd name="connsiteY4" fmla="*/ 15895 h 459212"/>
                    <a:gd name="connsiteX5" fmla="*/ 301506 w 511905"/>
                    <a:gd name="connsiteY5" fmla="*/ 12720 h 459212"/>
                    <a:gd name="connsiteX6" fmla="*/ 311502 w 511905"/>
                    <a:gd name="connsiteY6" fmla="*/ 134302 h 459212"/>
                    <a:gd name="connsiteX7" fmla="*/ 451087 w 511905"/>
                    <a:gd name="connsiteY7" fmla="*/ 189420 h 459212"/>
                    <a:gd name="connsiteX8" fmla="*/ 498357 w 511905"/>
                    <a:gd name="connsiteY8" fmla="*/ 251776 h 459212"/>
                    <a:gd name="connsiteX9" fmla="*/ 511412 w 511905"/>
                    <a:gd name="connsiteY9" fmla="*/ 454045 h 459212"/>
                    <a:gd name="connsiteX10" fmla="*/ 9762 w 511905"/>
                    <a:gd name="connsiteY10" fmla="*/ 447695 h 459212"/>
                    <a:gd name="connsiteX0" fmla="*/ 4227 w 522600"/>
                    <a:gd name="connsiteY0" fmla="*/ 455188 h 463021"/>
                    <a:gd name="connsiteX1" fmla="*/ 17282 w 522600"/>
                    <a:gd name="connsiteY1" fmla="*/ 222270 h 463021"/>
                    <a:gd name="connsiteX2" fmla="*/ 87132 w 522600"/>
                    <a:gd name="connsiteY2" fmla="*/ 158770 h 463021"/>
                    <a:gd name="connsiteX3" fmla="*/ 210957 w 522600"/>
                    <a:gd name="connsiteY3" fmla="*/ 120670 h 463021"/>
                    <a:gd name="connsiteX4" fmla="*/ 217307 w 522600"/>
                    <a:gd name="connsiteY4" fmla="*/ 15895 h 463021"/>
                    <a:gd name="connsiteX5" fmla="*/ 312201 w 522600"/>
                    <a:gd name="connsiteY5" fmla="*/ 12720 h 463021"/>
                    <a:gd name="connsiteX6" fmla="*/ 322197 w 522600"/>
                    <a:gd name="connsiteY6" fmla="*/ 134302 h 463021"/>
                    <a:gd name="connsiteX7" fmla="*/ 461782 w 522600"/>
                    <a:gd name="connsiteY7" fmla="*/ 189420 h 463021"/>
                    <a:gd name="connsiteX8" fmla="*/ 509052 w 522600"/>
                    <a:gd name="connsiteY8" fmla="*/ 251776 h 463021"/>
                    <a:gd name="connsiteX9" fmla="*/ 522107 w 522600"/>
                    <a:gd name="connsiteY9" fmla="*/ 454045 h 463021"/>
                    <a:gd name="connsiteX10" fmla="*/ 4227 w 522600"/>
                    <a:gd name="connsiteY10" fmla="*/ 455188 h 463021"/>
                    <a:gd name="connsiteX0" fmla="*/ 4227 w 522600"/>
                    <a:gd name="connsiteY0" fmla="*/ 455188 h 457596"/>
                    <a:gd name="connsiteX1" fmla="*/ 17282 w 522600"/>
                    <a:gd name="connsiteY1" fmla="*/ 222270 h 457596"/>
                    <a:gd name="connsiteX2" fmla="*/ 87132 w 522600"/>
                    <a:gd name="connsiteY2" fmla="*/ 158770 h 457596"/>
                    <a:gd name="connsiteX3" fmla="*/ 210957 w 522600"/>
                    <a:gd name="connsiteY3" fmla="*/ 120670 h 457596"/>
                    <a:gd name="connsiteX4" fmla="*/ 217307 w 522600"/>
                    <a:gd name="connsiteY4" fmla="*/ 15895 h 457596"/>
                    <a:gd name="connsiteX5" fmla="*/ 312201 w 522600"/>
                    <a:gd name="connsiteY5" fmla="*/ 12720 h 457596"/>
                    <a:gd name="connsiteX6" fmla="*/ 322197 w 522600"/>
                    <a:gd name="connsiteY6" fmla="*/ 134302 h 457596"/>
                    <a:gd name="connsiteX7" fmla="*/ 461782 w 522600"/>
                    <a:gd name="connsiteY7" fmla="*/ 189420 h 457596"/>
                    <a:gd name="connsiteX8" fmla="*/ 509052 w 522600"/>
                    <a:gd name="connsiteY8" fmla="*/ 251776 h 457596"/>
                    <a:gd name="connsiteX9" fmla="*/ 522107 w 522600"/>
                    <a:gd name="connsiteY9" fmla="*/ 454045 h 457596"/>
                    <a:gd name="connsiteX10" fmla="*/ 4227 w 522600"/>
                    <a:gd name="connsiteY10" fmla="*/ 455188 h 457596"/>
                    <a:gd name="connsiteX0" fmla="*/ 12757 w 531130"/>
                    <a:gd name="connsiteY0" fmla="*/ 455188 h 457596"/>
                    <a:gd name="connsiteX1" fmla="*/ 6876 w 531130"/>
                    <a:gd name="connsiteY1" fmla="*/ 237256 h 457596"/>
                    <a:gd name="connsiteX2" fmla="*/ 95662 w 531130"/>
                    <a:gd name="connsiteY2" fmla="*/ 158770 h 457596"/>
                    <a:gd name="connsiteX3" fmla="*/ 219487 w 531130"/>
                    <a:gd name="connsiteY3" fmla="*/ 120670 h 457596"/>
                    <a:gd name="connsiteX4" fmla="*/ 225837 w 531130"/>
                    <a:gd name="connsiteY4" fmla="*/ 15895 h 457596"/>
                    <a:gd name="connsiteX5" fmla="*/ 320731 w 531130"/>
                    <a:gd name="connsiteY5" fmla="*/ 12720 h 457596"/>
                    <a:gd name="connsiteX6" fmla="*/ 330727 w 531130"/>
                    <a:gd name="connsiteY6" fmla="*/ 134302 h 457596"/>
                    <a:gd name="connsiteX7" fmla="*/ 470312 w 531130"/>
                    <a:gd name="connsiteY7" fmla="*/ 189420 h 457596"/>
                    <a:gd name="connsiteX8" fmla="*/ 517582 w 531130"/>
                    <a:gd name="connsiteY8" fmla="*/ 251776 h 457596"/>
                    <a:gd name="connsiteX9" fmla="*/ 530637 w 531130"/>
                    <a:gd name="connsiteY9" fmla="*/ 454045 h 457596"/>
                    <a:gd name="connsiteX10" fmla="*/ 12757 w 531130"/>
                    <a:gd name="connsiteY10" fmla="*/ 455188 h 457596"/>
                    <a:gd name="connsiteX0" fmla="*/ 7226 w 536419"/>
                    <a:gd name="connsiteY0" fmla="*/ 447695 h 456315"/>
                    <a:gd name="connsiteX1" fmla="*/ 12165 w 536419"/>
                    <a:gd name="connsiteY1" fmla="*/ 237256 h 456315"/>
                    <a:gd name="connsiteX2" fmla="*/ 100951 w 536419"/>
                    <a:gd name="connsiteY2" fmla="*/ 158770 h 456315"/>
                    <a:gd name="connsiteX3" fmla="*/ 224776 w 536419"/>
                    <a:gd name="connsiteY3" fmla="*/ 120670 h 456315"/>
                    <a:gd name="connsiteX4" fmla="*/ 231126 w 536419"/>
                    <a:gd name="connsiteY4" fmla="*/ 15895 h 456315"/>
                    <a:gd name="connsiteX5" fmla="*/ 326020 w 536419"/>
                    <a:gd name="connsiteY5" fmla="*/ 12720 h 456315"/>
                    <a:gd name="connsiteX6" fmla="*/ 336016 w 536419"/>
                    <a:gd name="connsiteY6" fmla="*/ 134302 h 456315"/>
                    <a:gd name="connsiteX7" fmla="*/ 475601 w 536419"/>
                    <a:gd name="connsiteY7" fmla="*/ 189420 h 456315"/>
                    <a:gd name="connsiteX8" fmla="*/ 522871 w 536419"/>
                    <a:gd name="connsiteY8" fmla="*/ 251776 h 456315"/>
                    <a:gd name="connsiteX9" fmla="*/ 535926 w 536419"/>
                    <a:gd name="connsiteY9" fmla="*/ 454045 h 456315"/>
                    <a:gd name="connsiteX10" fmla="*/ 7226 w 536419"/>
                    <a:gd name="connsiteY10" fmla="*/ 447695 h 456315"/>
                    <a:gd name="connsiteX0" fmla="*/ 7226 w 528834"/>
                    <a:gd name="connsiteY0" fmla="*/ 447695 h 456315"/>
                    <a:gd name="connsiteX1" fmla="*/ 12165 w 528834"/>
                    <a:gd name="connsiteY1" fmla="*/ 237256 h 456315"/>
                    <a:gd name="connsiteX2" fmla="*/ 100951 w 528834"/>
                    <a:gd name="connsiteY2" fmla="*/ 158770 h 456315"/>
                    <a:gd name="connsiteX3" fmla="*/ 224776 w 528834"/>
                    <a:gd name="connsiteY3" fmla="*/ 120670 h 456315"/>
                    <a:gd name="connsiteX4" fmla="*/ 231126 w 528834"/>
                    <a:gd name="connsiteY4" fmla="*/ 15895 h 456315"/>
                    <a:gd name="connsiteX5" fmla="*/ 326020 w 528834"/>
                    <a:gd name="connsiteY5" fmla="*/ 12720 h 456315"/>
                    <a:gd name="connsiteX6" fmla="*/ 336016 w 528834"/>
                    <a:gd name="connsiteY6" fmla="*/ 134302 h 456315"/>
                    <a:gd name="connsiteX7" fmla="*/ 475601 w 528834"/>
                    <a:gd name="connsiteY7" fmla="*/ 189420 h 456315"/>
                    <a:gd name="connsiteX8" fmla="*/ 522871 w 528834"/>
                    <a:gd name="connsiteY8" fmla="*/ 251776 h 456315"/>
                    <a:gd name="connsiteX9" fmla="*/ 527811 w 528834"/>
                    <a:gd name="connsiteY9" fmla="*/ 454045 h 456315"/>
                    <a:gd name="connsiteX10" fmla="*/ 7226 w 528834"/>
                    <a:gd name="connsiteY10" fmla="*/ 447695 h 456315"/>
                    <a:gd name="connsiteX0" fmla="*/ 7226 w 528834"/>
                    <a:gd name="connsiteY0" fmla="*/ 447695 h 456315"/>
                    <a:gd name="connsiteX1" fmla="*/ 12165 w 528834"/>
                    <a:gd name="connsiteY1" fmla="*/ 237256 h 456315"/>
                    <a:gd name="connsiteX2" fmla="*/ 100951 w 528834"/>
                    <a:gd name="connsiteY2" fmla="*/ 158770 h 456315"/>
                    <a:gd name="connsiteX3" fmla="*/ 224776 w 528834"/>
                    <a:gd name="connsiteY3" fmla="*/ 120670 h 456315"/>
                    <a:gd name="connsiteX4" fmla="*/ 231126 w 528834"/>
                    <a:gd name="connsiteY4" fmla="*/ 15895 h 456315"/>
                    <a:gd name="connsiteX5" fmla="*/ 326020 w 528834"/>
                    <a:gd name="connsiteY5" fmla="*/ 12720 h 456315"/>
                    <a:gd name="connsiteX6" fmla="*/ 336016 w 528834"/>
                    <a:gd name="connsiteY6" fmla="*/ 134302 h 456315"/>
                    <a:gd name="connsiteX7" fmla="*/ 462076 w 528834"/>
                    <a:gd name="connsiteY7" fmla="*/ 184425 h 456315"/>
                    <a:gd name="connsiteX8" fmla="*/ 522871 w 528834"/>
                    <a:gd name="connsiteY8" fmla="*/ 251776 h 456315"/>
                    <a:gd name="connsiteX9" fmla="*/ 527811 w 528834"/>
                    <a:gd name="connsiteY9" fmla="*/ 454045 h 456315"/>
                    <a:gd name="connsiteX10" fmla="*/ 7226 w 528834"/>
                    <a:gd name="connsiteY10" fmla="*/ 447695 h 456315"/>
                    <a:gd name="connsiteX0" fmla="*/ 8515 w 530123"/>
                    <a:gd name="connsiteY0" fmla="*/ 447695 h 456315"/>
                    <a:gd name="connsiteX1" fmla="*/ 10749 w 530123"/>
                    <a:gd name="connsiteY1" fmla="*/ 244749 h 456315"/>
                    <a:gd name="connsiteX2" fmla="*/ 102240 w 530123"/>
                    <a:gd name="connsiteY2" fmla="*/ 158770 h 456315"/>
                    <a:gd name="connsiteX3" fmla="*/ 226065 w 530123"/>
                    <a:gd name="connsiteY3" fmla="*/ 120670 h 456315"/>
                    <a:gd name="connsiteX4" fmla="*/ 232415 w 530123"/>
                    <a:gd name="connsiteY4" fmla="*/ 15895 h 456315"/>
                    <a:gd name="connsiteX5" fmla="*/ 327309 w 530123"/>
                    <a:gd name="connsiteY5" fmla="*/ 12720 h 456315"/>
                    <a:gd name="connsiteX6" fmla="*/ 337305 w 530123"/>
                    <a:gd name="connsiteY6" fmla="*/ 134302 h 456315"/>
                    <a:gd name="connsiteX7" fmla="*/ 463365 w 530123"/>
                    <a:gd name="connsiteY7" fmla="*/ 184425 h 456315"/>
                    <a:gd name="connsiteX8" fmla="*/ 524160 w 530123"/>
                    <a:gd name="connsiteY8" fmla="*/ 251776 h 456315"/>
                    <a:gd name="connsiteX9" fmla="*/ 529100 w 530123"/>
                    <a:gd name="connsiteY9" fmla="*/ 454045 h 456315"/>
                    <a:gd name="connsiteX10" fmla="*/ 8515 w 530123"/>
                    <a:gd name="connsiteY10" fmla="*/ 447695 h 456315"/>
                    <a:gd name="connsiteX0" fmla="*/ 7671 w 529279"/>
                    <a:gd name="connsiteY0" fmla="*/ 447695 h 456315"/>
                    <a:gd name="connsiteX1" fmla="*/ 9905 w 529279"/>
                    <a:gd name="connsiteY1" fmla="*/ 244749 h 456315"/>
                    <a:gd name="connsiteX2" fmla="*/ 87870 w 529279"/>
                    <a:gd name="connsiteY2" fmla="*/ 166263 h 456315"/>
                    <a:gd name="connsiteX3" fmla="*/ 225221 w 529279"/>
                    <a:gd name="connsiteY3" fmla="*/ 120670 h 456315"/>
                    <a:gd name="connsiteX4" fmla="*/ 231571 w 529279"/>
                    <a:gd name="connsiteY4" fmla="*/ 15895 h 456315"/>
                    <a:gd name="connsiteX5" fmla="*/ 326465 w 529279"/>
                    <a:gd name="connsiteY5" fmla="*/ 12720 h 456315"/>
                    <a:gd name="connsiteX6" fmla="*/ 336461 w 529279"/>
                    <a:gd name="connsiteY6" fmla="*/ 134302 h 456315"/>
                    <a:gd name="connsiteX7" fmla="*/ 462521 w 529279"/>
                    <a:gd name="connsiteY7" fmla="*/ 184425 h 456315"/>
                    <a:gd name="connsiteX8" fmla="*/ 523316 w 529279"/>
                    <a:gd name="connsiteY8" fmla="*/ 251776 h 456315"/>
                    <a:gd name="connsiteX9" fmla="*/ 528256 w 529279"/>
                    <a:gd name="connsiteY9" fmla="*/ 454045 h 456315"/>
                    <a:gd name="connsiteX10" fmla="*/ 7671 w 529279"/>
                    <a:gd name="connsiteY10" fmla="*/ 447695 h 456315"/>
                    <a:gd name="connsiteX0" fmla="*/ 7671 w 529279"/>
                    <a:gd name="connsiteY0" fmla="*/ 447558 h 456178"/>
                    <a:gd name="connsiteX1" fmla="*/ 9905 w 529279"/>
                    <a:gd name="connsiteY1" fmla="*/ 244612 h 456178"/>
                    <a:gd name="connsiteX2" fmla="*/ 87870 w 529279"/>
                    <a:gd name="connsiteY2" fmla="*/ 166126 h 456178"/>
                    <a:gd name="connsiteX3" fmla="*/ 206285 w 529279"/>
                    <a:gd name="connsiteY3" fmla="*/ 118035 h 456178"/>
                    <a:gd name="connsiteX4" fmla="*/ 231571 w 529279"/>
                    <a:gd name="connsiteY4" fmla="*/ 15758 h 456178"/>
                    <a:gd name="connsiteX5" fmla="*/ 326465 w 529279"/>
                    <a:gd name="connsiteY5" fmla="*/ 12583 h 456178"/>
                    <a:gd name="connsiteX6" fmla="*/ 336461 w 529279"/>
                    <a:gd name="connsiteY6" fmla="*/ 134165 h 456178"/>
                    <a:gd name="connsiteX7" fmla="*/ 462521 w 529279"/>
                    <a:gd name="connsiteY7" fmla="*/ 184288 h 456178"/>
                    <a:gd name="connsiteX8" fmla="*/ 523316 w 529279"/>
                    <a:gd name="connsiteY8" fmla="*/ 251639 h 456178"/>
                    <a:gd name="connsiteX9" fmla="*/ 528256 w 529279"/>
                    <a:gd name="connsiteY9" fmla="*/ 453908 h 456178"/>
                    <a:gd name="connsiteX10" fmla="*/ 7671 w 529279"/>
                    <a:gd name="connsiteY10" fmla="*/ 447558 h 456178"/>
                    <a:gd name="connsiteX0" fmla="*/ 14544 w 536152"/>
                    <a:gd name="connsiteY0" fmla="*/ 447558 h 456178"/>
                    <a:gd name="connsiteX1" fmla="*/ 5958 w 536152"/>
                    <a:gd name="connsiteY1" fmla="*/ 247109 h 456178"/>
                    <a:gd name="connsiteX2" fmla="*/ 94743 w 536152"/>
                    <a:gd name="connsiteY2" fmla="*/ 166126 h 456178"/>
                    <a:gd name="connsiteX3" fmla="*/ 213158 w 536152"/>
                    <a:gd name="connsiteY3" fmla="*/ 118035 h 456178"/>
                    <a:gd name="connsiteX4" fmla="*/ 238444 w 536152"/>
                    <a:gd name="connsiteY4" fmla="*/ 15758 h 456178"/>
                    <a:gd name="connsiteX5" fmla="*/ 333338 w 536152"/>
                    <a:gd name="connsiteY5" fmla="*/ 12583 h 456178"/>
                    <a:gd name="connsiteX6" fmla="*/ 343334 w 536152"/>
                    <a:gd name="connsiteY6" fmla="*/ 134165 h 456178"/>
                    <a:gd name="connsiteX7" fmla="*/ 469394 w 536152"/>
                    <a:gd name="connsiteY7" fmla="*/ 184288 h 456178"/>
                    <a:gd name="connsiteX8" fmla="*/ 530189 w 536152"/>
                    <a:gd name="connsiteY8" fmla="*/ 251639 h 456178"/>
                    <a:gd name="connsiteX9" fmla="*/ 535129 w 536152"/>
                    <a:gd name="connsiteY9" fmla="*/ 453908 h 456178"/>
                    <a:gd name="connsiteX10" fmla="*/ 14544 w 536152"/>
                    <a:gd name="connsiteY10" fmla="*/ 447558 h 456178"/>
                    <a:gd name="connsiteX0" fmla="*/ 7226 w 542359"/>
                    <a:gd name="connsiteY0" fmla="*/ 450055 h 456488"/>
                    <a:gd name="connsiteX1" fmla="*/ 12165 w 542359"/>
                    <a:gd name="connsiteY1" fmla="*/ 247109 h 456488"/>
                    <a:gd name="connsiteX2" fmla="*/ 100950 w 542359"/>
                    <a:gd name="connsiteY2" fmla="*/ 166126 h 456488"/>
                    <a:gd name="connsiteX3" fmla="*/ 219365 w 542359"/>
                    <a:gd name="connsiteY3" fmla="*/ 118035 h 456488"/>
                    <a:gd name="connsiteX4" fmla="*/ 244651 w 542359"/>
                    <a:gd name="connsiteY4" fmla="*/ 15758 h 456488"/>
                    <a:gd name="connsiteX5" fmla="*/ 339545 w 542359"/>
                    <a:gd name="connsiteY5" fmla="*/ 12583 h 456488"/>
                    <a:gd name="connsiteX6" fmla="*/ 349541 w 542359"/>
                    <a:gd name="connsiteY6" fmla="*/ 134165 h 456488"/>
                    <a:gd name="connsiteX7" fmla="*/ 475601 w 542359"/>
                    <a:gd name="connsiteY7" fmla="*/ 184288 h 456488"/>
                    <a:gd name="connsiteX8" fmla="*/ 536396 w 542359"/>
                    <a:gd name="connsiteY8" fmla="*/ 251639 h 456488"/>
                    <a:gd name="connsiteX9" fmla="*/ 541336 w 542359"/>
                    <a:gd name="connsiteY9" fmla="*/ 453908 h 456488"/>
                    <a:gd name="connsiteX10" fmla="*/ 7226 w 542359"/>
                    <a:gd name="connsiteY10" fmla="*/ 450055 h 456488"/>
                    <a:gd name="connsiteX0" fmla="*/ 7226 w 542359"/>
                    <a:gd name="connsiteY0" fmla="*/ 450055 h 456488"/>
                    <a:gd name="connsiteX1" fmla="*/ 12165 w 542359"/>
                    <a:gd name="connsiteY1" fmla="*/ 247109 h 456488"/>
                    <a:gd name="connsiteX2" fmla="*/ 100950 w 542359"/>
                    <a:gd name="connsiteY2" fmla="*/ 166126 h 456488"/>
                    <a:gd name="connsiteX3" fmla="*/ 219365 w 542359"/>
                    <a:gd name="connsiteY3" fmla="*/ 118035 h 456488"/>
                    <a:gd name="connsiteX4" fmla="*/ 244651 w 542359"/>
                    <a:gd name="connsiteY4" fmla="*/ 15758 h 456488"/>
                    <a:gd name="connsiteX5" fmla="*/ 331430 w 542359"/>
                    <a:gd name="connsiteY5" fmla="*/ 12583 h 456488"/>
                    <a:gd name="connsiteX6" fmla="*/ 349541 w 542359"/>
                    <a:gd name="connsiteY6" fmla="*/ 134165 h 456488"/>
                    <a:gd name="connsiteX7" fmla="*/ 475601 w 542359"/>
                    <a:gd name="connsiteY7" fmla="*/ 184288 h 456488"/>
                    <a:gd name="connsiteX8" fmla="*/ 536396 w 542359"/>
                    <a:gd name="connsiteY8" fmla="*/ 251639 h 456488"/>
                    <a:gd name="connsiteX9" fmla="*/ 541336 w 542359"/>
                    <a:gd name="connsiteY9" fmla="*/ 453908 h 456488"/>
                    <a:gd name="connsiteX10" fmla="*/ 7226 w 542359"/>
                    <a:gd name="connsiteY10" fmla="*/ 450055 h 456488"/>
                    <a:gd name="connsiteX0" fmla="*/ 7226 w 542359"/>
                    <a:gd name="connsiteY0" fmla="*/ 450055 h 456488"/>
                    <a:gd name="connsiteX1" fmla="*/ 12165 w 542359"/>
                    <a:gd name="connsiteY1" fmla="*/ 247109 h 456488"/>
                    <a:gd name="connsiteX2" fmla="*/ 100950 w 542359"/>
                    <a:gd name="connsiteY2" fmla="*/ 166126 h 456488"/>
                    <a:gd name="connsiteX3" fmla="*/ 219365 w 542359"/>
                    <a:gd name="connsiteY3" fmla="*/ 118035 h 456488"/>
                    <a:gd name="connsiteX4" fmla="*/ 244651 w 542359"/>
                    <a:gd name="connsiteY4" fmla="*/ 15758 h 456488"/>
                    <a:gd name="connsiteX5" fmla="*/ 331430 w 542359"/>
                    <a:gd name="connsiteY5" fmla="*/ 12583 h 456488"/>
                    <a:gd name="connsiteX6" fmla="*/ 349541 w 542359"/>
                    <a:gd name="connsiteY6" fmla="*/ 134165 h 456488"/>
                    <a:gd name="connsiteX7" fmla="*/ 483716 w 542359"/>
                    <a:gd name="connsiteY7" fmla="*/ 179293 h 456488"/>
                    <a:gd name="connsiteX8" fmla="*/ 536396 w 542359"/>
                    <a:gd name="connsiteY8" fmla="*/ 251639 h 456488"/>
                    <a:gd name="connsiteX9" fmla="*/ 541336 w 542359"/>
                    <a:gd name="connsiteY9" fmla="*/ 453908 h 456488"/>
                    <a:gd name="connsiteX10" fmla="*/ 7226 w 542359"/>
                    <a:gd name="connsiteY10" fmla="*/ 450055 h 456488"/>
                    <a:gd name="connsiteX0" fmla="*/ 6630 w 541763"/>
                    <a:gd name="connsiteY0" fmla="*/ 450055 h 456488"/>
                    <a:gd name="connsiteX1" fmla="*/ 11569 w 541763"/>
                    <a:gd name="connsiteY1" fmla="*/ 247109 h 456488"/>
                    <a:gd name="connsiteX2" fmla="*/ 89534 w 541763"/>
                    <a:gd name="connsiteY2" fmla="*/ 166126 h 456488"/>
                    <a:gd name="connsiteX3" fmla="*/ 218769 w 541763"/>
                    <a:gd name="connsiteY3" fmla="*/ 118035 h 456488"/>
                    <a:gd name="connsiteX4" fmla="*/ 244055 w 541763"/>
                    <a:gd name="connsiteY4" fmla="*/ 15758 h 456488"/>
                    <a:gd name="connsiteX5" fmla="*/ 330834 w 541763"/>
                    <a:gd name="connsiteY5" fmla="*/ 12583 h 456488"/>
                    <a:gd name="connsiteX6" fmla="*/ 348945 w 541763"/>
                    <a:gd name="connsiteY6" fmla="*/ 134165 h 456488"/>
                    <a:gd name="connsiteX7" fmla="*/ 483120 w 541763"/>
                    <a:gd name="connsiteY7" fmla="*/ 179293 h 456488"/>
                    <a:gd name="connsiteX8" fmla="*/ 535800 w 541763"/>
                    <a:gd name="connsiteY8" fmla="*/ 251639 h 456488"/>
                    <a:gd name="connsiteX9" fmla="*/ 540740 w 541763"/>
                    <a:gd name="connsiteY9" fmla="*/ 453908 h 456488"/>
                    <a:gd name="connsiteX10" fmla="*/ 6630 w 541763"/>
                    <a:gd name="connsiteY10" fmla="*/ 450055 h 456488"/>
                    <a:gd name="connsiteX0" fmla="*/ 4856 w 539989"/>
                    <a:gd name="connsiteY0" fmla="*/ 450055 h 456488"/>
                    <a:gd name="connsiteX1" fmla="*/ 15205 w 539989"/>
                    <a:gd name="connsiteY1" fmla="*/ 227128 h 456488"/>
                    <a:gd name="connsiteX2" fmla="*/ 87760 w 539989"/>
                    <a:gd name="connsiteY2" fmla="*/ 166126 h 456488"/>
                    <a:gd name="connsiteX3" fmla="*/ 216995 w 539989"/>
                    <a:gd name="connsiteY3" fmla="*/ 118035 h 456488"/>
                    <a:gd name="connsiteX4" fmla="*/ 242281 w 539989"/>
                    <a:gd name="connsiteY4" fmla="*/ 15758 h 456488"/>
                    <a:gd name="connsiteX5" fmla="*/ 329060 w 539989"/>
                    <a:gd name="connsiteY5" fmla="*/ 12583 h 456488"/>
                    <a:gd name="connsiteX6" fmla="*/ 347171 w 539989"/>
                    <a:gd name="connsiteY6" fmla="*/ 134165 h 456488"/>
                    <a:gd name="connsiteX7" fmla="*/ 481346 w 539989"/>
                    <a:gd name="connsiteY7" fmla="*/ 179293 h 456488"/>
                    <a:gd name="connsiteX8" fmla="*/ 534026 w 539989"/>
                    <a:gd name="connsiteY8" fmla="*/ 251639 h 456488"/>
                    <a:gd name="connsiteX9" fmla="*/ 538966 w 539989"/>
                    <a:gd name="connsiteY9" fmla="*/ 453908 h 456488"/>
                    <a:gd name="connsiteX10" fmla="*/ 4856 w 539989"/>
                    <a:gd name="connsiteY10" fmla="*/ 450055 h 4564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39989" h="456488">
                      <a:moveTo>
                        <a:pt x="4856" y="450055"/>
                      </a:moveTo>
                      <a:cubicBezTo>
                        <a:pt x="-5198" y="385497"/>
                        <a:pt x="1388" y="274449"/>
                        <a:pt x="15205" y="227128"/>
                      </a:cubicBezTo>
                      <a:cubicBezTo>
                        <a:pt x="29022" y="179807"/>
                        <a:pt x="54128" y="184308"/>
                        <a:pt x="87760" y="166126"/>
                      </a:cubicBezTo>
                      <a:cubicBezTo>
                        <a:pt x="121392" y="147944"/>
                        <a:pt x="191242" y="143096"/>
                        <a:pt x="216995" y="118035"/>
                      </a:cubicBezTo>
                      <a:cubicBezTo>
                        <a:pt x="242748" y="92974"/>
                        <a:pt x="223604" y="33333"/>
                        <a:pt x="242281" y="15758"/>
                      </a:cubicBezTo>
                      <a:cubicBezTo>
                        <a:pt x="260958" y="-1817"/>
                        <a:pt x="311578" y="-7151"/>
                        <a:pt x="329060" y="12583"/>
                      </a:cubicBezTo>
                      <a:cubicBezTo>
                        <a:pt x="346542" y="32317"/>
                        <a:pt x="321790" y="106380"/>
                        <a:pt x="347171" y="134165"/>
                      </a:cubicBezTo>
                      <a:cubicBezTo>
                        <a:pt x="372552" y="161950"/>
                        <a:pt x="450204" y="159714"/>
                        <a:pt x="481346" y="179293"/>
                      </a:cubicBezTo>
                      <a:cubicBezTo>
                        <a:pt x="512489" y="198872"/>
                        <a:pt x="523972" y="202956"/>
                        <a:pt x="534026" y="251639"/>
                      </a:cubicBezTo>
                      <a:cubicBezTo>
                        <a:pt x="537201" y="301381"/>
                        <a:pt x="542141" y="328496"/>
                        <a:pt x="538966" y="453908"/>
                      </a:cubicBezTo>
                      <a:cubicBezTo>
                        <a:pt x="307191" y="461845"/>
                        <a:pt x="250800" y="448827"/>
                        <a:pt x="4856" y="450055"/>
                      </a:cubicBezTo>
                      <a:close/>
                    </a:path>
                  </a:pathLst>
                </a:custGeom>
                <a:solidFill>
                  <a:schemeClr val="bg1"/>
                </a:solidFill>
                <a:ln w="57150">
                  <a:solidFill>
                    <a:schemeClr val="tx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162" name="Oval 161">
                  <a:extLst>
                    <a:ext uri="{FF2B5EF4-FFF2-40B4-BE49-F238E27FC236}">
                      <a16:creationId xmlns:a16="http://schemas.microsoft.com/office/drawing/2014/main" id="{75BFBBCC-CD4A-0F44-ABB2-EA0F9FCD9927}"/>
                    </a:ext>
                  </a:extLst>
                </p:cNvPr>
                <p:cNvSpPr/>
                <p:nvPr/>
              </p:nvSpPr>
              <p:spPr>
                <a:xfrm>
                  <a:off x="1964431" y="3500843"/>
                  <a:ext cx="259337" cy="299858"/>
                </a:xfrm>
                <a:prstGeom prst="ellipse">
                  <a:avLst/>
                </a:prstGeom>
                <a:solidFill>
                  <a:schemeClr val="bg1"/>
                </a:solidFill>
                <a:ln w="57150">
                  <a:solidFill>
                    <a:schemeClr val="tx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grpSp>
        </p:grpSp>
        <p:grpSp>
          <p:nvGrpSpPr>
            <p:cNvPr id="153" name="Group 152">
              <a:extLst>
                <a:ext uri="{FF2B5EF4-FFF2-40B4-BE49-F238E27FC236}">
                  <a16:creationId xmlns:a16="http://schemas.microsoft.com/office/drawing/2014/main" id="{D0707515-76D4-0444-AC4C-A2D2A3448C13}"/>
                </a:ext>
              </a:extLst>
            </p:cNvPr>
            <p:cNvGrpSpPr/>
            <p:nvPr/>
          </p:nvGrpSpPr>
          <p:grpSpPr>
            <a:xfrm>
              <a:off x="2495712" y="4589934"/>
              <a:ext cx="1256698" cy="510604"/>
              <a:chOff x="2495712" y="4589934"/>
              <a:chExt cx="1256698" cy="510604"/>
            </a:xfrm>
            <a:solidFill>
              <a:schemeClr val="tx1">
                <a:lumMod val="50000"/>
              </a:schemeClr>
            </a:solidFill>
          </p:grpSpPr>
          <p:sp>
            <p:nvSpPr>
              <p:cNvPr id="155" name="Rounded Rectangle 154">
                <a:extLst>
                  <a:ext uri="{FF2B5EF4-FFF2-40B4-BE49-F238E27FC236}">
                    <a16:creationId xmlns:a16="http://schemas.microsoft.com/office/drawing/2014/main" id="{4DDBEB20-4AED-6943-A1FE-50E2F2FE669B}"/>
                  </a:ext>
                </a:extLst>
              </p:cNvPr>
              <p:cNvSpPr/>
              <p:nvPr/>
            </p:nvSpPr>
            <p:spPr>
              <a:xfrm>
                <a:off x="2495712" y="4589934"/>
                <a:ext cx="1256697" cy="251941"/>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156" name="Rectangle 155">
                <a:extLst>
                  <a:ext uri="{FF2B5EF4-FFF2-40B4-BE49-F238E27FC236}">
                    <a16:creationId xmlns:a16="http://schemas.microsoft.com/office/drawing/2014/main" id="{65F0B4F9-94DE-3543-B305-6EE31AFB5BC3}"/>
                  </a:ext>
                </a:extLst>
              </p:cNvPr>
              <p:cNvSpPr/>
              <p:nvPr/>
            </p:nvSpPr>
            <p:spPr>
              <a:xfrm>
                <a:off x="2498725" y="4797790"/>
                <a:ext cx="1253685" cy="13315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157" name="Rectangle 156">
                <a:extLst>
                  <a:ext uri="{FF2B5EF4-FFF2-40B4-BE49-F238E27FC236}">
                    <a16:creationId xmlns:a16="http://schemas.microsoft.com/office/drawing/2014/main" id="{99DB351F-D164-FC4E-85FB-5E22C15FC498}"/>
                  </a:ext>
                </a:extLst>
              </p:cNvPr>
              <p:cNvSpPr/>
              <p:nvPr/>
            </p:nvSpPr>
            <p:spPr>
              <a:xfrm>
                <a:off x="2546350" y="4923041"/>
                <a:ext cx="109152" cy="17749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158" name="Rectangle 157">
                <a:extLst>
                  <a:ext uri="{FF2B5EF4-FFF2-40B4-BE49-F238E27FC236}">
                    <a16:creationId xmlns:a16="http://schemas.microsoft.com/office/drawing/2014/main" id="{6DAEE91D-92F2-5F4D-BF86-2D56D108C198}"/>
                  </a:ext>
                </a:extLst>
              </p:cNvPr>
              <p:cNvSpPr/>
              <p:nvPr/>
            </p:nvSpPr>
            <p:spPr>
              <a:xfrm>
                <a:off x="3610945" y="4923041"/>
                <a:ext cx="109152" cy="17749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grpSp>
        <p:sp>
          <p:nvSpPr>
            <p:cNvPr id="154" name="Trapezoid 153">
              <a:extLst>
                <a:ext uri="{FF2B5EF4-FFF2-40B4-BE49-F238E27FC236}">
                  <a16:creationId xmlns:a16="http://schemas.microsoft.com/office/drawing/2014/main" id="{4F68AE5E-9834-0F4F-AF36-C6EB39D55C88}"/>
                </a:ext>
              </a:extLst>
            </p:cNvPr>
            <p:cNvSpPr/>
            <p:nvPr/>
          </p:nvSpPr>
          <p:spPr>
            <a:xfrm>
              <a:off x="2655502" y="4181475"/>
              <a:ext cx="958850" cy="363303"/>
            </a:xfrm>
            <a:prstGeom prst="trapezoid">
              <a:avLst/>
            </a:prstGeom>
            <a:solidFill>
              <a:schemeClr val="tx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grpSp>
      <p:grpSp>
        <p:nvGrpSpPr>
          <p:cNvPr id="165" name="Group 164">
            <a:extLst>
              <a:ext uri="{FF2B5EF4-FFF2-40B4-BE49-F238E27FC236}">
                <a16:creationId xmlns:a16="http://schemas.microsoft.com/office/drawing/2014/main" id="{A120FEB3-E489-F347-8126-6D150B5DB0CB}"/>
              </a:ext>
            </a:extLst>
          </p:cNvPr>
          <p:cNvGrpSpPr/>
          <p:nvPr/>
        </p:nvGrpSpPr>
        <p:grpSpPr>
          <a:xfrm>
            <a:off x="11683291" y="3932505"/>
            <a:ext cx="1025213" cy="1261037"/>
            <a:chOff x="2441771" y="3385414"/>
            <a:chExt cx="1325481" cy="1781019"/>
          </a:xfrm>
        </p:grpSpPr>
        <p:pic>
          <p:nvPicPr>
            <p:cNvPr id="166" name="Picture 165">
              <a:extLst>
                <a:ext uri="{FF2B5EF4-FFF2-40B4-BE49-F238E27FC236}">
                  <a16:creationId xmlns:a16="http://schemas.microsoft.com/office/drawing/2014/main" id="{A269C55A-9930-E148-B705-8C17A6A74126}"/>
                </a:ext>
              </a:extLst>
            </p:cNvPr>
            <p:cNvPicPr>
              <a:picLocks noChangeAspect="1"/>
            </p:cNvPicPr>
            <p:nvPr/>
          </p:nvPicPr>
          <p:blipFill rotWithShape="1">
            <a:blip r:embed="rId2"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a:xfrm>
              <a:off x="2441771" y="3385414"/>
              <a:ext cx="1325481" cy="1781019"/>
            </a:xfrm>
            <a:prstGeom prst="rect">
              <a:avLst/>
            </a:prstGeom>
          </p:spPr>
        </p:pic>
        <p:sp>
          <p:nvSpPr>
            <p:cNvPr id="167" name="Rounded Rectangle 166">
              <a:extLst>
                <a:ext uri="{FF2B5EF4-FFF2-40B4-BE49-F238E27FC236}">
                  <a16:creationId xmlns:a16="http://schemas.microsoft.com/office/drawing/2014/main" id="{5E312A27-6C69-AB45-8855-2F6EE3EC7D8F}"/>
                </a:ext>
              </a:extLst>
            </p:cNvPr>
            <p:cNvSpPr/>
            <p:nvPr/>
          </p:nvSpPr>
          <p:spPr>
            <a:xfrm>
              <a:off x="2655502" y="3670300"/>
              <a:ext cx="958850" cy="436656"/>
            </a:xfrm>
            <a:prstGeom prst="roundRect">
              <a:avLst/>
            </a:prstGeom>
            <a:solidFill>
              <a:schemeClr val="tx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grpSp>
          <p:nvGrpSpPr>
            <p:cNvPr id="168" name="Group 167">
              <a:extLst>
                <a:ext uri="{FF2B5EF4-FFF2-40B4-BE49-F238E27FC236}">
                  <a16:creationId xmlns:a16="http://schemas.microsoft.com/office/drawing/2014/main" id="{2B73D163-32E9-D048-8DD7-7A90ABE6E2BC}"/>
                </a:ext>
              </a:extLst>
            </p:cNvPr>
            <p:cNvGrpSpPr/>
            <p:nvPr/>
          </p:nvGrpSpPr>
          <p:grpSpPr>
            <a:xfrm>
              <a:off x="2776471" y="3456093"/>
              <a:ext cx="748710" cy="1056883"/>
              <a:chOff x="1496718" y="3334932"/>
              <a:chExt cx="748710" cy="1056883"/>
            </a:xfrm>
          </p:grpSpPr>
          <p:grpSp>
            <p:nvGrpSpPr>
              <p:cNvPr id="175" name="Group 174">
                <a:extLst>
                  <a:ext uri="{FF2B5EF4-FFF2-40B4-BE49-F238E27FC236}">
                    <a16:creationId xmlns:a16="http://schemas.microsoft.com/office/drawing/2014/main" id="{B99AEAD0-DA73-2B49-845F-798A276F402C}"/>
                  </a:ext>
                </a:extLst>
              </p:cNvPr>
              <p:cNvGrpSpPr/>
              <p:nvPr/>
            </p:nvGrpSpPr>
            <p:grpSpPr>
              <a:xfrm>
                <a:off x="1496718" y="3334932"/>
                <a:ext cx="748710" cy="1056883"/>
                <a:chOff x="1843570" y="3508300"/>
                <a:chExt cx="514980" cy="727982"/>
              </a:xfrm>
              <a:solidFill>
                <a:schemeClr val="bg1"/>
              </a:solidFill>
            </p:grpSpPr>
            <p:sp>
              <p:nvSpPr>
                <p:cNvPr id="179" name="Freeform 178">
                  <a:extLst>
                    <a:ext uri="{FF2B5EF4-FFF2-40B4-BE49-F238E27FC236}">
                      <a16:creationId xmlns:a16="http://schemas.microsoft.com/office/drawing/2014/main" id="{807D4281-10CF-FF4D-80F8-865723B7731F}"/>
                    </a:ext>
                  </a:extLst>
                </p:cNvPr>
                <p:cNvSpPr/>
                <p:nvPr/>
              </p:nvSpPr>
              <p:spPr>
                <a:xfrm>
                  <a:off x="1843570" y="3787509"/>
                  <a:ext cx="514980" cy="448773"/>
                </a:xfrm>
                <a:custGeom>
                  <a:avLst/>
                  <a:gdLst>
                    <a:gd name="connsiteX0" fmla="*/ 36807 w 576731"/>
                    <a:gd name="connsiteY0" fmla="*/ 449906 h 505924"/>
                    <a:gd name="connsiteX1" fmla="*/ 39982 w 576731"/>
                    <a:gd name="connsiteY1" fmla="*/ 214956 h 505924"/>
                    <a:gd name="connsiteX2" fmla="*/ 55857 w 576731"/>
                    <a:gd name="connsiteY2" fmla="*/ 176856 h 505924"/>
                    <a:gd name="connsiteX3" fmla="*/ 103482 w 576731"/>
                    <a:gd name="connsiteY3" fmla="*/ 160981 h 505924"/>
                    <a:gd name="connsiteX4" fmla="*/ 205082 w 576731"/>
                    <a:gd name="connsiteY4" fmla="*/ 154631 h 505924"/>
                    <a:gd name="connsiteX5" fmla="*/ 230482 w 576731"/>
                    <a:gd name="connsiteY5" fmla="*/ 151456 h 505924"/>
                    <a:gd name="connsiteX6" fmla="*/ 233657 w 576731"/>
                    <a:gd name="connsiteY6" fmla="*/ 18106 h 505924"/>
                    <a:gd name="connsiteX7" fmla="*/ 344782 w 576731"/>
                    <a:gd name="connsiteY7" fmla="*/ 14931 h 505924"/>
                    <a:gd name="connsiteX8" fmla="*/ 344782 w 576731"/>
                    <a:gd name="connsiteY8" fmla="*/ 145106 h 505924"/>
                    <a:gd name="connsiteX9" fmla="*/ 386057 w 576731"/>
                    <a:gd name="connsiteY9" fmla="*/ 151456 h 505924"/>
                    <a:gd name="connsiteX10" fmla="*/ 478132 w 576731"/>
                    <a:gd name="connsiteY10" fmla="*/ 164156 h 505924"/>
                    <a:gd name="connsiteX11" fmla="*/ 519407 w 576731"/>
                    <a:gd name="connsiteY11" fmla="*/ 189556 h 505924"/>
                    <a:gd name="connsiteX12" fmla="*/ 541632 w 576731"/>
                    <a:gd name="connsiteY12" fmla="*/ 234006 h 505924"/>
                    <a:gd name="connsiteX13" fmla="*/ 538457 w 576731"/>
                    <a:gd name="connsiteY13" fmla="*/ 488006 h 505924"/>
                    <a:gd name="connsiteX14" fmla="*/ 36807 w 576731"/>
                    <a:gd name="connsiteY14" fmla="*/ 449906 h 505924"/>
                    <a:gd name="connsiteX0" fmla="*/ 5769 w 545693"/>
                    <a:gd name="connsiteY0" fmla="*/ 449906 h 505924"/>
                    <a:gd name="connsiteX1" fmla="*/ 8944 w 545693"/>
                    <a:gd name="connsiteY1" fmla="*/ 214956 h 505924"/>
                    <a:gd name="connsiteX2" fmla="*/ 24819 w 545693"/>
                    <a:gd name="connsiteY2" fmla="*/ 176856 h 505924"/>
                    <a:gd name="connsiteX3" fmla="*/ 72444 w 545693"/>
                    <a:gd name="connsiteY3" fmla="*/ 160981 h 505924"/>
                    <a:gd name="connsiteX4" fmla="*/ 174044 w 545693"/>
                    <a:gd name="connsiteY4" fmla="*/ 154631 h 505924"/>
                    <a:gd name="connsiteX5" fmla="*/ 199444 w 545693"/>
                    <a:gd name="connsiteY5" fmla="*/ 151456 h 505924"/>
                    <a:gd name="connsiteX6" fmla="*/ 202619 w 545693"/>
                    <a:gd name="connsiteY6" fmla="*/ 18106 h 505924"/>
                    <a:gd name="connsiteX7" fmla="*/ 313744 w 545693"/>
                    <a:gd name="connsiteY7" fmla="*/ 14931 h 505924"/>
                    <a:gd name="connsiteX8" fmla="*/ 313744 w 545693"/>
                    <a:gd name="connsiteY8" fmla="*/ 145106 h 505924"/>
                    <a:gd name="connsiteX9" fmla="*/ 355019 w 545693"/>
                    <a:gd name="connsiteY9" fmla="*/ 151456 h 505924"/>
                    <a:gd name="connsiteX10" fmla="*/ 447094 w 545693"/>
                    <a:gd name="connsiteY10" fmla="*/ 164156 h 505924"/>
                    <a:gd name="connsiteX11" fmla="*/ 488369 w 545693"/>
                    <a:gd name="connsiteY11" fmla="*/ 189556 h 505924"/>
                    <a:gd name="connsiteX12" fmla="*/ 510594 w 545693"/>
                    <a:gd name="connsiteY12" fmla="*/ 234006 h 505924"/>
                    <a:gd name="connsiteX13" fmla="*/ 507419 w 545693"/>
                    <a:gd name="connsiteY13" fmla="*/ 488006 h 505924"/>
                    <a:gd name="connsiteX14" fmla="*/ 5769 w 545693"/>
                    <a:gd name="connsiteY14" fmla="*/ 449906 h 505924"/>
                    <a:gd name="connsiteX0" fmla="*/ 21286 w 561210"/>
                    <a:gd name="connsiteY0" fmla="*/ 449906 h 508025"/>
                    <a:gd name="connsiteX1" fmla="*/ 24461 w 561210"/>
                    <a:gd name="connsiteY1" fmla="*/ 214956 h 508025"/>
                    <a:gd name="connsiteX2" fmla="*/ 40336 w 561210"/>
                    <a:gd name="connsiteY2" fmla="*/ 176856 h 508025"/>
                    <a:gd name="connsiteX3" fmla="*/ 87961 w 561210"/>
                    <a:gd name="connsiteY3" fmla="*/ 160981 h 508025"/>
                    <a:gd name="connsiteX4" fmla="*/ 189561 w 561210"/>
                    <a:gd name="connsiteY4" fmla="*/ 154631 h 508025"/>
                    <a:gd name="connsiteX5" fmla="*/ 214961 w 561210"/>
                    <a:gd name="connsiteY5" fmla="*/ 151456 h 508025"/>
                    <a:gd name="connsiteX6" fmla="*/ 218136 w 561210"/>
                    <a:gd name="connsiteY6" fmla="*/ 18106 h 508025"/>
                    <a:gd name="connsiteX7" fmla="*/ 329261 w 561210"/>
                    <a:gd name="connsiteY7" fmla="*/ 14931 h 508025"/>
                    <a:gd name="connsiteX8" fmla="*/ 329261 w 561210"/>
                    <a:gd name="connsiteY8" fmla="*/ 145106 h 508025"/>
                    <a:gd name="connsiteX9" fmla="*/ 370536 w 561210"/>
                    <a:gd name="connsiteY9" fmla="*/ 151456 h 508025"/>
                    <a:gd name="connsiteX10" fmla="*/ 462611 w 561210"/>
                    <a:gd name="connsiteY10" fmla="*/ 164156 h 508025"/>
                    <a:gd name="connsiteX11" fmla="*/ 503886 w 561210"/>
                    <a:gd name="connsiteY11" fmla="*/ 189556 h 508025"/>
                    <a:gd name="connsiteX12" fmla="*/ 526111 w 561210"/>
                    <a:gd name="connsiteY12" fmla="*/ 234006 h 508025"/>
                    <a:gd name="connsiteX13" fmla="*/ 522936 w 561210"/>
                    <a:gd name="connsiteY13" fmla="*/ 488006 h 508025"/>
                    <a:gd name="connsiteX14" fmla="*/ 21286 w 561210"/>
                    <a:gd name="connsiteY14" fmla="*/ 449906 h 508025"/>
                    <a:gd name="connsiteX0" fmla="*/ 21286 w 561210"/>
                    <a:gd name="connsiteY0" fmla="*/ 449906 h 508025"/>
                    <a:gd name="connsiteX1" fmla="*/ 24461 w 561210"/>
                    <a:gd name="connsiteY1" fmla="*/ 214956 h 508025"/>
                    <a:gd name="connsiteX2" fmla="*/ 40336 w 561210"/>
                    <a:gd name="connsiteY2" fmla="*/ 176856 h 508025"/>
                    <a:gd name="connsiteX3" fmla="*/ 87961 w 561210"/>
                    <a:gd name="connsiteY3" fmla="*/ 160981 h 508025"/>
                    <a:gd name="connsiteX4" fmla="*/ 189561 w 561210"/>
                    <a:gd name="connsiteY4" fmla="*/ 154631 h 508025"/>
                    <a:gd name="connsiteX5" fmla="*/ 214961 w 561210"/>
                    <a:gd name="connsiteY5" fmla="*/ 151456 h 508025"/>
                    <a:gd name="connsiteX6" fmla="*/ 218136 w 561210"/>
                    <a:gd name="connsiteY6" fmla="*/ 18106 h 508025"/>
                    <a:gd name="connsiteX7" fmla="*/ 329261 w 561210"/>
                    <a:gd name="connsiteY7" fmla="*/ 14931 h 508025"/>
                    <a:gd name="connsiteX8" fmla="*/ 329261 w 561210"/>
                    <a:gd name="connsiteY8" fmla="*/ 145106 h 508025"/>
                    <a:gd name="connsiteX9" fmla="*/ 370536 w 561210"/>
                    <a:gd name="connsiteY9" fmla="*/ 151456 h 508025"/>
                    <a:gd name="connsiteX10" fmla="*/ 462611 w 561210"/>
                    <a:gd name="connsiteY10" fmla="*/ 164156 h 508025"/>
                    <a:gd name="connsiteX11" fmla="*/ 503886 w 561210"/>
                    <a:gd name="connsiteY11" fmla="*/ 189556 h 508025"/>
                    <a:gd name="connsiteX12" fmla="*/ 526111 w 561210"/>
                    <a:gd name="connsiteY12" fmla="*/ 234006 h 508025"/>
                    <a:gd name="connsiteX13" fmla="*/ 522936 w 561210"/>
                    <a:gd name="connsiteY13" fmla="*/ 488006 h 508025"/>
                    <a:gd name="connsiteX14" fmla="*/ 21286 w 561210"/>
                    <a:gd name="connsiteY14" fmla="*/ 449906 h 508025"/>
                    <a:gd name="connsiteX0" fmla="*/ 4360 w 544284"/>
                    <a:gd name="connsiteY0" fmla="*/ 449906 h 508025"/>
                    <a:gd name="connsiteX1" fmla="*/ 7535 w 544284"/>
                    <a:gd name="connsiteY1" fmla="*/ 214956 h 508025"/>
                    <a:gd name="connsiteX2" fmla="*/ 23410 w 544284"/>
                    <a:gd name="connsiteY2" fmla="*/ 176856 h 508025"/>
                    <a:gd name="connsiteX3" fmla="*/ 71035 w 544284"/>
                    <a:gd name="connsiteY3" fmla="*/ 160981 h 508025"/>
                    <a:gd name="connsiteX4" fmla="*/ 172635 w 544284"/>
                    <a:gd name="connsiteY4" fmla="*/ 154631 h 508025"/>
                    <a:gd name="connsiteX5" fmla="*/ 198035 w 544284"/>
                    <a:gd name="connsiteY5" fmla="*/ 151456 h 508025"/>
                    <a:gd name="connsiteX6" fmla="*/ 201210 w 544284"/>
                    <a:gd name="connsiteY6" fmla="*/ 18106 h 508025"/>
                    <a:gd name="connsiteX7" fmla="*/ 312335 w 544284"/>
                    <a:gd name="connsiteY7" fmla="*/ 14931 h 508025"/>
                    <a:gd name="connsiteX8" fmla="*/ 312335 w 544284"/>
                    <a:gd name="connsiteY8" fmla="*/ 145106 h 508025"/>
                    <a:gd name="connsiteX9" fmla="*/ 353610 w 544284"/>
                    <a:gd name="connsiteY9" fmla="*/ 151456 h 508025"/>
                    <a:gd name="connsiteX10" fmla="*/ 445685 w 544284"/>
                    <a:gd name="connsiteY10" fmla="*/ 164156 h 508025"/>
                    <a:gd name="connsiteX11" fmla="*/ 486960 w 544284"/>
                    <a:gd name="connsiteY11" fmla="*/ 189556 h 508025"/>
                    <a:gd name="connsiteX12" fmla="*/ 509185 w 544284"/>
                    <a:gd name="connsiteY12" fmla="*/ 234006 h 508025"/>
                    <a:gd name="connsiteX13" fmla="*/ 506010 w 544284"/>
                    <a:gd name="connsiteY13" fmla="*/ 488006 h 508025"/>
                    <a:gd name="connsiteX14" fmla="*/ 4360 w 544284"/>
                    <a:gd name="connsiteY14" fmla="*/ 449906 h 508025"/>
                    <a:gd name="connsiteX0" fmla="*/ 4360 w 544284"/>
                    <a:gd name="connsiteY0" fmla="*/ 449906 h 500804"/>
                    <a:gd name="connsiteX1" fmla="*/ 7535 w 544284"/>
                    <a:gd name="connsiteY1" fmla="*/ 214956 h 500804"/>
                    <a:gd name="connsiteX2" fmla="*/ 23410 w 544284"/>
                    <a:gd name="connsiteY2" fmla="*/ 176856 h 500804"/>
                    <a:gd name="connsiteX3" fmla="*/ 71035 w 544284"/>
                    <a:gd name="connsiteY3" fmla="*/ 160981 h 500804"/>
                    <a:gd name="connsiteX4" fmla="*/ 172635 w 544284"/>
                    <a:gd name="connsiteY4" fmla="*/ 154631 h 500804"/>
                    <a:gd name="connsiteX5" fmla="*/ 198035 w 544284"/>
                    <a:gd name="connsiteY5" fmla="*/ 151456 h 500804"/>
                    <a:gd name="connsiteX6" fmla="*/ 201210 w 544284"/>
                    <a:gd name="connsiteY6" fmla="*/ 18106 h 500804"/>
                    <a:gd name="connsiteX7" fmla="*/ 312335 w 544284"/>
                    <a:gd name="connsiteY7" fmla="*/ 14931 h 500804"/>
                    <a:gd name="connsiteX8" fmla="*/ 312335 w 544284"/>
                    <a:gd name="connsiteY8" fmla="*/ 145106 h 500804"/>
                    <a:gd name="connsiteX9" fmla="*/ 353610 w 544284"/>
                    <a:gd name="connsiteY9" fmla="*/ 151456 h 500804"/>
                    <a:gd name="connsiteX10" fmla="*/ 445685 w 544284"/>
                    <a:gd name="connsiteY10" fmla="*/ 164156 h 500804"/>
                    <a:gd name="connsiteX11" fmla="*/ 486960 w 544284"/>
                    <a:gd name="connsiteY11" fmla="*/ 189556 h 500804"/>
                    <a:gd name="connsiteX12" fmla="*/ 509185 w 544284"/>
                    <a:gd name="connsiteY12" fmla="*/ 234006 h 500804"/>
                    <a:gd name="connsiteX13" fmla="*/ 506010 w 544284"/>
                    <a:gd name="connsiteY13" fmla="*/ 488006 h 500804"/>
                    <a:gd name="connsiteX14" fmla="*/ 4360 w 544284"/>
                    <a:gd name="connsiteY14" fmla="*/ 449906 h 500804"/>
                    <a:gd name="connsiteX0" fmla="*/ 4360 w 544284"/>
                    <a:gd name="connsiteY0" fmla="*/ 449906 h 500804"/>
                    <a:gd name="connsiteX1" fmla="*/ 7535 w 544284"/>
                    <a:gd name="connsiteY1" fmla="*/ 214956 h 500804"/>
                    <a:gd name="connsiteX2" fmla="*/ 23410 w 544284"/>
                    <a:gd name="connsiteY2" fmla="*/ 176856 h 500804"/>
                    <a:gd name="connsiteX3" fmla="*/ 71035 w 544284"/>
                    <a:gd name="connsiteY3" fmla="*/ 160981 h 500804"/>
                    <a:gd name="connsiteX4" fmla="*/ 172635 w 544284"/>
                    <a:gd name="connsiteY4" fmla="*/ 154631 h 500804"/>
                    <a:gd name="connsiteX5" fmla="*/ 198035 w 544284"/>
                    <a:gd name="connsiteY5" fmla="*/ 151456 h 500804"/>
                    <a:gd name="connsiteX6" fmla="*/ 201210 w 544284"/>
                    <a:gd name="connsiteY6" fmla="*/ 18106 h 500804"/>
                    <a:gd name="connsiteX7" fmla="*/ 312335 w 544284"/>
                    <a:gd name="connsiteY7" fmla="*/ 14931 h 500804"/>
                    <a:gd name="connsiteX8" fmla="*/ 312335 w 544284"/>
                    <a:gd name="connsiteY8" fmla="*/ 145106 h 500804"/>
                    <a:gd name="connsiteX9" fmla="*/ 353610 w 544284"/>
                    <a:gd name="connsiteY9" fmla="*/ 151456 h 500804"/>
                    <a:gd name="connsiteX10" fmla="*/ 445685 w 544284"/>
                    <a:gd name="connsiteY10" fmla="*/ 164156 h 500804"/>
                    <a:gd name="connsiteX11" fmla="*/ 486960 w 544284"/>
                    <a:gd name="connsiteY11" fmla="*/ 189556 h 500804"/>
                    <a:gd name="connsiteX12" fmla="*/ 509185 w 544284"/>
                    <a:gd name="connsiteY12" fmla="*/ 234006 h 500804"/>
                    <a:gd name="connsiteX13" fmla="*/ 506010 w 544284"/>
                    <a:gd name="connsiteY13" fmla="*/ 488006 h 500804"/>
                    <a:gd name="connsiteX14" fmla="*/ 4360 w 544284"/>
                    <a:gd name="connsiteY14" fmla="*/ 449906 h 500804"/>
                    <a:gd name="connsiteX0" fmla="*/ 4360 w 519024"/>
                    <a:gd name="connsiteY0" fmla="*/ 449906 h 500804"/>
                    <a:gd name="connsiteX1" fmla="*/ 7535 w 519024"/>
                    <a:gd name="connsiteY1" fmla="*/ 214956 h 500804"/>
                    <a:gd name="connsiteX2" fmla="*/ 23410 w 519024"/>
                    <a:gd name="connsiteY2" fmla="*/ 176856 h 500804"/>
                    <a:gd name="connsiteX3" fmla="*/ 71035 w 519024"/>
                    <a:gd name="connsiteY3" fmla="*/ 160981 h 500804"/>
                    <a:gd name="connsiteX4" fmla="*/ 172635 w 519024"/>
                    <a:gd name="connsiteY4" fmla="*/ 154631 h 500804"/>
                    <a:gd name="connsiteX5" fmla="*/ 198035 w 519024"/>
                    <a:gd name="connsiteY5" fmla="*/ 151456 h 500804"/>
                    <a:gd name="connsiteX6" fmla="*/ 201210 w 519024"/>
                    <a:gd name="connsiteY6" fmla="*/ 18106 h 500804"/>
                    <a:gd name="connsiteX7" fmla="*/ 312335 w 519024"/>
                    <a:gd name="connsiteY7" fmla="*/ 14931 h 500804"/>
                    <a:gd name="connsiteX8" fmla="*/ 312335 w 519024"/>
                    <a:gd name="connsiteY8" fmla="*/ 145106 h 500804"/>
                    <a:gd name="connsiteX9" fmla="*/ 353610 w 519024"/>
                    <a:gd name="connsiteY9" fmla="*/ 151456 h 500804"/>
                    <a:gd name="connsiteX10" fmla="*/ 445685 w 519024"/>
                    <a:gd name="connsiteY10" fmla="*/ 164156 h 500804"/>
                    <a:gd name="connsiteX11" fmla="*/ 486960 w 519024"/>
                    <a:gd name="connsiteY11" fmla="*/ 189556 h 500804"/>
                    <a:gd name="connsiteX12" fmla="*/ 509185 w 519024"/>
                    <a:gd name="connsiteY12" fmla="*/ 234006 h 500804"/>
                    <a:gd name="connsiteX13" fmla="*/ 506010 w 519024"/>
                    <a:gd name="connsiteY13" fmla="*/ 488006 h 500804"/>
                    <a:gd name="connsiteX14" fmla="*/ 4360 w 519024"/>
                    <a:gd name="connsiteY14" fmla="*/ 449906 h 500804"/>
                    <a:gd name="connsiteX0" fmla="*/ 4360 w 519024"/>
                    <a:gd name="connsiteY0" fmla="*/ 449906 h 488006"/>
                    <a:gd name="connsiteX1" fmla="*/ 7535 w 519024"/>
                    <a:gd name="connsiteY1" fmla="*/ 214956 h 488006"/>
                    <a:gd name="connsiteX2" fmla="*/ 23410 w 519024"/>
                    <a:gd name="connsiteY2" fmla="*/ 176856 h 488006"/>
                    <a:gd name="connsiteX3" fmla="*/ 71035 w 519024"/>
                    <a:gd name="connsiteY3" fmla="*/ 160981 h 488006"/>
                    <a:gd name="connsiteX4" fmla="*/ 172635 w 519024"/>
                    <a:gd name="connsiteY4" fmla="*/ 154631 h 488006"/>
                    <a:gd name="connsiteX5" fmla="*/ 198035 w 519024"/>
                    <a:gd name="connsiteY5" fmla="*/ 151456 h 488006"/>
                    <a:gd name="connsiteX6" fmla="*/ 201210 w 519024"/>
                    <a:gd name="connsiteY6" fmla="*/ 18106 h 488006"/>
                    <a:gd name="connsiteX7" fmla="*/ 312335 w 519024"/>
                    <a:gd name="connsiteY7" fmla="*/ 14931 h 488006"/>
                    <a:gd name="connsiteX8" fmla="*/ 312335 w 519024"/>
                    <a:gd name="connsiteY8" fmla="*/ 145106 h 488006"/>
                    <a:gd name="connsiteX9" fmla="*/ 353610 w 519024"/>
                    <a:gd name="connsiteY9" fmla="*/ 151456 h 488006"/>
                    <a:gd name="connsiteX10" fmla="*/ 445685 w 519024"/>
                    <a:gd name="connsiteY10" fmla="*/ 164156 h 488006"/>
                    <a:gd name="connsiteX11" fmla="*/ 486960 w 519024"/>
                    <a:gd name="connsiteY11" fmla="*/ 189556 h 488006"/>
                    <a:gd name="connsiteX12" fmla="*/ 509185 w 519024"/>
                    <a:gd name="connsiteY12" fmla="*/ 234006 h 488006"/>
                    <a:gd name="connsiteX13" fmla="*/ 506010 w 519024"/>
                    <a:gd name="connsiteY13" fmla="*/ 488006 h 488006"/>
                    <a:gd name="connsiteX14" fmla="*/ 4360 w 519024"/>
                    <a:gd name="connsiteY14" fmla="*/ 449906 h 488006"/>
                    <a:gd name="connsiteX0" fmla="*/ 4360 w 523534"/>
                    <a:gd name="connsiteY0" fmla="*/ 449906 h 472131"/>
                    <a:gd name="connsiteX1" fmla="*/ 7535 w 523534"/>
                    <a:gd name="connsiteY1" fmla="*/ 214956 h 472131"/>
                    <a:gd name="connsiteX2" fmla="*/ 23410 w 523534"/>
                    <a:gd name="connsiteY2" fmla="*/ 176856 h 472131"/>
                    <a:gd name="connsiteX3" fmla="*/ 71035 w 523534"/>
                    <a:gd name="connsiteY3" fmla="*/ 160981 h 472131"/>
                    <a:gd name="connsiteX4" fmla="*/ 172635 w 523534"/>
                    <a:gd name="connsiteY4" fmla="*/ 154631 h 472131"/>
                    <a:gd name="connsiteX5" fmla="*/ 198035 w 523534"/>
                    <a:gd name="connsiteY5" fmla="*/ 151456 h 472131"/>
                    <a:gd name="connsiteX6" fmla="*/ 201210 w 523534"/>
                    <a:gd name="connsiteY6" fmla="*/ 18106 h 472131"/>
                    <a:gd name="connsiteX7" fmla="*/ 312335 w 523534"/>
                    <a:gd name="connsiteY7" fmla="*/ 14931 h 472131"/>
                    <a:gd name="connsiteX8" fmla="*/ 312335 w 523534"/>
                    <a:gd name="connsiteY8" fmla="*/ 145106 h 472131"/>
                    <a:gd name="connsiteX9" fmla="*/ 353610 w 523534"/>
                    <a:gd name="connsiteY9" fmla="*/ 151456 h 472131"/>
                    <a:gd name="connsiteX10" fmla="*/ 445685 w 523534"/>
                    <a:gd name="connsiteY10" fmla="*/ 164156 h 472131"/>
                    <a:gd name="connsiteX11" fmla="*/ 486960 w 523534"/>
                    <a:gd name="connsiteY11" fmla="*/ 189556 h 472131"/>
                    <a:gd name="connsiteX12" fmla="*/ 509185 w 523534"/>
                    <a:gd name="connsiteY12" fmla="*/ 234006 h 472131"/>
                    <a:gd name="connsiteX13" fmla="*/ 512360 w 523534"/>
                    <a:gd name="connsiteY13" fmla="*/ 472131 h 472131"/>
                    <a:gd name="connsiteX14" fmla="*/ 4360 w 523534"/>
                    <a:gd name="connsiteY14" fmla="*/ 449906 h 472131"/>
                    <a:gd name="connsiteX0" fmla="*/ 4360 w 513675"/>
                    <a:gd name="connsiteY0" fmla="*/ 449906 h 472131"/>
                    <a:gd name="connsiteX1" fmla="*/ 7535 w 513675"/>
                    <a:gd name="connsiteY1" fmla="*/ 214956 h 472131"/>
                    <a:gd name="connsiteX2" fmla="*/ 23410 w 513675"/>
                    <a:gd name="connsiteY2" fmla="*/ 176856 h 472131"/>
                    <a:gd name="connsiteX3" fmla="*/ 71035 w 513675"/>
                    <a:gd name="connsiteY3" fmla="*/ 160981 h 472131"/>
                    <a:gd name="connsiteX4" fmla="*/ 172635 w 513675"/>
                    <a:gd name="connsiteY4" fmla="*/ 154631 h 472131"/>
                    <a:gd name="connsiteX5" fmla="*/ 198035 w 513675"/>
                    <a:gd name="connsiteY5" fmla="*/ 151456 h 472131"/>
                    <a:gd name="connsiteX6" fmla="*/ 201210 w 513675"/>
                    <a:gd name="connsiteY6" fmla="*/ 18106 h 472131"/>
                    <a:gd name="connsiteX7" fmla="*/ 312335 w 513675"/>
                    <a:gd name="connsiteY7" fmla="*/ 14931 h 472131"/>
                    <a:gd name="connsiteX8" fmla="*/ 312335 w 513675"/>
                    <a:gd name="connsiteY8" fmla="*/ 145106 h 472131"/>
                    <a:gd name="connsiteX9" fmla="*/ 353610 w 513675"/>
                    <a:gd name="connsiteY9" fmla="*/ 151456 h 472131"/>
                    <a:gd name="connsiteX10" fmla="*/ 445685 w 513675"/>
                    <a:gd name="connsiteY10" fmla="*/ 164156 h 472131"/>
                    <a:gd name="connsiteX11" fmla="*/ 486960 w 513675"/>
                    <a:gd name="connsiteY11" fmla="*/ 189556 h 472131"/>
                    <a:gd name="connsiteX12" fmla="*/ 509185 w 513675"/>
                    <a:gd name="connsiteY12" fmla="*/ 234006 h 472131"/>
                    <a:gd name="connsiteX13" fmla="*/ 512360 w 513675"/>
                    <a:gd name="connsiteY13" fmla="*/ 472131 h 472131"/>
                    <a:gd name="connsiteX14" fmla="*/ 4360 w 513675"/>
                    <a:gd name="connsiteY14" fmla="*/ 449906 h 472131"/>
                    <a:gd name="connsiteX0" fmla="*/ 4360 w 513675"/>
                    <a:gd name="connsiteY0" fmla="*/ 446969 h 469194"/>
                    <a:gd name="connsiteX1" fmla="*/ 7535 w 513675"/>
                    <a:gd name="connsiteY1" fmla="*/ 212019 h 469194"/>
                    <a:gd name="connsiteX2" fmla="*/ 23410 w 513675"/>
                    <a:gd name="connsiteY2" fmla="*/ 173919 h 469194"/>
                    <a:gd name="connsiteX3" fmla="*/ 71035 w 513675"/>
                    <a:gd name="connsiteY3" fmla="*/ 158044 h 469194"/>
                    <a:gd name="connsiteX4" fmla="*/ 172635 w 513675"/>
                    <a:gd name="connsiteY4" fmla="*/ 151694 h 469194"/>
                    <a:gd name="connsiteX5" fmla="*/ 188510 w 513675"/>
                    <a:gd name="connsiteY5" fmla="*/ 94544 h 469194"/>
                    <a:gd name="connsiteX6" fmla="*/ 201210 w 513675"/>
                    <a:gd name="connsiteY6" fmla="*/ 15169 h 469194"/>
                    <a:gd name="connsiteX7" fmla="*/ 312335 w 513675"/>
                    <a:gd name="connsiteY7" fmla="*/ 11994 h 469194"/>
                    <a:gd name="connsiteX8" fmla="*/ 312335 w 513675"/>
                    <a:gd name="connsiteY8" fmla="*/ 142169 h 469194"/>
                    <a:gd name="connsiteX9" fmla="*/ 353610 w 513675"/>
                    <a:gd name="connsiteY9" fmla="*/ 148519 h 469194"/>
                    <a:gd name="connsiteX10" fmla="*/ 445685 w 513675"/>
                    <a:gd name="connsiteY10" fmla="*/ 161219 h 469194"/>
                    <a:gd name="connsiteX11" fmla="*/ 486960 w 513675"/>
                    <a:gd name="connsiteY11" fmla="*/ 186619 h 469194"/>
                    <a:gd name="connsiteX12" fmla="*/ 509185 w 513675"/>
                    <a:gd name="connsiteY12" fmla="*/ 231069 h 469194"/>
                    <a:gd name="connsiteX13" fmla="*/ 512360 w 513675"/>
                    <a:gd name="connsiteY13" fmla="*/ 469194 h 469194"/>
                    <a:gd name="connsiteX14" fmla="*/ 4360 w 513675"/>
                    <a:gd name="connsiteY14" fmla="*/ 446969 h 469194"/>
                    <a:gd name="connsiteX0" fmla="*/ 4360 w 513675"/>
                    <a:gd name="connsiteY0" fmla="*/ 443409 h 465634"/>
                    <a:gd name="connsiteX1" fmla="*/ 7535 w 513675"/>
                    <a:gd name="connsiteY1" fmla="*/ 208459 h 465634"/>
                    <a:gd name="connsiteX2" fmla="*/ 23410 w 513675"/>
                    <a:gd name="connsiteY2" fmla="*/ 170359 h 465634"/>
                    <a:gd name="connsiteX3" fmla="*/ 71035 w 513675"/>
                    <a:gd name="connsiteY3" fmla="*/ 154484 h 465634"/>
                    <a:gd name="connsiteX4" fmla="*/ 172635 w 513675"/>
                    <a:gd name="connsiteY4" fmla="*/ 148134 h 465634"/>
                    <a:gd name="connsiteX5" fmla="*/ 188510 w 513675"/>
                    <a:gd name="connsiteY5" fmla="*/ 90984 h 465634"/>
                    <a:gd name="connsiteX6" fmla="*/ 201210 w 513675"/>
                    <a:gd name="connsiteY6" fmla="*/ 11609 h 465634"/>
                    <a:gd name="connsiteX7" fmla="*/ 312335 w 513675"/>
                    <a:gd name="connsiteY7" fmla="*/ 8434 h 465634"/>
                    <a:gd name="connsiteX8" fmla="*/ 312335 w 513675"/>
                    <a:gd name="connsiteY8" fmla="*/ 87809 h 465634"/>
                    <a:gd name="connsiteX9" fmla="*/ 353610 w 513675"/>
                    <a:gd name="connsiteY9" fmla="*/ 144959 h 465634"/>
                    <a:gd name="connsiteX10" fmla="*/ 445685 w 513675"/>
                    <a:gd name="connsiteY10" fmla="*/ 157659 h 465634"/>
                    <a:gd name="connsiteX11" fmla="*/ 486960 w 513675"/>
                    <a:gd name="connsiteY11" fmla="*/ 183059 h 465634"/>
                    <a:gd name="connsiteX12" fmla="*/ 509185 w 513675"/>
                    <a:gd name="connsiteY12" fmla="*/ 227509 h 465634"/>
                    <a:gd name="connsiteX13" fmla="*/ 512360 w 513675"/>
                    <a:gd name="connsiteY13" fmla="*/ 465634 h 465634"/>
                    <a:gd name="connsiteX14" fmla="*/ 4360 w 513675"/>
                    <a:gd name="connsiteY14" fmla="*/ 443409 h 465634"/>
                    <a:gd name="connsiteX0" fmla="*/ 4360 w 513675"/>
                    <a:gd name="connsiteY0" fmla="*/ 443409 h 465634"/>
                    <a:gd name="connsiteX1" fmla="*/ 7535 w 513675"/>
                    <a:gd name="connsiteY1" fmla="*/ 208459 h 465634"/>
                    <a:gd name="connsiteX2" fmla="*/ 23410 w 513675"/>
                    <a:gd name="connsiteY2" fmla="*/ 170359 h 465634"/>
                    <a:gd name="connsiteX3" fmla="*/ 71035 w 513675"/>
                    <a:gd name="connsiteY3" fmla="*/ 154484 h 465634"/>
                    <a:gd name="connsiteX4" fmla="*/ 172635 w 513675"/>
                    <a:gd name="connsiteY4" fmla="*/ 148134 h 465634"/>
                    <a:gd name="connsiteX5" fmla="*/ 188510 w 513675"/>
                    <a:gd name="connsiteY5" fmla="*/ 90984 h 465634"/>
                    <a:gd name="connsiteX6" fmla="*/ 201210 w 513675"/>
                    <a:gd name="connsiteY6" fmla="*/ 11609 h 465634"/>
                    <a:gd name="connsiteX7" fmla="*/ 312335 w 513675"/>
                    <a:gd name="connsiteY7" fmla="*/ 8434 h 465634"/>
                    <a:gd name="connsiteX8" fmla="*/ 312335 w 513675"/>
                    <a:gd name="connsiteY8" fmla="*/ 87809 h 465634"/>
                    <a:gd name="connsiteX9" fmla="*/ 334560 w 513675"/>
                    <a:gd name="connsiteY9" fmla="*/ 135434 h 465634"/>
                    <a:gd name="connsiteX10" fmla="*/ 445685 w 513675"/>
                    <a:gd name="connsiteY10" fmla="*/ 157659 h 465634"/>
                    <a:gd name="connsiteX11" fmla="*/ 486960 w 513675"/>
                    <a:gd name="connsiteY11" fmla="*/ 183059 h 465634"/>
                    <a:gd name="connsiteX12" fmla="*/ 509185 w 513675"/>
                    <a:gd name="connsiteY12" fmla="*/ 227509 h 465634"/>
                    <a:gd name="connsiteX13" fmla="*/ 512360 w 513675"/>
                    <a:gd name="connsiteY13" fmla="*/ 465634 h 465634"/>
                    <a:gd name="connsiteX14" fmla="*/ 4360 w 513675"/>
                    <a:gd name="connsiteY14" fmla="*/ 443409 h 465634"/>
                    <a:gd name="connsiteX0" fmla="*/ 4360 w 510500"/>
                    <a:gd name="connsiteY0" fmla="*/ 443409 h 449759"/>
                    <a:gd name="connsiteX1" fmla="*/ 7535 w 510500"/>
                    <a:gd name="connsiteY1" fmla="*/ 208459 h 449759"/>
                    <a:gd name="connsiteX2" fmla="*/ 23410 w 510500"/>
                    <a:gd name="connsiteY2" fmla="*/ 170359 h 449759"/>
                    <a:gd name="connsiteX3" fmla="*/ 71035 w 510500"/>
                    <a:gd name="connsiteY3" fmla="*/ 154484 h 449759"/>
                    <a:gd name="connsiteX4" fmla="*/ 172635 w 510500"/>
                    <a:gd name="connsiteY4" fmla="*/ 148134 h 449759"/>
                    <a:gd name="connsiteX5" fmla="*/ 188510 w 510500"/>
                    <a:gd name="connsiteY5" fmla="*/ 90984 h 449759"/>
                    <a:gd name="connsiteX6" fmla="*/ 201210 w 510500"/>
                    <a:gd name="connsiteY6" fmla="*/ 11609 h 449759"/>
                    <a:gd name="connsiteX7" fmla="*/ 312335 w 510500"/>
                    <a:gd name="connsiteY7" fmla="*/ 8434 h 449759"/>
                    <a:gd name="connsiteX8" fmla="*/ 312335 w 510500"/>
                    <a:gd name="connsiteY8" fmla="*/ 87809 h 449759"/>
                    <a:gd name="connsiteX9" fmla="*/ 334560 w 510500"/>
                    <a:gd name="connsiteY9" fmla="*/ 135434 h 449759"/>
                    <a:gd name="connsiteX10" fmla="*/ 445685 w 510500"/>
                    <a:gd name="connsiteY10" fmla="*/ 157659 h 449759"/>
                    <a:gd name="connsiteX11" fmla="*/ 486960 w 510500"/>
                    <a:gd name="connsiteY11" fmla="*/ 183059 h 449759"/>
                    <a:gd name="connsiteX12" fmla="*/ 509185 w 510500"/>
                    <a:gd name="connsiteY12" fmla="*/ 227509 h 449759"/>
                    <a:gd name="connsiteX13" fmla="*/ 506010 w 510500"/>
                    <a:gd name="connsiteY13" fmla="*/ 449759 h 449759"/>
                    <a:gd name="connsiteX14" fmla="*/ 4360 w 510500"/>
                    <a:gd name="connsiteY14" fmla="*/ 443409 h 449759"/>
                    <a:gd name="connsiteX0" fmla="*/ 4360 w 510500"/>
                    <a:gd name="connsiteY0" fmla="*/ 443409 h 454926"/>
                    <a:gd name="connsiteX1" fmla="*/ 7535 w 510500"/>
                    <a:gd name="connsiteY1" fmla="*/ 208459 h 454926"/>
                    <a:gd name="connsiteX2" fmla="*/ 23410 w 510500"/>
                    <a:gd name="connsiteY2" fmla="*/ 170359 h 454926"/>
                    <a:gd name="connsiteX3" fmla="*/ 71035 w 510500"/>
                    <a:gd name="connsiteY3" fmla="*/ 154484 h 454926"/>
                    <a:gd name="connsiteX4" fmla="*/ 172635 w 510500"/>
                    <a:gd name="connsiteY4" fmla="*/ 148134 h 454926"/>
                    <a:gd name="connsiteX5" fmla="*/ 188510 w 510500"/>
                    <a:gd name="connsiteY5" fmla="*/ 90984 h 454926"/>
                    <a:gd name="connsiteX6" fmla="*/ 201210 w 510500"/>
                    <a:gd name="connsiteY6" fmla="*/ 11609 h 454926"/>
                    <a:gd name="connsiteX7" fmla="*/ 312335 w 510500"/>
                    <a:gd name="connsiteY7" fmla="*/ 8434 h 454926"/>
                    <a:gd name="connsiteX8" fmla="*/ 312335 w 510500"/>
                    <a:gd name="connsiteY8" fmla="*/ 87809 h 454926"/>
                    <a:gd name="connsiteX9" fmla="*/ 334560 w 510500"/>
                    <a:gd name="connsiteY9" fmla="*/ 135434 h 454926"/>
                    <a:gd name="connsiteX10" fmla="*/ 445685 w 510500"/>
                    <a:gd name="connsiteY10" fmla="*/ 157659 h 454926"/>
                    <a:gd name="connsiteX11" fmla="*/ 486960 w 510500"/>
                    <a:gd name="connsiteY11" fmla="*/ 183059 h 454926"/>
                    <a:gd name="connsiteX12" fmla="*/ 509185 w 510500"/>
                    <a:gd name="connsiteY12" fmla="*/ 227509 h 454926"/>
                    <a:gd name="connsiteX13" fmla="*/ 506010 w 510500"/>
                    <a:gd name="connsiteY13" fmla="*/ 449759 h 454926"/>
                    <a:gd name="connsiteX14" fmla="*/ 4360 w 510500"/>
                    <a:gd name="connsiteY14" fmla="*/ 443409 h 454926"/>
                    <a:gd name="connsiteX0" fmla="*/ 6473 w 512613"/>
                    <a:gd name="connsiteY0" fmla="*/ 443409 h 454926"/>
                    <a:gd name="connsiteX1" fmla="*/ 9648 w 512613"/>
                    <a:gd name="connsiteY1" fmla="*/ 208459 h 454926"/>
                    <a:gd name="connsiteX2" fmla="*/ 73148 w 512613"/>
                    <a:gd name="connsiteY2" fmla="*/ 154484 h 454926"/>
                    <a:gd name="connsiteX3" fmla="*/ 174748 w 512613"/>
                    <a:gd name="connsiteY3" fmla="*/ 148134 h 454926"/>
                    <a:gd name="connsiteX4" fmla="*/ 190623 w 512613"/>
                    <a:gd name="connsiteY4" fmla="*/ 90984 h 454926"/>
                    <a:gd name="connsiteX5" fmla="*/ 203323 w 512613"/>
                    <a:gd name="connsiteY5" fmla="*/ 11609 h 454926"/>
                    <a:gd name="connsiteX6" fmla="*/ 314448 w 512613"/>
                    <a:gd name="connsiteY6" fmla="*/ 8434 h 454926"/>
                    <a:gd name="connsiteX7" fmla="*/ 314448 w 512613"/>
                    <a:gd name="connsiteY7" fmla="*/ 87809 h 454926"/>
                    <a:gd name="connsiteX8" fmla="*/ 336673 w 512613"/>
                    <a:gd name="connsiteY8" fmla="*/ 135434 h 454926"/>
                    <a:gd name="connsiteX9" fmla="*/ 447798 w 512613"/>
                    <a:gd name="connsiteY9" fmla="*/ 157659 h 454926"/>
                    <a:gd name="connsiteX10" fmla="*/ 489073 w 512613"/>
                    <a:gd name="connsiteY10" fmla="*/ 183059 h 454926"/>
                    <a:gd name="connsiteX11" fmla="*/ 511298 w 512613"/>
                    <a:gd name="connsiteY11" fmla="*/ 227509 h 454926"/>
                    <a:gd name="connsiteX12" fmla="*/ 508123 w 512613"/>
                    <a:gd name="connsiteY12" fmla="*/ 449759 h 454926"/>
                    <a:gd name="connsiteX13" fmla="*/ 6473 w 512613"/>
                    <a:gd name="connsiteY13" fmla="*/ 443409 h 454926"/>
                    <a:gd name="connsiteX0" fmla="*/ 4049 w 510189"/>
                    <a:gd name="connsiteY0" fmla="*/ 443409 h 454926"/>
                    <a:gd name="connsiteX1" fmla="*/ 7224 w 510189"/>
                    <a:gd name="connsiteY1" fmla="*/ 208459 h 454926"/>
                    <a:gd name="connsiteX2" fmla="*/ 70724 w 510189"/>
                    <a:gd name="connsiteY2" fmla="*/ 154484 h 454926"/>
                    <a:gd name="connsiteX3" fmla="*/ 172324 w 510189"/>
                    <a:gd name="connsiteY3" fmla="*/ 148134 h 454926"/>
                    <a:gd name="connsiteX4" fmla="*/ 188199 w 510189"/>
                    <a:gd name="connsiteY4" fmla="*/ 90984 h 454926"/>
                    <a:gd name="connsiteX5" fmla="*/ 200899 w 510189"/>
                    <a:gd name="connsiteY5" fmla="*/ 11609 h 454926"/>
                    <a:gd name="connsiteX6" fmla="*/ 312024 w 510189"/>
                    <a:gd name="connsiteY6" fmla="*/ 8434 h 454926"/>
                    <a:gd name="connsiteX7" fmla="*/ 312024 w 510189"/>
                    <a:gd name="connsiteY7" fmla="*/ 87809 h 454926"/>
                    <a:gd name="connsiteX8" fmla="*/ 334249 w 510189"/>
                    <a:gd name="connsiteY8" fmla="*/ 135434 h 454926"/>
                    <a:gd name="connsiteX9" fmla="*/ 445374 w 510189"/>
                    <a:gd name="connsiteY9" fmla="*/ 157659 h 454926"/>
                    <a:gd name="connsiteX10" fmla="*/ 486649 w 510189"/>
                    <a:gd name="connsiteY10" fmla="*/ 183059 h 454926"/>
                    <a:gd name="connsiteX11" fmla="*/ 508874 w 510189"/>
                    <a:gd name="connsiteY11" fmla="*/ 227509 h 454926"/>
                    <a:gd name="connsiteX12" fmla="*/ 505699 w 510189"/>
                    <a:gd name="connsiteY12" fmla="*/ 449759 h 454926"/>
                    <a:gd name="connsiteX13" fmla="*/ 4049 w 510189"/>
                    <a:gd name="connsiteY13" fmla="*/ 443409 h 454926"/>
                    <a:gd name="connsiteX0" fmla="*/ 4049 w 510189"/>
                    <a:gd name="connsiteY0" fmla="*/ 443409 h 454926"/>
                    <a:gd name="connsiteX1" fmla="*/ 7224 w 510189"/>
                    <a:gd name="connsiteY1" fmla="*/ 208459 h 454926"/>
                    <a:gd name="connsiteX2" fmla="*/ 70724 w 510189"/>
                    <a:gd name="connsiteY2" fmla="*/ 154484 h 454926"/>
                    <a:gd name="connsiteX3" fmla="*/ 172324 w 510189"/>
                    <a:gd name="connsiteY3" fmla="*/ 148134 h 454926"/>
                    <a:gd name="connsiteX4" fmla="*/ 188199 w 510189"/>
                    <a:gd name="connsiteY4" fmla="*/ 90984 h 454926"/>
                    <a:gd name="connsiteX5" fmla="*/ 200899 w 510189"/>
                    <a:gd name="connsiteY5" fmla="*/ 11609 h 454926"/>
                    <a:gd name="connsiteX6" fmla="*/ 312024 w 510189"/>
                    <a:gd name="connsiteY6" fmla="*/ 8434 h 454926"/>
                    <a:gd name="connsiteX7" fmla="*/ 312024 w 510189"/>
                    <a:gd name="connsiteY7" fmla="*/ 87809 h 454926"/>
                    <a:gd name="connsiteX8" fmla="*/ 334249 w 510189"/>
                    <a:gd name="connsiteY8" fmla="*/ 135434 h 454926"/>
                    <a:gd name="connsiteX9" fmla="*/ 445374 w 510189"/>
                    <a:gd name="connsiteY9" fmla="*/ 157659 h 454926"/>
                    <a:gd name="connsiteX10" fmla="*/ 508874 w 510189"/>
                    <a:gd name="connsiteY10" fmla="*/ 227509 h 454926"/>
                    <a:gd name="connsiteX11" fmla="*/ 505699 w 510189"/>
                    <a:gd name="connsiteY11" fmla="*/ 449759 h 454926"/>
                    <a:gd name="connsiteX12" fmla="*/ 4049 w 510189"/>
                    <a:gd name="connsiteY12" fmla="*/ 443409 h 454926"/>
                    <a:gd name="connsiteX0" fmla="*/ 4049 w 510189"/>
                    <a:gd name="connsiteY0" fmla="*/ 443409 h 454926"/>
                    <a:gd name="connsiteX1" fmla="*/ 7224 w 510189"/>
                    <a:gd name="connsiteY1" fmla="*/ 208459 h 454926"/>
                    <a:gd name="connsiteX2" fmla="*/ 70724 w 510189"/>
                    <a:gd name="connsiteY2" fmla="*/ 154484 h 454926"/>
                    <a:gd name="connsiteX3" fmla="*/ 172324 w 510189"/>
                    <a:gd name="connsiteY3" fmla="*/ 148134 h 454926"/>
                    <a:gd name="connsiteX4" fmla="*/ 188199 w 510189"/>
                    <a:gd name="connsiteY4" fmla="*/ 90984 h 454926"/>
                    <a:gd name="connsiteX5" fmla="*/ 200899 w 510189"/>
                    <a:gd name="connsiteY5" fmla="*/ 11609 h 454926"/>
                    <a:gd name="connsiteX6" fmla="*/ 312024 w 510189"/>
                    <a:gd name="connsiteY6" fmla="*/ 8434 h 454926"/>
                    <a:gd name="connsiteX7" fmla="*/ 312024 w 510189"/>
                    <a:gd name="connsiteY7" fmla="*/ 87809 h 454926"/>
                    <a:gd name="connsiteX8" fmla="*/ 334249 w 510189"/>
                    <a:gd name="connsiteY8" fmla="*/ 135434 h 454926"/>
                    <a:gd name="connsiteX9" fmla="*/ 445374 w 510189"/>
                    <a:gd name="connsiteY9" fmla="*/ 157659 h 454926"/>
                    <a:gd name="connsiteX10" fmla="*/ 508874 w 510189"/>
                    <a:gd name="connsiteY10" fmla="*/ 227509 h 454926"/>
                    <a:gd name="connsiteX11" fmla="*/ 505699 w 510189"/>
                    <a:gd name="connsiteY11" fmla="*/ 449759 h 454926"/>
                    <a:gd name="connsiteX12" fmla="*/ 4049 w 510189"/>
                    <a:gd name="connsiteY12" fmla="*/ 443409 h 454926"/>
                    <a:gd name="connsiteX0" fmla="*/ 5987 w 512127"/>
                    <a:gd name="connsiteY0" fmla="*/ 443409 h 454926"/>
                    <a:gd name="connsiteX1" fmla="*/ 2812 w 512127"/>
                    <a:gd name="connsiteY1" fmla="*/ 217984 h 454926"/>
                    <a:gd name="connsiteX2" fmla="*/ 72662 w 512127"/>
                    <a:gd name="connsiteY2" fmla="*/ 154484 h 454926"/>
                    <a:gd name="connsiteX3" fmla="*/ 174262 w 512127"/>
                    <a:gd name="connsiteY3" fmla="*/ 148134 h 454926"/>
                    <a:gd name="connsiteX4" fmla="*/ 190137 w 512127"/>
                    <a:gd name="connsiteY4" fmla="*/ 90984 h 454926"/>
                    <a:gd name="connsiteX5" fmla="*/ 202837 w 512127"/>
                    <a:gd name="connsiteY5" fmla="*/ 11609 h 454926"/>
                    <a:gd name="connsiteX6" fmla="*/ 313962 w 512127"/>
                    <a:gd name="connsiteY6" fmla="*/ 8434 h 454926"/>
                    <a:gd name="connsiteX7" fmla="*/ 313962 w 512127"/>
                    <a:gd name="connsiteY7" fmla="*/ 87809 h 454926"/>
                    <a:gd name="connsiteX8" fmla="*/ 336187 w 512127"/>
                    <a:gd name="connsiteY8" fmla="*/ 135434 h 454926"/>
                    <a:gd name="connsiteX9" fmla="*/ 447312 w 512127"/>
                    <a:gd name="connsiteY9" fmla="*/ 157659 h 454926"/>
                    <a:gd name="connsiteX10" fmla="*/ 510812 w 512127"/>
                    <a:gd name="connsiteY10" fmla="*/ 227509 h 454926"/>
                    <a:gd name="connsiteX11" fmla="*/ 507637 w 512127"/>
                    <a:gd name="connsiteY11" fmla="*/ 449759 h 454926"/>
                    <a:gd name="connsiteX12" fmla="*/ 5987 w 512127"/>
                    <a:gd name="connsiteY12" fmla="*/ 443409 h 454926"/>
                    <a:gd name="connsiteX0" fmla="*/ 9762 w 515902"/>
                    <a:gd name="connsiteY0" fmla="*/ 443409 h 454926"/>
                    <a:gd name="connsiteX1" fmla="*/ 6587 w 515902"/>
                    <a:gd name="connsiteY1" fmla="*/ 217984 h 454926"/>
                    <a:gd name="connsiteX2" fmla="*/ 76437 w 515902"/>
                    <a:gd name="connsiteY2" fmla="*/ 154484 h 454926"/>
                    <a:gd name="connsiteX3" fmla="*/ 178037 w 515902"/>
                    <a:gd name="connsiteY3" fmla="*/ 148134 h 454926"/>
                    <a:gd name="connsiteX4" fmla="*/ 193912 w 515902"/>
                    <a:gd name="connsiteY4" fmla="*/ 90984 h 454926"/>
                    <a:gd name="connsiteX5" fmla="*/ 206612 w 515902"/>
                    <a:gd name="connsiteY5" fmla="*/ 11609 h 454926"/>
                    <a:gd name="connsiteX6" fmla="*/ 317737 w 515902"/>
                    <a:gd name="connsiteY6" fmla="*/ 8434 h 454926"/>
                    <a:gd name="connsiteX7" fmla="*/ 317737 w 515902"/>
                    <a:gd name="connsiteY7" fmla="*/ 87809 h 454926"/>
                    <a:gd name="connsiteX8" fmla="*/ 339962 w 515902"/>
                    <a:gd name="connsiteY8" fmla="*/ 135434 h 454926"/>
                    <a:gd name="connsiteX9" fmla="*/ 451087 w 515902"/>
                    <a:gd name="connsiteY9" fmla="*/ 157659 h 454926"/>
                    <a:gd name="connsiteX10" fmla="*/ 514587 w 515902"/>
                    <a:gd name="connsiteY10" fmla="*/ 227509 h 454926"/>
                    <a:gd name="connsiteX11" fmla="*/ 511412 w 515902"/>
                    <a:gd name="connsiteY11" fmla="*/ 449759 h 454926"/>
                    <a:gd name="connsiteX12" fmla="*/ 9762 w 515902"/>
                    <a:gd name="connsiteY12" fmla="*/ 443409 h 454926"/>
                    <a:gd name="connsiteX0" fmla="*/ 9762 w 515902"/>
                    <a:gd name="connsiteY0" fmla="*/ 443409 h 454926"/>
                    <a:gd name="connsiteX1" fmla="*/ 6587 w 515902"/>
                    <a:gd name="connsiteY1" fmla="*/ 217984 h 454926"/>
                    <a:gd name="connsiteX2" fmla="*/ 76437 w 515902"/>
                    <a:gd name="connsiteY2" fmla="*/ 154484 h 454926"/>
                    <a:gd name="connsiteX3" fmla="*/ 178037 w 515902"/>
                    <a:gd name="connsiteY3" fmla="*/ 148134 h 454926"/>
                    <a:gd name="connsiteX4" fmla="*/ 193912 w 515902"/>
                    <a:gd name="connsiteY4" fmla="*/ 90984 h 454926"/>
                    <a:gd name="connsiteX5" fmla="*/ 206612 w 515902"/>
                    <a:gd name="connsiteY5" fmla="*/ 11609 h 454926"/>
                    <a:gd name="connsiteX6" fmla="*/ 317737 w 515902"/>
                    <a:gd name="connsiteY6" fmla="*/ 8434 h 454926"/>
                    <a:gd name="connsiteX7" fmla="*/ 317737 w 515902"/>
                    <a:gd name="connsiteY7" fmla="*/ 87809 h 454926"/>
                    <a:gd name="connsiteX8" fmla="*/ 339962 w 515902"/>
                    <a:gd name="connsiteY8" fmla="*/ 135434 h 454926"/>
                    <a:gd name="connsiteX9" fmla="*/ 451087 w 515902"/>
                    <a:gd name="connsiteY9" fmla="*/ 157659 h 454926"/>
                    <a:gd name="connsiteX10" fmla="*/ 514587 w 515902"/>
                    <a:gd name="connsiteY10" fmla="*/ 227509 h 454926"/>
                    <a:gd name="connsiteX11" fmla="*/ 511412 w 515902"/>
                    <a:gd name="connsiteY11" fmla="*/ 449759 h 454926"/>
                    <a:gd name="connsiteX12" fmla="*/ 9762 w 515902"/>
                    <a:gd name="connsiteY12" fmla="*/ 443409 h 454926"/>
                    <a:gd name="connsiteX0" fmla="*/ 9762 w 515902"/>
                    <a:gd name="connsiteY0" fmla="*/ 443409 h 454926"/>
                    <a:gd name="connsiteX1" fmla="*/ 6587 w 515902"/>
                    <a:gd name="connsiteY1" fmla="*/ 217984 h 454926"/>
                    <a:gd name="connsiteX2" fmla="*/ 76437 w 515902"/>
                    <a:gd name="connsiteY2" fmla="*/ 154484 h 454926"/>
                    <a:gd name="connsiteX3" fmla="*/ 193912 w 515902"/>
                    <a:gd name="connsiteY3" fmla="*/ 90984 h 454926"/>
                    <a:gd name="connsiteX4" fmla="*/ 206612 w 515902"/>
                    <a:gd name="connsiteY4" fmla="*/ 11609 h 454926"/>
                    <a:gd name="connsiteX5" fmla="*/ 317737 w 515902"/>
                    <a:gd name="connsiteY5" fmla="*/ 8434 h 454926"/>
                    <a:gd name="connsiteX6" fmla="*/ 317737 w 515902"/>
                    <a:gd name="connsiteY6" fmla="*/ 87809 h 454926"/>
                    <a:gd name="connsiteX7" fmla="*/ 339962 w 515902"/>
                    <a:gd name="connsiteY7" fmla="*/ 135434 h 454926"/>
                    <a:gd name="connsiteX8" fmla="*/ 451087 w 515902"/>
                    <a:gd name="connsiteY8" fmla="*/ 157659 h 454926"/>
                    <a:gd name="connsiteX9" fmla="*/ 514587 w 515902"/>
                    <a:gd name="connsiteY9" fmla="*/ 227509 h 454926"/>
                    <a:gd name="connsiteX10" fmla="*/ 511412 w 515902"/>
                    <a:gd name="connsiteY10" fmla="*/ 449759 h 454926"/>
                    <a:gd name="connsiteX11" fmla="*/ 9762 w 515902"/>
                    <a:gd name="connsiteY11" fmla="*/ 443409 h 454926"/>
                    <a:gd name="connsiteX0" fmla="*/ 9762 w 515902"/>
                    <a:gd name="connsiteY0" fmla="*/ 446099 h 457616"/>
                    <a:gd name="connsiteX1" fmla="*/ 6587 w 515902"/>
                    <a:gd name="connsiteY1" fmla="*/ 220674 h 457616"/>
                    <a:gd name="connsiteX2" fmla="*/ 76437 w 515902"/>
                    <a:gd name="connsiteY2" fmla="*/ 157174 h 457616"/>
                    <a:gd name="connsiteX3" fmla="*/ 190737 w 515902"/>
                    <a:gd name="connsiteY3" fmla="*/ 138124 h 457616"/>
                    <a:gd name="connsiteX4" fmla="*/ 206612 w 515902"/>
                    <a:gd name="connsiteY4" fmla="*/ 14299 h 457616"/>
                    <a:gd name="connsiteX5" fmla="*/ 317737 w 515902"/>
                    <a:gd name="connsiteY5" fmla="*/ 11124 h 457616"/>
                    <a:gd name="connsiteX6" fmla="*/ 317737 w 515902"/>
                    <a:gd name="connsiteY6" fmla="*/ 90499 h 457616"/>
                    <a:gd name="connsiteX7" fmla="*/ 339962 w 515902"/>
                    <a:gd name="connsiteY7" fmla="*/ 138124 h 457616"/>
                    <a:gd name="connsiteX8" fmla="*/ 451087 w 515902"/>
                    <a:gd name="connsiteY8" fmla="*/ 160349 h 457616"/>
                    <a:gd name="connsiteX9" fmla="*/ 514587 w 515902"/>
                    <a:gd name="connsiteY9" fmla="*/ 230199 h 457616"/>
                    <a:gd name="connsiteX10" fmla="*/ 511412 w 515902"/>
                    <a:gd name="connsiteY10" fmla="*/ 452449 h 457616"/>
                    <a:gd name="connsiteX11" fmla="*/ 9762 w 515902"/>
                    <a:gd name="connsiteY11" fmla="*/ 446099 h 457616"/>
                    <a:gd name="connsiteX0" fmla="*/ 9762 w 515902"/>
                    <a:gd name="connsiteY0" fmla="*/ 446099 h 457616"/>
                    <a:gd name="connsiteX1" fmla="*/ 6587 w 515902"/>
                    <a:gd name="connsiteY1" fmla="*/ 220674 h 457616"/>
                    <a:gd name="connsiteX2" fmla="*/ 76437 w 515902"/>
                    <a:gd name="connsiteY2" fmla="*/ 157174 h 457616"/>
                    <a:gd name="connsiteX3" fmla="*/ 190737 w 515902"/>
                    <a:gd name="connsiteY3" fmla="*/ 138124 h 457616"/>
                    <a:gd name="connsiteX4" fmla="*/ 206612 w 515902"/>
                    <a:gd name="connsiteY4" fmla="*/ 14299 h 457616"/>
                    <a:gd name="connsiteX5" fmla="*/ 317737 w 515902"/>
                    <a:gd name="connsiteY5" fmla="*/ 11124 h 457616"/>
                    <a:gd name="connsiteX6" fmla="*/ 317737 w 515902"/>
                    <a:gd name="connsiteY6" fmla="*/ 90499 h 457616"/>
                    <a:gd name="connsiteX7" fmla="*/ 451087 w 515902"/>
                    <a:gd name="connsiteY7" fmla="*/ 160349 h 457616"/>
                    <a:gd name="connsiteX8" fmla="*/ 514587 w 515902"/>
                    <a:gd name="connsiteY8" fmla="*/ 230199 h 457616"/>
                    <a:gd name="connsiteX9" fmla="*/ 511412 w 515902"/>
                    <a:gd name="connsiteY9" fmla="*/ 452449 h 457616"/>
                    <a:gd name="connsiteX10" fmla="*/ 9762 w 515902"/>
                    <a:gd name="connsiteY10" fmla="*/ 446099 h 457616"/>
                    <a:gd name="connsiteX0" fmla="*/ 9762 w 515902"/>
                    <a:gd name="connsiteY0" fmla="*/ 447482 h 458999"/>
                    <a:gd name="connsiteX1" fmla="*/ 6587 w 515902"/>
                    <a:gd name="connsiteY1" fmla="*/ 222057 h 458999"/>
                    <a:gd name="connsiteX2" fmla="*/ 76437 w 515902"/>
                    <a:gd name="connsiteY2" fmla="*/ 158557 h 458999"/>
                    <a:gd name="connsiteX3" fmla="*/ 190737 w 515902"/>
                    <a:gd name="connsiteY3" fmla="*/ 139507 h 458999"/>
                    <a:gd name="connsiteX4" fmla="*/ 206612 w 515902"/>
                    <a:gd name="connsiteY4" fmla="*/ 15682 h 458999"/>
                    <a:gd name="connsiteX5" fmla="*/ 317737 w 515902"/>
                    <a:gd name="connsiteY5" fmla="*/ 12507 h 458999"/>
                    <a:gd name="connsiteX6" fmla="*/ 330437 w 515902"/>
                    <a:gd name="connsiteY6" fmla="*/ 114107 h 458999"/>
                    <a:gd name="connsiteX7" fmla="*/ 451087 w 515902"/>
                    <a:gd name="connsiteY7" fmla="*/ 161732 h 458999"/>
                    <a:gd name="connsiteX8" fmla="*/ 514587 w 515902"/>
                    <a:gd name="connsiteY8" fmla="*/ 231582 h 458999"/>
                    <a:gd name="connsiteX9" fmla="*/ 511412 w 515902"/>
                    <a:gd name="connsiteY9" fmla="*/ 453832 h 458999"/>
                    <a:gd name="connsiteX10" fmla="*/ 9762 w 515902"/>
                    <a:gd name="connsiteY10" fmla="*/ 447482 h 458999"/>
                    <a:gd name="connsiteX0" fmla="*/ 9762 w 515902"/>
                    <a:gd name="connsiteY0" fmla="*/ 446348 h 457865"/>
                    <a:gd name="connsiteX1" fmla="*/ 6587 w 515902"/>
                    <a:gd name="connsiteY1" fmla="*/ 220923 h 457865"/>
                    <a:gd name="connsiteX2" fmla="*/ 76437 w 515902"/>
                    <a:gd name="connsiteY2" fmla="*/ 157423 h 457865"/>
                    <a:gd name="connsiteX3" fmla="*/ 200262 w 515902"/>
                    <a:gd name="connsiteY3" fmla="*/ 119323 h 457865"/>
                    <a:gd name="connsiteX4" fmla="*/ 206612 w 515902"/>
                    <a:gd name="connsiteY4" fmla="*/ 14548 h 457865"/>
                    <a:gd name="connsiteX5" fmla="*/ 317737 w 515902"/>
                    <a:gd name="connsiteY5" fmla="*/ 11373 h 457865"/>
                    <a:gd name="connsiteX6" fmla="*/ 330437 w 515902"/>
                    <a:gd name="connsiteY6" fmla="*/ 112973 h 457865"/>
                    <a:gd name="connsiteX7" fmla="*/ 451087 w 515902"/>
                    <a:gd name="connsiteY7" fmla="*/ 160598 h 457865"/>
                    <a:gd name="connsiteX8" fmla="*/ 514587 w 515902"/>
                    <a:gd name="connsiteY8" fmla="*/ 230448 h 457865"/>
                    <a:gd name="connsiteX9" fmla="*/ 511412 w 515902"/>
                    <a:gd name="connsiteY9" fmla="*/ 452698 h 457865"/>
                    <a:gd name="connsiteX10" fmla="*/ 9762 w 515902"/>
                    <a:gd name="connsiteY10" fmla="*/ 446348 h 457865"/>
                    <a:gd name="connsiteX0" fmla="*/ 8840 w 514980"/>
                    <a:gd name="connsiteY0" fmla="*/ 446348 h 457865"/>
                    <a:gd name="connsiteX1" fmla="*/ 5665 w 514980"/>
                    <a:gd name="connsiteY1" fmla="*/ 220923 h 457865"/>
                    <a:gd name="connsiteX2" fmla="*/ 62412 w 514980"/>
                    <a:gd name="connsiteY2" fmla="*/ 133367 h 457865"/>
                    <a:gd name="connsiteX3" fmla="*/ 199340 w 514980"/>
                    <a:gd name="connsiteY3" fmla="*/ 119323 h 457865"/>
                    <a:gd name="connsiteX4" fmla="*/ 205690 w 514980"/>
                    <a:gd name="connsiteY4" fmla="*/ 14548 h 457865"/>
                    <a:gd name="connsiteX5" fmla="*/ 316815 w 514980"/>
                    <a:gd name="connsiteY5" fmla="*/ 11373 h 457865"/>
                    <a:gd name="connsiteX6" fmla="*/ 329515 w 514980"/>
                    <a:gd name="connsiteY6" fmla="*/ 112973 h 457865"/>
                    <a:gd name="connsiteX7" fmla="*/ 450165 w 514980"/>
                    <a:gd name="connsiteY7" fmla="*/ 160598 h 457865"/>
                    <a:gd name="connsiteX8" fmla="*/ 513665 w 514980"/>
                    <a:gd name="connsiteY8" fmla="*/ 230448 h 457865"/>
                    <a:gd name="connsiteX9" fmla="*/ 510490 w 514980"/>
                    <a:gd name="connsiteY9" fmla="*/ 452698 h 457865"/>
                    <a:gd name="connsiteX10" fmla="*/ 8840 w 514980"/>
                    <a:gd name="connsiteY10" fmla="*/ 446348 h 457865"/>
                    <a:gd name="connsiteX0" fmla="*/ 8840 w 514980"/>
                    <a:gd name="connsiteY0" fmla="*/ 445015 h 456532"/>
                    <a:gd name="connsiteX1" fmla="*/ 5665 w 514980"/>
                    <a:gd name="connsiteY1" fmla="*/ 219590 h 456532"/>
                    <a:gd name="connsiteX2" fmla="*/ 62412 w 514980"/>
                    <a:gd name="connsiteY2" fmla="*/ 132034 h 456532"/>
                    <a:gd name="connsiteX3" fmla="*/ 186237 w 514980"/>
                    <a:gd name="connsiteY3" fmla="*/ 93934 h 456532"/>
                    <a:gd name="connsiteX4" fmla="*/ 205690 w 514980"/>
                    <a:gd name="connsiteY4" fmla="*/ 13215 h 456532"/>
                    <a:gd name="connsiteX5" fmla="*/ 316815 w 514980"/>
                    <a:gd name="connsiteY5" fmla="*/ 10040 h 456532"/>
                    <a:gd name="connsiteX6" fmla="*/ 329515 w 514980"/>
                    <a:gd name="connsiteY6" fmla="*/ 111640 h 456532"/>
                    <a:gd name="connsiteX7" fmla="*/ 450165 w 514980"/>
                    <a:gd name="connsiteY7" fmla="*/ 159265 h 456532"/>
                    <a:gd name="connsiteX8" fmla="*/ 513665 w 514980"/>
                    <a:gd name="connsiteY8" fmla="*/ 229115 h 456532"/>
                    <a:gd name="connsiteX9" fmla="*/ 510490 w 514980"/>
                    <a:gd name="connsiteY9" fmla="*/ 451365 h 456532"/>
                    <a:gd name="connsiteX10" fmla="*/ 8840 w 514980"/>
                    <a:gd name="connsiteY10" fmla="*/ 445015 h 456532"/>
                    <a:gd name="connsiteX0" fmla="*/ 8840 w 514980"/>
                    <a:gd name="connsiteY0" fmla="*/ 445015 h 456532"/>
                    <a:gd name="connsiteX1" fmla="*/ 5665 w 514980"/>
                    <a:gd name="connsiteY1" fmla="*/ 219590 h 456532"/>
                    <a:gd name="connsiteX2" fmla="*/ 62412 w 514980"/>
                    <a:gd name="connsiteY2" fmla="*/ 132034 h 456532"/>
                    <a:gd name="connsiteX3" fmla="*/ 186237 w 514980"/>
                    <a:gd name="connsiteY3" fmla="*/ 93934 h 456532"/>
                    <a:gd name="connsiteX4" fmla="*/ 205690 w 514980"/>
                    <a:gd name="connsiteY4" fmla="*/ 13215 h 456532"/>
                    <a:gd name="connsiteX5" fmla="*/ 316815 w 514980"/>
                    <a:gd name="connsiteY5" fmla="*/ 10040 h 456532"/>
                    <a:gd name="connsiteX6" fmla="*/ 329515 w 514980"/>
                    <a:gd name="connsiteY6" fmla="*/ 111640 h 456532"/>
                    <a:gd name="connsiteX7" fmla="*/ 461084 w 514980"/>
                    <a:gd name="connsiteY7" fmla="*/ 146143 h 456532"/>
                    <a:gd name="connsiteX8" fmla="*/ 513665 w 514980"/>
                    <a:gd name="connsiteY8" fmla="*/ 229115 h 456532"/>
                    <a:gd name="connsiteX9" fmla="*/ 510490 w 514980"/>
                    <a:gd name="connsiteY9" fmla="*/ 451365 h 456532"/>
                    <a:gd name="connsiteX10" fmla="*/ 8840 w 514980"/>
                    <a:gd name="connsiteY10" fmla="*/ 445015 h 456532"/>
                    <a:gd name="connsiteX0" fmla="*/ 8840 w 514980"/>
                    <a:gd name="connsiteY0" fmla="*/ 444105 h 455622"/>
                    <a:gd name="connsiteX1" fmla="*/ 5665 w 514980"/>
                    <a:gd name="connsiteY1" fmla="*/ 218680 h 455622"/>
                    <a:gd name="connsiteX2" fmla="*/ 62412 w 514980"/>
                    <a:gd name="connsiteY2" fmla="*/ 131124 h 455622"/>
                    <a:gd name="connsiteX3" fmla="*/ 186237 w 514980"/>
                    <a:gd name="connsiteY3" fmla="*/ 93024 h 455622"/>
                    <a:gd name="connsiteX4" fmla="*/ 205690 w 514980"/>
                    <a:gd name="connsiteY4" fmla="*/ 12305 h 455622"/>
                    <a:gd name="connsiteX5" fmla="*/ 316815 w 514980"/>
                    <a:gd name="connsiteY5" fmla="*/ 9130 h 455622"/>
                    <a:gd name="connsiteX6" fmla="*/ 351353 w 514980"/>
                    <a:gd name="connsiteY6" fmla="*/ 97608 h 455622"/>
                    <a:gd name="connsiteX7" fmla="*/ 461084 w 514980"/>
                    <a:gd name="connsiteY7" fmla="*/ 145233 h 455622"/>
                    <a:gd name="connsiteX8" fmla="*/ 513665 w 514980"/>
                    <a:gd name="connsiteY8" fmla="*/ 228205 h 455622"/>
                    <a:gd name="connsiteX9" fmla="*/ 510490 w 514980"/>
                    <a:gd name="connsiteY9" fmla="*/ 450455 h 455622"/>
                    <a:gd name="connsiteX10" fmla="*/ 8840 w 514980"/>
                    <a:gd name="connsiteY10" fmla="*/ 444105 h 455622"/>
                    <a:gd name="connsiteX0" fmla="*/ 8840 w 514980"/>
                    <a:gd name="connsiteY0" fmla="*/ 442755 h 454272"/>
                    <a:gd name="connsiteX1" fmla="*/ 5665 w 514980"/>
                    <a:gd name="connsiteY1" fmla="*/ 217330 h 454272"/>
                    <a:gd name="connsiteX2" fmla="*/ 62412 w 514980"/>
                    <a:gd name="connsiteY2" fmla="*/ 129774 h 454272"/>
                    <a:gd name="connsiteX3" fmla="*/ 186237 w 514980"/>
                    <a:gd name="connsiteY3" fmla="*/ 91674 h 454272"/>
                    <a:gd name="connsiteX4" fmla="*/ 205690 w 514980"/>
                    <a:gd name="connsiteY4" fmla="*/ 10955 h 454272"/>
                    <a:gd name="connsiteX5" fmla="*/ 325550 w 514980"/>
                    <a:gd name="connsiteY5" fmla="*/ 9967 h 454272"/>
                    <a:gd name="connsiteX6" fmla="*/ 351353 w 514980"/>
                    <a:gd name="connsiteY6" fmla="*/ 96258 h 454272"/>
                    <a:gd name="connsiteX7" fmla="*/ 461084 w 514980"/>
                    <a:gd name="connsiteY7" fmla="*/ 143883 h 454272"/>
                    <a:gd name="connsiteX8" fmla="*/ 513665 w 514980"/>
                    <a:gd name="connsiteY8" fmla="*/ 226855 h 454272"/>
                    <a:gd name="connsiteX9" fmla="*/ 510490 w 514980"/>
                    <a:gd name="connsiteY9" fmla="*/ 449105 h 454272"/>
                    <a:gd name="connsiteX10" fmla="*/ 8840 w 514980"/>
                    <a:gd name="connsiteY10" fmla="*/ 442755 h 454272"/>
                    <a:gd name="connsiteX0" fmla="*/ 8840 w 514980"/>
                    <a:gd name="connsiteY0" fmla="*/ 442755 h 454272"/>
                    <a:gd name="connsiteX1" fmla="*/ 5665 w 514980"/>
                    <a:gd name="connsiteY1" fmla="*/ 217330 h 454272"/>
                    <a:gd name="connsiteX2" fmla="*/ 62412 w 514980"/>
                    <a:gd name="connsiteY2" fmla="*/ 129774 h 454272"/>
                    <a:gd name="connsiteX3" fmla="*/ 186237 w 514980"/>
                    <a:gd name="connsiteY3" fmla="*/ 91674 h 454272"/>
                    <a:gd name="connsiteX4" fmla="*/ 205690 w 514980"/>
                    <a:gd name="connsiteY4" fmla="*/ 10955 h 454272"/>
                    <a:gd name="connsiteX5" fmla="*/ 325550 w 514980"/>
                    <a:gd name="connsiteY5" fmla="*/ 9967 h 454272"/>
                    <a:gd name="connsiteX6" fmla="*/ 351353 w 514980"/>
                    <a:gd name="connsiteY6" fmla="*/ 96258 h 454272"/>
                    <a:gd name="connsiteX7" fmla="*/ 461084 w 514980"/>
                    <a:gd name="connsiteY7" fmla="*/ 143883 h 454272"/>
                    <a:gd name="connsiteX8" fmla="*/ 513665 w 514980"/>
                    <a:gd name="connsiteY8" fmla="*/ 226855 h 454272"/>
                    <a:gd name="connsiteX9" fmla="*/ 510490 w 514980"/>
                    <a:gd name="connsiteY9" fmla="*/ 449105 h 454272"/>
                    <a:gd name="connsiteX10" fmla="*/ 8840 w 514980"/>
                    <a:gd name="connsiteY10" fmla="*/ 442755 h 454272"/>
                    <a:gd name="connsiteX0" fmla="*/ 8840 w 514980"/>
                    <a:gd name="connsiteY0" fmla="*/ 442755 h 454272"/>
                    <a:gd name="connsiteX1" fmla="*/ 5665 w 514980"/>
                    <a:gd name="connsiteY1" fmla="*/ 217330 h 454272"/>
                    <a:gd name="connsiteX2" fmla="*/ 62412 w 514980"/>
                    <a:gd name="connsiteY2" fmla="*/ 129774 h 454272"/>
                    <a:gd name="connsiteX3" fmla="*/ 186237 w 514980"/>
                    <a:gd name="connsiteY3" fmla="*/ 91674 h 454272"/>
                    <a:gd name="connsiteX4" fmla="*/ 205690 w 514980"/>
                    <a:gd name="connsiteY4" fmla="*/ 10955 h 454272"/>
                    <a:gd name="connsiteX5" fmla="*/ 325550 w 514980"/>
                    <a:gd name="connsiteY5" fmla="*/ 9967 h 454272"/>
                    <a:gd name="connsiteX6" fmla="*/ 351353 w 514980"/>
                    <a:gd name="connsiteY6" fmla="*/ 96258 h 454272"/>
                    <a:gd name="connsiteX7" fmla="*/ 461084 w 514980"/>
                    <a:gd name="connsiteY7" fmla="*/ 143883 h 454272"/>
                    <a:gd name="connsiteX8" fmla="*/ 513665 w 514980"/>
                    <a:gd name="connsiteY8" fmla="*/ 226855 h 454272"/>
                    <a:gd name="connsiteX9" fmla="*/ 510490 w 514980"/>
                    <a:gd name="connsiteY9" fmla="*/ 449105 h 454272"/>
                    <a:gd name="connsiteX10" fmla="*/ 8840 w 514980"/>
                    <a:gd name="connsiteY10" fmla="*/ 442755 h 454272"/>
                    <a:gd name="connsiteX0" fmla="*/ 8840 w 514980"/>
                    <a:gd name="connsiteY0" fmla="*/ 442755 h 454272"/>
                    <a:gd name="connsiteX1" fmla="*/ 5665 w 514980"/>
                    <a:gd name="connsiteY1" fmla="*/ 217330 h 454272"/>
                    <a:gd name="connsiteX2" fmla="*/ 62412 w 514980"/>
                    <a:gd name="connsiteY2" fmla="*/ 129774 h 454272"/>
                    <a:gd name="connsiteX3" fmla="*/ 186237 w 514980"/>
                    <a:gd name="connsiteY3" fmla="*/ 91674 h 454272"/>
                    <a:gd name="connsiteX4" fmla="*/ 205690 w 514980"/>
                    <a:gd name="connsiteY4" fmla="*/ 10955 h 454272"/>
                    <a:gd name="connsiteX5" fmla="*/ 325550 w 514980"/>
                    <a:gd name="connsiteY5" fmla="*/ 9967 h 454272"/>
                    <a:gd name="connsiteX6" fmla="*/ 351353 w 514980"/>
                    <a:gd name="connsiteY6" fmla="*/ 96258 h 454272"/>
                    <a:gd name="connsiteX7" fmla="*/ 461084 w 514980"/>
                    <a:gd name="connsiteY7" fmla="*/ 143883 h 454272"/>
                    <a:gd name="connsiteX8" fmla="*/ 513665 w 514980"/>
                    <a:gd name="connsiteY8" fmla="*/ 226855 h 454272"/>
                    <a:gd name="connsiteX9" fmla="*/ 510490 w 514980"/>
                    <a:gd name="connsiteY9" fmla="*/ 449105 h 454272"/>
                    <a:gd name="connsiteX10" fmla="*/ 8840 w 514980"/>
                    <a:gd name="connsiteY10" fmla="*/ 442755 h 454272"/>
                    <a:gd name="connsiteX0" fmla="*/ 8840 w 514980"/>
                    <a:gd name="connsiteY0" fmla="*/ 436996 h 448513"/>
                    <a:gd name="connsiteX1" fmla="*/ 5665 w 514980"/>
                    <a:gd name="connsiteY1" fmla="*/ 211571 h 448513"/>
                    <a:gd name="connsiteX2" fmla="*/ 62412 w 514980"/>
                    <a:gd name="connsiteY2" fmla="*/ 124015 h 448513"/>
                    <a:gd name="connsiteX3" fmla="*/ 186237 w 514980"/>
                    <a:gd name="connsiteY3" fmla="*/ 85915 h 448513"/>
                    <a:gd name="connsiteX4" fmla="*/ 205690 w 514980"/>
                    <a:gd name="connsiteY4" fmla="*/ 5196 h 448513"/>
                    <a:gd name="connsiteX5" fmla="*/ 325550 w 514980"/>
                    <a:gd name="connsiteY5" fmla="*/ 4208 h 448513"/>
                    <a:gd name="connsiteX6" fmla="*/ 351353 w 514980"/>
                    <a:gd name="connsiteY6" fmla="*/ 90499 h 448513"/>
                    <a:gd name="connsiteX7" fmla="*/ 461084 w 514980"/>
                    <a:gd name="connsiteY7" fmla="*/ 138124 h 448513"/>
                    <a:gd name="connsiteX8" fmla="*/ 513665 w 514980"/>
                    <a:gd name="connsiteY8" fmla="*/ 221096 h 448513"/>
                    <a:gd name="connsiteX9" fmla="*/ 510490 w 514980"/>
                    <a:gd name="connsiteY9" fmla="*/ 443346 h 448513"/>
                    <a:gd name="connsiteX10" fmla="*/ 8840 w 514980"/>
                    <a:gd name="connsiteY10" fmla="*/ 436996 h 448513"/>
                    <a:gd name="connsiteX0" fmla="*/ 8840 w 514980"/>
                    <a:gd name="connsiteY0" fmla="*/ 436996 h 448513"/>
                    <a:gd name="connsiteX1" fmla="*/ 5665 w 514980"/>
                    <a:gd name="connsiteY1" fmla="*/ 211571 h 448513"/>
                    <a:gd name="connsiteX2" fmla="*/ 62412 w 514980"/>
                    <a:gd name="connsiteY2" fmla="*/ 124015 h 448513"/>
                    <a:gd name="connsiteX3" fmla="*/ 186237 w 514980"/>
                    <a:gd name="connsiteY3" fmla="*/ 85915 h 448513"/>
                    <a:gd name="connsiteX4" fmla="*/ 205690 w 514980"/>
                    <a:gd name="connsiteY4" fmla="*/ 5196 h 448513"/>
                    <a:gd name="connsiteX5" fmla="*/ 325550 w 514980"/>
                    <a:gd name="connsiteY5" fmla="*/ 4208 h 448513"/>
                    <a:gd name="connsiteX6" fmla="*/ 351353 w 514980"/>
                    <a:gd name="connsiteY6" fmla="*/ 90499 h 448513"/>
                    <a:gd name="connsiteX7" fmla="*/ 461084 w 514980"/>
                    <a:gd name="connsiteY7" fmla="*/ 138124 h 448513"/>
                    <a:gd name="connsiteX8" fmla="*/ 513665 w 514980"/>
                    <a:gd name="connsiteY8" fmla="*/ 221096 h 448513"/>
                    <a:gd name="connsiteX9" fmla="*/ 510490 w 514980"/>
                    <a:gd name="connsiteY9" fmla="*/ 443346 h 448513"/>
                    <a:gd name="connsiteX10" fmla="*/ 8840 w 514980"/>
                    <a:gd name="connsiteY10" fmla="*/ 436996 h 448513"/>
                    <a:gd name="connsiteX0" fmla="*/ 8840 w 514980"/>
                    <a:gd name="connsiteY0" fmla="*/ 436996 h 448513"/>
                    <a:gd name="connsiteX1" fmla="*/ 5665 w 514980"/>
                    <a:gd name="connsiteY1" fmla="*/ 211571 h 448513"/>
                    <a:gd name="connsiteX2" fmla="*/ 62412 w 514980"/>
                    <a:gd name="connsiteY2" fmla="*/ 124015 h 448513"/>
                    <a:gd name="connsiteX3" fmla="*/ 186237 w 514980"/>
                    <a:gd name="connsiteY3" fmla="*/ 85915 h 448513"/>
                    <a:gd name="connsiteX4" fmla="*/ 205690 w 514980"/>
                    <a:gd name="connsiteY4" fmla="*/ 5196 h 448513"/>
                    <a:gd name="connsiteX5" fmla="*/ 325550 w 514980"/>
                    <a:gd name="connsiteY5" fmla="*/ 4208 h 448513"/>
                    <a:gd name="connsiteX6" fmla="*/ 351353 w 514980"/>
                    <a:gd name="connsiteY6" fmla="*/ 90499 h 448513"/>
                    <a:gd name="connsiteX7" fmla="*/ 461084 w 514980"/>
                    <a:gd name="connsiteY7" fmla="*/ 138124 h 448513"/>
                    <a:gd name="connsiteX8" fmla="*/ 513665 w 514980"/>
                    <a:gd name="connsiteY8" fmla="*/ 221096 h 448513"/>
                    <a:gd name="connsiteX9" fmla="*/ 510490 w 514980"/>
                    <a:gd name="connsiteY9" fmla="*/ 443346 h 448513"/>
                    <a:gd name="connsiteX10" fmla="*/ 8840 w 514980"/>
                    <a:gd name="connsiteY10" fmla="*/ 436996 h 448513"/>
                    <a:gd name="connsiteX0" fmla="*/ 8840 w 514980"/>
                    <a:gd name="connsiteY0" fmla="*/ 436996 h 448513"/>
                    <a:gd name="connsiteX1" fmla="*/ 5665 w 514980"/>
                    <a:gd name="connsiteY1" fmla="*/ 211571 h 448513"/>
                    <a:gd name="connsiteX2" fmla="*/ 62412 w 514980"/>
                    <a:gd name="connsiteY2" fmla="*/ 124015 h 448513"/>
                    <a:gd name="connsiteX3" fmla="*/ 168766 w 514980"/>
                    <a:gd name="connsiteY3" fmla="*/ 88102 h 448513"/>
                    <a:gd name="connsiteX4" fmla="*/ 205690 w 514980"/>
                    <a:gd name="connsiteY4" fmla="*/ 5196 h 448513"/>
                    <a:gd name="connsiteX5" fmla="*/ 325550 w 514980"/>
                    <a:gd name="connsiteY5" fmla="*/ 4208 h 448513"/>
                    <a:gd name="connsiteX6" fmla="*/ 351353 w 514980"/>
                    <a:gd name="connsiteY6" fmla="*/ 90499 h 448513"/>
                    <a:gd name="connsiteX7" fmla="*/ 461084 w 514980"/>
                    <a:gd name="connsiteY7" fmla="*/ 138124 h 448513"/>
                    <a:gd name="connsiteX8" fmla="*/ 513665 w 514980"/>
                    <a:gd name="connsiteY8" fmla="*/ 221096 h 448513"/>
                    <a:gd name="connsiteX9" fmla="*/ 510490 w 514980"/>
                    <a:gd name="connsiteY9" fmla="*/ 443346 h 448513"/>
                    <a:gd name="connsiteX10" fmla="*/ 8840 w 514980"/>
                    <a:gd name="connsiteY10" fmla="*/ 436996 h 448513"/>
                    <a:gd name="connsiteX0" fmla="*/ 8840 w 514980"/>
                    <a:gd name="connsiteY0" fmla="*/ 440628 h 452145"/>
                    <a:gd name="connsiteX1" fmla="*/ 5665 w 514980"/>
                    <a:gd name="connsiteY1" fmla="*/ 215203 h 452145"/>
                    <a:gd name="connsiteX2" fmla="*/ 62412 w 514980"/>
                    <a:gd name="connsiteY2" fmla="*/ 127647 h 452145"/>
                    <a:gd name="connsiteX3" fmla="*/ 168766 w 514980"/>
                    <a:gd name="connsiteY3" fmla="*/ 91734 h 452145"/>
                    <a:gd name="connsiteX4" fmla="*/ 179484 w 514980"/>
                    <a:gd name="connsiteY4" fmla="*/ 4454 h 452145"/>
                    <a:gd name="connsiteX5" fmla="*/ 325550 w 514980"/>
                    <a:gd name="connsiteY5" fmla="*/ 7840 h 452145"/>
                    <a:gd name="connsiteX6" fmla="*/ 351353 w 514980"/>
                    <a:gd name="connsiteY6" fmla="*/ 94131 h 452145"/>
                    <a:gd name="connsiteX7" fmla="*/ 461084 w 514980"/>
                    <a:gd name="connsiteY7" fmla="*/ 141756 h 452145"/>
                    <a:gd name="connsiteX8" fmla="*/ 513665 w 514980"/>
                    <a:gd name="connsiteY8" fmla="*/ 224728 h 452145"/>
                    <a:gd name="connsiteX9" fmla="*/ 510490 w 514980"/>
                    <a:gd name="connsiteY9" fmla="*/ 446978 h 452145"/>
                    <a:gd name="connsiteX10" fmla="*/ 8840 w 514980"/>
                    <a:gd name="connsiteY10" fmla="*/ 440628 h 452145"/>
                    <a:gd name="connsiteX0" fmla="*/ 8840 w 514980"/>
                    <a:gd name="connsiteY0" fmla="*/ 442422 h 453939"/>
                    <a:gd name="connsiteX1" fmla="*/ 5665 w 514980"/>
                    <a:gd name="connsiteY1" fmla="*/ 216997 h 453939"/>
                    <a:gd name="connsiteX2" fmla="*/ 62412 w 514980"/>
                    <a:gd name="connsiteY2" fmla="*/ 129441 h 453939"/>
                    <a:gd name="connsiteX3" fmla="*/ 168766 w 514980"/>
                    <a:gd name="connsiteY3" fmla="*/ 93528 h 453939"/>
                    <a:gd name="connsiteX4" fmla="*/ 179484 w 514980"/>
                    <a:gd name="connsiteY4" fmla="*/ 6248 h 453939"/>
                    <a:gd name="connsiteX5" fmla="*/ 351756 w 514980"/>
                    <a:gd name="connsiteY5" fmla="*/ 886 h 453939"/>
                    <a:gd name="connsiteX6" fmla="*/ 351353 w 514980"/>
                    <a:gd name="connsiteY6" fmla="*/ 95925 h 453939"/>
                    <a:gd name="connsiteX7" fmla="*/ 461084 w 514980"/>
                    <a:gd name="connsiteY7" fmla="*/ 143550 h 453939"/>
                    <a:gd name="connsiteX8" fmla="*/ 513665 w 514980"/>
                    <a:gd name="connsiteY8" fmla="*/ 226522 h 453939"/>
                    <a:gd name="connsiteX9" fmla="*/ 510490 w 514980"/>
                    <a:gd name="connsiteY9" fmla="*/ 448772 h 453939"/>
                    <a:gd name="connsiteX10" fmla="*/ 8840 w 514980"/>
                    <a:gd name="connsiteY10" fmla="*/ 442422 h 453939"/>
                    <a:gd name="connsiteX0" fmla="*/ 8840 w 514980"/>
                    <a:gd name="connsiteY0" fmla="*/ 442422 h 453939"/>
                    <a:gd name="connsiteX1" fmla="*/ 5665 w 514980"/>
                    <a:gd name="connsiteY1" fmla="*/ 216997 h 453939"/>
                    <a:gd name="connsiteX2" fmla="*/ 62412 w 514980"/>
                    <a:gd name="connsiteY2" fmla="*/ 129441 h 453939"/>
                    <a:gd name="connsiteX3" fmla="*/ 168766 w 514980"/>
                    <a:gd name="connsiteY3" fmla="*/ 93528 h 453939"/>
                    <a:gd name="connsiteX4" fmla="*/ 179484 w 514980"/>
                    <a:gd name="connsiteY4" fmla="*/ 6248 h 453939"/>
                    <a:gd name="connsiteX5" fmla="*/ 351756 w 514980"/>
                    <a:gd name="connsiteY5" fmla="*/ 886 h 453939"/>
                    <a:gd name="connsiteX6" fmla="*/ 366640 w 514980"/>
                    <a:gd name="connsiteY6" fmla="*/ 100299 h 453939"/>
                    <a:gd name="connsiteX7" fmla="*/ 461084 w 514980"/>
                    <a:gd name="connsiteY7" fmla="*/ 143550 h 453939"/>
                    <a:gd name="connsiteX8" fmla="*/ 513665 w 514980"/>
                    <a:gd name="connsiteY8" fmla="*/ 226522 h 453939"/>
                    <a:gd name="connsiteX9" fmla="*/ 510490 w 514980"/>
                    <a:gd name="connsiteY9" fmla="*/ 448772 h 453939"/>
                    <a:gd name="connsiteX10" fmla="*/ 8840 w 514980"/>
                    <a:gd name="connsiteY10" fmla="*/ 442422 h 453939"/>
                    <a:gd name="connsiteX0" fmla="*/ 8840 w 514980"/>
                    <a:gd name="connsiteY0" fmla="*/ 442422 h 450476"/>
                    <a:gd name="connsiteX1" fmla="*/ 5665 w 514980"/>
                    <a:gd name="connsiteY1" fmla="*/ 216997 h 450476"/>
                    <a:gd name="connsiteX2" fmla="*/ 62412 w 514980"/>
                    <a:gd name="connsiteY2" fmla="*/ 129441 h 450476"/>
                    <a:gd name="connsiteX3" fmla="*/ 168766 w 514980"/>
                    <a:gd name="connsiteY3" fmla="*/ 93528 h 450476"/>
                    <a:gd name="connsiteX4" fmla="*/ 179484 w 514980"/>
                    <a:gd name="connsiteY4" fmla="*/ 6248 h 450476"/>
                    <a:gd name="connsiteX5" fmla="*/ 351756 w 514980"/>
                    <a:gd name="connsiteY5" fmla="*/ 886 h 450476"/>
                    <a:gd name="connsiteX6" fmla="*/ 366640 w 514980"/>
                    <a:gd name="connsiteY6" fmla="*/ 100299 h 450476"/>
                    <a:gd name="connsiteX7" fmla="*/ 461084 w 514980"/>
                    <a:gd name="connsiteY7" fmla="*/ 143550 h 450476"/>
                    <a:gd name="connsiteX8" fmla="*/ 513665 w 514980"/>
                    <a:gd name="connsiteY8" fmla="*/ 226522 h 450476"/>
                    <a:gd name="connsiteX9" fmla="*/ 510490 w 514980"/>
                    <a:gd name="connsiteY9" fmla="*/ 448772 h 450476"/>
                    <a:gd name="connsiteX10" fmla="*/ 8840 w 514980"/>
                    <a:gd name="connsiteY10" fmla="*/ 442422 h 450476"/>
                    <a:gd name="connsiteX0" fmla="*/ 8840 w 514980"/>
                    <a:gd name="connsiteY0" fmla="*/ 442422 h 448772"/>
                    <a:gd name="connsiteX1" fmla="*/ 5665 w 514980"/>
                    <a:gd name="connsiteY1" fmla="*/ 216997 h 448772"/>
                    <a:gd name="connsiteX2" fmla="*/ 62412 w 514980"/>
                    <a:gd name="connsiteY2" fmla="*/ 129441 h 448772"/>
                    <a:gd name="connsiteX3" fmla="*/ 168766 w 514980"/>
                    <a:gd name="connsiteY3" fmla="*/ 93528 h 448772"/>
                    <a:gd name="connsiteX4" fmla="*/ 179484 w 514980"/>
                    <a:gd name="connsiteY4" fmla="*/ 6248 h 448772"/>
                    <a:gd name="connsiteX5" fmla="*/ 351756 w 514980"/>
                    <a:gd name="connsiteY5" fmla="*/ 886 h 448772"/>
                    <a:gd name="connsiteX6" fmla="*/ 366640 w 514980"/>
                    <a:gd name="connsiteY6" fmla="*/ 100299 h 448772"/>
                    <a:gd name="connsiteX7" fmla="*/ 461084 w 514980"/>
                    <a:gd name="connsiteY7" fmla="*/ 143550 h 448772"/>
                    <a:gd name="connsiteX8" fmla="*/ 513665 w 514980"/>
                    <a:gd name="connsiteY8" fmla="*/ 226522 h 448772"/>
                    <a:gd name="connsiteX9" fmla="*/ 510490 w 514980"/>
                    <a:gd name="connsiteY9" fmla="*/ 448772 h 448772"/>
                    <a:gd name="connsiteX10" fmla="*/ 8840 w 514980"/>
                    <a:gd name="connsiteY10" fmla="*/ 442422 h 448772"/>
                    <a:gd name="connsiteX0" fmla="*/ 8840 w 514980"/>
                    <a:gd name="connsiteY0" fmla="*/ 442422 h 448772"/>
                    <a:gd name="connsiteX1" fmla="*/ 5665 w 514980"/>
                    <a:gd name="connsiteY1" fmla="*/ 216997 h 448772"/>
                    <a:gd name="connsiteX2" fmla="*/ 62412 w 514980"/>
                    <a:gd name="connsiteY2" fmla="*/ 129441 h 448772"/>
                    <a:gd name="connsiteX3" fmla="*/ 168766 w 514980"/>
                    <a:gd name="connsiteY3" fmla="*/ 93528 h 448772"/>
                    <a:gd name="connsiteX4" fmla="*/ 179484 w 514980"/>
                    <a:gd name="connsiteY4" fmla="*/ 6248 h 448772"/>
                    <a:gd name="connsiteX5" fmla="*/ 351756 w 514980"/>
                    <a:gd name="connsiteY5" fmla="*/ 886 h 448772"/>
                    <a:gd name="connsiteX6" fmla="*/ 357905 w 514980"/>
                    <a:gd name="connsiteY6" fmla="*/ 98112 h 448772"/>
                    <a:gd name="connsiteX7" fmla="*/ 461084 w 514980"/>
                    <a:gd name="connsiteY7" fmla="*/ 143550 h 448772"/>
                    <a:gd name="connsiteX8" fmla="*/ 513665 w 514980"/>
                    <a:gd name="connsiteY8" fmla="*/ 226522 h 448772"/>
                    <a:gd name="connsiteX9" fmla="*/ 510490 w 514980"/>
                    <a:gd name="connsiteY9" fmla="*/ 448772 h 448772"/>
                    <a:gd name="connsiteX10" fmla="*/ 8840 w 514980"/>
                    <a:gd name="connsiteY10" fmla="*/ 442422 h 448772"/>
                    <a:gd name="connsiteX0" fmla="*/ 8840 w 514980"/>
                    <a:gd name="connsiteY0" fmla="*/ 442422 h 448772"/>
                    <a:gd name="connsiteX1" fmla="*/ 5665 w 514980"/>
                    <a:gd name="connsiteY1" fmla="*/ 216997 h 448772"/>
                    <a:gd name="connsiteX2" fmla="*/ 62412 w 514980"/>
                    <a:gd name="connsiteY2" fmla="*/ 129441 h 448772"/>
                    <a:gd name="connsiteX3" fmla="*/ 168766 w 514980"/>
                    <a:gd name="connsiteY3" fmla="*/ 93528 h 448772"/>
                    <a:gd name="connsiteX4" fmla="*/ 179484 w 514980"/>
                    <a:gd name="connsiteY4" fmla="*/ 6248 h 448772"/>
                    <a:gd name="connsiteX5" fmla="*/ 351756 w 514980"/>
                    <a:gd name="connsiteY5" fmla="*/ 886 h 448772"/>
                    <a:gd name="connsiteX6" fmla="*/ 357905 w 514980"/>
                    <a:gd name="connsiteY6" fmla="*/ 98112 h 448772"/>
                    <a:gd name="connsiteX7" fmla="*/ 454533 w 514980"/>
                    <a:gd name="connsiteY7" fmla="*/ 136989 h 448772"/>
                    <a:gd name="connsiteX8" fmla="*/ 513665 w 514980"/>
                    <a:gd name="connsiteY8" fmla="*/ 226522 h 448772"/>
                    <a:gd name="connsiteX9" fmla="*/ 510490 w 514980"/>
                    <a:gd name="connsiteY9" fmla="*/ 448772 h 448772"/>
                    <a:gd name="connsiteX10" fmla="*/ 8840 w 514980"/>
                    <a:gd name="connsiteY10" fmla="*/ 442422 h 448772"/>
                    <a:gd name="connsiteX0" fmla="*/ 8840 w 514980"/>
                    <a:gd name="connsiteY0" fmla="*/ 442422 h 448772"/>
                    <a:gd name="connsiteX1" fmla="*/ 5665 w 514980"/>
                    <a:gd name="connsiteY1" fmla="*/ 216997 h 448772"/>
                    <a:gd name="connsiteX2" fmla="*/ 62412 w 514980"/>
                    <a:gd name="connsiteY2" fmla="*/ 129441 h 448772"/>
                    <a:gd name="connsiteX3" fmla="*/ 168766 w 514980"/>
                    <a:gd name="connsiteY3" fmla="*/ 93528 h 448772"/>
                    <a:gd name="connsiteX4" fmla="*/ 179484 w 514980"/>
                    <a:gd name="connsiteY4" fmla="*/ 6248 h 448772"/>
                    <a:gd name="connsiteX5" fmla="*/ 351756 w 514980"/>
                    <a:gd name="connsiteY5" fmla="*/ 886 h 448772"/>
                    <a:gd name="connsiteX6" fmla="*/ 357905 w 514980"/>
                    <a:gd name="connsiteY6" fmla="*/ 98112 h 448772"/>
                    <a:gd name="connsiteX7" fmla="*/ 454533 w 514980"/>
                    <a:gd name="connsiteY7" fmla="*/ 136989 h 448772"/>
                    <a:gd name="connsiteX8" fmla="*/ 513665 w 514980"/>
                    <a:gd name="connsiteY8" fmla="*/ 226522 h 448772"/>
                    <a:gd name="connsiteX9" fmla="*/ 510490 w 514980"/>
                    <a:gd name="connsiteY9" fmla="*/ 448772 h 448772"/>
                    <a:gd name="connsiteX10" fmla="*/ 8840 w 514980"/>
                    <a:gd name="connsiteY10" fmla="*/ 442422 h 448772"/>
                    <a:gd name="connsiteX0" fmla="*/ 8840 w 514980"/>
                    <a:gd name="connsiteY0" fmla="*/ 442422 h 448772"/>
                    <a:gd name="connsiteX1" fmla="*/ 5665 w 514980"/>
                    <a:gd name="connsiteY1" fmla="*/ 216997 h 448772"/>
                    <a:gd name="connsiteX2" fmla="*/ 62412 w 514980"/>
                    <a:gd name="connsiteY2" fmla="*/ 129441 h 448772"/>
                    <a:gd name="connsiteX3" fmla="*/ 168766 w 514980"/>
                    <a:gd name="connsiteY3" fmla="*/ 93528 h 448772"/>
                    <a:gd name="connsiteX4" fmla="*/ 179484 w 514980"/>
                    <a:gd name="connsiteY4" fmla="*/ 6248 h 448772"/>
                    <a:gd name="connsiteX5" fmla="*/ 351756 w 514980"/>
                    <a:gd name="connsiteY5" fmla="*/ 886 h 448772"/>
                    <a:gd name="connsiteX6" fmla="*/ 357905 w 514980"/>
                    <a:gd name="connsiteY6" fmla="*/ 98112 h 448772"/>
                    <a:gd name="connsiteX7" fmla="*/ 454533 w 514980"/>
                    <a:gd name="connsiteY7" fmla="*/ 136989 h 448772"/>
                    <a:gd name="connsiteX8" fmla="*/ 513665 w 514980"/>
                    <a:gd name="connsiteY8" fmla="*/ 226522 h 448772"/>
                    <a:gd name="connsiteX9" fmla="*/ 510490 w 514980"/>
                    <a:gd name="connsiteY9" fmla="*/ 448772 h 448772"/>
                    <a:gd name="connsiteX10" fmla="*/ 8840 w 514980"/>
                    <a:gd name="connsiteY10" fmla="*/ 442422 h 448772"/>
                    <a:gd name="connsiteX0" fmla="*/ 8840 w 514980"/>
                    <a:gd name="connsiteY0" fmla="*/ 442422 h 448772"/>
                    <a:gd name="connsiteX1" fmla="*/ 5665 w 514980"/>
                    <a:gd name="connsiteY1" fmla="*/ 216997 h 448772"/>
                    <a:gd name="connsiteX2" fmla="*/ 62412 w 514980"/>
                    <a:gd name="connsiteY2" fmla="*/ 129441 h 448772"/>
                    <a:gd name="connsiteX3" fmla="*/ 168766 w 514980"/>
                    <a:gd name="connsiteY3" fmla="*/ 93528 h 448772"/>
                    <a:gd name="connsiteX4" fmla="*/ 179484 w 514980"/>
                    <a:gd name="connsiteY4" fmla="*/ 6248 h 448772"/>
                    <a:gd name="connsiteX5" fmla="*/ 351756 w 514980"/>
                    <a:gd name="connsiteY5" fmla="*/ 886 h 448772"/>
                    <a:gd name="connsiteX6" fmla="*/ 353538 w 514980"/>
                    <a:gd name="connsiteY6" fmla="*/ 98112 h 448772"/>
                    <a:gd name="connsiteX7" fmla="*/ 454533 w 514980"/>
                    <a:gd name="connsiteY7" fmla="*/ 136989 h 448772"/>
                    <a:gd name="connsiteX8" fmla="*/ 513665 w 514980"/>
                    <a:gd name="connsiteY8" fmla="*/ 226522 h 448772"/>
                    <a:gd name="connsiteX9" fmla="*/ 510490 w 514980"/>
                    <a:gd name="connsiteY9" fmla="*/ 448772 h 448772"/>
                    <a:gd name="connsiteX10" fmla="*/ 8840 w 514980"/>
                    <a:gd name="connsiteY10" fmla="*/ 442422 h 448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14980" h="448772">
                      <a:moveTo>
                        <a:pt x="8840" y="442422"/>
                      </a:moveTo>
                      <a:cubicBezTo>
                        <a:pt x="-1214" y="377864"/>
                        <a:pt x="-3264" y="269160"/>
                        <a:pt x="5665" y="216997"/>
                      </a:cubicBezTo>
                      <a:cubicBezTo>
                        <a:pt x="14594" y="164834"/>
                        <a:pt x="35229" y="150019"/>
                        <a:pt x="62412" y="129441"/>
                      </a:cubicBezTo>
                      <a:cubicBezTo>
                        <a:pt x="89595" y="108863"/>
                        <a:pt x="149254" y="114060"/>
                        <a:pt x="168766" y="93528"/>
                      </a:cubicBezTo>
                      <a:cubicBezTo>
                        <a:pt x="188278" y="72996"/>
                        <a:pt x="189023" y="43922"/>
                        <a:pt x="179484" y="6248"/>
                      </a:cubicBezTo>
                      <a:cubicBezTo>
                        <a:pt x="202703" y="-7370"/>
                        <a:pt x="323111" y="6352"/>
                        <a:pt x="351756" y="886"/>
                      </a:cubicBezTo>
                      <a:cubicBezTo>
                        <a:pt x="354195" y="39159"/>
                        <a:pt x="342961" y="75428"/>
                        <a:pt x="353538" y="98112"/>
                      </a:cubicBezTo>
                      <a:cubicBezTo>
                        <a:pt x="364115" y="120796"/>
                        <a:pt x="427845" y="115587"/>
                        <a:pt x="454533" y="136989"/>
                      </a:cubicBezTo>
                      <a:cubicBezTo>
                        <a:pt x="481221" y="158391"/>
                        <a:pt x="503611" y="177839"/>
                        <a:pt x="513665" y="226522"/>
                      </a:cubicBezTo>
                      <a:cubicBezTo>
                        <a:pt x="516840" y="276264"/>
                        <a:pt x="513665" y="323360"/>
                        <a:pt x="510490" y="448772"/>
                      </a:cubicBezTo>
                      <a:lnTo>
                        <a:pt x="8840" y="442422"/>
                      </a:lnTo>
                      <a:close/>
                    </a:path>
                  </a:pathLst>
                </a:custGeom>
                <a:grpFill/>
                <a:ln w="571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180" name="Oval 179">
                  <a:extLst>
                    <a:ext uri="{FF2B5EF4-FFF2-40B4-BE49-F238E27FC236}">
                      <a16:creationId xmlns:a16="http://schemas.microsoft.com/office/drawing/2014/main" id="{98B0C0C7-5991-9A46-816B-807B32E18515}"/>
                    </a:ext>
                  </a:extLst>
                </p:cNvPr>
                <p:cNvSpPr/>
                <p:nvPr/>
              </p:nvSpPr>
              <p:spPr>
                <a:xfrm>
                  <a:off x="1971467" y="3508300"/>
                  <a:ext cx="282088" cy="336550"/>
                </a:xfrm>
                <a:prstGeom prst="ellipse">
                  <a:avLst/>
                </a:prstGeom>
                <a:grpFill/>
                <a:ln w="571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grpSp>
          <p:grpSp>
            <p:nvGrpSpPr>
              <p:cNvPr id="176" name="Group 175">
                <a:extLst>
                  <a:ext uri="{FF2B5EF4-FFF2-40B4-BE49-F238E27FC236}">
                    <a16:creationId xmlns:a16="http://schemas.microsoft.com/office/drawing/2014/main" id="{155A6F9E-619B-6A48-BAF3-2FF42D36F602}"/>
                  </a:ext>
                </a:extLst>
              </p:cNvPr>
              <p:cNvGrpSpPr/>
              <p:nvPr/>
            </p:nvGrpSpPr>
            <p:grpSpPr>
              <a:xfrm>
                <a:off x="1553120" y="3388644"/>
                <a:ext cx="633802" cy="938165"/>
                <a:chOff x="1806977" y="3500843"/>
                <a:chExt cx="539989" cy="738018"/>
              </a:xfrm>
            </p:grpSpPr>
            <p:sp>
              <p:nvSpPr>
                <p:cNvPr id="177" name="Freeform 176">
                  <a:extLst>
                    <a:ext uri="{FF2B5EF4-FFF2-40B4-BE49-F238E27FC236}">
                      <a16:creationId xmlns:a16="http://schemas.microsoft.com/office/drawing/2014/main" id="{9E088BA6-17D8-3A47-BF75-427A7BE777E4}"/>
                    </a:ext>
                  </a:extLst>
                </p:cNvPr>
                <p:cNvSpPr/>
                <p:nvPr/>
              </p:nvSpPr>
              <p:spPr>
                <a:xfrm>
                  <a:off x="1806977" y="3782373"/>
                  <a:ext cx="539989" cy="456488"/>
                </a:xfrm>
                <a:custGeom>
                  <a:avLst/>
                  <a:gdLst>
                    <a:gd name="connsiteX0" fmla="*/ 36807 w 576731"/>
                    <a:gd name="connsiteY0" fmla="*/ 449906 h 505924"/>
                    <a:gd name="connsiteX1" fmla="*/ 39982 w 576731"/>
                    <a:gd name="connsiteY1" fmla="*/ 214956 h 505924"/>
                    <a:gd name="connsiteX2" fmla="*/ 55857 w 576731"/>
                    <a:gd name="connsiteY2" fmla="*/ 176856 h 505924"/>
                    <a:gd name="connsiteX3" fmla="*/ 103482 w 576731"/>
                    <a:gd name="connsiteY3" fmla="*/ 160981 h 505924"/>
                    <a:gd name="connsiteX4" fmla="*/ 205082 w 576731"/>
                    <a:gd name="connsiteY4" fmla="*/ 154631 h 505924"/>
                    <a:gd name="connsiteX5" fmla="*/ 230482 w 576731"/>
                    <a:gd name="connsiteY5" fmla="*/ 151456 h 505924"/>
                    <a:gd name="connsiteX6" fmla="*/ 233657 w 576731"/>
                    <a:gd name="connsiteY6" fmla="*/ 18106 h 505924"/>
                    <a:gd name="connsiteX7" fmla="*/ 344782 w 576731"/>
                    <a:gd name="connsiteY7" fmla="*/ 14931 h 505924"/>
                    <a:gd name="connsiteX8" fmla="*/ 344782 w 576731"/>
                    <a:gd name="connsiteY8" fmla="*/ 145106 h 505924"/>
                    <a:gd name="connsiteX9" fmla="*/ 386057 w 576731"/>
                    <a:gd name="connsiteY9" fmla="*/ 151456 h 505924"/>
                    <a:gd name="connsiteX10" fmla="*/ 478132 w 576731"/>
                    <a:gd name="connsiteY10" fmla="*/ 164156 h 505924"/>
                    <a:gd name="connsiteX11" fmla="*/ 519407 w 576731"/>
                    <a:gd name="connsiteY11" fmla="*/ 189556 h 505924"/>
                    <a:gd name="connsiteX12" fmla="*/ 541632 w 576731"/>
                    <a:gd name="connsiteY12" fmla="*/ 234006 h 505924"/>
                    <a:gd name="connsiteX13" fmla="*/ 538457 w 576731"/>
                    <a:gd name="connsiteY13" fmla="*/ 488006 h 505924"/>
                    <a:gd name="connsiteX14" fmla="*/ 36807 w 576731"/>
                    <a:gd name="connsiteY14" fmla="*/ 449906 h 505924"/>
                    <a:gd name="connsiteX0" fmla="*/ 5769 w 545693"/>
                    <a:gd name="connsiteY0" fmla="*/ 449906 h 505924"/>
                    <a:gd name="connsiteX1" fmla="*/ 8944 w 545693"/>
                    <a:gd name="connsiteY1" fmla="*/ 214956 h 505924"/>
                    <a:gd name="connsiteX2" fmla="*/ 24819 w 545693"/>
                    <a:gd name="connsiteY2" fmla="*/ 176856 h 505924"/>
                    <a:gd name="connsiteX3" fmla="*/ 72444 w 545693"/>
                    <a:gd name="connsiteY3" fmla="*/ 160981 h 505924"/>
                    <a:gd name="connsiteX4" fmla="*/ 174044 w 545693"/>
                    <a:gd name="connsiteY4" fmla="*/ 154631 h 505924"/>
                    <a:gd name="connsiteX5" fmla="*/ 199444 w 545693"/>
                    <a:gd name="connsiteY5" fmla="*/ 151456 h 505924"/>
                    <a:gd name="connsiteX6" fmla="*/ 202619 w 545693"/>
                    <a:gd name="connsiteY6" fmla="*/ 18106 h 505924"/>
                    <a:gd name="connsiteX7" fmla="*/ 313744 w 545693"/>
                    <a:gd name="connsiteY7" fmla="*/ 14931 h 505924"/>
                    <a:gd name="connsiteX8" fmla="*/ 313744 w 545693"/>
                    <a:gd name="connsiteY8" fmla="*/ 145106 h 505924"/>
                    <a:gd name="connsiteX9" fmla="*/ 355019 w 545693"/>
                    <a:gd name="connsiteY9" fmla="*/ 151456 h 505924"/>
                    <a:gd name="connsiteX10" fmla="*/ 447094 w 545693"/>
                    <a:gd name="connsiteY10" fmla="*/ 164156 h 505924"/>
                    <a:gd name="connsiteX11" fmla="*/ 488369 w 545693"/>
                    <a:gd name="connsiteY11" fmla="*/ 189556 h 505924"/>
                    <a:gd name="connsiteX12" fmla="*/ 510594 w 545693"/>
                    <a:gd name="connsiteY12" fmla="*/ 234006 h 505924"/>
                    <a:gd name="connsiteX13" fmla="*/ 507419 w 545693"/>
                    <a:gd name="connsiteY13" fmla="*/ 488006 h 505924"/>
                    <a:gd name="connsiteX14" fmla="*/ 5769 w 545693"/>
                    <a:gd name="connsiteY14" fmla="*/ 449906 h 505924"/>
                    <a:gd name="connsiteX0" fmla="*/ 21286 w 561210"/>
                    <a:gd name="connsiteY0" fmla="*/ 449906 h 508025"/>
                    <a:gd name="connsiteX1" fmla="*/ 24461 w 561210"/>
                    <a:gd name="connsiteY1" fmla="*/ 214956 h 508025"/>
                    <a:gd name="connsiteX2" fmla="*/ 40336 w 561210"/>
                    <a:gd name="connsiteY2" fmla="*/ 176856 h 508025"/>
                    <a:gd name="connsiteX3" fmla="*/ 87961 w 561210"/>
                    <a:gd name="connsiteY3" fmla="*/ 160981 h 508025"/>
                    <a:gd name="connsiteX4" fmla="*/ 189561 w 561210"/>
                    <a:gd name="connsiteY4" fmla="*/ 154631 h 508025"/>
                    <a:gd name="connsiteX5" fmla="*/ 214961 w 561210"/>
                    <a:gd name="connsiteY5" fmla="*/ 151456 h 508025"/>
                    <a:gd name="connsiteX6" fmla="*/ 218136 w 561210"/>
                    <a:gd name="connsiteY6" fmla="*/ 18106 h 508025"/>
                    <a:gd name="connsiteX7" fmla="*/ 329261 w 561210"/>
                    <a:gd name="connsiteY7" fmla="*/ 14931 h 508025"/>
                    <a:gd name="connsiteX8" fmla="*/ 329261 w 561210"/>
                    <a:gd name="connsiteY8" fmla="*/ 145106 h 508025"/>
                    <a:gd name="connsiteX9" fmla="*/ 370536 w 561210"/>
                    <a:gd name="connsiteY9" fmla="*/ 151456 h 508025"/>
                    <a:gd name="connsiteX10" fmla="*/ 462611 w 561210"/>
                    <a:gd name="connsiteY10" fmla="*/ 164156 h 508025"/>
                    <a:gd name="connsiteX11" fmla="*/ 503886 w 561210"/>
                    <a:gd name="connsiteY11" fmla="*/ 189556 h 508025"/>
                    <a:gd name="connsiteX12" fmla="*/ 526111 w 561210"/>
                    <a:gd name="connsiteY12" fmla="*/ 234006 h 508025"/>
                    <a:gd name="connsiteX13" fmla="*/ 522936 w 561210"/>
                    <a:gd name="connsiteY13" fmla="*/ 488006 h 508025"/>
                    <a:gd name="connsiteX14" fmla="*/ 21286 w 561210"/>
                    <a:gd name="connsiteY14" fmla="*/ 449906 h 508025"/>
                    <a:gd name="connsiteX0" fmla="*/ 21286 w 561210"/>
                    <a:gd name="connsiteY0" fmla="*/ 449906 h 508025"/>
                    <a:gd name="connsiteX1" fmla="*/ 24461 w 561210"/>
                    <a:gd name="connsiteY1" fmla="*/ 214956 h 508025"/>
                    <a:gd name="connsiteX2" fmla="*/ 40336 w 561210"/>
                    <a:gd name="connsiteY2" fmla="*/ 176856 h 508025"/>
                    <a:gd name="connsiteX3" fmla="*/ 87961 w 561210"/>
                    <a:gd name="connsiteY3" fmla="*/ 160981 h 508025"/>
                    <a:gd name="connsiteX4" fmla="*/ 189561 w 561210"/>
                    <a:gd name="connsiteY4" fmla="*/ 154631 h 508025"/>
                    <a:gd name="connsiteX5" fmla="*/ 214961 w 561210"/>
                    <a:gd name="connsiteY5" fmla="*/ 151456 h 508025"/>
                    <a:gd name="connsiteX6" fmla="*/ 218136 w 561210"/>
                    <a:gd name="connsiteY6" fmla="*/ 18106 h 508025"/>
                    <a:gd name="connsiteX7" fmla="*/ 329261 w 561210"/>
                    <a:gd name="connsiteY7" fmla="*/ 14931 h 508025"/>
                    <a:gd name="connsiteX8" fmla="*/ 329261 w 561210"/>
                    <a:gd name="connsiteY8" fmla="*/ 145106 h 508025"/>
                    <a:gd name="connsiteX9" fmla="*/ 370536 w 561210"/>
                    <a:gd name="connsiteY9" fmla="*/ 151456 h 508025"/>
                    <a:gd name="connsiteX10" fmla="*/ 462611 w 561210"/>
                    <a:gd name="connsiteY10" fmla="*/ 164156 h 508025"/>
                    <a:gd name="connsiteX11" fmla="*/ 503886 w 561210"/>
                    <a:gd name="connsiteY11" fmla="*/ 189556 h 508025"/>
                    <a:gd name="connsiteX12" fmla="*/ 526111 w 561210"/>
                    <a:gd name="connsiteY12" fmla="*/ 234006 h 508025"/>
                    <a:gd name="connsiteX13" fmla="*/ 522936 w 561210"/>
                    <a:gd name="connsiteY13" fmla="*/ 488006 h 508025"/>
                    <a:gd name="connsiteX14" fmla="*/ 21286 w 561210"/>
                    <a:gd name="connsiteY14" fmla="*/ 449906 h 508025"/>
                    <a:gd name="connsiteX0" fmla="*/ 4360 w 544284"/>
                    <a:gd name="connsiteY0" fmla="*/ 449906 h 508025"/>
                    <a:gd name="connsiteX1" fmla="*/ 7535 w 544284"/>
                    <a:gd name="connsiteY1" fmla="*/ 214956 h 508025"/>
                    <a:gd name="connsiteX2" fmla="*/ 23410 w 544284"/>
                    <a:gd name="connsiteY2" fmla="*/ 176856 h 508025"/>
                    <a:gd name="connsiteX3" fmla="*/ 71035 w 544284"/>
                    <a:gd name="connsiteY3" fmla="*/ 160981 h 508025"/>
                    <a:gd name="connsiteX4" fmla="*/ 172635 w 544284"/>
                    <a:gd name="connsiteY4" fmla="*/ 154631 h 508025"/>
                    <a:gd name="connsiteX5" fmla="*/ 198035 w 544284"/>
                    <a:gd name="connsiteY5" fmla="*/ 151456 h 508025"/>
                    <a:gd name="connsiteX6" fmla="*/ 201210 w 544284"/>
                    <a:gd name="connsiteY6" fmla="*/ 18106 h 508025"/>
                    <a:gd name="connsiteX7" fmla="*/ 312335 w 544284"/>
                    <a:gd name="connsiteY7" fmla="*/ 14931 h 508025"/>
                    <a:gd name="connsiteX8" fmla="*/ 312335 w 544284"/>
                    <a:gd name="connsiteY8" fmla="*/ 145106 h 508025"/>
                    <a:gd name="connsiteX9" fmla="*/ 353610 w 544284"/>
                    <a:gd name="connsiteY9" fmla="*/ 151456 h 508025"/>
                    <a:gd name="connsiteX10" fmla="*/ 445685 w 544284"/>
                    <a:gd name="connsiteY10" fmla="*/ 164156 h 508025"/>
                    <a:gd name="connsiteX11" fmla="*/ 486960 w 544284"/>
                    <a:gd name="connsiteY11" fmla="*/ 189556 h 508025"/>
                    <a:gd name="connsiteX12" fmla="*/ 509185 w 544284"/>
                    <a:gd name="connsiteY12" fmla="*/ 234006 h 508025"/>
                    <a:gd name="connsiteX13" fmla="*/ 506010 w 544284"/>
                    <a:gd name="connsiteY13" fmla="*/ 488006 h 508025"/>
                    <a:gd name="connsiteX14" fmla="*/ 4360 w 544284"/>
                    <a:gd name="connsiteY14" fmla="*/ 449906 h 508025"/>
                    <a:gd name="connsiteX0" fmla="*/ 4360 w 544284"/>
                    <a:gd name="connsiteY0" fmla="*/ 449906 h 500804"/>
                    <a:gd name="connsiteX1" fmla="*/ 7535 w 544284"/>
                    <a:gd name="connsiteY1" fmla="*/ 214956 h 500804"/>
                    <a:gd name="connsiteX2" fmla="*/ 23410 w 544284"/>
                    <a:gd name="connsiteY2" fmla="*/ 176856 h 500804"/>
                    <a:gd name="connsiteX3" fmla="*/ 71035 w 544284"/>
                    <a:gd name="connsiteY3" fmla="*/ 160981 h 500804"/>
                    <a:gd name="connsiteX4" fmla="*/ 172635 w 544284"/>
                    <a:gd name="connsiteY4" fmla="*/ 154631 h 500804"/>
                    <a:gd name="connsiteX5" fmla="*/ 198035 w 544284"/>
                    <a:gd name="connsiteY5" fmla="*/ 151456 h 500804"/>
                    <a:gd name="connsiteX6" fmla="*/ 201210 w 544284"/>
                    <a:gd name="connsiteY6" fmla="*/ 18106 h 500804"/>
                    <a:gd name="connsiteX7" fmla="*/ 312335 w 544284"/>
                    <a:gd name="connsiteY7" fmla="*/ 14931 h 500804"/>
                    <a:gd name="connsiteX8" fmla="*/ 312335 w 544284"/>
                    <a:gd name="connsiteY8" fmla="*/ 145106 h 500804"/>
                    <a:gd name="connsiteX9" fmla="*/ 353610 w 544284"/>
                    <a:gd name="connsiteY9" fmla="*/ 151456 h 500804"/>
                    <a:gd name="connsiteX10" fmla="*/ 445685 w 544284"/>
                    <a:gd name="connsiteY10" fmla="*/ 164156 h 500804"/>
                    <a:gd name="connsiteX11" fmla="*/ 486960 w 544284"/>
                    <a:gd name="connsiteY11" fmla="*/ 189556 h 500804"/>
                    <a:gd name="connsiteX12" fmla="*/ 509185 w 544284"/>
                    <a:gd name="connsiteY12" fmla="*/ 234006 h 500804"/>
                    <a:gd name="connsiteX13" fmla="*/ 506010 w 544284"/>
                    <a:gd name="connsiteY13" fmla="*/ 488006 h 500804"/>
                    <a:gd name="connsiteX14" fmla="*/ 4360 w 544284"/>
                    <a:gd name="connsiteY14" fmla="*/ 449906 h 500804"/>
                    <a:gd name="connsiteX0" fmla="*/ 4360 w 544284"/>
                    <a:gd name="connsiteY0" fmla="*/ 449906 h 500804"/>
                    <a:gd name="connsiteX1" fmla="*/ 7535 w 544284"/>
                    <a:gd name="connsiteY1" fmla="*/ 214956 h 500804"/>
                    <a:gd name="connsiteX2" fmla="*/ 23410 w 544284"/>
                    <a:gd name="connsiteY2" fmla="*/ 176856 h 500804"/>
                    <a:gd name="connsiteX3" fmla="*/ 71035 w 544284"/>
                    <a:gd name="connsiteY3" fmla="*/ 160981 h 500804"/>
                    <a:gd name="connsiteX4" fmla="*/ 172635 w 544284"/>
                    <a:gd name="connsiteY4" fmla="*/ 154631 h 500804"/>
                    <a:gd name="connsiteX5" fmla="*/ 198035 w 544284"/>
                    <a:gd name="connsiteY5" fmla="*/ 151456 h 500804"/>
                    <a:gd name="connsiteX6" fmla="*/ 201210 w 544284"/>
                    <a:gd name="connsiteY6" fmla="*/ 18106 h 500804"/>
                    <a:gd name="connsiteX7" fmla="*/ 312335 w 544284"/>
                    <a:gd name="connsiteY7" fmla="*/ 14931 h 500804"/>
                    <a:gd name="connsiteX8" fmla="*/ 312335 w 544284"/>
                    <a:gd name="connsiteY8" fmla="*/ 145106 h 500804"/>
                    <a:gd name="connsiteX9" fmla="*/ 353610 w 544284"/>
                    <a:gd name="connsiteY9" fmla="*/ 151456 h 500804"/>
                    <a:gd name="connsiteX10" fmla="*/ 445685 w 544284"/>
                    <a:gd name="connsiteY10" fmla="*/ 164156 h 500804"/>
                    <a:gd name="connsiteX11" fmla="*/ 486960 w 544284"/>
                    <a:gd name="connsiteY11" fmla="*/ 189556 h 500804"/>
                    <a:gd name="connsiteX12" fmla="*/ 509185 w 544284"/>
                    <a:gd name="connsiteY12" fmla="*/ 234006 h 500804"/>
                    <a:gd name="connsiteX13" fmla="*/ 506010 w 544284"/>
                    <a:gd name="connsiteY13" fmla="*/ 488006 h 500804"/>
                    <a:gd name="connsiteX14" fmla="*/ 4360 w 544284"/>
                    <a:gd name="connsiteY14" fmla="*/ 449906 h 500804"/>
                    <a:gd name="connsiteX0" fmla="*/ 4360 w 519024"/>
                    <a:gd name="connsiteY0" fmla="*/ 449906 h 500804"/>
                    <a:gd name="connsiteX1" fmla="*/ 7535 w 519024"/>
                    <a:gd name="connsiteY1" fmla="*/ 214956 h 500804"/>
                    <a:gd name="connsiteX2" fmla="*/ 23410 w 519024"/>
                    <a:gd name="connsiteY2" fmla="*/ 176856 h 500804"/>
                    <a:gd name="connsiteX3" fmla="*/ 71035 w 519024"/>
                    <a:gd name="connsiteY3" fmla="*/ 160981 h 500804"/>
                    <a:gd name="connsiteX4" fmla="*/ 172635 w 519024"/>
                    <a:gd name="connsiteY4" fmla="*/ 154631 h 500804"/>
                    <a:gd name="connsiteX5" fmla="*/ 198035 w 519024"/>
                    <a:gd name="connsiteY5" fmla="*/ 151456 h 500804"/>
                    <a:gd name="connsiteX6" fmla="*/ 201210 w 519024"/>
                    <a:gd name="connsiteY6" fmla="*/ 18106 h 500804"/>
                    <a:gd name="connsiteX7" fmla="*/ 312335 w 519024"/>
                    <a:gd name="connsiteY7" fmla="*/ 14931 h 500804"/>
                    <a:gd name="connsiteX8" fmla="*/ 312335 w 519024"/>
                    <a:gd name="connsiteY8" fmla="*/ 145106 h 500804"/>
                    <a:gd name="connsiteX9" fmla="*/ 353610 w 519024"/>
                    <a:gd name="connsiteY9" fmla="*/ 151456 h 500804"/>
                    <a:gd name="connsiteX10" fmla="*/ 445685 w 519024"/>
                    <a:gd name="connsiteY10" fmla="*/ 164156 h 500804"/>
                    <a:gd name="connsiteX11" fmla="*/ 486960 w 519024"/>
                    <a:gd name="connsiteY11" fmla="*/ 189556 h 500804"/>
                    <a:gd name="connsiteX12" fmla="*/ 509185 w 519024"/>
                    <a:gd name="connsiteY12" fmla="*/ 234006 h 500804"/>
                    <a:gd name="connsiteX13" fmla="*/ 506010 w 519024"/>
                    <a:gd name="connsiteY13" fmla="*/ 488006 h 500804"/>
                    <a:gd name="connsiteX14" fmla="*/ 4360 w 519024"/>
                    <a:gd name="connsiteY14" fmla="*/ 449906 h 500804"/>
                    <a:gd name="connsiteX0" fmla="*/ 4360 w 519024"/>
                    <a:gd name="connsiteY0" fmla="*/ 449906 h 488006"/>
                    <a:gd name="connsiteX1" fmla="*/ 7535 w 519024"/>
                    <a:gd name="connsiteY1" fmla="*/ 214956 h 488006"/>
                    <a:gd name="connsiteX2" fmla="*/ 23410 w 519024"/>
                    <a:gd name="connsiteY2" fmla="*/ 176856 h 488006"/>
                    <a:gd name="connsiteX3" fmla="*/ 71035 w 519024"/>
                    <a:gd name="connsiteY3" fmla="*/ 160981 h 488006"/>
                    <a:gd name="connsiteX4" fmla="*/ 172635 w 519024"/>
                    <a:gd name="connsiteY4" fmla="*/ 154631 h 488006"/>
                    <a:gd name="connsiteX5" fmla="*/ 198035 w 519024"/>
                    <a:gd name="connsiteY5" fmla="*/ 151456 h 488006"/>
                    <a:gd name="connsiteX6" fmla="*/ 201210 w 519024"/>
                    <a:gd name="connsiteY6" fmla="*/ 18106 h 488006"/>
                    <a:gd name="connsiteX7" fmla="*/ 312335 w 519024"/>
                    <a:gd name="connsiteY7" fmla="*/ 14931 h 488006"/>
                    <a:gd name="connsiteX8" fmla="*/ 312335 w 519024"/>
                    <a:gd name="connsiteY8" fmla="*/ 145106 h 488006"/>
                    <a:gd name="connsiteX9" fmla="*/ 353610 w 519024"/>
                    <a:gd name="connsiteY9" fmla="*/ 151456 h 488006"/>
                    <a:gd name="connsiteX10" fmla="*/ 445685 w 519024"/>
                    <a:gd name="connsiteY10" fmla="*/ 164156 h 488006"/>
                    <a:gd name="connsiteX11" fmla="*/ 486960 w 519024"/>
                    <a:gd name="connsiteY11" fmla="*/ 189556 h 488006"/>
                    <a:gd name="connsiteX12" fmla="*/ 509185 w 519024"/>
                    <a:gd name="connsiteY12" fmla="*/ 234006 h 488006"/>
                    <a:gd name="connsiteX13" fmla="*/ 506010 w 519024"/>
                    <a:gd name="connsiteY13" fmla="*/ 488006 h 488006"/>
                    <a:gd name="connsiteX14" fmla="*/ 4360 w 519024"/>
                    <a:gd name="connsiteY14" fmla="*/ 449906 h 488006"/>
                    <a:gd name="connsiteX0" fmla="*/ 4360 w 523534"/>
                    <a:gd name="connsiteY0" fmla="*/ 449906 h 472131"/>
                    <a:gd name="connsiteX1" fmla="*/ 7535 w 523534"/>
                    <a:gd name="connsiteY1" fmla="*/ 214956 h 472131"/>
                    <a:gd name="connsiteX2" fmla="*/ 23410 w 523534"/>
                    <a:gd name="connsiteY2" fmla="*/ 176856 h 472131"/>
                    <a:gd name="connsiteX3" fmla="*/ 71035 w 523534"/>
                    <a:gd name="connsiteY3" fmla="*/ 160981 h 472131"/>
                    <a:gd name="connsiteX4" fmla="*/ 172635 w 523534"/>
                    <a:gd name="connsiteY4" fmla="*/ 154631 h 472131"/>
                    <a:gd name="connsiteX5" fmla="*/ 198035 w 523534"/>
                    <a:gd name="connsiteY5" fmla="*/ 151456 h 472131"/>
                    <a:gd name="connsiteX6" fmla="*/ 201210 w 523534"/>
                    <a:gd name="connsiteY6" fmla="*/ 18106 h 472131"/>
                    <a:gd name="connsiteX7" fmla="*/ 312335 w 523534"/>
                    <a:gd name="connsiteY7" fmla="*/ 14931 h 472131"/>
                    <a:gd name="connsiteX8" fmla="*/ 312335 w 523534"/>
                    <a:gd name="connsiteY8" fmla="*/ 145106 h 472131"/>
                    <a:gd name="connsiteX9" fmla="*/ 353610 w 523534"/>
                    <a:gd name="connsiteY9" fmla="*/ 151456 h 472131"/>
                    <a:gd name="connsiteX10" fmla="*/ 445685 w 523534"/>
                    <a:gd name="connsiteY10" fmla="*/ 164156 h 472131"/>
                    <a:gd name="connsiteX11" fmla="*/ 486960 w 523534"/>
                    <a:gd name="connsiteY11" fmla="*/ 189556 h 472131"/>
                    <a:gd name="connsiteX12" fmla="*/ 509185 w 523534"/>
                    <a:gd name="connsiteY12" fmla="*/ 234006 h 472131"/>
                    <a:gd name="connsiteX13" fmla="*/ 512360 w 523534"/>
                    <a:gd name="connsiteY13" fmla="*/ 472131 h 472131"/>
                    <a:gd name="connsiteX14" fmla="*/ 4360 w 523534"/>
                    <a:gd name="connsiteY14" fmla="*/ 449906 h 472131"/>
                    <a:gd name="connsiteX0" fmla="*/ 4360 w 513675"/>
                    <a:gd name="connsiteY0" fmla="*/ 449906 h 472131"/>
                    <a:gd name="connsiteX1" fmla="*/ 7535 w 513675"/>
                    <a:gd name="connsiteY1" fmla="*/ 214956 h 472131"/>
                    <a:gd name="connsiteX2" fmla="*/ 23410 w 513675"/>
                    <a:gd name="connsiteY2" fmla="*/ 176856 h 472131"/>
                    <a:gd name="connsiteX3" fmla="*/ 71035 w 513675"/>
                    <a:gd name="connsiteY3" fmla="*/ 160981 h 472131"/>
                    <a:gd name="connsiteX4" fmla="*/ 172635 w 513675"/>
                    <a:gd name="connsiteY4" fmla="*/ 154631 h 472131"/>
                    <a:gd name="connsiteX5" fmla="*/ 198035 w 513675"/>
                    <a:gd name="connsiteY5" fmla="*/ 151456 h 472131"/>
                    <a:gd name="connsiteX6" fmla="*/ 201210 w 513675"/>
                    <a:gd name="connsiteY6" fmla="*/ 18106 h 472131"/>
                    <a:gd name="connsiteX7" fmla="*/ 312335 w 513675"/>
                    <a:gd name="connsiteY7" fmla="*/ 14931 h 472131"/>
                    <a:gd name="connsiteX8" fmla="*/ 312335 w 513675"/>
                    <a:gd name="connsiteY8" fmla="*/ 145106 h 472131"/>
                    <a:gd name="connsiteX9" fmla="*/ 353610 w 513675"/>
                    <a:gd name="connsiteY9" fmla="*/ 151456 h 472131"/>
                    <a:gd name="connsiteX10" fmla="*/ 445685 w 513675"/>
                    <a:gd name="connsiteY10" fmla="*/ 164156 h 472131"/>
                    <a:gd name="connsiteX11" fmla="*/ 486960 w 513675"/>
                    <a:gd name="connsiteY11" fmla="*/ 189556 h 472131"/>
                    <a:gd name="connsiteX12" fmla="*/ 509185 w 513675"/>
                    <a:gd name="connsiteY12" fmla="*/ 234006 h 472131"/>
                    <a:gd name="connsiteX13" fmla="*/ 512360 w 513675"/>
                    <a:gd name="connsiteY13" fmla="*/ 472131 h 472131"/>
                    <a:gd name="connsiteX14" fmla="*/ 4360 w 513675"/>
                    <a:gd name="connsiteY14" fmla="*/ 449906 h 472131"/>
                    <a:gd name="connsiteX0" fmla="*/ 4360 w 513675"/>
                    <a:gd name="connsiteY0" fmla="*/ 446969 h 469194"/>
                    <a:gd name="connsiteX1" fmla="*/ 7535 w 513675"/>
                    <a:gd name="connsiteY1" fmla="*/ 212019 h 469194"/>
                    <a:gd name="connsiteX2" fmla="*/ 23410 w 513675"/>
                    <a:gd name="connsiteY2" fmla="*/ 173919 h 469194"/>
                    <a:gd name="connsiteX3" fmla="*/ 71035 w 513675"/>
                    <a:gd name="connsiteY3" fmla="*/ 158044 h 469194"/>
                    <a:gd name="connsiteX4" fmla="*/ 172635 w 513675"/>
                    <a:gd name="connsiteY4" fmla="*/ 151694 h 469194"/>
                    <a:gd name="connsiteX5" fmla="*/ 188510 w 513675"/>
                    <a:gd name="connsiteY5" fmla="*/ 94544 h 469194"/>
                    <a:gd name="connsiteX6" fmla="*/ 201210 w 513675"/>
                    <a:gd name="connsiteY6" fmla="*/ 15169 h 469194"/>
                    <a:gd name="connsiteX7" fmla="*/ 312335 w 513675"/>
                    <a:gd name="connsiteY7" fmla="*/ 11994 h 469194"/>
                    <a:gd name="connsiteX8" fmla="*/ 312335 w 513675"/>
                    <a:gd name="connsiteY8" fmla="*/ 142169 h 469194"/>
                    <a:gd name="connsiteX9" fmla="*/ 353610 w 513675"/>
                    <a:gd name="connsiteY9" fmla="*/ 148519 h 469194"/>
                    <a:gd name="connsiteX10" fmla="*/ 445685 w 513675"/>
                    <a:gd name="connsiteY10" fmla="*/ 161219 h 469194"/>
                    <a:gd name="connsiteX11" fmla="*/ 486960 w 513675"/>
                    <a:gd name="connsiteY11" fmla="*/ 186619 h 469194"/>
                    <a:gd name="connsiteX12" fmla="*/ 509185 w 513675"/>
                    <a:gd name="connsiteY12" fmla="*/ 231069 h 469194"/>
                    <a:gd name="connsiteX13" fmla="*/ 512360 w 513675"/>
                    <a:gd name="connsiteY13" fmla="*/ 469194 h 469194"/>
                    <a:gd name="connsiteX14" fmla="*/ 4360 w 513675"/>
                    <a:gd name="connsiteY14" fmla="*/ 446969 h 469194"/>
                    <a:gd name="connsiteX0" fmla="*/ 4360 w 513675"/>
                    <a:gd name="connsiteY0" fmla="*/ 443409 h 465634"/>
                    <a:gd name="connsiteX1" fmla="*/ 7535 w 513675"/>
                    <a:gd name="connsiteY1" fmla="*/ 208459 h 465634"/>
                    <a:gd name="connsiteX2" fmla="*/ 23410 w 513675"/>
                    <a:gd name="connsiteY2" fmla="*/ 170359 h 465634"/>
                    <a:gd name="connsiteX3" fmla="*/ 71035 w 513675"/>
                    <a:gd name="connsiteY3" fmla="*/ 154484 h 465634"/>
                    <a:gd name="connsiteX4" fmla="*/ 172635 w 513675"/>
                    <a:gd name="connsiteY4" fmla="*/ 148134 h 465634"/>
                    <a:gd name="connsiteX5" fmla="*/ 188510 w 513675"/>
                    <a:gd name="connsiteY5" fmla="*/ 90984 h 465634"/>
                    <a:gd name="connsiteX6" fmla="*/ 201210 w 513675"/>
                    <a:gd name="connsiteY6" fmla="*/ 11609 h 465634"/>
                    <a:gd name="connsiteX7" fmla="*/ 312335 w 513675"/>
                    <a:gd name="connsiteY7" fmla="*/ 8434 h 465634"/>
                    <a:gd name="connsiteX8" fmla="*/ 312335 w 513675"/>
                    <a:gd name="connsiteY8" fmla="*/ 87809 h 465634"/>
                    <a:gd name="connsiteX9" fmla="*/ 353610 w 513675"/>
                    <a:gd name="connsiteY9" fmla="*/ 144959 h 465634"/>
                    <a:gd name="connsiteX10" fmla="*/ 445685 w 513675"/>
                    <a:gd name="connsiteY10" fmla="*/ 157659 h 465634"/>
                    <a:gd name="connsiteX11" fmla="*/ 486960 w 513675"/>
                    <a:gd name="connsiteY11" fmla="*/ 183059 h 465634"/>
                    <a:gd name="connsiteX12" fmla="*/ 509185 w 513675"/>
                    <a:gd name="connsiteY12" fmla="*/ 227509 h 465634"/>
                    <a:gd name="connsiteX13" fmla="*/ 512360 w 513675"/>
                    <a:gd name="connsiteY13" fmla="*/ 465634 h 465634"/>
                    <a:gd name="connsiteX14" fmla="*/ 4360 w 513675"/>
                    <a:gd name="connsiteY14" fmla="*/ 443409 h 465634"/>
                    <a:gd name="connsiteX0" fmla="*/ 4360 w 513675"/>
                    <a:gd name="connsiteY0" fmla="*/ 443409 h 465634"/>
                    <a:gd name="connsiteX1" fmla="*/ 7535 w 513675"/>
                    <a:gd name="connsiteY1" fmla="*/ 208459 h 465634"/>
                    <a:gd name="connsiteX2" fmla="*/ 23410 w 513675"/>
                    <a:gd name="connsiteY2" fmla="*/ 170359 h 465634"/>
                    <a:gd name="connsiteX3" fmla="*/ 71035 w 513675"/>
                    <a:gd name="connsiteY3" fmla="*/ 154484 h 465634"/>
                    <a:gd name="connsiteX4" fmla="*/ 172635 w 513675"/>
                    <a:gd name="connsiteY4" fmla="*/ 148134 h 465634"/>
                    <a:gd name="connsiteX5" fmla="*/ 188510 w 513675"/>
                    <a:gd name="connsiteY5" fmla="*/ 90984 h 465634"/>
                    <a:gd name="connsiteX6" fmla="*/ 201210 w 513675"/>
                    <a:gd name="connsiteY6" fmla="*/ 11609 h 465634"/>
                    <a:gd name="connsiteX7" fmla="*/ 312335 w 513675"/>
                    <a:gd name="connsiteY7" fmla="*/ 8434 h 465634"/>
                    <a:gd name="connsiteX8" fmla="*/ 312335 w 513675"/>
                    <a:gd name="connsiteY8" fmla="*/ 87809 h 465634"/>
                    <a:gd name="connsiteX9" fmla="*/ 334560 w 513675"/>
                    <a:gd name="connsiteY9" fmla="*/ 135434 h 465634"/>
                    <a:gd name="connsiteX10" fmla="*/ 445685 w 513675"/>
                    <a:gd name="connsiteY10" fmla="*/ 157659 h 465634"/>
                    <a:gd name="connsiteX11" fmla="*/ 486960 w 513675"/>
                    <a:gd name="connsiteY11" fmla="*/ 183059 h 465634"/>
                    <a:gd name="connsiteX12" fmla="*/ 509185 w 513675"/>
                    <a:gd name="connsiteY12" fmla="*/ 227509 h 465634"/>
                    <a:gd name="connsiteX13" fmla="*/ 512360 w 513675"/>
                    <a:gd name="connsiteY13" fmla="*/ 465634 h 465634"/>
                    <a:gd name="connsiteX14" fmla="*/ 4360 w 513675"/>
                    <a:gd name="connsiteY14" fmla="*/ 443409 h 465634"/>
                    <a:gd name="connsiteX0" fmla="*/ 4360 w 510500"/>
                    <a:gd name="connsiteY0" fmla="*/ 443409 h 449759"/>
                    <a:gd name="connsiteX1" fmla="*/ 7535 w 510500"/>
                    <a:gd name="connsiteY1" fmla="*/ 208459 h 449759"/>
                    <a:gd name="connsiteX2" fmla="*/ 23410 w 510500"/>
                    <a:gd name="connsiteY2" fmla="*/ 170359 h 449759"/>
                    <a:gd name="connsiteX3" fmla="*/ 71035 w 510500"/>
                    <a:gd name="connsiteY3" fmla="*/ 154484 h 449759"/>
                    <a:gd name="connsiteX4" fmla="*/ 172635 w 510500"/>
                    <a:gd name="connsiteY4" fmla="*/ 148134 h 449759"/>
                    <a:gd name="connsiteX5" fmla="*/ 188510 w 510500"/>
                    <a:gd name="connsiteY5" fmla="*/ 90984 h 449759"/>
                    <a:gd name="connsiteX6" fmla="*/ 201210 w 510500"/>
                    <a:gd name="connsiteY6" fmla="*/ 11609 h 449759"/>
                    <a:gd name="connsiteX7" fmla="*/ 312335 w 510500"/>
                    <a:gd name="connsiteY7" fmla="*/ 8434 h 449759"/>
                    <a:gd name="connsiteX8" fmla="*/ 312335 w 510500"/>
                    <a:gd name="connsiteY8" fmla="*/ 87809 h 449759"/>
                    <a:gd name="connsiteX9" fmla="*/ 334560 w 510500"/>
                    <a:gd name="connsiteY9" fmla="*/ 135434 h 449759"/>
                    <a:gd name="connsiteX10" fmla="*/ 445685 w 510500"/>
                    <a:gd name="connsiteY10" fmla="*/ 157659 h 449759"/>
                    <a:gd name="connsiteX11" fmla="*/ 486960 w 510500"/>
                    <a:gd name="connsiteY11" fmla="*/ 183059 h 449759"/>
                    <a:gd name="connsiteX12" fmla="*/ 509185 w 510500"/>
                    <a:gd name="connsiteY12" fmla="*/ 227509 h 449759"/>
                    <a:gd name="connsiteX13" fmla="*/ 506010 w 510500"/>
                    <a:gd name="connsiteY13" fmla="*/ 449759 h 449759"/>
                    <a:gd name="connsiteX14" fmla="*/ 4360 w 510500"/>
                    <a:gd name="connsiteY14" fmla="*/ 443409 h 449759"/>
                    <a:gd name="connsiteX0" fmla="*/ 4360 w 510500"/>
                    <a:gd name="connsiteY0" fmla="*/ 443409 h 454926"/>
                    <a:gd name="connsiteX1" fmla="*/ 7535 w 510500"/>
                    <a:gd name="connsiteY1" fmla="*/ 208459 h 454926"/>
                    <a:gd name="connsiteX2" fmla="*/ 23410 w 510500"/>
                    <a:gd name="connsiteY2" fmla="*/ 170359 h 454926"/>
                    <a:gd name="connsiteX3" fmla="*/ 71035 w 510500"/>
                    <a:gd name="connsiteY3" fmla="*/ 154484 h 454926"/>
                    <a:gd name="connsiteX4" fmla="*/ 172635 w 510500"/>
                    <a:gd name="connsiteY4" fmla="*/ 148134 h 454926"/>
                    <a:gd name="connsiteX5" fmla="*/ 188510 w 510500"/>
                    <a:gd name="connsiteY5" fmla="*/ 90984 h 454926"/>
                    <a:gd name="connsiteX6" fmla="*/ 201210 w 510500"/>
                    <a:gd name="connsiteY6" fmla="*/ 11609 h 454926"/>
                    <a:gd name="connsiteX7" fmla="*/ 312335 w 510500"/>
                    <a:gd name="connsiteY7" fmla="*/ 8434 h 454926"/>
                    <a:gd name="connsiteX8" fmla="*/ 312335 w 510500"/>
                    <a:gd name="connsiteY8" fmla="*/ 87809 h 454926"/>
                    <a:gd name="connsiteX9" fmla="*/ 334560 w 510500"/>
                    <a:gd name="connsiteY9" fmla="*/ 135434 h 454926"/>
                    <a:gd name="connsiteX10" fmla="*/ 445685 w 510500"/>
                    <a:gd name="connsiteY10" fmla="*/ 157659 h 454926"/>
                    <a:gd name="connsiteX11" fmla="*/ 486960 w 510500"/>
                    <a:gd name="connsiteY11" fmla="*/ 183059 h 454926"/>
                    <a:gd name="connsiteX12" fmla="*/ 509185 w 510500"/>
                    <a:gd name="connsiteY12" fmla="*/ 227509 h 454926"/>
                    <a:gd name="connsiteX13" fmla="*/ 506010 w 510500"/>
                    <a:gd name="connsiteY13" fmla="*/ 449759 h 454926"/>
                    <a:gd name="connsiteX14" fmla="*/ 4360 w 510500"/>
                    <a:gd name="connsiteY14" fmla="*/ 443409 h 454926"/>
                    <a:gd name="connsiteX0" fmla="*/ 6473 w 512613"/>
                    <a:gd name="connsiteY0" fmla="*/ 443409 h 454926"/>
                    <a:gd name="connsiteX1" fmla="*/ 9648 w 512613"/>
                    <a:gd name="connsiteY1" fmla="*/ 208459 h 454926"/>
                    <a:gd name="connsiteX2" fmla="*/ 73148 w 512613"/>
                    <a:gd name="connsiteY2" fmla="*/ 154484 h 454926"/>
                    <a:gd name="connsiteX3" fmla="*/ 174748 w 512613"/>
                    <a:gd name="connsiteY3" fmla="*/ 148134 h 454926"/>
                    <a:gd name="connsiteX4" fmla="*/ 190623 w 512613"/>
                    <a:gd name="connsiteY4" fmla="*/ 90984 h 454926"/>
                    <a:gd name="connsiteX5" fmla="*/ 203323 w 512613"/>
                    <a:gd name="connsiteY5" fmla="*/ 11609 h 454926"/>
                    <a:gd name="connsiteX6" fmla="*/ 314448 w 512613"/>
                    <a:gd name="connsiteY6" fmla="*/ 8434 h 454926"/>
                    <a:gd name="connsiteX7" fmla="*/ 314448 w 512613"/>
                    <a:gd name="connsiteY7" fmla="*/ 87809 h 454926"/>
                    <a:gd name="connsiteX8" fmla="*/ 336673 w 512613"/>
                    <a:gd name="connsiteY8" fmla="*/ 135434 h 454926"/>
                    <a:gd name="connsiteX9" fmla="*/ 447798 w 512613"/>
                    <a:gd name="connsiteY9" fmla="*/ 157659 h 454926"/>
                    <a:gd name="connsiteX10" fmla="*/ 489073 w 512613"/>
                    <a:gd name="connsiteY10" fmla="*/ 183059 h 454926"/>
                    <a:gd name="connsiteX11" fmla="*/ 511298 w 512613"/>
                    <a:gd name="connsiteY11" fmla="*/ 227509 h 454926"/>
                    <a:gd name="connsiteX12" fmla="*/ 508123 w 512613"/>
                    <a:gd name="connsiteY12" fmla="*/ 449759 h 454926"/>
                    <a:gd name="connsiteX13" fmla="*/ 6473 w 512613"/>
                    <a:gd name="connsiteY13" fmla="*/ 443409 h 454926"/>
                    <a:gd name="connsiteX0" fmla="*/ 4049 w 510189"/>
                    <a:gd name="connsiteY0" fmla="*/ 443409 h 454926"/>
                    <a:gd name="connsiteX1" fmla="*/ 7224 w 510189"/>
                    <a:gd name="connsiteY1" fmla="*/ 208459 h 454926"/>
                    <a:gd name="connsiteX2" fmla="*/ 70724 w 510189"/>
                    <a:gd name="connsiteY2" fmla="*/ 154484 h 454926"/>
                    <a:gd name="connsiteX3" fmla="*/ 172324 w 510189"/>
                    <a:gd name="connsiteY3" fmla="*/ 148134 h 454926"/>
                    <a:gd name="connsiteX4" fmla="*/ 188199 w 510189"/>
                    <a:gd name="connsiteY4" fmla="*/ 90984 h 454926"/>
                    <a:gd name="connsiteX5" fmla="*/ 200899 w 510189"/>
                    <a:gd name="connsiteY5" fmla="*/ 11609 h 454926"/>
                    <a:gd name="connsiteX6" fmla="*/ 312024 w 510189"/>
                    <a:gd name="connsiteY6" fmla="*/ 8434 h 454926"/>
                    <a:gd name="connsiteX7" fmla="*/ 312024 w 510189"/>
                    <a:gd name="connsiteY7" fmla="*/ 87809 h 454926"/>
                    <a:gd name="connsiteX8" fmla="*/ 334249 w 510189"/>
                    <a:gd name="connsiteY8" fmla="*/ 135434 h 454926"/>
                    <a:gd name="connsiteX9" fmla="*/ 445374 w 510189"/>
                    <a:gd name="connsiteY9" fmla="*/ 157659 h 454926"/>
                    <a:gd name="connsiteX10" fmla="*/ 486649 w 510189"/>
                    <a:gd name="connsiteY10" fmla="*/ 183059 h 454926"/>
                    <a:gd name="connsiteX11" fmla="*/ 508874 w 510189"/>
                    <a:gd name="connsiteY11" fmla="*/ 227509 h 454926"/>
                    <a:gd name="connsiteX12" fmla="*/ 505699 w 510189"/>
                    <a:gd name="connsiteY12" fmla="*/ 449759 h 454926"/>
                    <a:gd name="connsiteX13" fmla="*/ 4049 w 510189"/>
                    <a:gd name="connsiteY13" fmla="*/ 443409 h 454926"/>
                    <a:gd name="connsiteX0" fmla="*/ 4049 w 510189"/>
                    <a:gd name="connsiteY0" fmla="*/ 443409 h 454926"/>
                    <a:gd name="connsiteX1" fmla="*/ 7224 w 510189"/>
                    <a:gd name="connsiteY1" fmla="*/ 208459 h 454926"/>
                    <a:gd name="connsiteX2" fmla="*/ 70724 w 510189"/>
                    <a:gd name="connsiteY2" fmla="*/ 154484 h 454926"/>
                    <a:gd name="connsiteX3" fmla="*/ 172324 w 510189"/>
                    <a:gd name="connsiteY3" fmla="*/ 148134 h 454926"/>
                    <a:gd name="connsiteX4" fmla="*/ 188199 w 510189"/>
                    <a:gd name="connsiteY4" fmla="*/ 90984 h 454926"/>
                    <a:gd name="connsiteX5" fmla="*/ 200899 w 510189"/>
                    <a:gd name="connsiteY5" fmla="*/ 11609 h 454926"/>
                    <a:gd name="connsiteX6" fmla="*/ 312024 w 510189"/>
                    <a:gd name="connsiteY6" fmla="*/ 8434 h 454926"/>
                    <a:gd name="connsiteX7" fmla="*/ 312024 w 510189"/>
                    <a:gd name="connsiteY7" fmla="*/ 87809 h 454926"/>
                    <a:gd name="connsiteX8" fmla="*/ 334249 w 510189"/>
                    <a:gd name="connsiteY8" fmla="*/ 135434 h 454926"/>
                    <a:gd name="connsiteX9" fmla="*/ 445374 w 510189"/>
                    <a:gd name="connsiteY9" fmla="*/ 157659 h 454926"/>
                    <a:gd name="connsiteX10" fmla="*/ 508874 w 510189"/>
                    <a:gd name="connsiteY10" fmla="*/ 227509 h 454926"/>
                    <a:gd name="connsiteX11" fmla="*/ 505699 w 510189"/>
                    <a:gd name="connsiteY11" fmla="*/ 449759 h 454926"/>
                    <a:gd name="connsiteX12" fmla="*/ 4049 w 510189"/>
                    <a:gd name="connsiteY12" fmla="*/ 443409 h 454926"/>
                    <a:gd name="connsiteX0" fmla="*/ 4049 w 510189"/>
                    <a:gd name="connsiteY0" fmla="*/ 443409 h 454926"/>
                    <a:gd name="connsiteX1" fmla="*/ 7224 w 510189"/>
                    <a:gd name="connsiteY1" fmla="*/ 208459 h 454926"/>
                    <a:gd name="connsiteX2" fmla="*/ 70724 w 510189"/>
                    <a:gd name="connsiteY2" fmla="*/ 154484 h 454926"/>
                    <a:gd name="connsiteX3" fmla="*/ 172324 w 510189"/>
                    <a:gd name="connsiteY3" fmla="*/ 148134 h 454926"/>
                    <a:gd name="connsiteX4" fmla="*/ 188199 w 510189"/>
                    <a:gd name="connsiteY4" fmla="*/ 90984 h 454926"/>
                    <a:gd name="connsiteX5" fmla="*/ 200899 w 510189"/>
                    <a:gd name="connsiteY5" fmla="*/ 11609 h 454926"/>
                    <a:gd name="connsiteX6" fmla="*/ 312024 w 510189"/>
                    <a:gd name="connsiteY6" fmla="*/ 8434 h 454926"/>
                    <a:gd name="connsiteX7" fmla="*/ 312024 w 510189"/>
                    <a:gd name="connsiteY7" fmla="*/ 87809 h 454926"/>
                    <a:gd name="connsiteX8" fmla="*/ 334249 w 510189"/>
                    <a:gd name="connsiteY8" fmla="*/ 135434 h 454926"/>
                    <a:gd name="connsiteX9" fmla="*/ 445374 w 510189"/>
                    <a:gd name="connsiteY9" fmla="*/ 157659 h 454926"/>
                    <a:gd name="connsiteX10" fmla="*/ 508874 w 510189"/>
                    <a:gd name="connsiteY10" fmla="*/ 227509 h 454926"/>
                    <a:gd name="connsiteX11" fmla="*/ 505699 w 510189"/>
                    <a:gd name="connsiteY11" fmla="*/ 449759 h 454926"/>
                    <a:gd name="connsiteX12" fmla="*/ 4049 w 510189"/>
                    <a:gd name="connsiteY12" fmla="*/ 443409 h 454926"/>
                    <a:gd name="connsiteX0" fmla="*/ 5987 w 512127"/>
                    <a:gd name="connsiteY0" fmla="*/ 443409 h 454926"/>
                    <a:gd name="connsiteX1" fmla="*/ 2812 w 512127"/>
                    <a:gd name="connsiteY1" fmla="*/ 217984 h 454926"/>
                    <a:gd name="connsiteX2" fmla="*/ 72662 w 512127"/>
                    <a:gd name="connsiteY2" fmla="*/ 154484 h 454926"/>
                    <a:gd name="connsiteX3" fmla="*/ 174262 w 512127"/>
                    <a:gd name="connsiteY3" fmla="*/ 148134 h 454926"/>
                    <a:gd name="connsiteX4" fmla="*/ 190137 w 512127"/>
                    <a:gd name="connsiteY4" fmla="*/ 90984 h 454926"/>
                    <a:gd name="connsiteX5" fmla="*/ 202837 w 512127"/>
                    <a:gd name="connsiteY5" fmla="*/ 11609 h 454926"/>
                    <a:gd name="connsiteX6" fmla="*/ 313962 w 512127"/>
                    <a:gd name="connsiteY6" fmla="*/ 8434 h 454926"/>
                    <a:gd name="connsiteX7" fmla="*/ 313962 w 512127"/>
                    <a:gd name="connsiteY7" fmla="*/ 87809 h 454926"/>
                    <a:gd name="connsiteX8" fmla="*/ 336187 w 512127"/>
                    <a:gd name="connsiteY8" fmla="*/ 135434 h 454926"/>
                    <a:gd name="connsiteX9" fmla="*/ 447312 w 512127"/>
                    <a:gd name="connsiteY9" fmla="*/ 157659 h 454926"/>
                    <a:gd name="connsiteX10" fmla="*/ 510812 w 512127"/>
                    <a:gd name="connsiteY10" fmla="*/ 227509 h 454926"/>
                    <a:gd name="connsiteX11" fmla="*/ 507637 w 512127"/>
                    <a:gd name="connsiteY11" fmla="*/ 449759 h 454926"/>
                    <a:gd name="connsiteX12" fmla="*/ 5987 w 512127"/>
                    <a:gd name="connsiteY12" fmla="*/ 443409 h 454926"/>
                    <a:gd name="connsiteX0" fmla="*/ 9762 w 515902"/>
                    <a:gd name="connsiteY0" fmla="*/ 443409 h 454926"/>
                    <a:gd name="connsiteX1" fmla="*/ 6587 w 515902"/>
                    <a:gd name="connsiteY1" fmla="*/ 217984 h 454926"/>
                    <a:gd name="connsiteX2" fmla="*/ 76437 w 515902"/>
                    <a:gd name="connsiteY2" fmla="*/ 154484 h 454926"/>
                    <a:gd name="connsiteX3" fmla="*/ 178037 w 515902"/>
                    <a:gd name="connsiteY3" fmla="*/ 148134 h 454926"/>
                    <a:gd name="connsiteX4" fmla="*/ 193912 w 515902"/>
                    <a:gd name="connsiteY4" fmla="*/ 90984 h 454926"/>
                    <a:gd name="connsiteX5" fmla="*/ 206612 w 515902"/>
                    <a:gd name="connsiteY5" fmla="*/ 11609 h 454926"/>
                    <a:gd name="connsiteX6" fmla="*/ 317737 w 515902"/>
                    <a:gd name="connsiteY6" fmla="*/ 8434 h 454926"/>
                    <a:gd name="connsiteX7" fmla="*/ 317737 w 515902"/>
                    <a:gd name="connsiteY7" fmla="*/ 87809 h 454926"/>
                    <a:gd name="connsiteX8" fmla="*/ 339962 w 515902"/>
                    <a:gd name="connsiteY8" fmla="*/ 135434 h 454926"/>
                    <a:gd name="connsiteX9" fmla="*/ 451087 w 515902"/>
                    <a:gd name="connsiteY9" fmla="*/ 157659 h 454926"/>
                    <a:gd name="connsiteX10" fmla="*/ 514587 w 515902"/>
                    <a:gd name="connsiteY10" fmla="*/ 227509 h 454926"/>
                    <a:gd name="connsiteX11" fmla="*/ 511412 w 515902"/>
                    <a:gd name="connsiteY11" fmla="*/ 449759 h 454926"/>
                    <a:gd name="connsiteX12" fmla="*/ 9762 w 515902"/>
                    <a:gd name="connsiteY12" fmla="*/ 443409 h 454926"/>
                    <a:gd name="connsiteX0" fmla="*/ 9762 w 515902"/>
                    <a:gd name="connsiteY0" fmla="*/ 443409 h 454926"/>
                    <a:gd name="connsiteX1" fmla="*/ 6587 w 515902"/>
                    <a:gd name="connsiteY1" fmla="*/ 217984 h 454926"/>
                    <a:gd name="connsiteX2" fmla="*/ 76437 w 515902"/>
                    <a:gd name="connsiteY2" fmla="*/ 154484 h 454926"/>
                    <a:gd name="connsiteX3" fmla="*/ 178037 w 515902"/>
                    <a:gd name="connsiteY3" fmla="*/ 148134 h 454926"/>
                    <a:gd name="connsiteX4" fmla="*/ 193912 w 515902"/>
                    <a:gd name="connsiteY4" fmla="*/ 90984 h 454926"/>
                    <a:gd name="connsiteX5" fmla="*/ 206612 w 515902"/>
                    <a:gd name="connsiteY5" fmla="*/ 11609 h 454926"/>
                    <a:gd name="connsiteX6" fmla="*/ 317737 w 515902"/>
                    <a:gd name="connsiteY6" fmla="*/ 8434 h 454926"/>
                    <a:gd name="connsiteX7" fmla="*/ 317737 w 515902"/>
                    <a:gd name="connsiteY7" fmla="*/ 87809 h 454926"/>
                    <a:gd name="connsiteX8" fmla="*/ 339962 w 515902"/>
                    <a:gd name="connsiteY8" fmla="*/ 135434 h 454926"/>
                    <a:gd name="connsiteX9" fmla="*/ 451087 w 515902"/>
                    <a:gd name="connsiteY9" fmla="*/ 157659 h 454926"/>
                    <a:gd name="connsiteX10" fmla="*/ 514587 w 515902"/>
                    <a:gd name="connsiteY10" fmla="*/ 227509 h 454926"/>
                    <a:gd name="connsiteX11" fmla="*/ 511412 w 515902"/>
                    <a:gd name="connsiteY11" fmla="*/ 449759 h 454926"/>
                    <a:gd name="connsiteX12" fmla="*/ 9762 w 515902"/>
                    <a:gd name="connsiteY12" fmla="*/ 443409 h 454926"/>
                    <a:gd name="connsiteX0" fmla="*/ 9762 w 515902"/>
                    <a:gd name="connsiteY0" fmla="*/ 443409 h 454926"/>
                    <a:gd name="connsiteX1" fmla="*/ 6587 w 515902"/>
                    <a:gd name="connsiteY1" fmla="*/ 217984 h 454926"/>
                    <a:gd name="connsiteX2" fmla="*/ 76437 w 515902"/>
                    <a:gd name="connsiteY2" fmla="*/ 154484 h 454926"/>
                    <a:gd name="connsiteX3" fmla="*/ 193912 w 515902"/>
                    <a:gd name="connsiteY3" fmla="*/ 90984 h 454926"/>
                    <a:gd name="connsiteX4" fmla="*/ 206612 w 515902"/>
                    <a:gd name="connsiteY4" fmla="*/ 11609 h 454926"/>
                    <a:gd name="connsiteX5" fmla="*/ 317737 w 515902"/>
                    <a:gd name="connsiteY5" fmla="*/ 8434 h 454926"/>
                    <a:gd name="connsiteX6" fmla="*/ 317737 w 515902"/>
                    <a:gd name="connsiteY6" fmla="*/ 87809 h 454926"/>
                    <a:gd name="connsiteX7" fmla="*/ 339962 w 515902"/>
                    <a:gd name="connsiteY7" fmla="*/ 135434 h 454926"/>
                    <a:gd name="connsiteX8" fmla="*/ 451087 w 515902"/>
                    <a:gd name="connsiteY8" fmla="*/ 157659 h 454926"/>
                    <a:gd name="connsiteX9" fmla="*/ 514587 w 515902"/>
                    <a:gd name="connsiteY9" fmla="*/ 227509 h 454926"/>
                    <a:gd name="connsiteX10" fmla="*/ 511412 w 515902"/>
                    <a:gd name="connsiteY10" fmla="*/ 449759 h 454926"/>
                    <a:gd name="connsiteX11" fmla="*/ 9762 w 515902"/>
                    <a:gd name="connsiteY11" fmla="*/ 443409 h 454926"/>
                    <a:gd name="connsiteX0" fmla="*/ 9762 w 515902"/>
                    <a:gd name="connsiteY0" fmla="*/ 446099 h 457616"/>
                    <a:gd name="connsiteX1" fmla="*/ 6587 w 515902"/>
                    <a:gd name="connsiteY1" fmla="*/ 220674 h 457616"/>
                    <a:gd name="connsiteX2" fmla="*/ 76437 w 515902"/>
                    <a:gd name="connsiteY2" fmla="*/ 157174 h 457616"/>
                    <a:gd name="connsiteX3" fmla="*/ 190737 w 515902"/>
                    <a:gd name="connsiteY3" fmla="*/ 138124 h 457616"/>
                    <a:gd name="connsiteX4" fmla="*/ 206612 w 515902"/>
                    <a:gd name="connsiteY4" fmla="*/ 14299 h 457616"/>
                    <a:gd name="connsiteX5" fmla="*/ 317737 w 515902"/>
                    <a:gd name="connsiteY5" fmla="*/ 11124 h 457616"/>
                    <a:gd name="connsiteX6" fmla="*/ 317737 w 515902"/>
                    <a:gd name="connsiteY6" fmla="*/ 90499 h 457616"/>
                    <a:gd name="connsiteX7" fmla="*/ 339962 w 515902"/>
                    <a:gd name="connsiteY7" fmla="*/ 138124 h 457616"/>
                    <a:gd name="connsiteX8" fmla="*/ 451087 w 515902"/>
                    <a:gd name="connsiteY8" fmla="*/ 160349 h 457616"/>
                    <a:gd name="connsiteX9" fmla="*/ 514587 w 515902"/>
                    <a:gd name="connsiteY9" fmla="*/ 230199 h 457616"/>
                    <a:gd name="connsiteX10" fmla="*/ 511412 w 515902"/>
                    <a:gd name="connsiteY10" fmla="*/ 452449 h 457616"/>
                    <a:gd name="connsiteX11" fmla="*/ 9762 w 515902"/>
                    <a:gd name="connsiteY11" fmla="*/ 446099 h 457616"/>
                    <a:gd name="connsiteX0" fmla="*/ 9762 w 515902"/>
                    <a:gd name="connsiteY0" fmla="*/ 446099 h 457616"/>
                    <a:gd name="connsiteX1" fmla="*/ 6587 w 515902"/>
                    <a:gd name="connsiteY1" fmla="*/ 220674 h 457616"/>
                    <a:gd name="connsiteX2" fmla="*/ 76437 w 515902"/>
                    <a:gd name="connsiteY2" fmla="*/ 157174 h 457616"/>
                    <a:gd name="connsiteX3" fmla="*/ 190737 w 515902"/>
                    <a:gd name="connsiteY3" fmla="*/ 138124 h 457616"/>
                    <a:gd name="connsiteX4" fmla="*/ 206612 w 515902"/>
                    <a:gd name="connsiteY4" fmla="*/ 14299 h 457616"/>
                    <a:gd name="connsiteX5" fmla="*/ 317737 w 515902"/>
                    <a:gd name="connsiteY5" fmla="*/ 11124 h 457616"/>
                    <a:gd name="connsiteX6" fmla="*/ 317737 w 515902"/>
                    <a:gd name="connsiteY6" fmla="*/ 90499 h 457616"/>
                    <a:gd name="connsiteX7" fmla="*/ 451087 w 515902"/>
                    <a:gd name="connsiteY7" fmla="*/ 160349 h 457616"/>
                    <a:gd name="connsiteX8" fmla="*/ 514587 w 515902"/>
                    <a:gd name="connsiteY8" fmla="*/ 230199 h 457616"/>
                    <a:gd name="connsiteX9" fmla="*/ 511412 w 515902"/>
                    <a:gd name="connsiteY9" fmla="*/ 452449 h 457616"/>
                    <a:gd name="connsiteX10" fmla="*/ 9762 w 515902"/>
                    <a:gd name="connsiteY10" fmla="*/ 446099 h 457616"/>
                    <a:gd name="connsiteX0" fmla="*/ 9762 w 515902"/>
                    <a:gd name="connsiteY0" fmla="*/ 447482 h 458999"/>
                    <a:gd name="connsiteX1" fmla="*/ 6587 w 515902"/>
                    <a:gd name="connsiteY1" fmla="*/ 222057 h 458999"/>
                    <a:gd name="connsiteX2" fmla="*/ 76437 w 515902"/>
                    <a:gd name="connsiteY2" fmla="*/ 158557 h 458999"/>
                    <a:gd name="connsiteX3" fmla="*/ 190737 w 515902"/>
                    <a:gd name="connsiteY3" fmla="*/ 139507 h 458999"/>
                    <a:gd name="connsiteX4" fmla="*/ 206612 w 515902"/>
                    <a:gd name="connsiteY4" fmla="*/ 15682 h 458999"/>
                    <a:gd name="connsiteX5" fmla="*/ 317737 w 515902"/>
                    <a:gd name="connsiteY5" fmla="*/ 12507 h 458999"/>
                    <a:gd name="connsiteX6" fmla="*/ 330437 w 515902"/>
                    <a:gd name="connsiteY6" fmla="*/ 114107 h 458999"/>
                    <a:gd name="connsiteX7" fmla="*/ 451087 w 515902"/>
                    <a:gd name="connsiteY7" fmla="*/ 161732 h 458999"/>
                    <a:gd name="connsiteX8" fmla="*/ 514587 w 515902"/>
                    <a:gd name="connsiteY8" fmla="*/ 231582 h 458999"/>
                    <a:gd name="connsiteX9" fmla="*/ 511412 w 515902"/>
                    <a:gd name="connsiteY9" fmla="*/ 453832 h 458999"/>
                    <a:gd name="connsiteX10" fmla="*/ 9762 w 515902"/>
                    <a:gd name="connsiteY10" fmla="*/ 447482 h 458999"/>
                    <a:gd name="connsiteX0" fmla="*/ 9762 w 515902"/>
                    <a:gd name="connsiteY0" fmla="*/ 446348 h 457865"/>
                    <a:gd name="connsiteX1" fmla="*/ 6587 w 515902"/>
                    <a:gd name="connsiteY1" fmla="*/ 220923 h 457865"/>
                    <a:gd name="connsiteX2" fmla="*/ 76437 w 515902"/>
                    <a:gd name="connsiteY2" fmla="*/ 157423 h 457865"/>
                    <a:gd name="connsiteX3" fmla="*/ 200262 w 515902"/>
                    <a:gd name="connsiteY3" fmla="*/ 119323 h 457865"/>
                    <a:gd name="connsiteX4" fmla="*/ 206612 w 515902"/>
                    <a:gd name="connsiteY4" fmla="*/ 14548 h 457865"/>
                    <a:gd name="connsiteX5" fmla="*/ 317737 w 515902"/>
                    <a:gd name="connsiteY5" fmla="*/ 11373 h 457865"/>
                    <a:gd name="connsiteX6" fmla="*/ 330437 w 515902"/>
                    <a:gd name="connsiteY6" fmla="*/ 112973 h 457865"/>
                    <a:gd name="connsiteX7" fmla="*/ 451087 w 515902"/>
                    <a:gd name="connsiteY7" fmla="*/ 160598 h 457865"/>
                    <a:gd name="connsiteX8" fmla="*/ 514587 w 515902"/>
                    <a:gd name="connsiteY8" fmla="*/ 230448 h 457865"/>
                    <a:gd name="connsiteX9" fmla="*/ 511412 w 515902"/>
                    <a:gd name="connsiteY9" fmla="*/ 452698 h 457865"/>
                    <a:gd name="connsiteX10" fmla="*/ 9762 w 515902"/>
                    <a:gd name="connsiteY10" fmla="*/ 446348 h 457865"/>
                    <a:gd name="connsiteX0" fmla="*/ 9762 w 515902"/>
                    <a:gd name="connsiteY0" fmla="*/ 446681 h 458198"/>
                    <a:gd name="connsiteX1" fmla="*/ 6587 w 515902"/>
                    <a:gd name="connsiteY1" fmla="*/ 221256 h 458198"/>
                    <a:gd name="connsiteX2" fmla="*/ 76437 w 515902"/>
                    <a:gd name="connsiteY2" fmla="*/ 157756 h 458198"/>
                    <a:gd name="connsiteX3" fmla="*/ 200262 w 515902"/>
                    <a:gd name="connsiteY3" fmla="*/ 119656 h 458198"/>
                    <a:gd name="connsiteX4" fmla="*/ 206612 w 515902"/>
                    <a:gd name="connsiteY4" fmla="*/ 14881 h 458198"/>
                    <a:gd name="connsiteX5" fmla="*/ 317737 w 515902"/>
                    <a:gd name="connsiteY5" fmla="*/ 11706 h 458198"/>
                    <a:gd name="connsiteX6" fmla="*/ 311502 w 515902"/>
                    <a:gd name="connsiteY6" fmla="*/ 118302 h 458198"/>
                    <a:gd name="connsiteX7" fmla="*/ 451087 w 515902"/>
                    <a:gd name="connsiteY7" fmla="*/ 160931 h 458198"/>
                    <a:gd name="connsiteX8" fmla="*/ 514587 w 515902"/>
                    <a:gd name="connsiteY8" fmla="*/ 230781 h 458198"/>
                    <a:gd name="connsiteX9" fmla="*/ 511412 w 515902"/>
                    <a:gd name="connsiteY9" fmla="*/ 453031 h 458198"/>
                    <a:gd name="connsiteX10" fmla="*/ 9762 w 515902"/>
                    <a:gd name="connsiteY10" fmla="*/ 446681 h 458198"/>
                    <a:gd name="connsiteX0" fmla="*/ 9762 w 515902"/>
                    <a:gd name="connsiteY0" fmla="*/ 446681 h 458198"/>
                    <a:gd name="connsiteX1" fmla="*/ 6587 w 515902"/>
                    <a:gd name="connsiteY1" fmla="*/ 221256 h 458198"/>
                    <a:gd name="connsiteX2" fmla="*/ 76437 w 515902"/>
                    <a:gd name="connsiteY2" fmla="*/ 157756 h 458198"/>
                    <a:gd name="connsiteX3" fmla="*/ 200262 w 515902"/>
                    <a:gd name="connsiteY3" fmla="*/ 119656 h 458198"/>
                    <a:gd name="connsiteX4" fmla="*/ 206612 w 515902"/>
                    <a:gd name="connsiteY4" fmla="*/ 14881 h 458198"/>
                    <a:gd name="connsiteX5" fmla="*/ 301506 w 515902"/>
                    <a:gd name="connsiteY5" fmla="*/ 11706 h 458198"/>
                    <a:gd name="connsiteX6" fmla="*/ 311502 w 515902"/>
                    <a:gd name="connsiteY6" fmla="*/ 118302 h 458198"/>
                    <a:gd name="connsiteX7" fmla="*/ 451087 w 515902"/>
                    <a:gd name="connsiteY7" fmla="*/ 160931 h 458198"/>
                    <a:gd name="connsiteX8" fmla="*/ 514587 w 515902"/>
                    <a:gd name="connsiteY8" fmla="*/ 230781 h 458198"/>
                    <a:gd name="connsiteX9" fmla="*/ 511412 w 515902"/>
                    <a:gd name="connsiteY9" fmla="*/ 453031 h 458198"/>
                    <a:gd name="connsiteX10" fmla="*/ 9762 w 515902"/>
                    <a:gd name="connsiteY10" fmla="*/ 446681 h 458198"/>
                    <a:gd name="connsiteX0" fmla="*/ 9762 w 515902"/>
                    <a:gd name="connsiteY0" fmla="*/ 446681 h 458198"/>
                    <a:gd name="connsiteX1" fmla="*/ 6587 w 515902"/>
                    <a:gd name="connsiteY1" fmla="*/ 221256 h 458198"/>
                    <a:gd name="connsiteX2" fmla="*/ 76437 w 515902"/>
                    <a:gd name="connsiteY2" fmla="*/ 157756 h 458198"/>
                    <a:gd name="connsiteX3" fmla="*/ 200262 w 515902"/>
                    <a:gd name="connsiteY3" fmla="*/ 119656 h 458198"/>
                    <a:gd name="connsiteX4" fmla="*/ 206612 w 515902"/>
                    <a:gd name="connsiteY4" fmla="*/ 14881 h 458198"/>
                    <a:gd name="connsiteX5" fmla="*/ 301506 w 515902"/>
                    <a:gd name="connsiteY5" fmla="*/ 11706 h 458198"/>
                    <a:gd name="connsiteX6" fmla="*/ 311502 w 515902"/>
                    <a:gd name="connsiteY6" fmla="*/ 118302 h 458198"/>
                    <a:gd name="connsiteX7" fmla="*/ 442972 w 515902"/>
                    <a:gd name="connsiteY7" fmla="*/ 180912 h 458198"/>
                    <a:gd name="connsiteX8" fmla="*/ 514587 w 515902"/>
                    <a:gd name="connsiteY8" fmla="*/ 230781 h 458198"/>
                    <a:gd name="connsiteX9" fmla="*/ 511412 w 515902"/>
                    <a:gd name="connsiteY9" fmla="*/ 453031 h 458198"/>
                    <a:gd name="connsiteX10" fmla="*/ 9762 w 515902"/>
                    <a:gd name="connsiteY10" fmla="*/ 446681 h 458198"/>
                    <a:gd name="connsiteX0" fmla="*/ 9762 w 511905"/>
                    <a:gd name="connsiteY0" fmla="*/ 446681 h 458198"/>
                    <a:gd name="connsiteX1" fmla="*/ 6587 w 511905"/>
                    <a:gd name="connsiteY1" fmla="*/ 221256 h 458198"/>
                    <a:gd name="connsiteX2" fmla="*/ 76437 w 511905"/>
                    <a:gd name="connsiteY2" fmla="*/ 157756 h 458198"/>
                    <a:gd name="connsiteX3" fmla="*/ 200262 w 511905"/>
                    <a:gd name="connsiteY3" fmla="*/ 119656 h 458198"/>
                    <a:gd name="connsiteX4" fmla="*/ 206612 w 511905"/>
                    <a:gd name="connsiteY4" fmla="*/ 14881 h 458198"/>
                    <a:gd name="connsiteX5" fmla="*/ 301506 w 511905"/>
                    <a:gd name="connsiteY5" fmla="*/ 11706 h 458198"/>
                    <a:gd name="connsiteX6" fmla="*/ 311502 w 511905"/>
                    <a:gd name="connsiteY6" fmla="*/ 118302 h 458198"/>
                    <a:gd name="connsiteX7" fmla="*/ 442972 w 511905"/>
                    <a:gd name="connsiteY7" fmla="*/ 180912 h 458198"/>
                    <a:gd name="connsiteX8" fmla="*/ 498357 w 511905"/>
                    <a:gd name="connsiteY8" fmla="*/ 250762 h 458198"/>
                    <a:gd name="connsiteX9" fmla="*/ 511412 w 511905"/>
                    <a:gd name="connsiteY9" fmla="*/ 453031 h 458198"/>
                    <a:gd name="connsiteX10" fmla="*/ 9762 w 511905"/>
                    <a:gd name="connsiteY10" fmla="*/ 446681 h 458198"/>
                    <a:gd name="connsiteX0" fmla="*/ 9762 w 511905"/>
                    <a:gd name="connsiteY0" fmla="*/ 446681 h 458198"/>
                    <a:gd name="connsiteX1" fmla="*/ 6587 w 511905"/>
                    <a:gd name="connsiteY1" fmla="*/ 221256 h 458198"/>
                    <a:gd name="connsiteX2" fmla="*/ 76437 w 511905"/>
                    <a:gd name="connsiteY2" fmla="*/ 157756 h 458198"/>
                    <a:gd name="connsiteX3" fmla="*/ 200262 w 511905"/>
                    <a:gd name="connsiteY3" fmla="*/ 119656 h 458198"/>
                    <a:gd name="connsiteX4" fmla="*/ 206612 w 511905"/>
                    <a:gd name="connsiteY4" fmla="*/ 14881 h 458198"/>
                    <a:gd name="connsiteX5" fmla="*/ 301506 w 511905"/>
                    <a:gd name="connsiteY5" fmla="*/ 11706 h 458198"/>
                    <a:gd name="connsiteX6" fmla="*/ 311502 w 511905"/>
                    <a:gd name="connsiteY6" fmla="*/ 118302 h 458198"/>
                    <a:gd name="connsiteX7" fmla="*/ 437562 w 511905"/>
                    <a:gd name="connsiteY7" fmla="*/ 198396 h 458198"/>
                    <a:gd name="connsiteX8" fmla="*/ 498357 w 511905"/>
                    <a:gd name="connsiteY8" fmla="*/ 250762 h 458198"/>
                    <a:gd name="connsiteX9" fmla="*/ 511412 w 511905"/>
                    <a:gd name="connsiteY9" fmla="*/ 453031 h 458198"/>
                    <a:gd name="connsiteX10" fmla="*/ 9762 w 511905"/>
                    <a:gd name="connsiteY10" fmla="*/ 446681 h 458198"/>
                    <a:gd name="connsiteX0" fmla="*/ 9762 w 511905"/>
                    <a:gd name="connsiteY0" fmla="*/ 446681 h 458198"/>
                    <a:gd name="connsiteX1" fmla="*/ 6587 w 511905"/>
                    <a:gd name="connsiteY1" fmla="*/ 221256 h 458198"/>
                    <a:gd name="connsiteX2" fmla="*/ 76437 w 511905"/>
                    <a:gd name="connsiteY2" fmla="*/ 157756 h 458198"/>
                    <a:gd name="connsiteX3" fmla="*/ 200262 w 511905"/>
                    <a:gd name="connsiteY3" fmla="*/ 119656 h 458198"/>
                    <a:gd name="connsiteX4" fmla="*/ 206612 w 511905"/>
                    <a:gd name="connsiteY4" fmla="*/ 14881 h 458198"/>
                    <a:gd name="connsiteX5" fmla="*/ 301506 w 511905"/>
                    <a:gd name="connsiteY5" fmla="*/ 11706 h 458198"/>
                    <a:gd name="connsiteX6" fmla="*/ 311502 w 511905"/>
                    <a:gd name="connsiteY6" fmla="*/ 118302 h 458198"/>
                    <a:gd name="connsiteX7" fmla="*/ 451087 w 511905"/>
                    <a:gd name="connsiteY7" fmla="*/ 188406 h 458198"/>
                    <a:gd name="connsiteX8" fmla="*/ 498357 w 511905"/>
                    <a:gd name="connsiteY8" fmla="*/ 250762 h 458198"/>
                    <a:gd name="connsiteX9" fmla="*/ 511412 w 511905"/>
                    <a:gd name="connsiteY9" fmla="*/ 453031 h 458198"/>
                    <a:gd name="connsiteX10" fmla="*/ 9762 w 511905"/>
                    <a:gd name="connsiteY10" fmla="*/ 446681 h 458198"/>
                    <a:gd name="connsiteX0" fmla="*/ 9762 w 511905"/>
                    <a:gd name="connsiteY0" fmla="*/ 447695 h 459212"/>
                    <a:gd name="connsiteX1" fmla="*/ 6587 w 511905"/>
                    <a:gd name="connsiteY1" fmla="*/ 222270 h 459212"/>
                    <a:gd name="connsiteX2" fmla="*/ 76437 w 511905"/>
                    <a:gd name="connsiteY2" fmla="*/ 158770 h 459212"/>
                    <a:gd name="connsiteX3" fmla="*/ 200262 w 511905"/>
                    <a:gd name="connsiteY3" fmla="*/ 120670 h 459212"/>
                    <a:gd name="connsiteX4" fmla="*/ 206612 w 511905"/>
                    <a:gd name="connsiteY4" fmla="*/ 15895 h 459212"/>
                    <a:gd name="connsiteX5" fmla="*/ 301506 w 511905"/>
                    <a:gd name="connsiteY5" fmla="*/ 12720 h 459212"/>
                    <a:gd name="connsiteX6" fmla="*/ 311502 w 511905"/>
                    <a:gd name="connsiteY6" fmla="*/ 134302 h 459212"/>
                    <a:gd name="connsiteX7" fmla="*/ 451087 w 511905"/>
                    <a:gd name="connsiteY7" fmla="*/ 189420 h 459212"/>
                    <a:gd name="connsiteX8" fmla="*/ 498357 w 511905"/>
                    <a:gd name="connsiteY8" fmla="*/ 251776 h 459212"/>
                    <a:gd name="connsiteX9" fmla="*/ 511412 w 511905"/>
                    <a:gd name="connsiteY9" fmla="*/ 454045 h 459212"/>
                    <a:gd name="connsiteX10" fmla="*/ 9762 w 511905"/>
                    <a:gd name="connsiteY10" fmla="*/ 447695 h 459212"/>
                    <a:gd name="connsiteX0" fmla="*/ 4227 w 522600"/>
                    <a:gd name="connsiteY0" fmla="*/ 455188 h 463021"/>
                    <a:gd name="connsiteX1" fmla="*/ 17282 w 522600"/>
                    <a:gd name="connsiteY1" fmla="*/ 222270 h 463021"/>
                    <a:gd name="connsiteX2" fmla="*/ 87132 w 522600"/>
                    <a:gd name="connsiteY2" fmla="*/ 158770 h 463021"/>
                    <a:gd name="connsiteX3" fmla="*/ 210957 w 522600"/>
                    <a:gd name="connsiteY3" fmla="*/ 120670 h 463021"/>
                    <a:gd name="connsiteX4" fmla="*/ 217307 w 522600"/>
                    <a:gd name="connsiteY4" fmla="*/ 15895 h 463021"/>
                    <a:gd name="connsiteX5" fmla="*/ 312201 w 522600"/>
                    <a:gd name="connsiteY5" fmla="*/ 12720 h 463021"/>
                    <a:gd name="connsiteX6" fmla="*/ 322197 w 522600"/>
                    <a:gd name="connsiteY6" fmla="*/ 134302 h 463021"/>
                    <a:gd name="connsiteX7" fmla="*/ 461782 w 522600"/>
                    <a:gd name="connsiteY7" fmla="*/ 189420 h 463021"/>
                    <a:gd name="connsiteX8" fmla="*/ 509052 w 522600"/>
                    <a:gd name="connsiteY8" fmla="*/ 251776 h 463021"/>
                    <a:gd name="connsiteX9" fmla="*/ 522107 w 522600"/>
                    <a:gd name="connsiteY9" fmla="*/ 454045 h 463021"/>
                    <a:gd name="connsiteX10" fmla="*/ 4227 w 522600"/>
                    <a:gd name="connsiteY10" fmla="*/ 455188 h 463021"/>
                    <a:gd name="connsiteX0" fmla="*/ 4227 w 522600"/>
                    <a:gd name="connsiteY0" fmla="*/ 455188 h 457596"/>
                    <a:gd name="connsiteX1" fmla="*/ 17282 w 522600"/>
                    <a:gd name="connsiteY1" fmla="*/ 222270 h 457596"/>
                    <a:gd name="connsiteX2" fmla="*/ 87132 w 522600"/>
                    <a:gd name="connsiteY2" fmla="*/ 158770 h 457596"/>
                    <a:gd name="connsiteX3" fmla="*/ 210957 w 522600"/>
                    <a:gd name="connsiteY3" fmla="*/ 120670 h 457596"/>
                    <a:gd name="connsiteX4" fmla="*/ 217307 w 522600"/>
                    <a:gd name="connsiteY4" fmla="*/ 15895 h 457596"/>
                    <a:gd name="connsiteX5" fmla="*/ 312201 w 522600"/>
                    <a:gd name="connsiteY5" fmla="*/ 12720 h 457596"/>
                    <a:gd name="connsiteX6" fmla="*/ 322197 w 522600"/>
                    <a:gd name="connsiteY6" fmla="*/ 134302 h 457596"/>
                    <a:gd name="connsiteX7" fmla="*/ 461782 w 522600"/>
                    <a:gd name="connsiteY7" fmla="*/ 189420 h 457596"/>
                    <a:gd name="connsiteX8" fmla="*/ 509052 w 522600"/>
                    <a:gd name="connsiteY8" fmla="*/ 251776 h 457596"/>
                    <a:gd name="connsiteX9" fmla="*/ 522107 w 522600"/>
                    <a:gd name="connsiteY9" fmla="*/ 454045 h 457596"/>
                    <a:gd name="connsiteX10" fmla="*/ 4227 w 522600"/>
                    <a:gd name="connsiteY10" fmla="*/ 455188 h 457596"/>
                    <a:gd name="connsiteX0" fmla="*/ 12757 w 531130"/>
                    <a:gd name="connsiteY0" fmla="*/ 455188 h 457596"/>
                    <a:gd name="connsiteX1" fmla="*/ 6876 w 531130"/>
                    <a:gd name="connsiteY1" fmla="*/ 237256 h 457596"/>
                    <a:gd name="connsiteX2" fmla="*/ 95662 w 531130"/>
                    <a:gd name="connsiteY2" fmla="*/ 158770 h 457596"/>
                    <a:gd name="connsiteX3" fmla="*/ 219487 w 531130"/>
                    <a:gd name="connsiteY3" fmla="*/ 120670 h 457596"/>
                    <a:gd name="connsiteX4" fmla="*/ 225837 w 531130"/>
                    <a:gd name="connsiteY4" fmla="*/ 15895 h 457596"/>
                    <a:gd name="connsiteX5" fmla="*/ 320731 w 531130"/>
                    <a:gd name="connsiteY5" fmla="*/ 12720 h 457596"/>
                    <a:gd name="connsiteX6" fmla="*/ 330727 w 531130"/>
                    <a:gd name="connsiteY6" fmla="*/ 134302 h 457596"/>
                    <a:gd name="connsiteX7" fmla="*/ 470312 w 531130"/>
                    <a:gd name="connsiteY7" fmla="*/ 189420 h 457596"/>
                    <a:gd name="connsiteX8" fmla="*/ 517582 w 531130"/>
                    <a:gd name="connsiteY8" fmla="*/ 251776 h 457596"/>
                    <a:gd name="connsiteX9" fmla="*/ 530637 w 531130"/>
                    <a:gd name="connsiteY9" fmla="*/ 454045 h 457596"/>
                    <a:gd name="connsiteX10" fmla="*/ 12757 w 531130"/>
                    <a:gd name="connsiteY10" fmla="*/ 455188 h 457596"/>
                    <a:gd name="connsiteX0" fmla="*/ 7226 w 536419"/>
                    <a:gd name="connsiteY0" fmla="*/ 447695 h 456315"/>
                    <a:gd name="connsiteX1" fmla="*/ 12165 w 536419"/>
                    <a:gd name="connsiteY1" fmla="*/ 237256 h 456315"/>
                    <a:gd name="connsiteX2" fmla="*/ 100951 w 536419"/>
                    <a:gd name="connsiteY2" fmla="*/ 158770 h 456315"/>
                    <a:gd name="connsiteX3" fmla="*/ 224776 w 536419"/>
                    <a:gd name="connsiteY3" fmla="*/ 120670 h 456315"/>
                    <a:gd name="connsiteX4" fmla="*/ 231126 w 536419"/>
                    <a:gd name="connsiteY4" fmla="*/ 15895 h 456315"/>
                    <a:gd name="connsiteX5" fmla="*/ 326020 w 536419"/>
                    <a:gd name="connsiteY5" fmla="*/ 12720 h 456315"/>
                    <a:gd name="connsiteX6" fmla="*/ 336016 w 536419"/>
                    <a:gd name="connsiteY6" fmla="*/ 134302 h 456315"/>
                    <a:gd name="connsiteX7" fmla="*/ 475601 w 536419"/>
                    <a:gd name="connsiteY7" fmla="*/ 189420 h 456315"/>
                    <a:gd name="connsiteX8" fmla="*/ 522871 w 536419"/>
                    <a:gd name="connsiteY8" fmla="*/ 251776 h 456315"/>
                    <a:gd name="connsiteX9" fmla="*/ 535926 w 536419"/>
                    <a:gd name="connsiteY9" fmla="*/ 454045 h 456315"/>
                    <a:gd name="connsiteX10" fmla="*/ 7226 w 536419"/>
                    <a:gd name="connsiteY10" fmla="*/ 447695 h 456315"/>
                    <a:gd name="connsiteX0" fmla="*/ 7226 w 528834"/>
                    <a:gd name="connsiteY0" fmla="*/ 447695 h 456315"/>
                    <a:gd name="connsiteX1" fmla="*/ 12165 w 528834"/>
                    <a:gd name="connsiteY1" fmla="*/ 237256 h 456315"/>
                    <a:gd name="connsiteX2" fmla="*/ 100951 w 528834"/>
                    <a:gd name="connsiteY2" fmla="*/ 158770 h 456315"/>
                    <a:gd name="connsiteX3" fmla="*/ 224776 w 528834"/>
                    <a:gd name="connsiteY3" fmla="*/ 120670 h 456315"/>
                    <a:gd name="connsiteX4" fmla="*/ 231126 w 528834"/>
                    <a:gd name="connsiteY4" fmla="*/ 15895 h 456315"/>
                    <a:gd name="connsiteX5" fmla="*/ 326020 w 528834"/>
                    <a:gd name="connsiteY5" fmla="*/ 12720 h 456315"/>
                    <a:gd name="connsiteX6" fmla="*/ 336016 w 528834"/>
                    <a:gd name="connsiteY6" fmla="*/ 134302 h 456315"/>
                    <a:gd name="connsiteX7" fmla="*/ 475601 w 528834"/>
                    <a:gd name="connsiteY7" fmla="*/ 189420 h 456315"/>
                    <a:gd name="connsiteX8" fmla="*/ 522871 w 528834"/>
                    <a:gd name="connsiteY8" fmla="*/ 251776 h 456315"/>
                    <a:gd name="connsiteX9" fmla="*/ 527811 w 528834"/>
                    <a:gd name="connsiteY9" fmla="*/ 454045 h 456315"/>
                    <a:gd name="connsiteX10" fmla="*/ 7226 w 528834"/>
                    <a:gd name="connsiteY10" fmla="*/ 447695 h 456315"/>
                    <a:gd name="connsiteX0" fmla="*/ 7226 w 528834"/>
                    <a:gd name="connsiteY0" fmla="*/ 447695 h 456315"/>
                    <a:gd name="connsiteX1" fmla="*/ 12165 w 528834"/>
                    <a:gd name="connsiteY1" fmla="*/ 237256 h 456315"/>
                    <a:gd name="connsiteX2" fmla="*/ 100951 w 528834"/>
                    <a:gd name="connsiteY2" fmla="*/ 158770 h 456315"/>
                    <a:gd name="connsiteX3" fmla="*/ 224776 w 528834"/>
                    <a:gd name="connsiteY3" fmla="*/ 120670 h 456315"/>
                    <a:gd name="connsiteX4" fmla="*/ 231126 w 528834"/>
                    <a:gd name="connsiteY4" fmla="*/ 15895 h 456315"/>
                    <a:gd name="connsiteX5" fmla="*/ 326020 w 528834"/>
                    <a:gd name="connsiteY5" fmla="*/ 12720 h 456315"/>
                    <a:gd name="connsiteX6" fmla="*/ 336016 w 528834"/>
                    <a:gd name="connsiteY6" fmla="*/ 134302 h 456315"/>
                    <a:gd name="connsiteX7" fmla="*/ 462076 w 528834"/>
                    <a:gd name="connsiteY7" fmla="*/ 184425 h 456315"/>
                    <a:gd name="connsiteX8" fmla="*/ 522871 w 528834"/>
                    <a:gd name="connsiteY8" fmla="*/ 251776 h 456315"/>
                    <a:gd name="connsiteX9" fmla="*/ 527811 w 528834"/>
                    <a:gd name="connsiteY9" fmla="*/ 454045 h 456315"/>
                    <a:gd name="connsiteX10" fmla="*/ 7226 w 528834"/>
                    <a:gd name="connsiteY10" fmla="*/ 447695 h 456315"/>
                    <a:gd name="connsiteX0" fmla="*/ 8515 w 530123"/>
                    <a:gd name="connsiteY0" fmla="*/ 447695 h 456315"/>
                    <a:gd name="connsiteX1" fmla="*/ 10749 w 530123"/>
                    <a:gd name="connsiteY1" fmla="*/ 244749 h 456315"/>
                    <a:gd name="connsiteX2" fmla="*/ 102240 w 530123"/>
                    <a:gd name="connsiteY2" fmla="*/ 158770 h 456315"/>
                    <a:gd name="connsiteX3" fmla="*/ 226065 w 530123"/>
                    <a:gd name="connsiteY3" fmla="*/ 120670 h 456315"/>
                    <a:gd name="connsiteX4" fmla="*/ 232415 w 530123"/>
                    <a:gd name="connsiteY4" fmla="*/ 15895 h 456315"/>
                    <a:gd name="connsiteX5" fmla="*/ 327309 w 530123"/>
                    <a:gd name="connsiteY5" fmla="*/ 12720 h 456315"/>
                    <a:gd name="connsiteX6" fmla="*/ 337305 w 530123"/>
                    <a:gd name="connsiteY6" fmla="*/ 134302 h 456315"/>
                    <a:gd name="connsiteX7" fmla="*/ 463365 w 530123"/>
                    <a:gd name="connsiteY7" fmla="*/ 184425 h 456315"/>
                    <a:gd name="connsiteX8" fmla="*/ 524160 w 530123"/>
                    <a:gd name="connsiteY8" fmla="*/ 251776 h 456315"/>
                    <a:gd name="connsiteX9" fmla="*/ 529100 w 530123"/>
                    <a:gd name="connsiteY9" fmla="*/ 454045 h 456315"/>
                    <a:gd name="connsiteX10" fmla="*/ 8515 w 530123"/>
                    <a:gd name="connsiteY10" fmla="*/ 447695 h 456315"/>
                    <a:gd name="connsiteX0" fmla="*/ 7671 w 529279"/>
                    <a:gd name="connsiteY0" fmla="*/ 447695 h 456315"/>
                    <a:gd name="connsiteX1" fmla="*/ 9905 w 529279"/>
                    <a:gd name="connsiteY1" fmla="*/ 244749 h 456315"/>
                    <a:gd name="connsiteX2" fmla="*/ 87870 w 529279"/>
                    <a:gd name="connsiteY2" fmla="*/ 166263 h 456315"/>
                    <a:gd name="connsiteX3" fmla="*/ 225221 w 529279"/>
                    <a:gd name="connsiteY3" fmla="*/ 120670 h 456315"/>
                    <a:gd name="connsiteX4" fmla="*/ 231571 w 529279"/>
                    <a:gd name="connsiteY4" fmla="*/ 15895 h 456315"/>
                    <a:gd name="connsiteX5" fmla="*/ 326465 w 529279"/>
                    <a:gd name="connsiteY5" fmla="*/ 12720 h 456315"/>
                    <a:gd name="connsiteX6" fmla="*/ 336461 w 529279"/>
                    <a:gd name="connsiteY6" fmla="*/ 134302 h 456315"/>
                    <a:gd name="connsiteX7" fmla="*/ 462521 w 529279"/>
                    <a:gd name="connsiteY7" fmla="*/ 184425 h 456315"/>
                    <a:gd name="connsiteX8" fmla="*/ 523316 w 529279"/>
                    <a:gd name="connsiteY8" fmla="*/ 251776 h 456315"/>
                    <a:gd name="connsiteX9" fmla="*/ 528256 w 529279"/>
                    <a:gd name="connsiteY9" fmla="*/ 454045 h 456315"/>
                    <a:gd name="connsiteX10" fmla="*/ 7671 w 529279"/>
                    <a:gd name="connsiteY10" fmla="*/ 447695 h 456315"/>
                    <a:gd name="connsiteX0" fmla="*/ 7671 w 529279"/>
                    <a:gd name="connsiteY0" fmla="*/ 447558 h 456178"/>
                    <a:gd name="connsiteX1" fmla="*/ 9905 w 529279"/>
                    <a:gd name="connsiteY1" fmla="*/ 244612 h 456178"/>
                    <a:gd name="connsiteX2" fmla="*/ 87870 w 529279"/>
                    <a:gd name="connsiteY2" fmla="*/ 166126 h 456178"/>
                    <a:gd name="connsiteX3" fmla="*/ 206285 w 529279"/>
                    <a:gd name="connsiteY3" fmla="*/ 118035 h 456178"/>
                    <a:gd name="connsiteX4" fmla="*/ 231571 w 529279"/>
                    <a:gd name="connsiteY4" fmla="*/ 15758 h 456178"/>
                    <a:gd name="connsiteX5" fmla="*/ 326465 w 529279"/>
                    <a:gd name="connsiteY5" fmla="*/ 12583 h 456178"/>
                    <a:gd name="connsiteX6" fmla="*/ 336461 w 529279"/>
                    <a:gd name="connsiteY6" fmla="*/ 134165 h 456178"/>
                    <a:gd name="connsiteX7" fmla="*/ 462521 w 529279"/>
                    <a:gd name="connsiteY7" fmla="*/ 184288 h 456178"/>
                    <a:gd name="connsiteX8" fmla="*/ 523316 w 529279"/>
                    <a:gd name="connsiteY8" fmla="*/ 251639 h 456178"/>
                    <a:gd name="connsiteX9" fmla="*/ 528256 w 529279"/>
                    <a:gd name="connsiteY9" fmla="*/ 453908 h 456178"/>
                    <a:gd name="connsiteX10" fmla="*/ 7671 w 529279"/>
                    <a:gd name="connsiteY10" fmla="*/ 447558 h 456178"/>
                    <a:gd name="connsiteX0" fmla="*/ 14544 w 536152"/>
                    <a:gd name="connsiteY0" fmla="*/ 447558 h 456178"/>
                    <a:gd name="connsiteX1" fmla="*/ 5958 w 536152"/>
                    <a:gd name="connsiteY1" fmla="*/ 247109 h 456178"/>
                    <a:gd name="connsiteX2" fmla="*/ 94743 w 536152"/>
                    <a:gd name="connsiteY2" fmla="*/ 166126 h 456178"/>
                    <a:gd name="connsiteX3" fmla="*/ 213158 w 536152"/>
                    <a:gd name="connsiteY3" fmla="*/ 118035 h 456178"/>
                    <a:gd name="connsiteX4" fmla="*/ 238444 w 536152"/>
                    <a:gd name="connsiteY4" fmla="*/ 15758 h 456178"/>
                    <a:gd name="connsiteX5" fmla="*/ 333338 w 536152"/>
                    <a:gd name="connsiteY5" fmla="*/ 12583 h 456178"/>
                    <a:gd name="connsiteX6" fmla="*/ 343334 w 536152"/>
                    <a:gd name="connsiteY6" fmla="*/ 134165 h 456178"/>
                    <a:gd name="connsiteX7" fmla="*/ 469394 w 536152"/>
                    <a:gd name="connsiteY7" fmla="*/ 184288 h 456178"/>
                    <a:gd name="connsiteX8" fmla="*/ 530189 w 536152"/>
                    <a:gd name="connsiteY8" fmla="*/ 251639 h 456178"/>
                    <a:gd name="connsiteX9" fmla="*/ 535129 w 536152"/>
                    <a:gd name="connsiteY9" fmla="*/ 453908 h 456178"/>
                    <a:gd name="connsiteX10" fmla="*/ 14544 w 536152"/>
                    <a:gd name="connsiteY10" fmla="*/ 447558 h 456178"/>
                    <a:gd name="connsiteX0" fmla="*/ 7226 w 542359"/>
                    <a:gd name="connsiteY0" fmla="*/ 450055 h 456488"/>
                    <a:gd name="connsiteX1" fmla="*/ 12165 w 542359"/>
                    <a:gd name="connsiteY1" fmla="*/ 247109 h 456488"/>
                    <a:gd name="connsiteX2" fmla="*/ 100950 w 542359"/>
                    <a:gd name="connsiteY2" fmla="*/ 166126 h 456488"/>
                    <a:gd name="connsiteX3" fmla="*/ 219365 w 542359"/>
                    <a:gd name="connsiteY3" fmla="*/ 118035 h 456488"/>
                    <a:gd name="connsiteX4" fmla="*/ 244651 w 542359"/>
                    <a:gd name="connsiteY4" fmla="*/ 15758 h 456488"/>
                    <a:gd name="connsiteX5" fmla="*/ 339545 w 542359"/>
                    <a:gd name="connsiteY5" fmla="*/ 12583 h 456488"/>
                    <a:gd name="connsiteX6" fmla="*/ 349541 w 542359"/>
                    <a:gd name="connsiteY6" fmla="*/ 134165 h 456488"/>
                    <a:gd name="connsiteX7" fmla="*/ 475601 w 542359"/>
                    <a:gd name="connsiteY7" fmla="*/ 184288 h 456488"/>
                    <a:gd name="connsiteX8" fmla="*/ 536396 w 542359"/>
                    <a:gd name="connsiteY8" fmla="*/ 251639 h 456488"/>
                    <a:gd name="connsiteX9" fmla="*/ 541336 w 542359"/>
                    <a:gd name="connsiteY9" fmla="*/ 453908 h 456488"/>
                    <a:gd name="connsiteX10" fmla="*/ 7226 w 542359"/>
                    <a:gd name="connsiteY10" fmla="*/ 450055 h 456488"/>
                    <a:gd name="connsiteX0" fmla="*/ 7226 w 542359"/>
                    <a:gd name="connsiteY0" fmla="*/ 450055 h 456488"/>
                    <a:gd name="connsiteX1" fmla="*/ 12165 w 542359"/>
                    <a:gd name="connsiteY1" fmla="*/ 247109 h 456488"/>
                    <a:gd name="connsiteX2" fmla="*/ 100950 w 542359"/>
                    <a:gd name="connsiteY2" fmla="*/ 166126 h 456488"/>
                    <a:gd name="connsiteX3" fmla="*/ 219365 w 542359"/>
                    <a:gd name="connsiteY3" fmla="*/ 118035 h 456488"/>
                    <a:gd name="connsiteX4" fmla="*/ 244651 w 542359"/>
                    <a:gd name="connsiteY4" fmla="*/ 15758 h 456488"/>
                    <a:gd name="connsiteX5" fmla="*/ 331430 w 542359"/>
                    <a:gd name="connsiteY5" fmla="*/ 12583 h 456488"/>
                    <a:gd name="connsiteX6" fmla="*/ 349541 w 542359"/>
                    <a:gd name="connsiteY6" fmla="*/ 134165 h 456488"/>
                    <a:gd name="connsiteX7" fmla="*/ 475601 w 542359"/>
                    <a:gd name="connsiteY7" fmla="*/ 184288 h 456488"/>
                    <a:gd name="connsiteX8" fmla="*/ 536396 w 542359"/>
                    <a:gd name="connsiteY8" fmla="*/ 251639 h 456488"/>
                    <a:gd name="connsiteX9" fmla="*/ 541336 w 542359"/>
                    <a:gd name="connsiteY9" fmla="*/ 453908 h 456488"/>
                    <a:gd name="connsiteX10" fmla="*/ 7226 w 542359"/>
                    <a:gd name="connsiteY10" fmla="*/ 450055 h 456488"/>
                    <a:gd name="connsiteX0" fmla="*/ 7226 w 542359"/>
                    <a:gd name="connsiteY0" fmla="*/ 450055 h 456488"/>
                    <a:gd name="connsiteX1" fmla="*/ 12165 w 542359"/>
                    <a:gd name="connsiteY1" fmla="*/ 247109 h 456488"/>
                    <a:gd name="connsiteX2" fmla="*/ 100950 w 542359"/>
                    <a:gd name="connsiteY2" fmla="*/ 166126 h 456488"/>
                    <a:gd name="connsiteX3" fmla="*/ 219365 w 542359"/>
                    <a:gd name="connsiteY3" fmla="*/ 118035 h 456488"/>
                    <a:gd name="connsiteX4" fmla="*/ 244651 w 542359"/>
                    <a:gd name="connsiteY4" fmla="*/ 15758 h 456488"/>
                    <a:gd name="connsiteX5" fmla="*/ 331430 w 542359"/>
                    <a:gd name="connsiteY5" fmla="*/ 12583 h 456488"/>
                    <a:gd name="connsiteX6" fmla="*/ 349541 w 542359"/>
                    <a:gd name="connsiteY6" fmla="*/ 134165 h 456488"/>
                    <a:gd name="connsiteX7" fmla="*/ 483716 w 542359"/>
                    <a:gd name="connsiteY7" fmla="*/ 179293 h 456488"/>
                    <a:gd name="connsiteX8" fmla="*/ 536396 w 542359"/>
                    <a:gd name="connsiteY8" fmla="*/ 251639 h 456488"/>
                    <a:gd name="connsiteX9" fmla="*/ 541336 w 542359"/>
                    <a:gd name="connsiteY9" fmla="*/ 453908 h 456488"/>
                    <a:gd name="connsiteX10" fmla="*/ 7226 w 542359"/>
                    <a:gd name="connsiteY10" fmla="*/ 450055 h 456488"/>
                    <a:gd name="connsiteX0" fmla="*/ 6630 w 541763"/>
                    <a:gd name="connsiteY0" fmla="*/ 450055 h 456488"/>
                    <a:gd name="connsiteX1" fmla="*/ 11569 w 541763"/>
                    <a:gd name="connsiteY1" fmla="*/ 247109 h 456488"/>
                    <a:gd name="connsiteX2" fmla="*/ 89534 w 541763"/>
                    <a:gd name="connsiteY2" fmla="*/ 166126 h 456488"/>
                    <a:gd name="connsiteX3" fmla="*/ 218769 w 541763"/>
                    <a:gd name="connsiteY3" fmla="*/ 118035 h 456488"/>
                    <a:gd name="connsiteX4" fmla="*/ 244055 w 541763"/>
                    <a:gd name="connsiteY4" fmla="*/ 15758 h 456488"/>
                    <a:gd name="connsiteX5" fmla="*/ 330834 w 541763"/>
                    <a:gd name="connsiteY5" fmla="*/ 12583 h 456488"/>
                    <a:gd name="connsiteX6" fmla="*/ 348945 w 541763"/>
                    <a:gd name="connsiteY6" fmla="*/ 134165 h 456488"/>
                    <a:gd name="connsiteX7" fmla="*/ 483120 w 541763"/>
                    <a:gd name="connsiteY7" fmla="*/ 179293 h 456488"/>
                    <a:gd name="connsiteX8" fmla="*/ 535800 w 541763"/>
                    <a:gd name="connsiteY8" fmla="*/ 251639 h 456488"/>
                    <a:gd name="connsiteX9" fmla="*/ 540740 w 541763"/>
                    <a:gd name="connsiteY9" fmla="*/ 453908 h 456488"/>
                    <a:gd name="connsiteX10" fmla="*/ 6630 w 541763"/>
                    <a:gd name="connsiteY10" fmla="*/ 450055 h 456488"/>
                    <a:gd name="connsiteX0" fmla="*/ 4856 w 539989"/>
                    <a:gd name="connsiteY0" fmla="*/ 450055 h 456488"/>
                    <a:gd name="connsiteX1" fmla="*/ 15205 w 539989"/>
                    <a:gd name="connsiteY1" fmla="*/ 227128 h 456488"/>
                    <a:gd name="connsiteX2" fmla="*/ 87760 w 539989"/>
                    <a:gd name="connsiteY2" fmla="*/ 166126 h 456488"/>
                    <a:gd name="connsiteX3" fmla="*/ 216995 w 539989"/>
                    <a:gd name="connsiteY3" fmla="*/ 118035 h 456488"/>
                    <a:gd name="connsiteX4" fmla="*/ 242281 w 539989"/>
                    <a:gd name="connsiteY4" fmla="*/ 15758 h 456488"/>
                    <a:gd name="connsiteX5" fmla="*/ 329060 w 539989"/>
                    <a:gd name="connsiteY5" fmla="*/ 12583 h 456488"/>
                    <a:gd name="connsiteX6" fmla="*/ 347171 w 539989"/>
                    <a:gd name="connsiteY6" fmla="*/ 134165 h 456488"/>
                    <a:gd name="connsiteX7" fmla="*/ 481346 w 539989"/>
                    <a:gd name="connsiteY7" fmla="*/ 179293 h 456488"/>
                    <a:gd name="connsiteX8" fmla="*/ 534026 w 539989"/>
                    <a:gd name="connsiteY8" fmla="*/ 251639 h 456488"/>
                    <a:gd name="connsiteX9" fmla="*/ 538966 w 539989"/>
                    <a:gd name="connsiteY9" fmla="*/ 453908 h 456488"/>
                    <a:gd name="connsiteX10" fmla="*/ 4856 w 539989"/>
                    <a:gd name="connsiteY10" fmla="*/ 450055 h 4564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39989" h="456488">
                      <a:moveTo>
                        <a:pt x="4856" y="450055"/>
                      </a:moveTo>
                      <a:cubicBezTo>
                        <a:pt x="-5198" y="385497"/>
                        <a:pt x="1388" y="274449"/>
                        <a:pt x="15205" y="227128"/>
                      </a:cubicBezTo>
                      <a:cubicBezTo>
                        <a:pt x="29022" y="179807"/>
                        <a:pt x="54128" y="184308"/>
                        <a:pt x="87760" y="166126"/>
                      </a:cubicBezTo>
                      <a:cubicBezTo>
                        <a:pt x="121392" y="147944"/>
                        <a:pt x="191242" y="143096"/>
                        <a:pt x="216995" y="118035"/>
                      </a:cubicBezTo>
                      <a:cubicBezTo>
                        <a:pt x="242748" y="92974"/>
                        <a:pt x="223604" y="33333"/>
                        <a:pt x="242281" y="15758"/>
                      </a:cubicBezTo>
                      <a:cubicBezTo>
                        <a:pt x="260958" y="-1817"/>
                        <a:pt x="311578" y="-7151"/>
                        <a:pt x="329060" y="12583"/>
                      </a:cubicBezTo>
                      <a:cubicBezTo>
                        <a:pt x="346542" y="32317"/>
                        <a:pt x="321790" y="106380"/>
                        <a:pt x="347171" y="134165"/>
                      </a:cubicBezTo>
                      <a:cubicBezTo>
                        <a:pt x="372552" y="161950"/>
                        <a:pt x="450204" y="159714"/>
                        <a:pt x="481346" y="179293"/>
                      </a:cubicBezTo>
                      <a:cubicBezTo>
                        <a:pt x="512489" y="198872"/>
                        <a:pt x="523972" y="202956"/>
                        <a:pt x="534026" y="251639"/>
                      </a:cubicBezTo>
                      <a:cubicBezTo>
                        <a:pt x="537201" y="301381"/>
                        <a:pt x="542141" y="328496"/>
                        <a:pt x="538966" y="453908"/>
                      </a:cubicBezTo>
                      <a:cubicBezTo>
                        <a:pt x="307191" y="461845"/>
                        <a:pt x="250800" y="448827"/>
                        <a:pt x="4856" y="450055"/>
                      </a:cubicBezTo>
                      <a:close/>
                    </a:path>
                  </a:pathLst>
                </a:custGeom>
                <a:solidFill>
                  <a:schemeClr val="bg1"/>
                </a:solidFill>
                <a:ln w="57150">
                  <a:solidFill>
                    <a:schemeClr val="tx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178" name="Oval 177">
                  <a:extLst>
                    <a:ext uri="{FF2B5EF4-FFF2-40B4-BE49-F238E27FC236}">
                      <a16:creationId xmlns:a16="http://schemas.microsoft.com/office/drawing/2014/main" id="{1E0A545F-6AC3-6D46-87DF-4F492440EFED}"/>
                    </a:ext>
                  </a:extLst>
                </p:cNvPr>
                <p:cNvSpPr/>
                <p:nvPr/>
              </p:nvSpPr>
              <p:spPr>
                <a:xfrm>
                  <a:off x="1964431" y="3500843"/>
                  <a:ext cx="259337" cy="299858"/>
                </a:xfrm>
                <a:prstGeom prst="ellipse">
                  <a:avLst/>
                </a:prstGeom>
                <a:solidFill>
                  <a:schemeClr val="bg1"/>
                </a:solidFill>
                <a:ln w="57150">
                  <a:solidFill>
                    <a:schemeClr val="tx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grpSp>
        </p:grpSp>
        <p:grpSp>
          <p:nvGrpSpPr>
            <p:cNvPr id="169" name="Group 168">
              <a:extLst>
                <a:ext uri="{FF2B5EF4-FFF2-40B4-BE49-F238E27FC236}">
                  <a16:creationId xmlns:a16="http://schemas.microsoft.com/office/drawing/2014/main" id="{C4DCCE29-D4C6-D044-8965-0C4E5D5343A8}"/>
                </a:ext>
              </a:extLst>
            </p:cNvPr>
            <p:cNvGrpSpPr/>
            <p:nvPr/>
          </p:nvGrpSpPr>
          <p:grpSpPr>
            <a:xfrm>
              <a:off x="2495712" y="4589934"/>
              <a:ext cx="1256698" cy="510604"/>
              <a:chOff x="2495712" y="4589934"/>
              <a:chExt cx="1256698" cy="510604"/>
            </a:xfrm>
            <a:solidFill>
              <a:schemeClr val="tx1">
                <a:lumMod val="50000"/>
              </a:schemeClr>
            </a:solidFill>
          </p:grpSpPr>
          <p:sp>
            <p:nvSpPr>
              <p:cNvPr id="171" name="Rounded Rectangle 170">
                <a:extLst>
                  <a:ext uri="{FF2B5EF4-FFF2-40B4-BE49-F238E27FC236}">
                    <a16:creationId xmlns:a16="http://schemas.microsoft.com/office/drawing/2014/main" id="{2323F2BE-72BE-0B45-9CEA-3191E47CEE23}"/>
                  </a:ext>
                </a:extLst>
              </p:cNvPr>
              <p:cNvSpPr/>
              <p:nvPr/>
            </p:nvSpPr>
            <p:spPr>
              <a:xfrm>
                <a:off x="2495712" y="4589934"/>
                <a:ext cx="1256697" cy="251941"/>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172" name="Rectangle 171">
                <a:extLst>
                  <a:ext uri="{FF2B5EF4-FFF2-40B4-BE49-F238E27FC236}">
                    <a16:creationId xmlns:a16="http://schemas.microsoft.com/office/drawing/2014/main" id="{03E5C30D-4B90-7447-B105-D23C9D1BC109}"/>
                  </a:ext>
                </a:extLst>
              </p:cNvPr>
              <p:cNvSpPr/>
              <p:nvPr/>
            </p:nvSpPr>
            <p:spPr>
              <a:xfrm>
                <a:off x="2498725" y="4797790"/>
                <a:ext cx="1253685" cy="13315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173" name="Rectangle 172">
                <a:extLst>
                  <a:ext uri="{FF2B5EF4-FFF2-40B4-BE49-F238E27FC236}">
                    <a16:creationId xmlns:a16="http://schemas.microsoft.com/office/drawing/2014/main" id="{BDDE88E7-0127-9448-9CB5-AB8513FC330F}"/>
                  </a:ext>
                </a:extLst>
              </p:cNvPr>
              <p:cNvSpPr/>
              <p:nvPr/>
            </p:nvSpPr>
            <p:spPr>
              <a:xfrm>
                <a:off x="2546350" y="4923041"/>
                <a:ext cx="109152" cy="17749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174" name="Rectangle 173">
                <a:extLst>
                  <a:ext uri="{FF2B5EF4-FFF2-40B4-BE49-F238E27FC236}">
                    <a16:creationId xmlns:a16="http://schemas.microsoft.com/office/drawing/2014/main" id="{AFE9EBA2-F590-2848-91BA-44CED822A774}"/>
                  </a:ext>
                </a:extLst>
              </p:cNvPr>
              <p:cNvSpPr/>
              <p:nvPr/>
            </p:nvSpPr>
            <p:spPr>
              <a:xfrm>
                <a:off x="3610945" y="4923041"/>
                <a:ext cx="109152" cy="17749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grpSp>
        <p:sp>
          <p:nvSpPr>
            <p:cNvPr id="170" name="Trapezoid 169">
              <a:extLst>
                <a:ext uri="{FF2B5EF4-FFF2-40B4-BE49-F238E27FC236}">
                  <a16:creationId xmlns:a16="http://schemas.microsoft.com/office/drawing/2014/main" id="{7080186D-824F-2C4F-91E3-1938DB573768}"/>
                </a:ext>
              </a:extLst>
            </p:cNvPr>
            <p:cNvSpPr/>
            <p:nvPr/>
          </p:nvSpPr>
          <p:spPr>
            <a:xfrm>
              <a:off x="2655502" y="4181475"/>
              <a:ext cx="958850" cy="363303"/>
            </a:xfrm>
            <a:prstGeom prst="trapezoid">
              <a:avLst/>
            </a:prstGeom>
            <a:solidFill>
              <a:schemeClr val="tx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grpSp>
      <p:grpSp>
        <p:nvGrpSpPr>
          <p:cNvPr id="181" name="Group 180">
            <a:extLst>
              <a:ext uri="{FF2B5EF4-FFF2-40B4-BE49-F238E27FC236}">
                <a16:creationId xmlns:a16="http://schemas.microsoft.com/office/drawing/2014/main" id="{091031D9-3E52-A042-A18A-67A5E33E41CD}"/>
              </a:ext>
            </a:extLst>
          </p:cNvPr>
          <p:cNvGrpSpPr/>
          <p:nvPr/>
        </p:nvGrpSpPr>
        <p:grpSpPr>
          <a:xfrm>
            <a:off x="12885970" y="4281426"/>
            <a:ext cx="1025213" cy="1261037"/>
            <a:chOff x="2441771" y="3385414"/>
            <a:chExt cx="1325481" cy="1781019"/>
          </a:xfrm>
        </p:grpSpPr>
        <p:pic>
          <p:nvPicPr>
            <p:cNvPr id="182" name="Picture 181">
              <a:extLst>
                <a:ext uri="{FF2B5EF4-FFF2-40B4-BE49-F238E27FC236}">
                  <a16:creationId xmlns:a16="http://schemas.microsoft.com/office/drawing/2014/main" id="{D982985B-F262-A74C-B0BB-5DBF441B298E}"/>
                </a:ext>
              </a:extLst>
            </p:cNvPr>
            <p:cNvPicPr>
              <a:picLocks noChangeAspect="1"/>
            </p:cNvPicPr>
            <p:nvPr/>
          </p:nvPicPr>
          <p:blipFill rotWithShape="1">
            <a:blip r:embed="rId2"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a:xfrm>
              <a:off x="2441771" y="3385414"/>
              <a:ext cx="1325481" cy="1781019"/>
            </a:xfrm>
            <a:prstGeom prst="rect">
              <a:avLst/>
            </a:prstGeom>
          </p:spPr>
        </p:pic>
        <p:sp>
          <p:nvSpPr>
            <p:cNvPr id="183" name="Rounded Rectangle 182">
              <a:extLst>
                <a:ext uri="{FF2B5EF4-FFF2-40B4-BE49-F238E27FC236}">
                  <a16:creationId xmlns:a16="http://schemas.microsoft.com/office/drawing/2014/main" id="{D3085409-77CF-AB41-8FA1-40C2AF8AF298}"/>
                </a:ext>
              </a:extLst>
            </p:cNvPr>
            <p:cNvSpPr/>
            <p:nvPr/>
          </p:nvSpPr>
          <p:spPr>
            <a:xfrm>
              <a:off x="2655502" y="3670300"/>
              <a:ext cx="958850" cy="436656"/>
            </a:xfrm>
            <a:prstGeom prst="roundRect">
              <a:avLst/>
            </a:prstGeom>
            <a:solidFill>
              <a:schemeClr val="tx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grpSp>
          <p:nvGrpSpPr>
            <p:cNvPr id="184" name="Group 183">
              <a:extLst>
                <a:ext uri="{FF2B5EF4-FFF2-40B4-BE49-F238E27FC236}">
                  <a16:creationId xmlns:a16="http://schemas.microsoft.com/office/drawing/2014/main" id="{614AA259-2454-7040-B05C-81153FB0A2AB}"/>
                </a:ext>
              </a:extLst>
            </p:cNvPr>
            <p:cNvGrpSpPr/>
            <p:nvPr/>
          </p:nvGrpSpPr>
          <p:grpSpPr>
            <a:xfrm>
              <a:off x="2776471" y="3456093"/>
              <a:ext cx="748710" cy="1056883"/>
              <a:chOff x="1496718" y="3334932"/>
              <a:chExt cx="748710" cy="1056883"/>
            </a:xfrm>
          </p:grpSpPr>
          <p:grpSp>
            <p:nvGrpSpPr>
              <p:cNvPr id="191" name="Group 190">
                <a:extLst>
                  <a:ext uri="{FF2B5EF4-FFF2-40B4-BE49-F238E27FC236}">
                    <a16:creationId xmlns:a16="http://schemas.microsoft.com/office/drawing/2014/main" id="{18B7E823-8FB7-D64C-9A84-35B0ADBA3D6D}"/>
                  </a:ext>
                </a:extLst>
              </p:cNvPr>
              <p:cNvGrpSpPr/>
              <p:nvPr/>
            </p:nvGrpSpPr>
            <p:grpSpPr>
              <a:xfrm>
                <a:off x="1496718" y="3334932"/>
                <a:ext cx="748710" cy="1056883"/>
                <a:chOff x="1843570" y="3508300"/>
                <a:chExt cx="514980" cy="727982"/>
              </a:xfrm>
              <a:solidFill>
                <a:schemeClr val="bg1"/>
              </a:solidFill>
            </p:grpSpPr>
            <p:sp>
              <p:nvSpPr>
                <p:cNvPr id="195" name="Freeform 194">
                  <a:extLst>
                    <a:ext uri="{FF2B5EF4-FFF2-40B4-BE49-F238E27FC236}">
                      <a16:creationId xmlns:a16="http://schemas.microsoft.com/office/drawing/2014/main" id="{DD4AC02C-5D90-3043-810D-DC2064DA5519}"/>
                    </a:ext>
                  </a:extLst>
                </p:cNvPr>
                <p:cNvSpPr/>
                <p:nvPr/>
              </p:nvSpPr>
              <p:spPr>
                <a:xfrm>
                  <a:off x="1843570" y="3787509"/>
                  <a:ext cx="514980" cy="448773"/>
                </a:xfrm>
                <a:custGeom>
                  <a:avLst/>
                  <a:gdLst>
                    <a:gd name="connsiteX0" fmla="*/ 36807 w 576731"/>
                    <a:gd name="connsiteY0" fmla="*/ 449906 h 505924"/>
                    <a:gd name="connsiteX1" fmla="*/ 39982 w 576731"/>
                    <a:gd name="connsiteY1" fmla="*/ 214956 h 505924"/>
                    <a:gd name="connsiteX2" fmla="*/ 55857 w 576731"/>
                    <a:gd name="connsiteY2" fmla="*/ 176856 h 505924"/>
                    <a:gd name="connsiteX3" fmla="*/ 103482 w 576731"/>
                    <a:gd name="connsiteY3" fmla="*/ 160981 h 505924"/>
                    <a:gd name="connsiteX4" fmla="*/ 205082 w 576731"/>
                    <a:gd name="connsiteY4" fmla="*/ 154631 h 505924"/>
                    <a:gd name="connsiteX5" fmla="*/ 230482 w 576731"/>
                    <a:gd name="connsiteY5" fmla="*/ 151456 h 505924"/>
                    <a:gd name="connsiteX6" fmla="*/ 233657 w 576731"/>
                    <a:gd name="connsiteY6" fmla="*/ 18106 h 505924"/>
                    <a:gd name="connsiteX7" fmla="*/ 344782 w 576731"/>
                    <a:gd name="connsiteY7" fmla="*/ 14931 h 505924"/>
                    <a:gd name="connsiteX8" fmla="*/ 344782 w 576731"/>
                    <a:gd name="connsiteY8" fmla="*/ 145106 h 505924"/>
                    <a:gd name="connsiteX9" fmla="*/ 386057 w 576731"/>
                    <a:gd name="connsiteY9" fmla="*/ 151456 h 505924"/>
                    <a:gd name="connsiteX10" fmla="*/ 478132 w 576731"/>
                    <a:gd name="connsiteY10" fmla="*/ 164156 h 505924"/>
                    <a:gd name="connsiteX11" fmla="*/ 519407 w 576731"/>
                    <a:gd name="connsiteY11" fmla="*/ 189556 h 505924"/>
                    <a:gd name="connsiteX12" fmla="*/ 541632 w 576731"/>
                    <a:gd name="connsiteY12" fmla="*/ 234006 h 505924"/>
                    <a:gd name="connsiteX13" fmla="*/ 538457 w 576731"/>
                    <a:gd name="connsiteY13" fmla="*/ 488006 h 505924"/>
                    <a:gd name="connsiteX14" fmla="*/ 36807 w 576731"/>
                    <a:gd name="connsiteY14" fmla="*/ 449906 h 505924"/>
                    <a:gd name="connsiteX0" fmla="*/ 5769 w 545693"/>
                    <a:gd name="connsiteY0" fmla="*/ 449906 h 505924"/>
                    <a:gd name="connsiteX1" fmla="*/ 8944 w 545693"/>
                    <a:gd name="connsiteY1" fmla="*/ 214956 h 505924"/>
                    <a:gd name="connsiteX2" fmla="*/ 24819 w 545693"/>
                    <a:gd name="connsiteY2" fmla="*/ 176856 h 505924"/>
                    <a:gd name="connsiteX3" fmla="*/ 72444 w 545693"/>
                    <a:gd name="connsiteY3" fmla="*/ 160981 h 505924"/>
                    <a:gd name="connsiteX4" fmla="*/ 174044 w 545693"/>
                    <a:gd name="connsiteY4" fmla="*/ 154631 h 505924"/>
                    <a:gd name="connsiteX5" fmla="*/ 199444 w 545693"/>
                    <a:gd name="connsiteY5" fmla="*/ 151456 h 505924"/>
                    <a:gd name="connsiteX6" fmla="*/ 202619 w 545693"/>
                    <a:gd name="connsiteY6" fmla="*/ 18106 h 505924"/>
                    <a:gd name="connsiteX7" fmla="*/ 313744 w 545693"/>
                    <a:gd name="connsiteY7" fmla="*/ 14931 h 505924"/>
                    <a:gd name="connsiteX8" fmla="*/ 313744 w 545693"/>
                    <a:gd name="connsiteY8" fmla="*/ 145106 h 505924"/>
                    <a:gd name="connsiteX9" fmla="*/ 355019 w 545693"/>
                    <a:gd name="connsiteY9" fmla="*/ 151456 h 505924"/>
                    <a:gd name="connsiteX10" fmla="*/ 447094 w 545693"/>
                    <a:gd name="connsiteY10" fmla="*/ 164156 h 505924"/>
                    <a:gd name="connsiteX11" fmla="*/ 488369 w 545693"/>
                    <a:gd name="connsiteY11" fmla="*/ 189556 h 505924"/>
                    <a:gd name="connsiteX12" fmla="*/ 510594 w 545693"/>
                    <a:gd name="connsiteY12" fmla="*/ 234006 h 505924"/>
                    <a:gd name="connsiteX13" fmla="*/ 507419 w 545693"/>
                    <a:gd name="connsiteY13" fmla="*/ 488006 h 505924"/>
                    <a:gd name="connsiteX14" fmla="*/ 5769 w 545693"/>
                    <a:gd name="connsiteY14" fmla="*/ 449906 h 505924"/>
                    <a:gd name="connsiteX0" fmla="*/ 21286 w 561210"/>
                    <a:gd name="connsiteY0" fmla="*/ 449906 h 508025"/>
                    <a:gd name="connsiteX1" fmla="*/ 24461 w 561210"/>
                    <a:gd name="connsiteY1" fmla="*/ 214956 h 508025"/>
                    <a:gd name="connsiteX2" fmla="*/ 40336 w 561210"/>
                    <a:gd name="connsiteY2" fmla="*/ 176856 h 508025"/>
                    <a:gd name="connsiteX3" fmla="*/ 87961 w 561210"/>
                    <a:gd name="connsiteY3" fmla="*/ 160981 h 508025"/>
                    <a:gd name="connsiteX4" fmla="*/ 189561 w 561210"/>
                    <a:gd name="connsiteY4" fmla="*/ 154631 h 508025"/>
                    <a:gd name="connsiteX5" fmla="*/ 214961 w 561210"/>
                    <a:gd name="connsiteY5" fmla="*/ 151456 h 508025"/>
                    <a:gd name="connsiteX6" fmla="*/ 218136 w 561210"/>
                    <a:gd name="connsiteY6" fmla="*/ 18106 h 508025"/>
                    <a:gd name="connsiteX7" fmla="*/ 329261 w 561210"/>
                    <a:gd name="connsiteY7" fmla="*/ 14931 h 508025"/>
                    <a:gd name="connsiteX8" fmla="*/ 329261 w 561210"/>
                    <a:gd name="connsiteY8" fmla="*/ 145106 h 508025"/>
                    <a:gd name="connsiteX9" fmla="*/ 370536 w 561210"/>
                    <a:gd name="connsiteY9" fmla="*/ 151456 h 508025"/>
                    <a:gd name="connsiteX10" fmla="*/ 462611 w 561210"/>
                    <a:gd name="connsiteY10" fmla="*/ 164156 h 508025"/>
                    <a:gd name="connsiteX11" fmla="*/ 503886 w 561210"/>
                    <a:gd name="connsiteY11" fmla="*/ 189556 h 508025"/>
                    <a:gd name="connsiteX12" fmla="*/ 526111 w 561210"/>
                    <a:gd name="connsiteY12" fmla="*/ 234006 h 508025"/>
                    <a:gd name="connsiteX13" fmla="*/ 522936 w 561210"/>
                    <a:gd name="connsiteY13" fmla="*/ 488006 h 508025"/>
                    <a:gd name="connsiteX14" fmla="*/ 21286 w 561210"/>
                    <a:gd name="connsiteY14" fmla="*/ 449906 h 508025"/>
                    <a:gd name="connsiteX0" fmla="*/ 21286 w 561210"/>
                    <a:gd name="connsiteY0" fmla="*/ 449906 h 508025"/>
                    <a:gd name="connsiteX1" fmla="*/ 24461 w 561210"/>
                    <a:gd name="connsiteY1" fmla="*/ 214956 h 508025"/>
                    <a:gd name="connsiteX2" fmla="*/ 40336 w 561210"/>
                    <a:gd name="connsiteY2" fmla="*/ 176856 h 508025"/>
                    <a:gd name="connsiteX3" fmla="*/ 87961 w 561210"/>
                    <a:gd name="connsiteY3" fmla="*/ 160981 h 508025"/>
                    <a:gd name="connsiteX4" fmla="*/ 189561 w 561210"/>
                    <a:gd name="connsiteY4" fmla="*/ 154631 h 508025"/>
                    <a:gd name="connsiteX5" fmla="*/ 214961 w 561210"/>
                    <a:gd name="connsiteY5" fmla="*/ 151456 h 508025"/>
                    <a:gd name="connsiteX6" fmla="*/ 218136 w 561210"/>
                    <a:gd name="connsiteY6" fmla="*/ 18106 h 508025"/>
                    <a:gd name="connsiteX7" fmla="*/ 329261 w 561210"/>
                    <a:gd name="connsiteY7" fmla="*/ 14931 h 508025"/>
                    <a:gd name="connsiteX8" fmla="*/ 329261 w 561210"/>
                    <a:gd name="connsiteY8" fmla="*/ 145106 h 508025"/>
                    <a:gd name="connsiteX9" fmla="*/ 370536 w 561210"/>
                    <a:gd name="connsiteY9" fmla="*/ 151456 h 508025"/>
                    <a:gd name="connsiteX10" fmla="*/ 462611 w 561210"/>
                    <a:gd name="connsiteY10" fmla="*/ 164156 h 508025"/>
                    <a:gd name="connsiteX11" fmla="*/ 503886 w 561210"/>
                    <a:gd name="connsiteY11" fmla="*/ 189556 h 508025"/>
                    <a:gd name="connsiteX12" fmla="*/ 526111 w 561210"/>
                    <a:gd name="connsiteY12" fmla="*/ 234006 h 508025"/>
                    <a:gd name="connsiteX13" fmla="*/ 522936 w 561210"/>
                    <a:gd name="connsiteY13" fmla="*/ 488006 h 508025"/>
                    <a:gd name="connsiteX14" fmla="*/ 21286 w 561210"/>
                    <a:gd name="connsiteY14" fmla="*/ 449906 h 508025"/>
                    <a:gd name="connsiteX0" fmla="*/ 4360 w 544284"/>
                    <a:gd name="connsiteY0" fmla="*/ 449906 h 508025"/>
                    <a:gd name="connsiteX1" fmla="*/ 7535 w 544284"/>
                    <a:gd name="connsiteY1" fmla="*/ 214956 h 508025"/>
                    <a:gd name="connsiteX2" fmla="*/ 23410 w 544284"/>
                    <a:gd name="connsiteY2" fmla="*/ 176856 h 508025"/>
                    <a:gd name="connsiteX3" fmla="*/ 71035 w 544284"/>
                    <a:gd name="connsiteY3" fmla="*/ 160981 h 508025"/>
                    <a:gd name="connsiteX4" fmla="*/ 172635 w 544284"/>
                    <a:gd name="connsiteY4" fmla="*/ 154631 h 508025"/>
                    <a:gd name="connsiteX5" fmla="*/ 198035 w 544284"/>
                    <a:gd name="connsiteY5" fmla="*/ 151456 h 508025"/>
                    <a:gd name="connsiteX6" fmla="*/ 201210 w 544284"/>
                    <a:gd name="connsiteY6" fmla="*/ 18106 h 508025"/>
                    <a:gd name="connsiteX7" fmla="*/ 312335 w 544284"/>
                    <a:gd name="connsiteY7" fmla="*/ 14931 h 508025"/>
                    <a:gd name="connsiteX8" fmla="*/ 312335 w 544284"/>
                    <a:gd name="connsiteY8" fmla="*/ 145106 h 508025"/>
                    <a:gd name="connsiteX9" fmla="*/ 353610 w 544284"/>
                    <a:gd name="connsiteY9" fmla="*/ 151456 h 508025"/>
                    <a:gd name="connsiteX10" fmla="*/ 445685 w 544284"/>
                    <a:gd name="connsiteY10" fmla="*/ 164156 h 508025"/>
                    <a:gd name="connsiteX11" fmla="*/ 486960 w 544284"/>
                    <a:gd name="connsiteY11" fmla="*/ 189556 h 508025"/>
                    <a:gd name="connsiteX12" fmla="*/ 509185 w 544284"/>
                    <a:gd name="connsiteY12" fmla="*/ 234006 h 508025"/>
                    <a:gd name="connsiteX13" fmla="*/ 506010 w 544284"/>
                    <a:gd name="connsiteY13" fmla="*/ 488006 h 508025"/>
                    <a:gd name="connsiteX14" fmla="*/ 4360 w 544284"/>
                    <a:gd name="connsiteY14" fmla="*/ 449906 h 508025"/>
                    <a:gd name="connsiteX0" fmla="*/ 4360 w 544284"/>
                    <a:gd name="connsiteY0" fmla="*/ 449906 h 500804"/>
                    <a:gd name="connsiteX1" fmla="*/ 7535 w 544284"/>
                    <a:gd name="connsiteY1" fmla="*/ 214956 h 500804"/>
                    <a:gd name="connsiteX2" fmla="*/ 23410 w 544284"/>
                    <a:gd name="connsiteY2" fmla="*/ 176856 h 500804"/>
                    <a:gd name="connsiteX3" fmla="*/ 71035 w 544284"/>
                    <a:gd name="connsiteY3" fmla="*/ 160981 h 500804"/>
                    <a:gd name="connsiteX4" fmla="*/ 172635 w 544284"/>
                    <a:gd name="connsiteY4" fmla="*/ 154631 h 500804"/>
                    <a:gd name="connsiteX5" fmla="*/ 198035 w 544284"/>
                    <a:gd name="connsiteY5" fmla="*/ 151456 h 500804"/>
                    <a:gd name="connsiteX6" fmla="*/ 201210 w 544284"/>
                    <a:gd name="connsiteY6" fmla="*/ 18106 h 500804"/>
                    <a:gd name="connsiteX7" fmla="*/ 312335 w 544284"/>
                    <a:gd name="connsiteY7" fmla="*/ 14931 h 500804"/>
                    <a:gd name="connsiteX8" fmla="*/ 312335 w 544284"/>
                    <a:gd name="connsiteY8" fmla="*/ 145106 h 500804"/>
                    <a:gd name="connsiteX9" fmla="*/ 353610 w 544284"/>
                    <a:gd name="connsiteY9" fmla="*/ 151456 h 500804"/>
                    <a:gd name="connsiteX10" fmla="*/ 445685 w 544284"/>
                    <a:gd name="connsiteY10" fmla="*/ 164156 h 500804"/>
                    <a:gd name="connsiteX11" fmla="*/ 486960 w 544284"/>
                    <a:gd name="connsiteY11" fmla="*/ 189556 h 500804"/>
                    <a:gd name="connsiteX12" fmla="*/ 509185 w 544284"/>
                    <a:gd name="connsiteY12" fmla="*/ 234006 h 500804"/>
                    <a:gd name="connsiteX13" fmla="*/ 506010 w 544284"/>
                    <a:gd name="connsiteY13" fmla="*/ 488006 h 500804"/>
                    <a:gd name="connsiteX14" fmla="*/ 4360 w 544284"/>
                    <a:gd name="connsiteY14" fmla="*/ 449906 h 500804"/>
                    <a:gd name="connsiteX0" fmla="*/ 4360 w 544284"/>
                    <a:gd name="connsiteY0" fmla="*/ 449906 h 500804"/>
                    <a:gd name="connsiteX1" fmla="*/ 7535 w 544284"/>
                    <a:gd name="connsiteY1" fmla="*/ 214956 h 500804"/>
                    <a:gd name="connsiteX2" fmla="*/ 23410 w 544284"/>
                    <a:gd name="connsiteY2" fmla="*/ 176856 h 500804"/>
                    <a:gd name="connsiteX3" fmla="*/ 71035 w 544284"/>
                    <a:gd name="connsiteY3" fmla="*/ 160981 h 500804"/>
                    <a:gd name="connsiteX4" fmla="*/ 172635 w 544284"/>
                    <a:gd name="connsiteY4" fmla="*/ 154631 h 500804"/>
                    <a:gd name="connsiteX5" fmla="*/ 198035 w 544284"/>
                    <a:gd name="connsiteY5" fmla="*/ 151456 h 500804"/>
                    <a:gd name="connsiteX6" fmla="*/ 201210 w 544284"/>
                    <a:gd name="connsiteY6" fmla="*/ 18106 h 500804"/>
                    <a:gd name="connsiteX7" fmla="*/ 312335 w 544284"/>
                    <a:gd name="connsiteY7" fmla="*/ 14931 h 500804"/>
                    <a:gd name="connsiteX8" fmla="*/ 312335 w 544284"/>
                    <a:gd name="connsiteY8" fmla="*/ 145106 h 500804"/>
                    <a:gd name="connsiteX9" fmla="*/ 353610 w 544284"/>
                    <a:gd name="connsiteY9" fmla="*/ 151456 h 500804"/>
                    <a:gd name="connsiteX10" fmla="*/ 445685 w 544284"/>
                    <a:gd name="connsiteY10" fmla="*/ 164156 h 500804"/>
                    <a:gd name="connsiteX11" fmla="*/ 486960 w 544284"/>
                    <a:gd name="connsiteY11" fmla="*/ 189556 h 500804"/>
                    <a:gd name="connsiteX12" fmla="*/ 509185 w 544284"/>
                    <a:gd name="connsiteY12" fmla="*/ 234006 h 500804"/>
                    <a:gd name="connsiteX13" fmla="*/ 506010 w 544284"/>
                    <a:gd name="connsiteY13" fmla="*/ 488006 h 500804"/>
                    <a:gd name="connsiteX14" fmla="*/ 4360 w 544284"/>
                    <a:gd name="connsiteY14" fmla="*/ 449906 h 500804"/>
                    <a:gd name="connsiteX0" fmla="*/ 4360 w 519024"/>
                    <a:gd name="connsiteY0" fmla="*/ 449906 h 500804"/>
                    <a:gd name="connsiteX1" fmla="*/ 7535 w 519024"/>
                    <a:gd name="connsiteY1" fmla="*/ 214956 h 500804"/>
                    <a:gd name="connsiteX2" fmla="*/ 23410 w 519024"/>
                    <a:gd name="connsiteY2" fmla="*/ 176856 h 500804"/>
                    <a:gd name="connsiteX3" fmla="*/ 71035 w 519024"/>
                    <a:gd name="connsiteY3" fmla="*/ 160981 h 500804"/>
                    <a:gd name="connsiteX4" fmla="*/ 172635 w 519024"/>
                    <a:gd name="connsiteY4" fmla="*/ 154631 h 500804"/>
                    <a:gd name="connsiteX5" fmla="*/ 198035 w 519024"/>
                    <a:gd name="connsiteY5" fmla="*/ 151456 h 500804"/>
                    <a:gd name="connsiteX6" fmla="*/ 201210 w 519024"/>
                    <a:gd name="connsiteY6" fmla="*/ 18106 h 500804"/>
                    <a:gd name="connsiteX7" fmla="*/ 312335 w 519024"/>
                    <a:gd name="connsiteY7" fmla="*/ 14931 h 500804"/>
                    <a:gd name="connsiteX8" fmla="*/ 312335 w 519024"/>
                    <a:gd name="connsiteY8" fmla="*/ 145106 h 500804"/>
                    <a:gd name="connsiteX9" fmla="*/ 353610 w 519024"/>
                    <a:gd name="connsiteY9" fmla="*/ 151456 h 500804"/>
                    <a:gd name="connsiteX10" fmla="*/ 445685 w 519024"/>
                    <a:gd name="connsiteY10" fmla="*/ 164156 h 500804"/>
                    <a:gd name="connsiteX11" fmla="*/ 486960 w 519024"/>
                    <a:gd name="connsiteY11" fmla="*/ 189556 h 500804"/>
                    <a:gd name="connsiteX12" fmla="*/ 509185 w 519024"/>
                    <a:gd name="connsiteY12" fmla="*/ 234006 h 500804"/>
                    <a:gd name="connsiteX13" fmla="*/ 506010 w 519024"/>
                    <a:gd name="connsiteY13" fmla="*/ 488006 h 500804"/>
                    <a:gd name="connsiteX14" fmla="*/ 4360 w 519024"/>
                    <a:gd name="connsiteY14" fmla="*/ 449906 h 500804"/>
                    <a:gd name="connsiteX0" fmla="*/ 4360 w 519024"/>
                    <a:gd name="connsiteY0" fmla="*/ 449906 h 488006"/>
                    <a:gd name="connsiteX1" fmla="*/ 7535 w 519024"/>
                    <a:gd name="connsiteY1" fmla="*/ 214956 h 488006"/>
                    <a:gd name="connsiteX2" fmla="*/ 23410 w 519024"/>
                    <a:gd name="connsiteY2" fmla="*/ 176856 h 488006"/>
                    <a:gd name="connsiteX3" fmla="*/ 71035 w 519024"/>
                    <a:gd name="connsiteY3" fmla="*/ 160981 h 488006"/>
                    <a:gd name="connsiteX4" fmla="*/ 172635 w 519024"/>
                    <a:gd name="connsiteY4" fmla="*/ 154631 h 488006"/>
                    <a:gd name="connsiteX5" fmla="*/ 198035 w 519024"/>
                    <a:gd name="connsiteY5" fmla="*/ 151456 h 488006"/>
                    <a:gd name="connsiteX6" fmla="*/ 201210 w 519024"/>
                    <a:gd name="connsiteY6" fmla="*/ 18106 h 488006"/>
                    <a:gd name="connsiteX7" fmla="*/ 312335 w 519024"/>
                    <a:gd name="connsiteY7" fmla="*/ 14931 h 488006"/>
                    <a:gd name="connsiteX8" fmla="*/ 312335 w 519024"/>
                    <a:gd name="connsiteY8" fmla="*/ 145106 h 488006"/>
                    <a:gd name="connsiteX9" fmla="*/ 353610 w 519024"/>
                    <a:gd name="connsiteY9" fmla="*/ 151456 h 488006"/>
                    <a:gd name="connsiteX10" fmla="*/ 445685 w 519024"/>
                    <a:gd name="connsiteY10" fmla="*/ 164156 h 488006"/>
                    <a:gd name="connsiteX11" fmla="*/ 486960 w 519024"/>
                    <a:gd name="connsiteY11" fmla="*/ 189556 h 488006"/>
                    <a:gd name="connsiteX12" fmla="*/ 509185 w 519024"/>
                    <a:gd name="connsiteY12" fmla="*/ 234006 h 488006"/>
                    <a:gd name="connsiteX13" fmla="*/ 506010 w 519024"/>
                    <a:gd name="connsiteY13" fmla="*/ 488006 h 488006"/>
                    <a:gd name="connsiteX14" fmla="*/ 4360 w 519024"/>
                    <a:gd name="connsiteY14" fmla="*/ 449906 h 488006"/>
                    <a:gd name="connsiteX0" fmla="*/ 4360 w 523534"/>
                    <a:gd name="connsiteY0" fmla="*/ 449906 h 472131"/>
                    <a:gd name="connsiteX1" fmla="*/ 7535 w 523534"/>
                    <a:gd name="connsiteY1" fmla="*/ 214956 h 472131"/>
                    <a:gd name="connsiteX2" fmla="*/ 23410 w 523534"/>
                    <a:gd name="connsiteY2" fmla="*/ 176856 h 472131"/>
                    <a:gd name="connsiteX3" fmla="*/ 71035 w 523534"/>
                    <a:gd name="connsiteY3" fmla="*/ 160981 h 472131"/>
                    <a:gd name="connsiteX4" fmla="*/ 172635 w 523534"/>
                    <a:gd name="connsiteY4" fmla="*/ 154631 h 472131"/>
                    <a:gd name="connsiteX5" fmla="*/ 198035 w 523534"/>
                    <a:gd name="connsiteY5" fmla="*/ 151456 h 472131"/>
                    <a:gd name="connsiteX6" fmla="*/ 201210 w 523534"/>
                    <a:gd name="connsiteY6" fmla="*/ 18106 h 472131"/>
                    <a:gd name="connsiteX7" fmla="*/ 312335 w 523534"/>
                    <a:gd name="connsiteY7" fmla="*/ 14931 h 472131"/>
                    <a:gd name="connsiteX8" fmla="*/ 312335 w 523534"/>
                    <a:gd name="connsiteY8" fmla="*/ 145106 h 472131"/>
                    <a:gd name="connsiteX9" fmla="*/ 353610 w 523534"/>
                    <a:gd name="connsiteY9" fmla="*/ 151456 h 472131"/>
                    <a:gd name="connsiteX10" fmla="*/ 445685 w 523534"/>
                    <a:gd name="connsiteY10" fmla="*/ 164156 h 472131"/>
                    <a:gd name="connsiteX11" fmla="*/ 486960 w 523534"/>
                    <a:gd name="connsiteY11" fmla="*/ 189556 h 472131"/>
                    <a:gd name="connsiteX12" fmla="*/ 509185 w 523534"/>
                    <a:gd name="connsiteY12" fmla="*/ 234006 h 472131"/>
                    <a:gd name="connsiteX13" fmla="*/ 512360 w 523534"/>
                    <a:gd name="connsiteY13" fmla="*/ 472131 h 472131"/>
                    <a:gd name="connsiteX14" fmla="*/ 4360 w 523534"/>
                    <a:gd name="connsiteY14" fmla="*/ 449906 h 472131"/>
                    <a:gd name="connsiteX0" fmla="*/ 4360 w 513675"/>
                    <a:gd name="connsiteY0" fmla="*/ 449906 h 472131"/>
                    <a:gd name="connsiteX1" fmla="*/ 7535 w 513675"/>
                    <a:gd name="connsiteY1" fmla="*/ 214956 h 472131"/>
                    <a:gd name="connsiteX2" fmla="*/ 23410 w 513675"/>
                    <a:gd name="connsiteY2" fmla="*/ 176856 h 472131"/>
                    <a:gd name="connsiteX3" fmla="*/ 71035 w 513675"/>
                    <a:gd name="connsiteY3" fmla="*/ 160981 h 472131"/>
                    <a:gd name="connsiteX4" fmla="*/ 172635 w 513675"/>
                    <a:gd name="connsiteY4" fmla="*/ 154631 h 472131"/>
                    <a:gd name="connsiteX5" fmla="*/ 198035 w 513675"/>
                    <a:gd name="connsiteY5" fmla="*/ 151456 h 472131"/>
                    <a:gd name="connsiteX6" fmla="*/ 201210 w 513675"/>
                    <a:gd name="connsiteY6" fmla="*/ 18106 h 472131"/>
                    <a:gd name="connsiteX7" fmla="*/ 312335 w 513675"/>
                    <a:gd name="connsiteY7" fmla="*/ 14931 h 472131"/>
                    <a:gd name="connsiteX8" fmla="*/ 312335 w 513675"/>
                    <a:gd name="connsiteY8" fmla="*/ 145106 h 472131"/>
                    <a:gd name="connsiteX9" fmla="*/ 353610 w 513675"/>
                    <a:gd name="connsiteY9" fmla="*/ 151456 h 472131"/>
                    <a:gd name="connsiteX10" fmla="*/ 445685 w 513675"/>
                    <a:gd name="connsiteY10" fmla="*/ 164156 h 472131"/>
                    <a:gd name="connsiteX11" fmla="*/ 486960 w 513675"/>
                    <a:gd name="connsiteY11" fmla="*/ 189556 h 472131"/>
                    <a:gd name="connsiteX12" fmla="*/ 509185 w 513675"/>
                    <a:gd name="connsiteY12" fmla="*/ 234006 h 472131"/>
                    <a:gd name="connsiteX13" fmla="*/ 512360 w 513675"/>
                    <a:gd name="connsiteY13" fmla="*/ 472131 h 472131"/>
                    <a:gd name="connsiteX14" fmla="*/ 4360 w 513675"/>
                    <a:gd name="connsiteY14" fmla="*/ 449906 h 472131"/>
                    <a:gd name="connsiteX0" fmla="*/ 4360 w 513675"/>
                    <a:gd name="connsiteY0" fmla="*/ 446969 h 469194"/>
                    <a:gd name="connsiteX1" fmla="*/ 7535 w 513675"/>
                    <a:gd name="connsiteY1" fmla="*/ 212019 h 469194"/>
                    <a:gd name="connsiteX2" fmla="*/ 23410 w 513675"/>
                    <a:gd name="connsiteY2" fmla="*/ 173919 h 469194"/>
                    <a:gd name="connsiteX3" fmla="*/ 71035 w 513675"/>
                    <a:gd name="connsiteY3" fmla="*/ 158044 h 469194"/>
                    <a:gd name="connsiteX4" fmla="*/ 172635 w 513675"/>
                    <a:gd name="connsiteY4" fmla="*/ 151694 h 469194"/>
                    <a:gd name="connsiteX5" fmla="*/ 188510 w 513675"/>
                    <a:gd name="connsiteY5" fmla="*/ 94544 h 469194"/>
                    <a:gd name="connsiteX6" fmla="*/ 201210 w 513675"/>
                    <a:gd name="connsiteY6" fmla="*/ 15169 h 469194"/>
                    <a:gd name="connsiteX7" fmla="*/ 312335 w 513675"/>
                    <a:gd name="connsiteY7" fmla="*/ 11994 h 469194"/>
                    <a:gd name="connsiteX8" fmla="*/ 312335 w 513675"/>
                    <a:gd name="connsiteY8" fmla="*/ 142169 h 469194"/>
                    <a:gd name="connsiteX9" fmla="*/ 353610 w 513675"/>
                    <a:gd name="connsiteY9" fmla="*/ 148519 h 469194"/>
                    <a:gd name="connsiteX10" fmla="*/ 445685 w 513675"/>
                    <a:gd name="connsiteY10" fmla="*/ 161219 h 469194"/>
                    <a:gd name="connsiteX11" fmla="*/ 486960 w 513675"/>
                    <a:gd name="connsiteY11" fmla="*/ 186619 h 469194"/>
                    <a:gd name="connsiteX12" fmla="*/ 509185 w 513675"/>
                    <a:gd name="connsiteY12" fmla="*/ 231069 h 469194"/>
                    <a:gd name="connsiteX13" fmla="*/ 512360 w 513675"/>
                    <a:gd name="connsiteY13" fmla="*/ 469194 h 469194"/>
                    <a:gd name="connsiteX14" fmla="*/ 4360 w 513675"/>
                    <a:gd name="connsiteY14" fmla="*/ 446969 h 469194"/>
                    <a:gd name="connsiteX0" fmla="*/ 4360 w 513675"/>
                    <a:gd name="connsiteY0" fmla="*/ 443409 h 465634"/>
                    <a:gd name="connsiteX1" fmla="*/ 7535 w 513675"/>
                    <a:gd name="connsiteY1" fmla="*/ 208459 h 465634"/>
                    <a:gd name="connsiteX2" fmla="*/ 23410 w 513675"/>
                    <a:gd name="connsiteY2" fmla="*/ 170359 h 465634"/>
                    <a:gd name="connsiteX3" fmla="*/ 71035 w 513675"/>
                    <a:gd name="connsiteY3" fmla="*/ 154484 h 465634"/>
                    <a:gd name="connsiteX4" fmla="*/ 172635 w 513675"/>
                    <a:gd name="connsiteY4" fmla="*/ 148134 h 465634"/>
                    <a:gd name="connsiteX5" fmla="*/ 188510 w 513675"/>
                    <a:gd name="connsiteY5" fmla="*/ 90984 h 465634"/>
                    <a:gd name="connsiteX6" fmla="*/ 201210 w 513675"/>
                    <a:gd name="connsiteY6" fmla="*/ 11609 h 465634"/>
                    <a:gd name="connsiteX7" fmla="*/ 312335 w 513675"/>
                    <a:gd name="connsiteY7" fmla="*/ 8434 h 465634"/>
                    <a:gd name="connsiteX8" fmla="*/ 312335 w 513675"/>
                    <a:gd name="connsiteY8" fmla="*/ 87809 h 465634"/>
                    <a:gd name="connsiteX9" fmla="*/ 353610 w 513675"/>
                    <a:gd name="connsiteY9" fmla="*/ 144959 h 465634"/>
                    <a:gd name="connsiteX10" fmla="*/ 445685 w 513675"/>
                    <a:gd name="connsiteY10" fmla="*/ 157659 h 465634"/>
                    <a:gd name="connsiteX11" fmla="*/ 486960 w 513675"/>
                    <a:gd name="connsiteY11" fmla="*/ 183059 h 465634"/>
                    <a:gd name="connsiteX12" fmla="*/ 509185 w 513675"/>
                    <a:gd name="connsiteY12" fmla="*/ 227509 h 465634"/>
                    <a:gd name="connsiteX13" fmla="*/ 512360 w 513675"/>
                    <a:gd name="connsiteY13" fmla="*/ 465634 h 465634"/>
                    <a:gd name="connsiteX14" fmla="*/ 4360 w 513675"/>
                    <a:gd name="connsiteY14" fmla="*/ 443409 h 465634"/>
                    <a:gd name="connsiteX0" fmla="*/ 4360 w 513675"/>
                    <a:gd name="connsiteY0" fmla="*/ 443409 h 465634"/>
                    <a:gd name="connsiteX1" fmla="*/ 7535 w 513675"/>
                    <a:gd name="connsiteY1" fmla="*/ 208459 h 465634"/>
                    <a:gd name="connsiteX2" fmla="*/ 23410 w 513675"/>
                    <a:gd name="connsiteY2" fmla="*/ 170359 h 465634"/>
                    <a:gd name="connsiteX3" fmla="*/ 71035 w 513675"/>
                    <a:gd name="connsiteY3" fmla="*/ 154484 h 465634"/>
                    <a:gd name="connsiteX4" fmla="*/ 172635 w 513675"/>
                    <a:gd name="connsiteY4" fmla="*/ 148134 h 465634"/>
                    <a:gd name="connsiteX5" fmla="*/ 188510 w 513675"/>
                    <a:gd name="connsiteY5" fmla="*/ 90984 h 465634"/>
                    <a:gd name="connsiteX6" fmla="*/ 201210 w 513675"/>
                    <a:gd name="connsiteY6" fmla="*/ 11609 h 465634"/>
                    <a:gd name="connsiteX7" fmla="*/ 312335 w 513675"/>
                    <a:gd name="connsiteY7" fmla="*/ 8434 h 465634"/>
                    <a:gd name="connsiteX8" fmla="*/ 312335 w 513675"/>
                    <a:gd name="connsiteY8" fmla="*/ 87809 h 465634"/>
                    <a:gd name="connsiteX9" fmla="*/ 334560 w 513675"/>
                    <a:gd name="connsiteY9" fmla="*/ 135434 h 465634"/>
                    <a:gd name="connsiteX10" fmla="*/ 445685 w 513675"/>
                    <a:gd name="connsiteY10" fmla="*/ 157659 h 465634"/>
                    <a:gd name="connsiteX11" fmla="*/ 486960 w 513675"/>
                    <a:gd name="connsiteY11" fmla="*/ 183059 h 465634"/>
                    <a:gd name="connsiteX12" fmla="*/ 509185 w 513675"/>
                    <a:gd name="connsiteY12" fmla="*/ 227509 h 465634"/>
                    <a:gd name="connsiteX13" fmla="*/ 512360 w 513675"/>
                    <a:gd name="connsiteY13" fmla="*/ 465634 h 465634"/>
                    <a:gd name="connsiteX14" fmla="*/ 4360 w 513675"/>
                    <a:gd name="connsiteY14" fmla="*/ 443409 h 465634"/>
                    <a:gd name="connsiteX0" fmla="*/ 4360 w 510500"/>
                    <a:gd name="connsiteY0" fmla="*/ 443409 h 449759"/>
                    <a:gd name="connsiteX1" fmla="*/ 7535 w 510500"/>
                    <a:gd name="connsiteY1" fmla="*/ 208459 h 449759"/>
                    <a:gd name="connsiteX2" fmla="*/ 23410 w 510500"/>
                    <a:gd name="connsiteY2" fmla="*/ 170359 h 449759"/>
                    <a:gd name="connsiteX3" fmla="*/ 71035 w 510500"/>
                    <a:gd name="connsiteY3" fmla="*/ 154484 h 449759"/>
                    <a:gd name="connsiteX4" fmla="*/ 172635 w 510500"/>
                    <a:gd name="connsiteY4" fmla="*/ 148134 h 449759"/>
                    <a:gd name="connsiteX5" fmla="*/ 188510 w 510500"/>
                    <a:gd name="connsiteY5" fmla="*/ 90984 h 449759"/>
                    <a:gd name="connsiteX6" fmla="*/ 201210 w 510500"/>
                    <a:gd name="connsiteY6" fmla="*/ 11609 h 449759"/>
                    <a:gd name="connsiteX7" fmla="*/ 312335 w 510500"/>
                    <a:gd name="connsiteY7" fmla="*/ 8434 h 449759"/>
                    <a:gd name="connsiteX8" fmla="*/ 312335 w 510500"/>
                    <a:gd name="connsiteY8" fmla="*/ 87809 h 449759"/>
                    <a:gd name="connsiteX9" fmla="*/ 334560 w 510500"/>
                    <a:gd name="connsiteY9" fmla="*/ 135434 h 449759"/>
                    <a:gd name="connsiteX10" fmla="*/ 445685 w 510500"/>
                    <a:gd name="connsiteY10" fmla="*/ 157659 h 449759"/>
                    <a:gd name="connsiteX11" fmla="*/ 486960 w 510500"/>
                    <a:gd name="connsiteY11" fmla="*/ 183059 h 449759"/>
                    <a:gd name="connsiteX12" fmla="*/ 509185 w 510500"/>
                    <a:gd name="connsiteY12" fmla="*/ 227509 h 449759"/>
                    <a:gd name="connsiteX13" fmla="*/ 506010 w 510500"/>
                    <a:gd name="connsiteY13" fmla="*/ 449759 h 449759"/>
                    <a:gd name="connsiteX14" fmla="*/ 4360 w 510500"/>
                    <a:gd name="connsiteY14" fmla="*/ 443409 h 449759"/>
                    <a:gd name="connsiteX0" fmla="*/ 4360 w 510500"/>
                    <a:gd name="connsiteY0" fmla="*/ 443409 h 454926"/>
                    <a:gd name="connsiteX1" fmla="*/ 7535 w 510500"/>
                    <a:gd name="connsiteY1" fmla="*/ 208459 h 454926"/>
                    <a:gd name="connsiteX2" fmla="*/ 23410 w 510500"/>
                    <a:gd name="connsiteY2" fmla="*/ 170359 h 454926"/>
                    <a:gd name="connsiteX3" fmla="*/ 71035 w 510500"/>
                    <a:gd name="connsiteY3" fmla="*/ 154484 h 454926"/>
                    <a:gd name="connsiteX4" fmla="*/ 172635 w 510500"/>
                    <a:gd name="connsiteY4" fmla="*/ 148134 h 454926"/>
                    <a:gd name="connsiteX5" fmla="*/ 188510 w 510500"/>
                    <a:gd name="connsiteY5" fmla="*/ 90984 h 454926"/>
                    <a:gd name="connsiteX6" fmla="*/ 201210 w 510500"/>
                    <a:gd name="connsiteY6" fmla="*/ 11609 h 454926"/>
                    <a:gd name="connsiteX7" fmla="*/ 312335 w 510500"/>
                    <a:gd name="connsiteY7" fmla="*/ 8434 h 454926"/>
                    <a:gd name="connsiteX8" fmla="*/ 312335 w 510500"/>
                    <a:gd name="connsiteY8" fmla="*/ 87809 h 454926"/>
                    <a:gd name="connsiteX9" fmla="*/ 334560 w 510500"/>
                    <a:gd name="connsiteY9" fmla="*/ 135434 h 454926"/>
                    <a:gd name="connsiteX10" fmla="*/ 445685 w 510500"/>
                    <a:gd name="connsiteY10" fmla="*/ 157659 h 454926"/>
                    <a:gd name="connsiteX11" fmla="*/ 486960 w 510500"/>
                    <a:gd name="connsiteY11" fmla="*/ 183059 h 454926"/>
                    <a:gd name="connsiteX12" fmla="*/ 509185 w 510500"/>
                    <a:gd name="connsiteY12" fmla="*/ 227509 h 454926"/>
                    <a:gd name="connsiteX13" fmla="*/ 506010 w 510500"/>
                    <a:gd name="connsiteY13" fmla="*/ 449759 h 454926"/>
                    <a:gd name="connsiteX14" fmla="*/ 4360 w 510500"/>
                    <a:gd name="connsiteY14" fmla="*/ 443409 h 454926"/>
                    <a:gd name="connsiteX0" fmla="*/ 6473 w 512613"/>
                    <a:gd name="connsiteY0" fmla="*/ 443409 h 454926"/>
                    <a:gd name="connsiteX1" fmla="*/ 9648 w 512613"/>
                    <a:gd name="connsiteY1" fmla="*/ 208459 h 454926"/>
                    <a:gd name="connsiteX2" fmla="*/ 73148 w 512613"/>
                    <a:gd name="connsiteY2" fmla="*/ 154484 h 454926"/>
                    <a:gd name="connsiteX3" fmla="*/ 174748 w 512613"/>
                    <a:gd name="connsiteY3" fmla="*/ 148134 h 454926"/>
                    <a:gd name="connsiteX4" fmla="*/ 190623 w 512613"/>
                    <a:gd name="connsiteY4" fmla="*/ 90984 h 454926"/>
                    <a:gd name="connsiteX5" fmla="*/ 203323 w 512613"/>
                    <a:gd name="connsiteY5" fmla="*/ 11609 h 454926"/>
                    <a:gd name="connsiteX6" fmla="*/ 314448 w 512613"/>
                    <a:gd name="connsiteY6" fmla="*/ 8434 h 454926"/>
                    <a:gd name="connsiteX7" fmla="*/ 314448 w 512613"/>
                    <a:gd name="connsiteY7" fmla="*/ 87809 h 454926"/>
                    <a:gd name="connsiteX8" fmla="*/ 336673 w 512613"/>
                    <a:gd name="connsiteY8" fmla="*/ 135434 h 454926"/>
                    <a:gd name="connsiteX9" fmla="*/ 447798 w 512613"/>
                    <a:gd name="connsiteY9" fmla="*/ 157659 h 454926"/>
                    <a:gd name="connsiteX10" fmla="*/ 489073 w 512613"/>
                    <a:gd name="connsiteY10" fmla="*/ 183059 h 454926"/>
                    <a:gd name="connsiteX11" fmla="*/ 511298 w 512613"/>
                    <a:gd name="connsiteY11" fmla="*/ 227509 h 454926"/>
                    <a:gd name="connsiteX12" fmla="*/ 508123 w 512613"/>
                    <a:gd name="connsiteY12" fmla="*/ 449759 h 454926"/>
                    <a:gd name="connsiteX13" fmla="*/ 6473 w 512613"/>
                    <a:gd name="connsiteY13" fmla="*/ 443409 h 454926"/>
                    <a:gd name="connsiteX0" fmla="*/ 4049 w 510189"/>
                    <a:gd name="connsiteY0" fmla="*/ 443409 h 454926"/>
                    <a:gd name="connsiteX1" fmla="*/ 7224 w 510189"/>
                    <a:gd name="connsiteY1" fmla="*/ 208459 h 454926"/>
                    <a:gd name="connsiteX2" fmla="*/ 70724 w 510189"/>
                    <a:gd name="connsiteY2" fmla="*/ 154484 h 454926"/>
                    <a:gd name="connsiteX3" fmla="*/ 172324 w 510189"/>
                    <a:gd name="connsiteY3" fmla="*/ 148134 h 454926"/>
                    <a:gd name="connsiteX4" fmla="*/ 188199 w 510189"/>
                    <a:gd name="connsiteY4" fmla="*/ 90984 h 454926"/>
                    <a:gd name="connsiteX5" fmla="*/ 200899 w 510189"/>
                    <a:gd name="connsiteY5" fmla="*/ 11609 h 454926"/>
                    <a:gd name="connsiteX6" fmla="*/ 312024 w 510189"/>
                    <a:gd name="connsiteY6" fmla="*/ 8434 h 454926"/>
                    <a:gd name="connsiteX7" fmla="*/ 312024 w 510189"/>
                    <a:gd name="connsiteY7" fmla="*/ 87809 h 454926"/>
                    <a:gd name="connsiteX8" fmla="*/ 334249 w 510189"/>
                    <a:gd name="connsiteY8" fmla="*/ 135434 h 454926"/>
                    <a:gd name="connsiteX9" fmla="*/ 445374 w 510189"/>
                    <a:gd name="connsiteY9" fmla="*/ 157659 h 454926"/>
                    <a:gd name="connsiteX10" fmla="*/ 486649 w 510189"/>
                    <a:gd name="connsiteY10" fmla="*/ 183059 h 454926"/>
                    <a:gd name="connsiteX11" fmla="*/ 508874 w 510189"/>
                    <a:gd name="connsiteY11" fmla="*/ 227509 h 454926"/>
                    <a:gd name="connsiteX12" fmla="*/ 505699 w 510189"/>
                    <a:gd name="connsiteY12" fmla="*/ 449759 h 454926"/>
                    <a:gd name="connsiteX13" fmla="*/ 4049 w 510189"/>
                    <a:gd name="connsiteY13" fmla="*/ 443409 h 454926"/>
                    <a:gd name="connsiteX0" fmla="*/ 4049 w 510189"/>
                    <a:gd name="connsiteY0" fmla="*/ 443409 h 454926"/>
                    <a:gd name="connsiteX1" fmla="*/ 7224 w 510189"/>
                    <a:gd name="connsiteY1" fmla="*/ 208459 h 454926"/>
                    <a:gd name="connsiteX2" fmla="*/ 70724 w 510189"/>
                    <a:gd name="connsiteY2" fmla="*/ 154484 h 454926"/>
                    <a:gd name="connsiteX3" fmla="*/ 172324 w 510189"/>
                    <a:gd name="connsiteY3" fmla="*/ 148134 h 454926"/>
                    <a:gd name="connsiteX4" fmla="*/ 188199 w 510189"/>
                    <a:gd name="connsiteY4" fmla="*/ 90984 h 454926"/>
                    <a:gd name="connsiteX5" fmla="*/ 200899 w 510189"/>
                    <a:gd name="connsiteY5" fmla="*/ 11609 h 454926"/>
                    <a:gd name="connsiteX6" fmla="*/ 312024 w 510189"/>
                    <a:gd name="connsiteY6" fmla="*/ 8434 h 454926"/>
                    <a:gd name="connsiteX7" fmla="*/ 312024 w 510189"/>
                    <a:gd name="connsiteY7" fmla="*/ 87809 h 454926"/>
                    <a:gd name="connsiteX8" fmla="*/ 334249 w 510189"/>
                    <a:gd name="connsiteY8" fmla="*/ 135434 h 454926"/>
                    <a:gd name="connsiteX9" fmla="*/ 445374 w 510189"/>
                    <a:gd name="connsiteY9" fmla="*/ 157659 h 454926"/>
                    <a:gd name="connsiteX10" fmla="*/ 508874 w 510189"/>
                    <a:gd name="connsiteY10" fmla="*/ 227509 h 454926"/>
                    <a:gd name="connsiteX11" fmla="*/ 505699 w 510189"/>
                    <a:gd name="connsiteY11" fmla="*/ 449759 h 454926"/>
                    <a:gd name="connsiteX12" fmla="*/ 4049 w 510189"/>
                    <a:gd name="connsiteY12" fmla="*/ 443409 h 454926"/>
                    <a:gd name="connsiteX0" fmla="*/ 4049 w 510189"/>
                    <a:gd name="connsiteY0" fmla="*/ 443409 h 454926"/>
                    <a:gd name="connsiteX1" fmla="*/ 7224 w 510189"/>
                    <a:gd name="connsiteY1" fmla="*/ 208459 h 454926"/>
                    <a:gd name="connsiteX2" fmla="*/ 70724 w 510189"/>
                    <a:gd name="connsiteY2" fmla="*/ 154484 h 454926"/>
                    <a:gd name="connsiteX3" fmla="*/ 172324 w 510189"/>
                    <a:gd name="connsiteY3" fmla="*/ 148134 h 454926"/>
                    <a:gd name="connsiteX4" fmla="*/ 188199 w 510189"/>
                    <a:gd name="connsiteY4" fmla="*/ 90984 h 454926"/>
                    <a:gd name="connsiteX5" fmla="*/ 200899 w 510189"/>
                    <a:gd name="connsiteY5" fmla="*/ 11609 h 454926"/>
                    <a:gd name="connsiteX6" fmla="*/ 312024 w 510189"/>
                    <a:gd name="connsiteY6" fmla="*/ 8434 h 454926"/>
                    <a:gd name="connsiteX7" fmla="*/ 312024 w 510189"/>
                    <a:gd name="connsiteY7" fmla="*/ 87809 h 454926"/>
                    <a:gd name="connsiteX8" fmla="*/ 334249 w 510189"/>
                    <a:gd name="connsiteY8" fmla="*/ 135434 h 454926"/>
                    <a:gd name="connsiteX9" fmla="*/ 445374 w 510189"/>
                    <a:gd name="connsiteY9" fmla="*/ 157659 h 454926"/>
                    <a:gd name="connsiteX10" fmla="*/ 508874 w 510189"/>
                    <a:gd name="connsiteY10" fmla="*/ 227509 h 454926"/>
                    <a:gd name="connsiteX11" fmla="*/ 505699 w 510189"/>
                    <a:gd name="connsiteY11" fmla="*/ 449759 h 454926"/>
                    <a:gd name="connsiteX12" fmla="*/ 4049 w 510189"/>
                    <a:gd name="connsiteY12" fmla="*/ 443409 h 454926"/>
                    <a:gd name="connsiteX0" fmla="*/ 5987 w 512127"/>
                    <a:gd name="connsiteY0" fmla="*/ 443409 h 454926"/>
                    <a:gd name="connsiteX1" fmla="*/ 2812 w 512127"/>
                    <a:gd name="connsiteY1" fmla="*/ 217984 h 454926"/>
                    <a:gd name="connsiteX2" fmla="*/ 72662 w 512127"/>
                    <a:gd name="connsiteY2" fmla="*/ 154484 h 454926"/>
                    <a:gd name="connsiteX3" fmla="*/ 174262 w 512127"/>
                    <a:gd name="connsiteY3" fmla="*/ 148134 h 454926"/>
                    <a:gd name="connsiteX4" fmla="*/ 190137 w 512127"/>
                    <a:gd name="connsiteY4" fmla="*/ 90984 h 454926"/>
                    <a:gd name="connsiteX5" fmla="*/ 202837 w 512127"/>
                    <a:gd name="connsiteY5" fmla="*/ 11609 h 454926"/>
                    <a:gd name="connsiteX6" fmla="*/ 313962 w 512127"/>
                    <a:gd name="connsiteY6" fmla="*/ 8434 h 454926"/>
                    <a:gd name="connsiteX7" fmla="*/ 313962 w 512127"/>
                    <a:gd name="connsiteY7" fmla="*/ 87809 h 454926"/>
                    <a:gd name="connsiteX8" fmla="*/ 336187 w 512127"/>
                    <a:gd name="connsiteY8" fmla="*/ 135434 h 454926"/>
                    <a:gd name="connsiteX9" fmla="*/ 447312 w 512127"/>
                    <a:gd name="connsiteY9" fmla="*/ 157659 h 454926"/>
                    <a:gd name="connsiteX10" fmla="*/ 510812 w 512127"/>
                    <a:gd name="connsiteY10" fmla="*/ 227509 h 454926"/>
                    <a:gd name="connsiteX11" fmla="*/ 507637 w 512127"/>
                    <a:gd name="connsiteY11" fmla="*/ 449759 h 454926"/>
                    <a:gd name="connsiteX12" fmla="*/ 5987 w 512127"/>
                    <a:gd name="connsiteY12" fmla="*/ 443409 h 454926"/>
                    <a:gd name="connsiteX0" fmla="*/ 9762 w 515902"/>
                    <a:gd name="connsiteY0" fmla="*/ 443409 h 454926"/>
                    <a:gd name="connsiteX1" fmla="*/ 6587 w 515902"/>
                    <a:gd name="connsiteY1" fmla="*/ 217984 h 454926"/>
                    <a:gd name="connsiteX2" fmla="*/ 76437 w 515902"/>
                    <a:gd name="connsiteY2" fmla="*/ 154484 h 454926"/>
                    <a:gd name="connsiteX3" fmla="*/ 178037 w 515902"/>
                    <a:gd name="connsiteY3" fmla="*/ 148134 h 454926"/>
                    <a:gd name="connsiteX4" fmla="*/ 193912 w 515902"/>
                    <a:gd name="connsiteY4" fmla="*/ 90984 h 454926"/>
                    <a:gd name="connsiteX5" fmla="*/ 206612 w 515902"/>
                    <a:gd name="connsiteY5" fmla="*/ 11609 h 454926"/>
                    <a:gd name="connsiteX6" fmla="*/ 317737 w 515902"/>
                    <a:gd name="connsiteY6" fmla="*/ 8434 h 454926"/>
                    <a:gd name="connsiteX7" fmla="*/ 317737 w 515902"/>
                    <a:gd name="connsiteY7" fmla="*/ 87809 h 454926"/>
                    <a:gd name="connsiteX8" fmla="*/ 339962 w 515902"/>
                    <a:gd name="connsiteY8" fmla="*/ 135434 h 454926"/>
                    <a:gd name="connsiteX9" fmla="*/ 451087 w 515902"/>
                    <a:gd name="connsiteY9" fmla="*/ 157659 h 454926"/>
                    <a:gd name="connsiteX10" fmla="*/ 514587 w 515902"/>
                    <a:gd name="connsiteY10" fmla="*/ 227509 h 454926"/>
                    <a:gd name="connsiteX11" fmla="*/ 511412 w 515902"/>
                    <a:gd name="connsiteY11" fmla="*/ 449759 h 454926"/>
                    <a:gd name="connsiteX12" fmla="*/ 9762 w 515902"/>
                    <a:gd name="connsiteY12" fmla="*/ 443409 h 454926"/>
                    <a:gd name="connsiteX0" fmla="*/ 9762 w 515902"/>
                    <a:gd name="connsiteY0" fmla="*/ 443409 h 454926"/>
                    <a:gd name="connsiteX1" fmla="*/ 6587 w 515902"/>
                    <a:gd name="connsiteY1" fmla="*/ 217984 h 454926"/>
                    <a:gd name="connsiteX2" fmla="*/ 76437 w 515902"/>
                    <a:gd name="connsiteY2" fmla="*/ 154484 h 454926"/>
                    <a:gd name="connsiteX3" fmla="*/ 178037 w 515902"/>
                    <a:gd name="connsiteY3" fmla="*/ 148134 h 454926"/>
                    <a:gd name="connsiteX4" fmla="*/ 193912 w 515902"/>
                    <a:gd name="connsiteY4" fmla="*/ 90984 h 454926"/>
                    <a:gd name="connsiteX5" fmla="*/ 206612 w 515902"/>
                    <a:gd name="connsiteY5" fmla="*/ 11609 h 454926"/>
                    <a:gd name="connsiteX6" fmla="*/ 317737 w 515902"/>
                    <a:gd name="connsiteY6" fmla="*/ 8434 h 454926"/>
                    <a:gd name="connsiteX7" fmla="*/ 317737 w 515902"/>
                    <a:gd name="connsiteY7" fmla="*/ 87809 h 454926"/>
                    <a:gd name="connsiteX8" fmla="*/ 339962 w 515902"/>
                    <a:gd name="connsiteY8" fmla="*/ 135434 h 454926"/>
                    <a:gd name="connsiteX9" fmla="*/ 451087 w 515902"/>
                    <a:gd name="connsiteY9" fmla="*/ 157659 h 454926"/>
                    <a:gd name="connsiteX10" fmla="*/ 514587 w 515902"/>
                    <a:gd name="connsiteY10" fmla="*/ 227509 h 454926"/>
                    <a:gd name="connsiteX11" fmla="*/ 511412 w 515902"/>
                    <a:gd name="connsiteY11" fmla="*/ 449759 h 454926"/>
                    <a:gd name="connsiteX12" fmla="*/ 9762 w 515902"/>
                    <a:gd name="connsiteY12" fmla="*/ 443409 h 454926"/>
                    <a:gd name="connsiteX0" fmla="*/ 9762 w 515902"/>
                    <a:gd name="connsiteY0" fmla="*/ 443409 h 454926"/>
                    <a:gd name="connsiteX1" fmla="*/ 6587 w 515902"/>
                    <a:gd name="connsiteY1" fmla="*/ 217984 h 454926"/>
                    <a:gd name="connsiteX2" fmla="*/ 76437 w 515902"/>
                    <a:gd name="connsiteY2" fmla="*/ 154484 h 454926"/>
                    <a:gd name="connsiteX3" fmla="*/ 193912 w 515902"/>
                    <a:gd name="connsiteY3" fmla="*/ 90984 h 454926"/>
                    <a:gd name="connsiteX4" fmla="*/ 206612 w 515902"/>
                    <a:gd name="connsiteY4" fmla="*/ 11609 h 454926"/>
                    <a:gd name="connsiteX5" fmla="*/ 317737 w 515902"/>
                    <a:gd name="connsiteY5" fmla="*/ 8434 h 454926"/>
                    <a:gd name="connsiteX6" fmla="*/ 317737 w 515902"/>
                    <a:gd name="connsiteY6" fmla="*/ 87809 h 454926"/>
                    <a:gd name="connsiteX7" fmla="*/ 339962 w 515902"/>
                    <a:gd name="connsiteY7" fmla="*/ 135434 h 454926"/>
                    <a:gd name="connsiteX8" fmla="*/ 451087 w 515902"/>
                    <a:gd name="connsiteY8" fmla="*/ 157659 h 454926"/>
                    <a:gd name="connsiteX9" fmla="*/ 514587 w 515902"/>
                    <a:gd name="connsiteY9" fmla="*/ 227509 h 454926"/>
                    <a:gd name="connsiteX10" fmla="*/ 511412 w 515902"/>
                    <a:gd name="connsiteY10" fmla="*/ 449759 h 454926"/>
                    <a:gd name="connsiteX11" fmla="*/ 9762 w 515902"/>
                    <a:gd name="connsiteY11" fmla="*/ 443409 h 454926"/>
                    <a:gd name="connsiteX0" fmla="*/ 9762 w 515902"/>
                    <a:gd name="connsiteY0" fmla="*/ 446099 h 457616"/>
                    <a:gd name="connsiteX1" fmla="*/ 6587 w 515902"/>
                    <a:gd name="connsiteY1" fmla="*/ 220674 h 457616"/>
                    <a:gd name="connsiteX2" fmla="*/ 76437 w 515902"/>
                    <a:gd name="connsiteY2" fmla="*/ 157174 h 457616"/>
                    <a:gd name="connsiteX3" fmla="*/ 190737 w 515902"/>
                    <a:gd name="connsiteY3" fmla="*/ 138124 h 457616"/>
                    <a:gd name="connsiteX4" fmla="*/ 206612 w 515902"/>
                    <a:gd name="connsiteY4" fmla="*/ 14299 h 457616"/>
                    <a:gd name="connsiteX5" fmla="*/ 317737 w 515902"/>
                    <a:gd name="connsiteY5" fmla="*/ 11124 h 457616"/>
                    <a:gd name="connsiteX6" fmla="*/ 317737 w 515902"/>
                    <a:gd name="connsiteY6" fmla="*/ 90499 h 457616"/>
                    <a:gd name="connsiteX7" fmla="*/ 339962 w 515902"/>
                    <a:gd name="connsiteY7" fmla="*/ 138124 h 457616"/>
                    <a:gd name="connsiteX8" fmla="*/ 451087 w 515902"/>
                    <a:gd name="connsiteY8" fmla="*/ 160349 h 457616"/>
                    <a:gd name="connsiteX9" fmla="*/ 514587 w 515902"/>
                    <a:gd name="connsiteY9" fmla="*/ 230199 h 457616"/>
                    <a:gd name="connsiteX10" fmla="*/ 511412 w 515902"/>
                    <a:gd name="connsiteY10" fmla="*/ 452449 h 457616"/>
                    <a:gd name="connsiteX11" fmla="*/ 9762 w 515902"/>
                    <a:gd name="connsiteY11" fmla="*/ 446099 h 457616"/>
                    <a:gd name="connsiteX0" fmla="*/ 9762 w 515902"/>
                    <a:gd name="connsiteY0" fmla="*/ 446099 h 457616"/>
                    <a:gd name="connsiteX1" fmla="*/ 6587 w 515902"/>
                    <a:gd name="connsiteY1" fmla="*/ 220674 h 457616"/>
                    <a:gd name="connsiteX2" fmla="*/ 76437 w 515902"/>
                    <a:gd name="connsiteY2" fmla="*/ 157174 h 457616"/>
                    <a:gd name="connsiteX3" fmla="*/ 190737 w 515902"/>
                    <a:gd name="connsiteY3" fmla="*/ 138124 h 457616"/>
                    <a:gd name="connsiteX4" fmla="*/ 206612 w 515902"/>
                    <a:gd name="connsiteY4" fmla="*/ 14299 h 457616"/>
                    <a:gd name="connsiteX5" fmla="*/ 317737 w 515902"/>
                    <a:gd name="connsiteY5" fmla="*/ 11124 h 457616"/>
                    <a:gd name="connsiteX6" fmla="*/ 317737 w 515902"/>
                    <a:gd name="connsiteY6" fmla="*/ 90499 h 457616"/>
                    <a:gd name="connsiteX7" fmla="*/ 451087 w 515902"/>
                    <a:gd name="connsiteY7" fmla="*/ 160349 h 457616"/>
                    <a:gd name="connsiteX8" fmla="*/ 514587 w 515902"/>
                    <a:gd name="connsiteY8" fmla="*/ 230199 h 457616"/>
                    <a:gd name="connsiteX9" fmla="*/ 511412 w 515902"/>
                    <a:gd name="connsiteY9" fmla="*/ 452449 h 457616"/>
                    <a:gd name="connsiteX10" fmla="*/ 9762 w 515902"/>
                    <a:gd name="connsiteY10" fmla="*/ 446099 h 457616"/>
                    <a:gd name="connsiteX0" fmla="*/ 9762 w 515902"/>
                    <a:gd name="connsiteY0" fmla="*/ 447482 h 458999"/>
                    <a:gd name="connsiteX1" fmla="*/ 6587 w 515902"/>
                    <a:gd name="connsiteY1" fmla="*/ 222057 h 458999"/>
                    <a:gd name="connsiteX2" fmla="*/ 76437 w 515902"/>
                    <a:gd name="connsiteY2" fmla="*/ 158557 h 458999"/>
                    <a:gd name="connsiteX3" fmla="*/ 190737 w 515902"/>
                    <a:gd name="connsiteY3" fmla="*/ 139507 h 458999"/>
                    <a:gd name="connsiteX4" fmla="*/ 206612 w 515902"/>
                    <a:gd name="connsiteY4" fmla="*/ 15682 h 458999"/>
                    <a:gd name="connsiteX5" fmla="*/ 317737 w 515902"/>
                    <a:gd name="connsiteY5" fmla="*/ 12507 h 458999"/>
                    <a:gd name="connsiteX6" fmla="*/ 330437 w 515902"/>
                    <a:gd name="connsiteY6" fmla="*/ 114107 h 458999"/>
                    <a:gd name="connsiteX7" fmla="*/ 451087 w 515902"/>
                    <a:gd name="connsiteY7" fmla="*/ 161732 h 458999"/>
                    <a:gd name="connsiteX8" fmla="*/ 514587 w 515902"/>
                    <a:gd name="connsiteY8" fmla="*/ 231582 h 458999"/>
                    <a:gd name="connsiteX9" fmla="*/ 511412 w 515902"/>
                    <a:gd name="connsiteY9" fmla="*/ 453832 h 458999"/>
                    <a:gd name="connsiteX10" fmla="*/ 9762 w 515902"/>
                    <a:gd name="connsiteY10" fmla="*/ 447482 h 458999"/>
                    <a:gd name="connsiteX0" fmla="*/ 9762 w 515902"/>
                    <a:gd name="connsiteY0" fmla="*/ 446348 h 457865"/>
                    <a:gd name="connsiteX1" fmla="*/ 6587 w 515902"/>
                    <a:gd name="connsiteY1" fmla="*/ 220923 h 457865"/>
                    <a:gd name="connsiteX2" fmla="*/ 76437 w 515902"/>
                    <a:gd name="connsiteY2" fmla="*/ 157423 h 457865"/>
                    <a:gd name="connsiteX3" fmla="*/ 200262 w 515902"/>
                    <a:gd name="connsiteY3" fmla="*/ 119323 h 457865"/>
                    <a:gd name="connsiteX4" fmla="*/ 206612 w 515902"/>
                    <a:gd name="connsiteY4" fmla="*/ 14548 h 457865"/>
                    <a:gd name="connsiteX5" fmla="*/ 317737 w 515902"/>
                    <a:gd name="connsiteY5" fmla="*/ 11373 h 457865"/>
                    <a:gd name="connsiteX6" fmla="*/ 330437 w 515902"/>
                    <a:gd name="connsiteY6" fmla="*/ 112973 h 457865"/>
                    <a:gd name="connsiteX7" fmla="*/ 451087 w 515902"/>
                    <a:gd name="connsiteY7" fmla="*/ 160598 h 457865"/>
                    <a:gd name="connsiteX8" fmla="*/ 514587 w 515902"/>
                    <a:gd name="connsiteY8" fmla="*/ 230448 h 457865"/>
                    <a:gd name="connsiteX9" fmla="*/ 511412 w 515902"/>
                    <a:gd name="connsiteY9" fmla="*/ 452698 h 457865"/>
                    <a:gd name="connsiteX10" fmla="*/ 9762 w 515902"/>
                    <a:gd name="connsiteY10" fmla="*/ 446348 h 457865"/>
                    <a:gd name="connsiteX0" fmla="*/ 8840 w 514980"/>
                    <a:gd name="connsiteY0" fmla="*/ 446348 h 457865"/>
                    <a:gd name="connsiteX1" fmla="*/ 5665 w 514980"/>
                    <a:gd name="connsiteY1" fmla="*/ 220923 h 457865"/>
                    <a:gd name="connsiteX2" fmla="*/ 62412 w 514980"/>
                    <a:gd name="connsiteY2" fmla="*/ 133367 h 457865"/>
                    <a:gd name="connsiteX3" fmla="*/ 199340 w 514980"/>
                    <a:gd name="connsiteY3" fmla="*/ 119323 h 457865"/>
                    <a:gd name="connsiteX4" fmla="*/ 205690 w 514980"/>
                    <a:gd name="connsiteY4" fmla="*/ 14548 h 457865"/>
                    <a:gd name="connsiteX5" fmla="*/ 316815 w 514980"/>
                    <a:gd name="connsiteY5" fmla="*/ 11373 h 457865"/>
                    <a:gd name="connsiteX6" fmla="*/ 329515 w 514980"/>
                    <a:gd name="connsiteY6" fmla="*/ 112973 h 457865"/>
                    <a:gd name="connsiteX7" fmla="*/ 450165 w 514980"/>
                    <a:gd name="connsiteY7" fmla="*/ 160598 h 457865"/>
                    <a:gd name="connsiteX8" fmla="*/ 513665 w 514980"/>
                    <a:gd name="connsiteY8" fmla="*/ 230448 h 457865"/>
                    <a:gd name="connsiteX9" fmla="*/ 510490 w 514980"/>
                    <a:gd name="connsiteY9" fmla="*/ 452698 h 457865"/>
                    <a:gd name="connsiteX10" fmla="*/ 8840 w 514980"/>
                    <a:gd name="connsiteY10" fmla="*/ 446348 h 457865"/>
                    <a:gd name="connsiteX0" fmla="*/ 8840 w 514980"/>
                    <a:gd name="connsiteY0" fmla="*/ 445015 h 456532"/>
                    <a:gd name="connsiteX1" fmla="*/ 5665 w 514980"/>
                    <a:gd name="connsiteY1" fmla="*/ 219590 h 456532"/>
                    <a:gd name="connsiteX2" fmla="*/ 62412 w 514980"/>
                    <a:gd name="connsiteY2" fmla="*/ 132034 h 456532"/>
                    <a:gd name="connsiteX3" fmla="*/ 186237 w 514980"/>
                    <a:gd name="connsiteY3" fmla="*/ 93934 h 456532"/>
                    <a:gd name="connsiteX4" fmla="*/ 205690 w 514980"/>
                    <a:gd name="connsiteY4" fmla="*/ 13215 h 456532"/>
                    <a:gd name="connsiteX5" fmla="*/ 316815 w 514980"/>
                    <a:gd name="connsiteY5" fmla="*/ 10040 h 456532"/>
                    <a:gd name="connsiteX6" fmla="*/ 329515 w 514980"/>
                    <a:gd name="connsiteY6" fmla="*/ 111640 h 456532"/>
                    <a:gd name="connsiteX7" fmla="*/ 450165 w 514980"/>
                    <a:gd name="connsiteY7" fmla="*/ 159265 h 456532"/>
                    <a:gd name="connsiteX8" fmla="*/ 513665 w 514980"/>
                    <a:gd name="connsiteY8" fmla="*/ 229115 h 456532"/>
                    <a:gd name="connsiteX9" fmla="*/ 510490 w 514980"/>
                    <a:gd name="connsiteY9" fmla="*/ 451365 h 456532"/>
                    <a:gd name="connsiteX10" fmla="*/ 8840 w 514980"/>
                    <a:gd name="connsiteY10" fmla="*/ 445015 h 456532"/>
                    <a:gd name="connsiteX0" fmla="*/ 8840 w 514980"/>
                    <a:gd name="connsiteY0" fmla="*/ 445015 h 456532"/>
                    <a:gd name="connsiteX1" fmla="*/ 5665 w 514980"/>
                    <a:gd name="connsiteY1" fmla="*/ 219590 h 456532"/>
                    <a:gd name="connsiteX2" fmla="*/ 62412 w 514980"/>
                    <a:gd name="connsiteY2" fmla="*/ 132034 h 456532"/>
                    <a:gd name="connsiteX3" fmla="*/ 186237 w 514980"/>
                    <a:gd name="connsiteY3" fmla="*/ 93934 h 456532"/>
                    <a:gd name="connsiteX4" fmla="*/ 205690 w 514980"/>
                    <a:gd name="connsiteY4" fmla="*/ 13215 h 456532"/>
                    <a:gd name="connsiteX5" fmla="*/ 316815 w 514980"/>
                    <a:gd name="connsiteY5" fmla="*/ 10040 h 456532"/>
                    <a:gd name="connsiteX6" fmla="*/ 329515 w 514980"/>
                    <a:gd name="connsiteY6" fmla="*/ 111640 h 456532"/>
                    <a:gd name="connsiteX7" fmla="*/ 461084 w 514980"/>
                    <a:gd name="connsiteY7" fmla="*/ 146143 h 456532"/>
                    <a:gd name="connsiteX8" fmla="*/ 513665 w 514980"/>
                    <a:gd name="connsiteY8" fmla="*/ 229115 h 456532"/>
                    <a:gd name="connsiteX9" fmla="*/ 510490 w 514980"/>
                    <a:gd name="connsiteY9" fmla="*/ 451365 h 456532"/>
                    <a:gd name="connsiteX10" fmla="*/ 8840 w 514980"/>
                    <a:gd name="connsiteY10" fmla="*/ 445015 h 456532"/>
                    <a:gd name="connsiteX0" fmla="*/ 8840 w 514980"/>
                    <a:gd name="connsiteY0" fmla="*/ 444105 h 455622"/>
                    <a:gd name="connsiteX1" fmla="*/ 5665 w 514980"/>
                    <a:gd name="connsiteY1" fmla="*/ 218680 h 455622"/>
                    <a:gd name="connsiteX2" fmla="*/ 62412 w 514980"/>
                    <a:gd name="connsiteY2" fmla="*/ 131124 h 455622"/>
                    <a:gd name="connsiteX3" fmla="*/ 186237 w 514980"/>
                    <a:gd name="connsiteY3" fmla="*/ 93024 h 455622"/>
                    <a:gd name="connsiteX4" fmla="*/ 205690 w 514980"/>
                    <a:gd name="connsiteY4" fmla="*/ 12305 h 455622"/>
                    <a:gd name="connsiteX5" fmla="*/ 316815 w 514980"/>
                    <a:gd name="connsiteY5" fmla="*/ 9130 h 455622"/>
                    <a:gd name="connsiteX6" fmla="*/ 351353 w 514980"/>
                    <a:gd name="connsiteY6" fmla="*/ 97608 h 455622"/>
                    <a:gd name="connsiteX7" fmla="*/ 461084 w 514980"/>
                    <a:gd name="connsiteY7" fmla="*/ 145233 h 455622"/>
                    <a:gd name="connsiteX8" fmla="*/ 513665 w 514980"/>
                    <a:gd name="connsiteY8" fmla="*/ 228205 h 455622"/>
                    <a:gd name="connsiteX9" fmla="*/ 510490 w 514980"/>
                    <a:gd name="connsiteY9" fmla="*/ 450455 h 455622"/>
                    <a:gd name="connsiteX10" fmla="*/ 8840 w 514980"/>
                    <a:gd name="connsiteY10" fmla="*/ 444105 h 455622"/>
                    <a:gd name="connsiteX0" fmla="*/ 8840 w 514980"/>
                    <a:gd name="connsiteY0" fmla="*/ 442755 h 454272"/>
                    <a:gd name="connsiteX1" fmla="*/ 5665 w 514980"/>
                    <a:gd name="connsiteY1" fmla="*/ 217330 h 454272"/>
                    <a:gd name="connsiteX2" fmla="*/ 62412 w 514980"/>
                    <a:gd name="connsiteY2" fmla="*/ 129774 h 454272"/>
                    <a:gd name="connsiteX3" fmla="*/ 186237 w 514980"/>
                    <a:gd name="connsiteY3" fmla="*/ 91674 h 454272"/>
                    <a:gd name="connsiteX4" fmla="*/ 205690 w 514980"/>
                    <a:gd name="connsiteY4" fmla="*/ 10955 h 454272"/>
                    <a:gd name="connsiteX5" fmla="*/ 325550 w 514980"/>
                    <a:gd name="connsiteY5" fmla="*/ 9967 h 454272"/>
                    <a:gd name="connsiteX6" fmla="*/ 351353 w 514980"/>
                    <a:gd name="connsiteY6" fmla="*/ 96258 h 454272"/>
                    <a:gd name="connsiteX7" fmla="*/ 461084 w 514980"/>
                    <a:gd name="connsiteY7" fmla="*/ 143883 h 454272"/>
                    <a:gd name="connsiteX8" fmla="*/ 513665 w 514980"/>
                    <a:gd name="connsiteY8" fmla="*/ 226855 h 454272"/>
                    <a:gd name="connsiteX9" fmla="*/ 510490 w 514980"/>
                    <a:gd name="connsiteY9" fmla="*/ 449105 h 454272"/>
                    <a:gd name="connsiteX10" fmla="*/ 8840 w 514980"/>
                    <a:gd name="connsiteY10" fmla="*/ 442755 h 454272"/>
                    <a:gd name="connsiteX0" fmla="*/ 8840 w 514980"/>
                    <a:gd name="connsiteY0" fmla="*/ 442755 h 454272"/>
                    <a:gd name="connsiteX1" fmla="*/ 5665 w 514980"/>
                    <a:gd name="connsiteY1" fmla="*/ 217330 h 454272"/>
                    <a:gd name="connsiteX2" fmla="*/ 62412 w 514980"/>
                    <a:gd name="connsiteY2" fmla="*/ 129774 h 454272"/>
                    <a:gd name="connsiteX3" fmla="*/ 186237 w 514980"/>
                    <a:gd name="connsiteY3" fmla="*/ 91674 h 454272"/>
                    <a:gd name="connsiteX4" fmla="*/ 205690 w 514980"/>
                    <a:gd name="connsiteY4" fmla="*/ 10955 h 454272"/>
                    <a:gd name="connsiteX5" fmla="*/ 325550 w 514980"/>
                    <a:gd name="connsiteY5" fmla="*/ 9967 h 454272"/>
                    <a:gd name="connsiteX6" fmla="*/ 351353 w 514980"/>
                    <a:gd name="connsiteY6" fmla="*/ 96258 h 454272"/>
                    <a:gd name="connsiteX7" fmla="*/ 461084 w 514980"/>
                    <a:gd name="connsiteY7" fmla="*/ 143883 h 454272"/>
                    <a:gd name="connsiteX8" fmla="*/ 513665 w 514980"/>
                    <a:gd name="connsiteY8" fmla="*/ 226855 h 454272"/>
                    <a:gd name="connsiteX9" fmla="*/ 510490 w 514980"/>
                    <a:gd name="connsiteY9" fmla="*/ 449105 h 454272"/>
                    <a:gd name="connsiteX10" fmla="*/ 8840 w 514980"/>
                    <a:gd name="connsiteY10" fmla="*/ 442755 h 454272"/>
                    <a:gd name="connsiteX0" fmla="*/ 8840 w 514980"/>
                    <a:gd name="connsiteY0" fmla="*/ 442755 h 454272"/>
                    <a:gd name="connsiteX1" fmla="*/ 5665 w 514980"/>
                    <a:gd name="connsiteY1" fmla="*/ 217330 h 454272"/>
                    <a:gd name="connsiteX2" fmla="*/ 62412 w 514980"/>
                    <a:gd name="connsiteY2" fmla="*/ 129774 h 454272"/>
                    <a:gd name="connsiteX3" fmla="*/ 186237 w 514980"/>
                    <a:gd name="connsiteY3" fmla="*/ 91674 h 454272"/>
                    <a:gd name="connsiteX4" fmla="*/ 205690 w 514980"/>
                    <a:gd name="connsiteY4" fmla="*/ 10955 h 454272"/>
                    <a:gd name="connsiteX5" fmla="*/ 325550 w 514980"/>
                    <a:gd name="connsiteY5" fmla="*/ 9967 h 454272"/>
                    <a:gd name="connsiteX6" fmla="*/ 351353 w 514980"/>
                    <a:gd name="connsiteY6" fmla="*/ 96258 h 454272"/>
                    <a:gd name="connsiteX7" fmla="*/ 461084 w 514980"/>
                    <a:gd name="connsiteY7" fmla="*/ 143883 h 454272"/>
                    <a:gd name="connsiteX8" fmla="*/ 513665 w 514980"/>
                    <a:gd name="connsiteY8" fmla="*/ 226855 h 454272"/>
                    <a:gd name="connsiteX9" fmla="*/ 510490 w 514980"/>
                    <a:gd name="connsiteY9" fmla="*/ 449105 h 454272"/>
                    <a:gd name="connsiteX10" fmla="*/ 8840 w 514980"/>
                    <a:gd name="connsiteY10" fmla="*/ 442755 h 454272"/>
                    <a:gd name="connsiteX0" fmla="*/ 8840 w 514980"/>
                    <a:gd name="connsiteY0" fmla="*/ 442755 h 454272"/>
                    <a:gd name="connsiteX1" fmla="*/ 5665 w 514980"/>
                    <a:gd name="connsiteY1" fmla="*/ 217330 h 454272"/>
                    <a:gd name="connsiteX2" fmla="*/ 62412 w 514980"/>
                    <a:gd name="connsiteY2" fmla="*/ 129774 h 454272"/>
                    <a:gd name="connsiteX3" fmla="*/ 186237 w 514980"/>
                    <a:gd name="connsiteY3" fmla="*/ 91674 h 454272"/>
                    <a:gd name="connsiteX4" fmla="*/ 205690 w 514980"/>
                    <a:gd name="connsiteY4" fmla="*/ 10955 h 454272"/>
                    <a:gd name="connsiteX5" fmla="*/ 325550 w 514980"/>
                    <a:gd name="connsiteY5" fmla="*/ 9967 h 454272"/>
                    <a:gd name="connsiteX6" fmla="*/ 351353 w 514980"/>
                    <a:gd name="connsiteY6" fmla="*/ 96258 h 454272"/>
                    <a:gd name="connsiteX7" fmla="*/ 461084 w 514980"/>
                    <a:gd name="connsiteY7" fmla="*/ 143883 h 454272"/>
                    <a:gd name="connsiteX8" fmla="*/ 513665 w 514980"/>
                    <a:gd name="connsiteY8" fmla="*/ 226855 h 454272"/>
                    <a:gd name="connsiteX9" fmla="*/ 510490 w 514980"/>
                    <a:gd name="connsiteY9" fmla="*/ 449105 h 454272"/>
                    <a:gd name="connsiteX10" fmla="*/ 8840 w 514980"/>
                    <a:gd name="connsiteY10" fmla="*/ 442755 h 454272"/>
                    <a:gd name="connsiteX0" fmla="*/ 8840 w 514980"/>
                    <a:gd name="connsiteY0" fmla="*/ 436996 h 448513"/>
                    <a:gd name="connsiteX1" fmla="*/ 5665 w 514980"/>
                    <a:gd name="connsiteY1" fmla="*/ 211571 h 448513"/>
                    <a:gd name="connsiteX2" fmla="*/ 62412 w 514980"/>
                    <a:gd name="connsiteY2" fmla="*/ 124015 h 448513"/>
                    <a:gd name="connsiteX3" fmla="*/ 186237 w 514980"/>
                    <a:gd name="connsiteY3" fmla="*/ 85915 h 448513"/>
                    <a:gd name="connsiteX4" fmla="*/ 205690 w 514980"/>
                    <a:gd name="connsiteY4" fmla="*/ 5196 h 448513"/>
                    <a:gd name="connsiteX5" fmla="*/ 325550 w 514980"/>
                    <a:gd name="connsiteY5" fmla="*/ 4208 h 448513"/>
                    <a:gd name="connsiteX6" fmla="*/ 351353 w 514980"/>
                    <a:gd name="connsiteY6" fmla="*/ 90499 h 448513"/>
                    <a:gd name="connsiteX7" fmla="*/ 461084 w 514980"/>
                    <a:gd name="connsiteY7" fmla="*/ 138124 h 448513"/>
                    <a:gd name="connsiteX8" fmla="*/ 513665 w 514980"/>
                    <a:gd name="connsiteY8" fmla="*/ 221096 h 448513"/>
                    <a:gd name="connsiteX9" fmla="*/ 510490 w 514980"/>
                    <a:gd name="connsiteY9" fmla="*/ 443346 h 448513"/>
                    <a:gd name="connsiteX10" fmla="*/ 8840 w 514980"/>
                    <a:gd name="connsiteY10" fmla="*/ 436996 h 448513"/>
                    <a:gd name="connsiteX0" fmla="*/ 8840 w 514980"/>
                    <a:gd name="connsiteY0" fmla="*/ 436996 h 448513"/>
                    <a:gd name="connsiteX1" fmla="*/ 5665 w 514980"/>
                    <a:gd name="connsiteY1" fmla="*/ 211571 h 448513"/>
                    <a:gd name="connsiteX2" fmla="*/ 62412 w 514980"/>
                    <a:gd name="connsiteY2" fmla="*/ 124015 h 448513"/>
                    <a:gd name="connsiteX3" fmla="*/ 186237 w 514980"/>
                    <a:gd name="connsiteY3" fmla="*/ 85915 h 448513"/>
                    <a:gd name="connsiteX4" fmla="*/ 205690 w 514980"/>
                    <a:gd name="connsiteY4" fmla="*/ 5196 h 448513"/>
                    <a:gd name="connsiteX5" fmla="*/ 325550 w 514980"/>
                    <a:gd name="connsiteY5" fmla="*/ 4208 h 448513"/>
                    <a:gd name="connsiteX6" fmla="*/ 351353 w 514980"/>
                    <a:gd name="connsiteY6" fmla="*/ 90499 h 448513"/>
                    <a:gd name="connsiteX7" fmla="*/ 461084 w 514980"/>
                    <a:gd name="connsiteY7" fmla="*/ 138124 h 448513"/>
                    <a:gd name="connsiteX8" fmla="*/ 513665 w 514980"/>
                    <a:gd name="connsiteY8" fmla="*/ 221096 h 448513"/>
                    <a:gd name="connsiteX9" fmla="*/ 510490 w 514980"/>
                    <a:gd name="connsiteY9" fmla="*/ 443346 h 448513"/>
                    <a:gd name="connsiteX10" fmla="*/ 8840 w 514980"/>
                    <a:gd name="connsiteY10" fmla="*/ 436996 h 448513"/>
                    <a:gd name="connsiteX0" fmla="*/ 8840 w 514980"/>
                    <a:gd name="connsiteY0" fmla="*/ 436996 h 448513"/>
                    <a:gd name="connsiteX1" fmla="*/ 5665 w 514980"/>
                    <a:gd name="connsiteY1" fmla="*/ 211571 h 448513"/>
                    <a:gd name="connsiteX2" fmla="*/ 62412 w 514980"/>
                    <a:gd name="connsiteY2" fmla="*/ 124015 h 448513"/>
                    <a:gd name="connsiteX3" fmla="*/ 186237 w 514980"/>
                    <a:gd name="connsiteY3" fmla="*/ 85915 h 448513"/>
                    <a:gd name="connsiteX4" fmla="*/ 205690 w 514980"/>
                    <a:gd name="connsiteY4" fmla="*/ 5196 h 448513"/>
                    <a:gd name="connsiteX5" fmla="*/ 325550 w 514980"/>
                    <a:gd name="connsiteY5" fmla="*/ 4208 h 448513"/>
                    <a:gd name="connsiteX6" fmla="*/ 351353 w 514980"/>
                    <a:gd name="connsiteY6" fmla="*/ 90499 h 448513"/>
                    <a:gd name="connsiteX7" fmla="*/ 461084 w 514980"/>
                    <a:gd name="connsiteY7" fmla="*/ 138124 h 448513"/>
                    <a:gd name="connsiteX8" fmla="*/ 513665 w 514980"/>
                    <a:gd name="connsiteY8" fmla="*/ 221096 h 448513"/>
                    <a:gd name="connsiteX9" fmla="*/ 510490 w 514980"/>
                    <a:gd name="connsiteY9" fmla="*/ 443346 h 448513"/>
                    <a:gd name="connsiteX10" fmla="*/ 8840 w 514980"/>
                    <a:gd name="connsiteY10" fmla="*/ 436996 h 448513"/>
                    <a:gd name="connsiteX0" fmla="*/ 8840 w 514980"/>
                    <a:gd name="connsiteY0" fmla="*/ 436996 h 448513"/>
                    <a:gd name="connsiteX1" fmla="*/ 5665 w 514980"/>
                    <a:gd name="connsiteY1" fmla="*/ 211571 h 448513"/>
                    <a:gd name="connsiteX2" fmla="*/ 62412 w 514980"/>
                    <a:gd name="connsiteY2" fmla="*/ 124015 h 448513"/>
                    <a:gd name="connsiteX3" fmla="*/ 168766 w 514980"/>
                    <a:gd name="connsiteY3" fmla="*/ 88102 h 448513"/>
                    <a:gd name="connsiteX4" fmla="*/ 205690 w 514980"/>
                    <a:gd name="connsiteY4" fmla="*/ 5196 h 448513"/>
                    <a:gd name="connsiteX5" fmla="*/ 325550 w 514980"/>
                    <a:gd name="connsiteY5" fmla="*/ 4208 h 448513"/>
                    <a:gd name="connsiteX6" fmla="*/ 351353 w 514980"/>
                    <a:gd name="connsiteY6" fmla="*/ 90499 h 448513"/>
                    <a:gd name="connsiteX7" fmla="*/ 461084 w 514980"/>
                    <a:gd name="connsiteY7" fmla="*/ 138124 h 448513"/>
                    <a:gd name="connsiteX8" fmla="*/ 513665 w 514980"/>
                    <a:gd name="connsiteY8" fmla="*/ 221096 h 448513"/>
                    <a:gd name="connsiteX9" fmla="*/ 510490 w 514980"/>
                    <a:gd name="connsiteY9" fmla="*/ 443346 h 448513"/>
                    <a:gd name="connsiteX10" fmla="*/ 8840 w 514980"/>
                    <a:gd name="connsiteY10" fmla="*/ 436996 h 448513"/>
                    <a:gd name="connsiteX0" fmla="*/ 8840 w 514980"/>
                    <a:gd name="connsiteY0" fmla="*/ 440628 h 452145"/>
                    <a:gd name="connsiteX1" fmla="*/ 5665 w 514980"/>
                    <a:gd name="connsiteY1" fmla="*/ 215203 h 452145"/>
                    <a:gd name="connsiteX2" fmla="*/ 62412 w 514980"/>
                    <a:gd name="connsiteY2" fmla="*/ 127647 h 452145"/>
                    <a:gd name="connsiteX3" fmla="*/ 168766 w 514980"/>
                    <a:gd name="connsiteY3" fmla="*/ 91734 h 452145"/>
                    <a:gd name="connsiteX4" fmla="*/ 179484 w 514980"/>
                    <a:gd name="connsiteY4" fmla="*/ 4454 h 452145"/>
                    <a:gd name="connsiteX5" fmla="*/ 325550 w 514980"/>
                    <a:gd name="connsiteY5" fmla="*/ 7840 h 452145"/>
                    <a:gd name="connsiteX6" fmla="*/ 351353 w 514980"/>
                    <a:gd name="connsiteY6" fmla="*/ 94131 h 452145"/>
                    <a:gd name="connsiteX7" fmla="*/ 461084 w 514980"/>
                    <a:gd name="connsiteY7" fmla="*/ 141756 h 452145"/>
                    <a:gd name="connsiteX8" fmla="*/ 513665 w 514980"/>
                    <a:gd name="connsiteY8" fmla="*/ 224728 h 452145"/>
                    <a:gd name="connsiteX9" fmla="*/ 510490 w 514980"/>
                    <a:gd name="connsiteY9" fmla="*/ 446978 h 452145"/>
                    <a:gd name="connsiteX10" fmla="*/ 8840 w 514980"/>
                    <a:gd name="connsiteY10" fmla="*/ 440628 h 452145"/>
                    <a:gd name="connsiteX0" fmla="*/ 8840 w 514980"/>
                    <a:gd name="connsiteY0" fmla="*/ 442422 h 453939"/>
                    <a:gd name="connsiteX1" fmla="*/ 5665 w 514980"/>
                    <a:gd name="connsiteY1" fmla="*/ 216997 h 453939"/>
                    <a:gd name="connsiteX2" fmla="*/ 62412 w 514980"/>
                    <a:gd name="connsiteY2" fmla="*/ 129441 h 453939"/>
                    <a:gd name="connsiteX3" fmla="*/ 168766 w 514980"/>
                    <a:gd name="connsiteY3" fmla="*/ 93528 h 453939"/>
                    <a:gd name="connsiteX4" fmla="*/ 179484 w 514980"/>
                    <a:gd name="connsiteY4" fmla="*/ 6248 h 453939"/>
                    <a:gd name="connsiteX5" fmla="*/ 351756 w 514980"/>
                    <a:gd name="connsiteY5" fmla="*/ 886 h 453939"/>
                    <a:gd name="connsiteX6" fmla="*/ 351353 w 514980"/>
                    <a:gd name="connsiteY6" fmla="*/ 95925 h 453939"/>
                    <a:gd name="connsiteX7" fmla="*/ 461084 w 514980"/>
                    <a:gd name="connsiteY7" fmla="*/ 143550 h 453939"/>
                    <a:gd name="connsiteX8" fmla="*/ 513665 w 514980"/>
                    <a:gd name="connsiteY8" fmla="*/ 226522 h 453939"/>
                    <a:gd name="connsiteX9" fmla="*/ 510490 w 514980"/>
                    <a:gd name="connsiteY9" fmla="*/ 448772 h 453939"/>
                    <a:gd name="connsiteX10" fmla="*/ 8840 w 514980"/>
                    <a:gd name="connsiteY10" fmla="*/ 442422 h 453939"/>
                    <a:gd name="connsiteX0" fmla="*/ 8840 w 514980"/>
                    <a:gd name="connsiteY0" fmla="*/ 442422 h 453939"/>
                    <a:gd name="connsiteX1" fmla="*/ 5665 w 514980"/>
                    <a:gd name="connsiteY1" fmla="*/ 216997 h 453939"/>
                    <a:gd name="connsiteX2" fmla="*/ 62412 w 514980"/>
                    <a:gd name="connsiteY2" fmla="*/ 129441 h 453939"/>
                    <a:gd name="connsiteX3" fmla="*/ 168766 w 514980"/>
                    <a:gd name="connsiteY3" fmla="*/ 93528 h 453939"/>
                    <a:gd name="connsiteX4" fmla="*/ 179484 w 514980"/>
                    <a:gd name="connsiteY4" fmla="*/ 6248 h 453939"/>
                    <a:gd name="connsiteX5" fmla="*/ 351756 w 514980"/>
                    <a:gd name="connsiteY5" fmla="*/ 886 h 453939"/>
                    <a:gd name="connsiteX6" fmla="*/ 366640 w 514980"/>
                    <a:gd name="connsiteY6" fmla="*/ 100299 h 453939"/>
                    <a:gd name="connsiteX7" fmla="*/ 461084 w 514980"/>
                    <a:gd name="connsiteY7" fmla="*/ 143550 h 453939"/>
                    <a:gd name="connsiteX8" fmla="*/ 513665 w 514980"/>
                    <a:gd name="connsiteY8" fmla="*/ 226522 h 453939"/>
                    <a:gd name="connsiteX9" fmla="*/ 510490 w 514980"/>
                    <a:gd name="connsiteY9" fmla="*/ 448772 h 453939"/>
                    <a:gd name="connsiteX10" fmla="*/ 8840 w 514980"/>
                    <a:gd name="connsiteY10" fmla="*/ 442422 h 453939"/>
                    <a:gd name="connsiteX0" fmla="*/ 8840 w 514980"/>
                    <a:gd name="connsiteY0" fmla="*/ 442422 h 450476"/>
                    <a:gd name="connsiteX1" fmla="*/ 5665 w 514980"/>
                    <a:gd name="connsiteY1" fmla="*/ 216997 h 450476"/>
                    <a:gd name="connsiteX2" fmla="*/ 62412 w 514980"/>
                    <a:gd name="connsiteY2" fmla="*/ 129441 h 450476"/>
                    <a:gd name="connsiteX3" fmla="*/ 168766 w 514980"/>
                    <a:gd name="connsiteY3" fmla="*/ 93528 h 450476"/>
                    <a:gd name="connsiteX4" fmla="*/ 179484 w 514980"/>
                    <a:gd name="connsiteY4" fmla="*/ 6248 h 450476"/>
                    <a:gd name="connsiteX5" fmla="*/ 351756 w 514980"/>
                    <a:gd name="connsiteY5" fmla="*/ 886 h 450476"/>
                    <a:gd name="connsiteX6" fmla="*/ 366640 w 514980"/>
                    <a:gd name="connsiteY6" fmla="*/ 100299 h 450476"/>
                    <a:gd name="connsiteX7" fmla="*/ 461084 w 514980"/>
                    <a:gd name="connsiteY7" fmla="*/ 143550 h 450476"/>
                    <a:gd name="connsiteX8" fmla="*/ 513665 w 514980"/>
                    <a:gd name="connsiteY8" fmla="*/ 226522 h 450476"/>
                    <a:gd name="connsiteX9" fmla="*/ 510490 w 514980"/>
                    <a:gd name="connsiteY9" fmla="*/ 448772 h 450476"/>
                    <a:gd name="connsiteX10" fmla="*/ 8840 w 514980"/>
                    <a:gd name="connsiteY10" fmla="*/ 442422 h 450476"/>
                    <a:gd name="connsiteX0" fmla="*/ 8840 w 514980"/>
                    <a:gd name="connsiteY0" fmla="*/ 442422 h 448772"/>
                    <a:gd name="connsiteX1" fmla="*/ 5665 w 514980"/>
                    <a:gd name="connsiteY1" fmla="*/ 216997 h 448772"/>
                    <a:gd name="connsiteX2" fmla="*/ 62412 w 514980"/>
                    <a:gd name="connsiteY2" fmla="*/ 129441 h 448772"/>
                    <a:gd name="connsiteX3" fmla="*/ 168766 w 514980"/>
                    <a:gd name="connsiteY3" fmla="*/ 93528 h 448772"/>
                    <a:gd name="connsiteX4" fmla="*/ 179484 w 514980"/>
                    <a:gd name="connsiteY4" fmla="*/ 6248 h 448772"/>
                    <a:gd name="connsiteX5" fmla="*/ 351756 w 514980"/>
                    <a:gd name="connsiteY5" fmla="*/ 886 h 448772"/>
                    <a:gd name="connsiteX6" fmla="*/ 366640 w 514980"/>
                    <a:gd name="connsiteY6" fmla="*/ 100299 h 448772"/>
                    <a:gd name="connsiteX7" fmla="*/ 461084 w 514980"/>
                    <a:gd name="connsiteY7" fmla="*/ 143550 h 448772"/>
                    <a:gd name="connsiteX8" fmla="*/ 513665 w 514980"/>
                    <a:gd name="connsiteY8" fmla="*/ 226522 h 448772"/>
                    <a:gd name="connsiteX9" fmla="*/ 510490 w 514980"/>
                    <a:gd name="connsiteY9" fmla="*/ 448772 h 448772"/>
                    <a:gd name="connsiteX10" fmla="*/ 8840 w 514980"/>
                    <a:gd name="connsiteY10" fmla="*/ 442422 h 448772"/>
                    <a:gd name="connsiteX0" fmla="*/ 8840 w 514980"/>
                    <a:gd name="connsiteY0" fmla="*/ 442422 h 448772"/>
                    <a:gd name="connsiteX1" fmla="*/ 5665 w 514980"/>
                    <a:gd name="connsiteY1" fmla="*/ 216997 h 448772"/>
                    <a:gd name="connsiteX2" fmla="*/ 62412 w 514980"/>
                    <a:gd name="connsiteY2" fmla="*/ 129441 h 448772"/>
                    <a:gd name="connsiteX3" fmla="*/ 168766 w 514980"/>
                    <a:gd name="connsiteY3" fmla="*/ 93528 h 448772"/>
                    <a:gd name="connsiteX4" fmla="*/ 179484 w 514980"/>
                    <a:gd name="connsiteY4" fmla="*/ 6248 h 448772"/>
                    <a:gd name="connsiteX5" fmla="*/ 351756 w 514980"/>
                    <a:gd name="connsiteY5" fmla="*/ 886 h 448772"/>
                    <a:gd name="connsiteX6" fmla="*/ 357905 w 514980"/>
                    <a:gd name="connsiteY6" fmla="*/ 98112 h 448772"/>
                    <a:gd name="connsiteX7" fmla="*/ 461084 w 514980"/>
                    <a:gd name="connsiteY7" fmla="*/ 143550 h 448772"/>
                    <a:gd name="connsiteX8" fmla="*/ 513665 w 514980"/>
                    <a:gd name="connsiteY8" fmla="*/ 226522 h 448772"/>
                    <a:gd name="connsiteX9" fmla="*/ 510490 w 514980"/>
                    <a:gd name="connsiteY9" fmla="*/ 448772 h 448772"/>
                    <a:gd name="connsiteX10" fmla="*/ 8840 w 514980"/>
                    <a:gd name="connsiteY10" fmla="*/ 442422 h 448772"/>
                    <a:gd name="connsiteX0" fmla="*/ 8840 w 514980"/>
                    <a:gd name="connsiteY0" fmla="*/ 442422 h 448772"/>
                    <a:gd name="connsiteX1" fmla="*/ 5665 w 514980"/>
                    <a:gd name="connsiteY1" fmla="*/ 216997 h 448772"/>
                    <a:gd name="connsiteX2" fmla="*/ 62412 w 514980"/>
                    <a:gd name="connsiteY2" fmla="*/ 129441 h 448772"/>
                    <a:gd name="connsiteX3" fmla="*/ 168766 w 514980"/>
                    <a:gd name="connsiteY3" fmla="*/ 93528 h 448772"/>
                    <a:gd name="connsiteX4" fmla="*/ 179484 w 514980"/>
                    <a:gd name="connsiteY4" fmla="*/ 6248 h 448772"/>
                    <a:gd name="connsiteX5" fmla="*/ 351756 w 514980"/>
                    <a:gd name="connsiteY5" fmla="*/ 886 h 448772"/>
                    <a:gd name="connsiteX6" fmla="*/ 357905 w 514980"/>
                    <a:gd name="connsiteY6" fmla="*/ 98112 h 448772"/>
                    <a:gd name="connsiteX7" fmla="*/ 454533 w 514980"/>
                    <a:gd name="connsiteY7" fmla="*/ 136989 h 448772"/>
                    <a:gd name="connsiteX8" fmla="*/ 513665 w 514980"/>
                    <a:gd name="connsiteY8" fmla="*/ 226522 h 448772"/>
                    <a:gd name="connsiteX9" fmla="*/ 510490 w 514980"/>
                    <a:gd name="connsiteY9" fmla="*/ 448772 h 448772"/>
                    <a:gd name="connsiteX10" fmla="*/ 8840 w 514980"/>
                    <a:gd name="connsiteY10" fmla="*/ 442422 h 448772"/>
                    <a:gd name="connsiteX0" fmla="*/ 8840 w 514980"/>
                    <a:gd name="connsiteY0" fmla="*/ 442422 h 448772"/>
                    <a:gd name="connsiteX1" fmla="*/ 5665 w 514980"/>
                    <a:gd name="connsiteY1" fmla="*/ 216997 h 448772"/>
                    <a:gd name="connsiteX2" fmla="*/ 62412 w 514980"/>
                    <a:gd name="connsiteY2" fmla="*/ 129441 h 448772"/>
                    <a:gd name="connsiteX3" fmla="*/ 168766 w 514980"/>
                    <a:gd name="connsiteY3" fmla="*/ 93528 h 448772"/>
                    <a:gd name="connsiteX4" fmla="*/ 179484 w 514980"/>
                    <a:gd name="connsiteY4" fmla="*/ 6248 h 448772"/>
                    <a:gd name="connsiteX5" fmla="*/ 351756 w 514980"/>
                    <a:gd name="connsiteY5" fmla="*/ 886 h 448772"/>
                    <a:gd name="connsiteX6" fmla="*/ 357905 w 514980"/>
                    <a:gd name="connsiteY6" fmla="*/ 98112 h 448772"/>
                    <a:gd name="connsiteX7" fmla="*/ 454533 w 514980"/>
                    <a:gd name="connsiteY7" fmla="*/ 136989 h 448772"/>
                    <a:gd name="connsiteX8" fmla="*/ 513665 w 514980"/>
                    <a:gd name="connsiteY8" fmla="*/ 226522 h 448772"/>
                    <a:gd name="connsiteX9" fmla="*/ 510490 w 514980"/>
                    <a:gd name="connsiteY9" fmla="*/ 448772 h 448772"/>
                    <a:gd name="connsiteX10" fmla="*/ 8840 w 514980"/>
                    <a:gd name="connsiteY10" fmla="*/ 442422 h 448772"/>
                    <a:gd name="connsiteX0" fmla="*/ 8840 w 514980"/>
                    <a:gd name="connsiteY0" fmla="*/ 442422 h 448772"/>
                    <a:gd name="connsiteX1" fmla="*/ 5665 w 514980"/>
                    <a:gd name="connsiteY1" fmla="*/ 216997 h 448772"/>
                    <a:gd name="connsiteX2" fmla="*/ 62412 w 514980"/>
                    <a:gd name="connsiteY2" fmla="*/ 129441 h 448772"/>
                    <a:gd name="connsiteX3" fmla="*/ 168766 w 514980"/>
                    <a:gd name="connsiteY3" fmla="*/ 93528 h 448772"/>
                    <a:gd name="connsiteX4" fmla="*/ 179484 w 514980"/>
                    <a:gd name="connsiteY4" fmla="*/ 6248 h 448772"/>
                    <a:gd name="connsiteX5" fmla="*/ 351756 w 514980"/>
                    <a:gd name="connsiteY5" fmla="*/ 886 h 448772"/>
                    <a:gd name="connsiteX6" fmla="*/ 357905 w 514980"/>
                    <a:gd name="connsiteY6" fmla="*/ 98112 h 448772"/>
                    <a:gd name="connsiteX7" fmla="*/ 454533 w 514980"/>
                    <a:gd name="connsiteY7" fmla="*/ 136989 h 448772"/>
                    <a:gd name="connsiteX8" fmla="*/ 513665 w 514980"/>
                    <a:gd name="connsiteY8" fmla="*/ 226522 h 448772"/>
                    <a:gd name="connsiteX9" fmla="*/ 510490 w 514980"/>
                    <a:gd name="connsiteY9" fmla="*/ 448772 h 448772"/>
                    <a:gd name="connsiteX10" fmla="*/ 8840 w 514980"/>
                    <a:gd name="connsiteY10" fmla="*/ 442422 h 448772"/>
                    <a:gd name="connsiteX0" fmla="*/ 8840 w 514980"/>
                    <a:gd name="connsiteY0" fmla="*/ 442422 h 448772"/>
                    <a:gd name="connsiteX1" fmla="*/ 5665 w 514980"/>
                    <a:gd name="connsiteY1" fmla="*/ 216997 h 448772"/>
                    <a:gd name="connsiteX2" fmla="*/ 62412 w 514980"/>
                    <a:gd name="connsiteY2" fmla="*/ 129441 h 448772"/>
                    <a:gd name="connsiteX3" fmla="*/ 168766 w 514980"/>
                    <a:gd name="connsiteY3" fmla="*/ 93528 h 448772"/>
                    <a:gd name="connsiteX4" fmla="*/ 179484 w 514980"/>
                    <a:gd name="connsiteY4" fmla="*/ 6248 h 448772"/>
                    <a:gd name="connsiteX5" fmla="*/ 351756 w 514980"/>
                    <a:gd name="connsiteY5" fmla="*/ 886 h 448772"/>
                    <a:gd name="connsiteX6" fmla="*/ 353538 w 514980"/>
                    <a:gd name="connsiteY6" fmla="*/ 98112 h 448772"/>
                    <a:gd name="connsiteX7" fmla="*/ 454533 w 514980"/>
                    <a:gd name="connsiteY7" fmla="*/ 136989 h 448772"/>
                    <a:gd name="connsiteX8" fmla="*/ 513665 w 514980"/>
                    <a:gd name="connsiteY8" fmla="*/ 226522 h 448772"/>
                    <a:gd name="connsiteX9" fmla="*/ 510490 w 514980"/>
                    <a:gd name="connsiteY9" fmla="*/ 448772 h 448772"/>
                    <a:gd name="connsiteX10" fmla="*/ 8840 w 514980"/>
                    <a:gd name="connsiteY10" fmla="*/ 442422 h 448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14980" h="448772">
                      <a:moveTo>
                        <a:pt x="8840" y="442422"/>
                      </a:moveTo>
                      <a:cubicBezTo>
                        <a:pt x="-1214" y="377864"/>
                        <a:pt x="-3264" y="269160"/>
                        <a:pt x="5665" y="216997"/>
                      </a:cubicBezTo>
                      <a:cubicBezTo>
                        <a:pt x="14594" y="164834"/>
                        <a:pt x="35229" y="150019"/>
                        <a:pt x="62412" y="129441"/>
                      </a:cubicBezTo>
                      <a:cubicBezTo>
                        <a:pt x="89595" y="108863"/>
                        <a:pt x="149254" y="114060"/>
                        <a:pt x="168766" y="93528"/>
                      </a:cubicBezTo>
                      <a:cubicBezTo>
                        <a:pt x="188278" y="72996"/>
                        <a:pt x="189023" y="43922"/>
                        <a:pt x="179484" y="6248"/>
                      </a:cubicBezTo>
                      <a:cubicBezTo>
                        <a:pt x="202703" y="-7370"/>
                        <a:pt x="323111" y="6352"/>
                        <a:pt x="351756" y="886"/>
                      </a:cubicBezTo>
                      <a:cubicBezTo>
                        <a:pt x="354195" y="39159"/>
                        <a:pt x="342961" y="75428"/>
                        <a:pt x="353538" y="98112"/>
                      </a:cubicBezTo>
                      <a:cubicBezTo>
                        <a:pt x="364115" y="120796"/>
                        <a:pt x="427845" y="115587"/>
                        <a:pt x="454533" y="136989"/>
                      </a:cubicBezTo>
                      <a:cubicBezTo>
                        <a:pt x="481221" y="158391"/>
                        <a:pt x="503611" y="177839"/>
                        <a:pt x="513665" y="226522"/>
                      </a:cubicBezTo>
                      <a:cubicBezTo>
                        <a:pt x="516840" y="276264"/>
                        <a:pt x="513665" y="323360"/>
                        <a:pt x="510490" y="448772"/>
                      </a:cubicBezTo>
                      <a:lnTo>
                        <a:pt x="8840" y="442422"/>
                      </a:lnTo>
                      <a:close/>
                    </a:path>
                  </a:pathLst>
                </a:custGeom>
                <a:grpFill/>
                <a:ln w="571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196" name="Oval 195">
                  <a:extLst>
                    <a:ext uri="{FF2B5EF4-FFF2-40B4-BE49-F238E27FC236}">
                      <a16:creationId xmlns:a16="http://schemas.microsoft.com/office/drawing/2014/main" id="{6D4A5952-A61C-7349-91E0-DE6E4732B8AC}"/>
                    </a:ext>
                  </a:extLst>
                </p:cNvPr>
                <p:cNvSpPr/>
                <p:nvPr/>
              </p:nvSpPr>
              <p:spPr>
                <a:xfrm>
                  <a:off x="1971467" y="3508300"/>
                  <a:ext cx="282088" cy="336550"/>
                </a:xfrm>
                <a:prstGeom prst="ellipse">
                  <a:avLst/>
                </a:prstGeom>
                <a:grpFill/>
                <a:ln w="571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grpSp>
          <p:grpSp>
            <p:nvGrpSpPr>
              <p:cNvPr id="192" name="Group 191">
                <a:extLst>
                  <a:ext uri="{FF2B5EF4-FFF2-40B4-BE49-F238E27FC236}">
                    <a16:creationId xmlns:a16="http://schemas.microsoft.com/office/drawing/2014/main" id="{A03F48EE-E8C6-F74E-B090-F2AD0D02480C}"/>
                  </a:ext>
                </a:extLst>
              </p:cNvPr>
              <p:cNvGrpSpPr/>
              <p:nvPr/>
            </p:nvGrpSpPr>
            <p:grpSpPr>
              <a:xfrm>
                <a:off x="1553120" y="3388644"/>
                <a:ext cx="633802" cy="938165"/>
                <a:chOff x="1806977" y="3500843"/>
                <a:chExt cx="539989" cy="738018"/>
              </a:xfrm>
            </p:grpSpPr>
            <p:sp>
              <p:nvSpPr>
                <p:cNvPr id="193" name="Freeform 192">
                  <a:extLst>
                    <a:ext uri="{FF2B5EF4-FFF2-40B4-BE49-F238E27FC236}">
                      <a16:creationId xmlns:a16="http://schemas.microsoft.com/office/drawing/2014/main" id="{1289024B-67F0-F945-A653-60E2C896E645}"/>
                    </a:ext>
                  </a:extLst>
                </p:cNvPr>
                <p:cNvSpPr/>
                <p:nvPr/>
              </p:nvSpPr>
              <p:spPr>
                <a:xfrm>
                  <a:off x="1806977" y="3782373"/>
                  <a:ext cx="539989" cy="456488"/>
                </a:xfrm>
                <a:custGeom>
                  <a:avLst/>
                  <a:gdLst>
                    <a:gd name="connsiteX0" fmla="*/ 36807 w 576731"/>
                    <a:gd name="connsiteY0" fmla="*/ 449906 h 505924"/>
                    <a:gd name="connsiteX1" fmla="*/ 39982 w 576731"/>
                    <a:gd name="connsiteY1" fmla="*/ 214956 h 505924"/>
                    <a:gd name="connsiteX2" fmla="*/ 55857 w 576731"/>
                    <a:gd name="connsiteY2" fmla="*/ 176856 h 505924"/>
                    <a:gd name="connsiteX3" fmla="*/ 103482 w 576731"/>
                    <a:gd name="connsiteY3" fmla="*/ 160981 h 505924"/>
                    <a:gd name="connsiteX4" fmla="*/ 205082 w 576731"/>
                    <a:gd name="connsiteY4" fmla="*/ 154631 h 505924"/>
                    <a:gd name="connsiteX5" fmla="*/ 230482 w 576731"/>
                    <a:gd name="connsiteY5" fmla="*/ 151456 h 505924"/>
                    <a:gd name="connsiteX6" fmla="*/ 233657 w 576731"/>
                    <a:gd name="connsiteY6" fmla="*/ 18106 h 505924"/>
                    <a:gd name="connsiteX7" fmla="*/ 344782 w 576731"/>
                    <a:gd name="connsiteY7" fmla="*/ 14931 h 505924"/>
                    <a:gd name="connsiteX8" fmla="*/ 344782 w 576731"/>
                    <a:gd name="connsiteY8" fmla="*/ 145106 h 505924"/>
                    <a:gd name="connsiteX9" fmla="*/ 386057 w 576731"/>
                    <a:gd name="connsiteY9" fmla="*/ 151456 h 505924"/>
                    <a:gd name="connsiteX10" fmla="*/ 478132 w 576731"/>
                    <a:gd name="connsiteY10" fmla="*/ 164156 h 505924"/>
                    <a:gd name="connsiteX11" fmla="*/ 519407 w 576731"/>
                    <a:gd name="connsiteY11" fmla="*/ 189556 h 505924"/>
                    <a:gd name="connsiteX12" fmla="*/ 541632 w 576731"/>
                    <a:gd name="connsiteY12" fmla="*/ 234006 h 505924"/>
                    <a:gd name="connsiteX13" fmla="*/ 538457 w 576731"/>
                    <a:gd name="connsiteY13" fmla="*/ 488006 h 505924"/>
                    <a:gd name="connsiteX14" fmla="*/ 36807 w 576731"/>
                    <a:gd name="connsiteY14" fmla="*/ 449906 h 505924"/>
                    <a:gd name="connsiteX0" fmla="*/ 5769 w 545693"/>
                    <a:gd name="connsiteY0" fmla="*/ 449906 h 505924"/>
                    <a:gd name="connsiteX1" fmla="*/ 8944 w 545693"/>
                    <a:gd name="connsiteY1" fmla="*/ 214956 h 505924"/>
                    <a:gd name="connsiteX2" fmla="*/ 24819 w 545693"/>
                    <a:gd name="connsiteY2" fmla="*/ 176856 h 505924"/>
                    <a:gd name="connsiteX3" fmla="*/ 72444 w 545693"/>
                    <a:gd name="connsiteY3" fmla="*/ 160981 h 505924"/>
                    <a:gd name="connsiteX4" fmla="*/ 174044 w 545693"/>
                    <a:gd name="connsiteY4" fmla="*/ 154631 h 505924"/>
                    <a:gd name="connsiteX5" fmla="*/ 199444 w 545693"/>
                    <a:gd name="connsiteY5" fmla="*/ 151456 h 505924"/>
                    <a:gd name="connsiteX6" fmla="*/ 202619 w 545693"/>
                    <a:gd name="connsiteY6" fmla="*/ 18106 h 505924"/>
                    <a:gd name="connsiteX7" fmla="*/ 313744 w 545693"/>
                    <a:gd name="connsiteY7" fmla="*/ 14931 h 505924"/>
                    <a:gd name="connsiteX8" fmla="*/ 313744 w 545693"/>
                    <a:gd name="connsiteY8" fmla="*/ 145106 h 505924"/>
                    <a:gd name="connsiteX9" fmla="*/ 355019 w 545693"/>
                    <a:gd name="connsiteY9" fmla="*/ 151456 h 505924"/>
                    <a:gd name="connsiteX10" fmla="*/ 447094 w 545693"/>
                    <a:gd name="connsiteY10" fmla="*/ 164156 h 505924"/>
                    <a:gd name="connsiteX11" fmla="*/ 488369 w 545693"/>
                    <a:gd name="connsiteY11" fmla="*/ 189556 h 505924"/>
                    <a:gd name="connsiteX12" fmla="*/ 510594 w 545693"/>
                    <a:gd name="connsiteY12" fmla="*/ 234006 h 505924"/>
                    <a:gd name="connsiteX13" fmla="*/ 507419 w 545693"/>
                    <a:gd name="connsiteY13" fmla="*/ 488006 h 505924"/>
                    <a:gd name="connsiteX14" fmla="*/ 5769 w 545693"/>
                    <a:gd name="connsiteY14" fmla="*/ 449906 h 505924"/>
                    <a:gd name="connsiteX0" fmla="*/ 21286 w 561210"/>
                    <a:gd name="connsiteY0" fmla="*/ 449906 h 508025"/>
                    <a:gd name="connsiteX1" fmla="*/ 24461 w 561210"/>
                    <a:gd name="connsiteY1" fmla="*/ 214956 h 508025"/>
                    <a:gd name="connsiteX2" fmla="*/ 40336 w 561210"/>
                    <a:gd name="connsiteY2" fmla="*/ 176856 h 508025"/>
                    <a:gd name="connsiteX3" fmla="*/ 87961 w 561210"/>
                    <a:gd name="connsiteY3" fmla="*/ 160981 h 508025"/>
                    <a:gd name="connsiteX4" fmla="*/ 189561 w 561210"/>
                    <a:gd name="connsiteY4" fmla="*/ 154631 h 508025"/>
                    <a:gd name="connsiteX5" fmla="*/ 214961 w 561210"/>
                    <a:gd name="connsiteY5" fmla="*/ 151456 h 508025"/>
                    <a:gd name="connsiteX6" fmla="*/ 218136 w 561210"/>
                    <a:gd name="connsiteY6" fmla="*/ 18106 h 508025"/>
                    <a:gd name="connsiteX7" fmla="*/ 329261 w 561210"/>
                    <a:gd name="connsiteY7" fmla="*/ 14931 h 508025"/>
                    <a:gd name="connsiteX8" fmla="*/ 329261 w 561210"/>
                    <a:gd name="connsiteY8" fmla="*/ 145106 h 508025"/>
                    <a:gd name="connsiteX9" fmla="*/ 370536 w 561210"/>
                    <a:gd name="connsiteY9" fmla="*/ 151456 h 508025"/>
                    <a:gd name="connsiteX10" fmla="*/ 462611 w 561210"/>
                    <a:gd name="connsiteY10" fmla="*/ 164156 h 508025"/>
                    <a:gd name="connsiteX11" fmla="*/ 503886 w 561210"/>
                    <a:gd name="connsiteY11" fmla="*/ 189556 h 508025"/>
                    <a:gd name="connsiteX12" fmla="*/ 526111 w 561210"/>
                    <a:gd name="connsiteY12" fmla="*/ 234006 h 508025"/>
                    <a:gd name="connsiteX13" fmla="*/ 522936 w 561210"/>
                    <a:gd name="connsiteY13" fmla="*/ 488006 h 508025"/>
                    <a:gd name="connsiteX14" fmla="*/ 21286 w 561210"/>
                    <a:gd name="connsiteY14" fmla="*/ 449906 h 508025"/>
                    <a:gd name="connsiteX0" fmla="*/ 21286 w 561210"/>
                    <a:gd name="connsiteY0" fmla="*/ 449906 h 508025"/>
                    <a:gd name="connsiteX1" fmla="*/ 24461 w 561210"/>
                    <a:gd name="connsiteY1" fmla="*/ 214956 h 508025"/>
                    <a:gd name="connsiteX2" fmla="*/ 40336 w 561210"/>
                    <a:gd name="connsiteY2" fmla="*/ 176856 h 508025"/>
                    <a:gd name="connsiteX3" fmla="*/ 87961 w 561210"/>
                    <a:gd name="connsiteY3" fmla="*/ 160981 h 508025"/>
                    <a:gd name="connsiteX4" fmla="*/ 189561 w 561210"/>
                    <a:gd name="connsiteY4" fmla="*/ 154631 h 508025"/>
                    <a:gd name="connsiteX5" fmla="*/ 214961 w 561210"/>
                    <a:gd name="connsiteY5" fmla="*/ 151456 h 508025"/>
                    <a:gd name="connsiteX6" fmla="*/ 218136 w 561210"/>
                    <a:gd name="connsiteY6" fmla="*/ 18106 h 508025"/>
                    <a:gd name="connsiteX7" fmla="*/ 329261 w 561210"/>
                    <a:gd name="connsiteY7" fmla="*/ 14931 h 508025"/>
                    <a:gd name="connsiteX8" fmla="*/ 329261 w 561210"/>
                    <a:gd name="connsiteY8" fmla="*/ 145106 h 508025"/>
                    <a:gd name="connsiteX9" fmla="*/ 370536 w 561210"/>
                    <a:gd name="connsiteY9" fmla="*/ 151456 h 508025"/>
                    <a:gd name="connsiteX10" fmla="*/ 462611 w 561210"/>
                    <a:gd name="connsiteY10" fmla="*/ 164156 h 508025"/>
                    <a:gd name="connsiteX11" fmla="*/ 503886 w 561210"/>
                    <a:gd name="connsiteY11" fmla="*/ 189556 h 508025"/>
                    <a:gd name="connsiteX12" fmla="*/ 526111 w 561210"/>
                    <a:gd name="connsiteY12" fmla="*/ 234006 h 508025"/>
                    <a:gd name="connsiteX13" fmla="*/ 522936 w 561210"/>
                    <a:gd name="connsiteY13" fmla="*/ 488006 h 508025"/>
                    <a:gd name="connsiteX14" fmla="*/ 21286 w 561210"/>
                    <a:gd name="connsiteY14" fmla="*/ 449906 h 508025"/>
                    <a:gd name="connsiteX0" fmla="*/ 4360 w 544284"/>
                    <a:gd name="connsiteY0" fmla="*/ 449906 h 508025"/>
                    <a:gd name="connsiteX1" fmla="*/ 7535 w 544284"/>
                    <a:gd name="connsiteY1" fmla="*/ 214956 h 508025"/>
                    <a:gd name="connsiteX2" fmla="*/ 23410 w 544284"/>
                    <a:gd name="connsiteY2" fmla="*/ 176856 h 508025"/>
                    <a:gd name="connsiteX3" fmla="*/ 71035 w 544284"/>
                    <a:gd name="connsiteY3" fmla="*/ 160981 h 508025"/>
                    <a:gd name="connsiteX4" fmla="*/ 172635 w 544284"/>
                    <a:gd name="connsiteY4" fmla="*/ 154631 h 508025"/>
                    <a:gd name="connsiteX5" fmla="*/ 198035 w 544284"/>
                    <a:gd name="connsiteY5" fmla="*/ 151456 h 508025"/>
                    <a:gd name="connsiteX6" fmla="*/ 201210 w 544284"/>
                    <a:gd name="connsiteY6" fmla="*/ 18106 h 508025"/>
                    <a:gd name="connsiteX7" fmla="*/ 312335 w 544284"/>
                    <a:gd name="connsiteY7" fmla="*/ 14931 h 508025"/>
                    <a:gd name="connsiteX8" fmla="*/ 312335 w 544284"/>
                    <a:gd name="connsiteY8" fmla="*/ 145106 h 508025"/>
                    <a:gd name="connsiteX9" fmla="*/ 353610 w 544284"/>
                    <a:gd name="connsiteY9" fmla="*/ 151456 h 508025"/>
                    <a:gd name="connsiteX10" fmla="*/ 445685 w 544284"/>
                    <a:gd name="connsiteY10" fmla="*/ 164156 h 508025"/>
                    <a:gd name="connsiteX11" fmla="*/ 486960 w 544284"/>
                    <a:gd name="connsiteY11" fmla="*/ 189556 h 508025"/>
                    <a:gd name="connsiteX12" fmla="*/ 509185 w 544284"/>
                    <a:gd name="connsiteY12" fmla="*/ 234006 h 508025"/>
                    <a:gd name="connsiteX13" fmla="*/ 506010 w 544284"/>
                    <a:gd name="connsiteY13" fmla="*/ 488006 h 508025"/>
                    <a:gd name="connsiteX14" fmla="*/ 4360 w 544284"/>
                    <a:gd name="connsiteY14" fmla="*/ 449906 h 508025"/>
                    <a:gd name="connsiteX0" fmla="*/ 4360 w 544284"/>
                    <a:gd name="connsiteY0" fmla="*/ 449906 h 500804"/>
                    <a:gd name="connsiteX1" fmla="*/ 7535 w 544284"/>
                    <a:gd name="connsiteY1" fmla="*/ 214956 h 500804"/>
                    <a:gd name="connsiteX2" fmla="*/ 23410 w 544284"/>
                    <a:gd name="connsiteY2" fmla="*/ 176856 h 500804"/>
                    <a:gd name="connsiteX3" fmla="*/ 71035 w 544284"/>
                    <a:gd name="connsiteY3" fmla="*/ 160981 h 500804"/>
                    <a:gd name="connsiteX4" fmla="*/ 172635 w 544284"/>
                    <a:gd name="connsiteY4" fmla="*/ 154631 h 500804"/>
                    <a:gd name="connsiteX5" fmla="*/ 198035 w 544284"/>
                    <a:gd name="connsiteY5" fmla="*/ 151456 h 500804"/>
                    <a:gd name="connsiteX6" fmla="*/ 201210 w 544284"/>
                    <a:gd name="connsiteY6" fmla="*/ 18106 h 500804"/>
                    <a:gd name="connsiteX7" fmla="*/ 312335 w 544284"/>
                    <a:gd name="connsiteY7" fmla="*/ 14931 h 500804"/>
                    <a:gd name="connsiteX8" fmla="*/ 312335 w 544284"/>
                    <a:gd name="connsiteY8" fmla="*/ 145106 h 500804"/>
                    <a:gd name="connsiteX9" fmla="*/ 353610 w 544284"/>
                    <a:gd name="connsiteY9" fmla="*/ 151456 h 500804"/>
                    <a:gd name="connsiteX10" fmla="*/ 445685 w 544284"/>
                    <a:gd name="connsiteY10" fmla="*/ 164156 h 500804"/>
                    <a:gd name="connsiteX11" fmla="*/ 486960 w 544284"/>
                    <a:gd name="connsiteY11" fmla="*/ 189556 h 500804"/>
                    <a:gd name="connsiteX12" fmla="*/ 509185 w 544284"/>
                    <a:gd name="connsiteY12" fmla="*/ 234006 h 500804"/>
                    <a:gd name="connsiteX13" fmla="*/ 506010 w 544284"/>
                    <a:gd name="connsiteY13" fmla="*/ 488006 h 500804"/>
                    <a:gd name="connsiteX14" fmla="*/ 4360 w 544284"/>
                    <a:gd name="connsiteY14" fmla="*/ 449906 h 500804"/>
                    <a:gd name="connsiteX0" fmla="*/ 4360 w 544284"/>
                    <a:gd name="connsiteY0" fmla="*/ 449906 h 500804"/>
                    <a:gd name="connsiteX1" fmla="*/ 7535 w 544284"/>
                    <a:gd name="connsiteY1" fmla="*/ 214956 h 500804"/>
                    <a:gd name="connsiteX2" fmla="*/ 23410 w 544284"/>
                    <a:gd name="connsiteY2" fmla="*/ 176856 h 500804"/>
                    <a:gd name="connsiteX3" fmla="*/ 71035 w 544284"/>
                    <a:gd name="connsiteY3" fmla="*/ 160981 h 500804"/>
                    <a:gd name="connsiteX4" fmla="*/ 172635 w 544284"/>
                    <a:gd name="connsiteY4" fmla="*/ 154631 h 500804"/>
                    <a:gd name="connsiteX5" fmla="*/ 198035 w 544284"/>
                    <a:gd name="connsiteY5" fmla="*/ 151456 h 500804"/>
                    <a:gd name="connsiteX6" fmla="*/ 201210 w 544284"/>
                    <a:gd name="connsiteY6" fmla="*/ 18106 h 500804"/>
                    <a:gd name="connsiteX7" fmla="*/ 312335 w 544284"/>
                    <a:gd name="connsiteY7" fmla="*/ 14931 h 500804"/>
                    <a:gd name="connsiteX8" fmla="*/ 312335 w 544284"/>
                    <a:gd name="connsiteY8" fmla="*/ 145106 h 500804"/>
                    <a:gd name="connsiteX9" fmla="*/ 353610 w 544284"/>
                    <a:gd name="connsiteY9" fmla="*/ 151456 h 500804"/>
                    <a:gd name="connsiteX10" fmla="*/ 445685 w 544284"/>
                    <a:gd name="connsiteY10" fmla="*/ 164156 h 500804"/>
                    <a:gd name="connsiteX11" fmla="*/ 486960 w 544284"/>
                    <a:gd name="connsiteY11" fmla="*/ 189556 h 500804"/>
                    <a:gd name="connsiteX12" fmla="*/ 509185 w 544284"/>
                    <a:gd name="connsiteY12" fmla="*/ 234006 h 500804"/>
                    <a:gd name="connsiteX13" fmla="*/ 506010 w 544284"/>
                    <a:gd name="connsiteY13" fmla="*/ 488006 h 500804"/>
                    <a:gd name="connsiteX14" fmla="*/ 4360 w 544284"/>
                    <a:gd name="connsiteY14" fmla="*/ 449906 h 500804"/>
                    <a:gd name="connsiteX0" fmla="*/ 4360 w 519024"/>
                    <a:gd name="connsiteY0" fmla="*/ 449906 h 500804"/>
                    <a:gd name="connsiteX1" fmla="*/ 7535 w 519024"/>
                    <a:gd name="connsiteY1" fmla="*/ 214956 h 500804"/>
                    <a:gd name="connsiteX2" fmla="*/ 23410 w 519024"/>
                    <a:gd name="connsiteY2" fmla="*/ 176856 h 500804"/>
                    <a:gd name="connsiteX3" fmla="*/ 71035 w 519024"/>
                    <a:gd name="connsiteY3" fmla="*/ 160981 h 500804"/>
                    <a:gd name="connsiteX4" fmla="*/ 172635 w 519024"/>
                    <a:gd name="connsiteY4" fmla="*/ 154631 h 500804"/>
                    <a:gd name="connsiteX5" fmla="*/ 198035 w 519024"/>
                    <a:gd name="connsiteY5" fmla="*/ 151456 h 500804"/>
                    <a:gd name="connsiteX6" fmla="*/ 201210 w 519024"/>
                    <a:gd name="connsiteY6" fmla="*/ 18106 h 500804"/>
                    <a:gd name="connsiteX7" fmla="*/ 312335 w 519024"/>
                    <a:gd name="connsiteY7" fmla="*/ 14931 h 500804"/>
                    <a:gd name="connsiteX8" fmla="*/ 312335 w 519024"/>
                    <a:gd name="connsiteY8" fmla="*/ 145106 h 500804"/>
                    <a:gd name="connsiteX9" fmla="*/ 353610 w 519024"/>
                    <a:gd name="connsiteY9" fmla="*/ 151456 h 500804"/>
                    <a:gd name="connsiteX10" fmla="*/ 445685 w 519024"/>
                    <a:gd name="connsiteY10" fmla="*/ 164156 h 500804"/>
                    <a:gd name="connsiteX11" fmla="*/ 486960 w 519024"/>
                    <a:gd name="connsiteY11" fmla="*/ 189556 h 500804"/>
                    <a:gd name="connsiteX12" fmla="*/ 509185 w 519024"/>
                    <a:gd name="connsiteY12" fmla="*/ 234006 h 500804"/>
                    <a:gd name="connsiteX13" fmla="*/ 506010 w 519024"/>
                    <a:gd name="connsiteY13" fmla="*/ 488006 h 500804"/>
                    <a:gd name="connsiteX14" fmla="*/ 4360 w 519024"/>
                    <a:gd name="connsiteY14" fmla="*/ 449906 h 500804"/>
                    <a:gd name="connsiteX0" fmla="*/ 4360 w 519024"/>
                    <a:gd name="connsiteY0" fmla="*/ 449906 h 488006"/>
                    <a:gd name="connsiteX1" fmla="*/ 7535 w 519024"/>
                    <a:gd name="connsiteY1" fmla="*/ 214956 h 488006"/>
                    <a:gd name="connsiteX2" fmla="*/ 23410 w 519024"/>
                    <a:gd name="connsiteY2" fmla="*/ 176856 h 488006"/>
                    <a:gd name="connsiteX3" fmla="*/ 71035 w 519024"/>
                    <a:gd name="connsiteY3" fmla="*/ 160981 h 488006"/>
                    <a:gd name="connsiteX4" fmla="*/ 172635 w 519024"/>
                    <a:gd name="connsiteY4" fmla="*/ 154631 h 488006"/>
                    <a:gd name="connsiteX5" fmla="*/ 198035 w 519024"/>
                    <a:gd name="connsiteY5" fmla="*/ 151456 h 488006"/>
                    <a:gd name="connsiteX6" fmla="*/ 201210 w 519024"/>
                    <a:gd name="connsiteY6" fmla="*/ 18106 h 488006"/>
                    <a:gd name="connsiteX7" fmla="*/ 312335 w 519024"/>
                    <a:gd name="connsiteY7" fmla="*/ 14931 h 488006"/>
                    <a:gd name="connsiteX8" fmla="*/ 312335 w 519024"/>
                    <a:gd name="connsiteY8" fmla="*/ 145106 h 488006"/>
                    <a:gd name="connsiteX9" fmla="*/ 353610 w 519024"/>
                    <a:gd name="connsiteY9" fmla="*/ 151456 h 488006"/>
                    <a:gd name="connsiteX10" fmla="*/ 445685 w 519024"/>
                    <a:gd name="connsiteY10" fmla="*/ 164156 h 488006"/>
                    <a:gd name="connsiteX11" fmla="*/ 486960 w 519024"/>
                    <a:gd name="connsiteY11" fmla="*/ 189556 h 488006"/>
                    <a:gd name="connsiteX12" fmla="*/ 509185 w 519024"/>
                    <a:gd name="connsiteY12" fmla="*/ 234006 h 488006"/>
                    <a:gd name="connsiteX13" fmla="*/ 506010 w 519024"/>
                    <a:gd name="connsiteY13" fmla="*/ 488006 h 488006"/>
                    <a:gd name="connsiteX14" fmla="*/ 4360 w 519024"/>
                    <a:gd name="connsiteY14" fmla="*/ 449906 h 488006"/>
                    <a:gd name="connsiteX0" fmla="*/ 4360 w 523534"/>
                    <a:gd name="connsiteY0" fmla="*/ 449906 h 472131"/>
                    <a:gd name="connsiteX1" fmla="*/ 7535 w 523534"/>
                    <a:gd name="connsiteY1" fmla="*/ 214956 h 472131"/>
                    <a:gd name="connsiteX2" fmla="*/ 23410 w 523534"/>
                    <a:gd name="connsiteY2" fmla="*/ 176856 h 472131"/>
                    <a:gd name="connsiteX3" fmla="*/ 71035 w 523534"/>
                    <a:gd name="connsiteY3" fmla="*/ 160981 h 472131"/>
                    <a:gd name="connsiteX4" fmla="*/ 172635 w 523534"/>
                    <a:gd name="connsiteY4" fmla="*/ 154631 h 472131"/>
                    <a:gd name="connsiteX5" fmla="*/ 198035 w 523534"/>
                    <a:gd name="connsiteY5" fmla="*/ 151456 h 472131"/>
                    <a:gd name="connsiteX6" fmla="*/ 201210 w 523534"/>
                    <a:gd name="connsiteY6" fmla="*/ 18106 h 472131"/>
                    <a:gd name="connsiteX7" fmla="*/ 312335 w 523534"/>
                    <a:gd name="connsiteY7" fmla="*/ 14931 h 472131"/>
                    <a:gd name="connsiteX8" fmla="*/ 312335 w 523534"/>
                    <a:gd name="connsiteY8" fmla="*/ 145106 h 472131"/>
                    <a:gd name="connsiteX9" fmla="*/ 353610 w 523534"/>
                    <a:gd name="connsiteY9" fmla="*/ 151456 h 472131"/>
                    <a:gd name="connsiteX10" fmla="*/ 445685 w 523534"/>
                    <a:gd name="connsiteY10" fmla="*/ 164156 h 472131"/>
                    <a:gd name="connsiteX11" fmla="*/ 486960 w 523534"/>
                    <a:gd name="connsiteY11" fmla="*/ 189556 h 472131"/>
                    <a:gd name="connsiteX12" fmla="*/ 509185 w 523534"/>
                    <a:gd name="connsiteY12" fmla="*/ 234006 h 472131"/>
                    <a:gd name="connsiteX13" fmla="*/ 512360 w 523534"/>
                    <a:gd name="connsiteY13" fmla="*/ 472131 h 472131"/>
                    <a:gd name="connsiteX14" fmla="*/ 4360 w 523534"/>
                    <a:gd name="connsiteY14" fmla="*/ 449906 h 472131"/>
                    <a:gd name="connsiteX0" fmla="*/ 4360 w 513675"/>
                    <a:gd name="connsiteY0" fmla="*/ 449906 h 472131"/>
                    <a:gd name="connsiteX1" fmla="*/ 7535 w 513675"/>
                    <a:gd name="connsiteY1" fmla="*/ 214956 h 472131"/>
                    <a:gd name="connsiteX2" fmla="*/ 23410 w 513675"/>
                    <a:gd name="connsiteY2" fmla="*/ 176856 h 472131"/>
                    <a:gd name="connsiteX3" fmla="*/ 71035 w 513675"/>
                    <a:gd name="connsiteY3" fmla="*/ 160981 h 472131"/>
                    <a:gd name="connsiteX4" fmla="*/ 172635 w 513675"/>
                    <a:gd name="connsiteY4" fmla="*/ 154631 h 472131"/>
                    <a:gd name="connsiteX5" fmla="*/ 198035 w 513675"/>
                    <a:gd name="connsiteY5" fmla="*/ 151456 h 472131"/>
                    <a:gd name="connsiteX6" fmla="*/ 201210 w 513675"/>
                    <a:gd name="connsiteY6" fmla="*/ 18106 h 472131"/>
                    <a:gd name="connsiteX7" fmla="*/ 312335 w 513675"/>
                    <a:gd name="connsiteY7" fmla="*/ 14931 h 472131"/>
                    <a:gd name="connsiteX8" fmla="*/ 312335 w 513675"/>
                    <a:gd name="connsiteY8" fmla="*/ 145106 h 472131"/>
                    <a:gd name="connsiteX9" fmla="*/ 353610 w 513675"/>
                    <a:gd name="connsiteY9" fmla="*/ 151456 h 472131"/>
                    <a:gd name="connsiteX10" fmla="*/ 445685 w 513675"/>
                    <a:gd name="connsiteY10" fmla="*/ 164156 h 472131"/>
                    <a:gd name="connsiteX11" fmla="*/ 486960 w 513675"/>
                    <a:gd name="connsiteY11" fmla="*/ 189556 h 472131"/>
                    <a:gd name="connsiteX12" fmla="*/ 509185 w 513675"/>
                    <a:gd name="connsiteY12" fmla="*/ 234006 h 472131"/>
                    <a:gd name="connsiteX13" fmla="*/ 512360 w 513675"/>
                    <a:gd name="connsiteY13" fmla="*/ 472131 h 472131"/>
                    <a:gd name="connsiteX14" fmla="*/ 4360 w 513675"/>
                    <a:gd name="connsiteY14" fmla="*/ 449906 h 472131"/>
                    <a:gd name="connsiteX0" fmla="*/ 4360 w 513675"/>
                    <a:gd name="connsiteY0" fmla="*/ 446969 h 469194"/>
                    <a:gd name="connsiteX1" fmla="*/ 7535 w 513675"/>
                    <a:gd name="connsiteY1" fmla="*/ 212019 h 469194"/>
                    <a:gd name="connsiteX2" fmla="*/ 23410 w 513675"/>
                    <a:gd name="connsiteY2" fmla="*/ 173919 h 469194"/>
                    <a:gd name="connsiteX3" fmla="*/ 71035 w 513675"/>
                    <a:gd name="connsiteY3" fmla="*/ 158044 h 469194"/>
                    <a:gd name="connsiteX4" fmla="*/ 172635 w 513675"/>
                    <a:gd name="connsiteY4" fmla="*/ 151694 h 469194"/>
                    <a:gd name="connsiteX5" fmla="*/ 188510 w 513675"/>
                    <a:gd name="connsiteY5" fmla="*/ 94544 h 469194"/>
                    <a:gd name="connsiteX6" fmla="*/ 201210 w 513675"/>
                    <a:gd name="connsiteY6" fmla="*/ 15169 h 469194"/>
                    <a:gd name="connsiteX7" fmla="*/ 312335 w 513675"/>
                    <a:gd name="connsiteY7" fmla="*/ 11994 h 469194"/>
                    <a:gd name="connsiteX8" fmla="*/ 312335 w 513675"/>
                    <a:gd name="connsiteY8" fmla="*/ 142169 h 469194"/>
                    <a:gd name="connsiteX9" fmla="*/ 353610 w 513675"/>
                    <a:gd name="connsiteY9" fmla="*/ 148519 h 469194"/>
                    <a:gd name="connsiteX10" fmla="*/ 445685 w 513675"/>
                    <a:gd name="connsiteY10" fmla="*/ 161219 h 469194"/>
                    <a:gd name="connsiteX11" fmla="*/ 486960 w 513675"/>
                    <a:gd name="connsiteY11" fmla="*/ 186619 h 469194"/>
                    <a:gd name="connsiteX12" fmla="*/ 509185 w 513675"/>
                    <a:gd name="connsiteY12" fmla="*/ 231069 h 469194"/>
                    <a:gd name="connsiteX13" fmla="*/ 512360 w 513675"/>
                    <a:gd name="connsiteY13" fmla="*/ 469194 h 469194"/>
                    <a:gd name="connsiteX14" fmla="*/ 4360 w 513675"/>
                    <a:gd name="connsiteY14" fmla="*/ 446969 h 469194"/>
                    <a:gd name="connsiteX0" fmla="*/ 4360 w 513675"/>
                    <a:gd name="connsiteY0" fmla="*/ 443409 h 465634"/>
                    <a:gd name="connsiteX1" fmla="*/ 7535 w 513675"/>
                    <a:gd name="connsiteY1" fmla="*/ 208459 h 465634"/>
                    <a:gd name="connsiteX2" fmla="*/ 23410 w 513675"/>
                    <a:gd name="connsiteY2" fmla="*/ 170359 h 465634"/>
                    <a:gd name="connsiteX3" fmla="*/ 71035 w 513675"/>
                    <a:gd name="connsiteY3" fmla="*/ 154484 h 465634"/>
                    <a:gd name="connsiteX4" fmla="*/ 172635 w 513675"/>
                    <a:gd name="connsiteY4" fmla="*/ 148134 h 465634"/>
                    <a:gd name="connsiteX5" fmla="*/ 188510 w 513675"/>
                    <a:gd name="connsiteY5" fmla="*/ 90984 h 465634"/>
                    <a:gd name="connsiteX6" fmla="*/ 201210 w 513675"/>
                    <a:gd name="connsiteY6" fmla="*/ 11609 h 465634"/>
                    <a:gd name="connsiteX7" fmla="*/ 312335 w 513675"/>
                    <a:gd name="connsiteY7" fmla="*/ 8434 h 465634"/>
                    <a:gd name="connsiteX8" fmla="*/ 312335 w 513675"/>
                    <a:gd name="connsiteY8" fmla="*/ 87809 h 465634"/>
                    <a:gd name="connsiteX9" fmla="*/ 353610 w 513675"/>
                    <a:gd name="connsiteY9" fmla="*/ 144959 h 465634"/>
                    <a:gd name="connsiteX10" fmla="*/ 445685 w 513675"/>
                    <a:gd name="connsiteY10" fmla="*/ 157659 h 465634"/>
                    <a:gd name="connsiteX11" fmla="*/ 486960 w 513675"/>
                    <a:gd name="connsiteY11" fmla="*/ 183059 h 465634"/>
                    <a:gd name="connsiteX12" fmla="*/ 509185 w 513675"/>
                    <a:gd name="connsiteY12" fmla="*/ 227509 h 465634"/>
                    <a:gd name="connsiteX13" fmla="*/ 512360 w 513675"/>
                    <a:gd name="connsiteY13" fmla="*/ 465634 h 465634"/>
                    <a:gd name="connsiteX14" fmla="*/ 4360 w 513675"/>
                    <a:gd name="connsiteY14" fmla="*/ 443409 h 465634"/>
                    <a:gd name="connsiteX0" fmla="*/ 4360 w 513675"/>
                    <a:gd name="connsiteY0" fmla="*/ 443409 h 465634"/>
                    <a:gd name="connsiteX1" fmla="*/ 7535 w 513675"/>
                    <a:gd name="connsiteY1" fmla="*/ 208459 h 465634"/>
                    <a:gd name="connsiteX2" fmla="*/ 23410 w 513675"/>
                    <a:gd name="connsiteY2" fmla="*/ 170359 h 465634"/>
                    <a:gd name="connsiteX3" fmla="*/ 71035 w 513675"/>
                    <a:gd name="connsiteY3" fmla="*/ 154484 h 465634"/>
                    <a:gd name="connsiteX4" fmla="*/ 172635 w 513675"/>
                    <a:gd name="connsiteY4" fmla="*/ 148134 h 465634"/>
                    <a:gd name="connsiteX5" fmla="*/ 188510 w 513675"/>
                    <a:gd name="connsiteY5" fmla="*/ 90984 h 465634"/>
                    <a:gd name="connsiteX6" fmla="*/ 201210 w 513675"/>
                    <a:gd name="connsiteY6" fmla="*/ 11609 h 465634"/>
                    <a:gd name="connsiteX7" fmla="*/ 312335 w 513675"/>
                    <a:gd name="connsiteY7" fmla="*/ 8434 h 465634"/>
                    <a:gd name="connsiteX8" fmla="*/ 312335 w 513675"/>
                    <a:gd name="connsiteY8" fmla="*/ 87809 h 465634"/>
                    <a:gd name="connsiteX9" fmla="*/ 334560 w 513675"/>
                    <a:gd name="connsiteY9" fmla="*/ 135434 h 465634"/>
                    <a:gd name="connsiteX10" fmla="*/ 445685 w 513675"/>
                    <a:gd name="connsiteY10" fmla="*/ 157659 h 465634"/>
                    <a:gd name="connsiteX11" fmla="*/ 486960 w 513675"/>
                    <a:gd name="connsiteY11" fmla="*/ 183059 h 465634"/>
                    <a:gd name="connsiteX12" fmla="*/ 509185 w 513675"/>
                    <a:gd name="connsiteY12" fmla="*/ 227509 h 465634"/>
                    <a:gd name="connsiteX13" fmla="*/ 512360 w 513675"/>
                    <a:gd name="connsiteY13" fmla="*/ 465634 h 465634"/>
                    <a:gd name="connsiteX14" fmla="*/ 4360 w 513675"/>
                    <a:gd name="connsiteY14" fmla="*/ 443409 h 465634"/>
                    <a:gd name="connsiteX0" fmla="*/ 4360 w 510500"/>
                    <a:gd name="connsiteY0" fmla="*/ 443409 h 449759"/>
                    <a:gd name="connsiteX1" fmla="*/ 7535 w 510500"/>
                    <a:gd name="connsiteY1" fmla="*/ 208459 h 449759"/>
                    <a:gd name="connsiteX2" fmla="*/ 23410 w 510500"/>
                    <a:gd name="connsiteY2" fmla="*/ 170359 h 449759"/>
                    <a:gd name="connsiteX3" fmla="*/ 71035 w 510500"/>
                    <a:gd name="connsiteY3" fmla="*/ 154484 h 449759"/>
                    <a:gd name="connsiteX4" fmla="*/ 172635 w 510500"/>
                    <a:gd name="connsiteY4" fmla="*/ 148134 h 449759"/>
                    <a:gd name="connsiteX5" fmla="*/ 188510 w 510500"/>
                    <a:gd name="connsiteY5" fmla="*/ 90984 h 449759"/>
                    <a:gd name="connsiteX6" fmla="*/ 201210 w 510500"/>
                    <a:gd name="connsiteY6" fmla="*/ 11609 h 449759"/>
                    <a:gd name="connsiteX7" fmla="*/ 312335 w 510500"/>
                    <a:gd name="connsiteY7" fmla="*/ 8434 h 449759"/>
                    <a:gd name="connsiteX8" fmla="*/ 312335 w 510500"/>
                    <a:gd name="connsiteY8" fmla="*/ 87809 h 449759"/>
                    <a:gd name="connsiteX9" fmla="*/ 334560 w 510500"/>
                    <a:gd name="connsiteY9" fmla="*/ 135434 h 449759"/>
                    <a:gd name="connsiteX10" fmla="*/ 445685 w 510500"/>
                    <a:gd name="connsiteY10" fmla="*/ 157659 h 449759"/>
                    <a:gd name="connsiteX11" fmla="*/ 486960 w 510500"/>
                    <a:gd name="connsiteY11" fmla="*/ 183059 h 449759"/>
                    <a:gd name="connsiteX12" fmla="*/ 509185 w 510500"/>
                    <a:gd name="connsiteY12" fmla="*/ 227509 h 449759"/>
                    <a:gd name="connsiteX13" fmla="*/ 506010 w 510500"/>
                    <a:gd name="connsiteY13" fmla="*/ 449759 h 449759"/>
                    <a:gd name="connsiteX14" fmla="*/ 4360 w 510500"/>
                    <a:gd name="connsiteY14" fmla="*/ 443409 h 449759"/>
                    <a:gd name="connsiteX0" fmla="*/ 4360 w 510500"/>
                    <a:gd name="connsiteY0" fmla="*/ 443409 h 454926"/>
                    <a:gd name="connsiteX1" fmla="*/ 7535 w 510500"/>
                    <a:gd name="connsiteY1" fmla="*/ 208459 h 454926"/>
                    <a:gd name="connsiteX2" fmla="*/ 23410 w 510500"/>
                    <a:gd name="connsiteY2" fmla="*/ 170359 h 454926"/>
                    <a:gd name="connsiteX3" fmla="*/ 71035 w 510500"/>
                    <a:gd name="connsiteY3" fmla="*/ 154484 h 454926"/>
                    <a:gd name="connsiteX4" fmla="*/ 172635 w 510500"/>
                    <a:gd name="connsiteY4" fmla="*/ 148134 h 454926"/>
                    <a:gd name="connsiteX5" fmla="*/ 188510 w 510500"/>
                    <a:gd name="connsiteY5" fmla="*/ 90984 h 454926"/>
                    <a:gd name="connsiteX6" fmla="*/ 201210 w 510500"/>
                    <a:gd name="connsiteY6" fmla="*/ 11609 h 454926"/>
                    <a:gd name="connsiteX7" fmla="*/ 312335 w 510500"/>
                    <a:gd name="connsiteY7" fmla="*/ 8434 h 454926"/>
                    <a:gd name="connsiteX8" fmla="*/ 312335 w 510500"/>
                    <a:gd name="connsiteY8" fmla="*/ 87809 h 454926"/>
                    <a:gd name="connsiteX9" fmla="*/ 334560 w 510500"/>
                    <a:gd name="connsiteY9" fmla="*/ 135434 h 454926"/>
                    <a:gd name="connsiteX10" fmla="*/ 445685 w 510500"/>
                    <a:gd name="connsiteY10" fmla="*/ 157659 h 454926"/>
                    <a:gd name="connsiteX11" fmla="*/ 486960 w 510500"/>
                    <a:gd name="connsiteY11" fmla="*/ 183059 h 454926"/>
                    <a:gd name="connsiteX12" fmla="*/ 509185 w 510500"/>
                    <a:gd name="connsiteY12" fmla="*/ 227509 h 454926"/>
                    <a:gd name="connsiteX13" fmla="*/ 506010 w 510500"/>
                    <a:gd name="connsiteY13" fmla="*/ 449759 h 454926"/>
                    <a:gd name="connsiteX14" fmla="*/ 4360 w 510500"/>
                    <a:gd name="connsiteY14" fmla="*/ 443409 h 454926"/>
                    <a:gd name="connsiteX0" fmla="*/ 6473 w 512613"/>
                    <a:gd name="connsiteY0" fmla="*/ 443409 h 454926"/>
                    <a:gd name="connsiteX1" fmla="*/ 9648 w 512613"/>
                    <a:gd name="connsiteY1" fmla="*/ 208459 h 454926"/>
                    <a:gd name="connsiteX2" fmla="*/ 73148 w 512613"/>
                    <a:gd name="connsiteY2" fmla="*/ 154484 h 454926"/>
                    <a:gd name="connsiteX3" fmla="*/ 174748 w 512613"/>
                    <a:gd name="connsiteY3" fmla="*/ 148134 h 454926"/>
                    <a:gd name="connsiteX4" fmla="*/ 190623 w 512613"/>
                    <a:gd name="connsiteY4" fmla="*/ 90984 h 454926"/>
                    <a:gd name="connsiteX5" fmla="*/ 203323 w 512613"/>
                    <a:gd name="connsiteY5" fmla="*/ 11609 h 454926"/>
                    <a:gd name="connsiteX6" fmla="*/ 314448 w 512613"/>
                    <a:gd name="connsiteY6" fmla="*/ 8434 h 454926"/>
                    <a:gd name="connsiteX7" fmla="*/ 314448 w 512613"/>
                    <a:gd name="connsiteY7" fmla="*/ 87809 h 454926"/>
                    <a:gd name="connsiteX8" fmla="*/ 336673 w 512613"/>
                    <a:gd name="connsiteY8" fmla="*/ 135434 h 454926"/>
                    <a:gd name="connsiteX9" fmla="*/ 447798 w 512613"/>
                    <a:gd name="connsiteY9" fmla="*/ 157659 h 454926"/>
                    <a:gd name="connsiteX10" fmla="*/ 489073 w 512613"/>
                    <a:gd name="connsiteY10" fmla="*/ 183059 h 454926"/>
                    <a:gd name="connsiteX11" fmla="*/ 511298 w 512613"/>
                    <a:gd name="connsiteY11" fmla="*/ 227509 h 454926"/>
                    <a:gd name="connsiteX12" fmla="*/ 508123 w 512613"/>
                    <a:gd name="connsiteY12" fmla="*/ 449759 h 454926"/>
                    <a:gd name="connsiteX13" fmla="*/ 6473 w 512613"/>
                    <a:gd name="connsiteY13" fmla="*/ 443409 h 454926"/>
                    <a:gd name="connsiteX0" fmla="*/ 4049 w 510189"/>
                    <a:gd name="connsiteY0" fmla="*/ 443409 h 454926"/>
                    <a:gd name="connsiteX1" fmla="*/ 7224 w 510189"/>
                    <a:gd name="connsiteY1" fmla="*/ 208459 h 454926"/>
                    <a:gd name="connsiteX2" fmla="*/ 70724 w 510189"/>
                    <a:gd name="connsiteY2" fmla="*/ 154484 h 454926"/>
                    <a:gd name="connsiteX3" fmla="*/ 172324 w 510189"/>
                    <a:gd name="connsiteY3" fmla="*/ 148134 h 454926"/>
                    <a:gd name="connsiteX4" fmla="*/ 188199 w 510189"/>
                    <a:gd name="connsiteY4" fmla="*/ 90984 h 454926"/>
                    <a:gd name="connsiteX5" fmla="*/ 200899 w 510189"/>
                    <a:gd name="connsiteY5" fmla="*/ 11609 h 454926"/>
                    <a:gd name="connsiteX6" fmla="*/ 312024 w 510189"/>
                    <a:gd name="connsiteY6" fmla="*/ 8434 h 454926"/>
                    <a:gd name="connsiteX7" fmla="*/ 312024 w 510189"/>
                    <a:gd name="connsiteY7" fmla="*/ 87809 h 454926"/>
                    <a:gd name="connsiteX8" fmla="*/ 334249 w 510189"/>
                    <a:gd name="connsiteY8" fmla="*/ 135434 h 454926"/>
                    <a:gd name="connsiteX9" fmla="*/ 445374 w 510189"/>
                    <a:gd name="connsiteY9" fmla="*/ 157659 h 454926"/>
                    <a:gd name="connsiteX10" fmla="*/ 486649 w 510189"/>
                    <a:gd name="connsiteY10" fmla="*/ 183059 h 454926"/>
                    <a:gd name="connsiteX11" fmla="*/ 508874 w 510189"/>
                    <a:gd name="connsiteY11" fmla="*/ 227509 h 454926"/>
                    <a:gd name="connsiteX12" fmla="*/ 505699 w 510189"/>
                    <a:gd name="connsiteY12" fmla="*/ 449759 h 454926"/>
                    <a:gd name="connsiteX13" fmla="*/ 4049 w 510189"/>
                    <a:gd name="connsiteY13" fmla="*/ 443409 h 454926"/>
                    <a:gd name="connsiteX0" fmla="*/ 4049 w 510189"/>
                    <a:gd name="connsiteY0" fmla="*/ 443409 h 454926"/>
                    <a:gd name="connsiteX1" fmla="*/ 7224 w 510189"/>
                    <a:gd name="connsiteY1" fmla="*/ 208459 h 454926"/>
                    <a:gd name="connsiteX2" fmla="*/ 70724 w 510189"/>
                    <a:gd name="connsiteY2" fmla="*/ 154484 h 454926"/>
                    <a:gd name="connsiteX3" fmla="*/ 172324 w 510189"/>
                    <a:gd name="connsiteY3" fmla="*/ 148134 h 454926"/>
                    <a:gd name="connsiteX4" fmla="*/ 188199 w 510189"/>
                    <a:gd name="connsiteY4" fmla="*/ 90984 h 454926"/>
                    <a:gd name="connsiteX5" fmla="*/ 200899 w 510189"/>
                    <a:gd name="connsiteY5" fmla="*/ 11609 h 454926"/>
                    <a:gd name="connsiteX6" fmla="*/ 312024 w 510189"/>
                    <a:gd name="connsiteY6" fmla="*/ 8434 h 454926"/>
                    <a:gd name="connsiteX7" fmla="*/ 312024 w 510189"/>
                    <a:gd name="connsiteY7" fmla="*/ 87809 h 454926"/>
                    <a:gd name="connsiteX8" fmla="*/ 334249 w 510189"/>
                    <a:gd name="connsiteY8" fmla="*/ 135434 h 454926"/>
                    <a:gd name="connsiteX9" fmla="*/ 445374 w 510189"/>
                    <a:gd name="connsiteY9" fmla="*/ 157659 h 454926"/>
                    <a:gd name="connsiteX10" fmla="*/ 508874 w 510189"/>
                    <a:gd name="connsiteY10" fmla="*/ 227509 h 454926"/>
                    <a:gd name="connsiteX11" fmla="*/ 505699 w 510189"/>
                    <a:gd name="connsiteY11" fmla="*/ 449759 h 454926"/>
                    <a:gd name="connsiteX12" fmla="*/ 4049 w 510189"/>
                    <a:gd name="connsiteY12" fmla="*/ 443409 h 454926"/>
                    <a:gd name="connsiteX0" fmla="*/ 4049 w 510189"/>
                    <a:gd name="connsiteY0" fmla="*/ 443409 h 454926"/>
                    <a:gd name="connsiteX1" fmla="*/ 7224 w 510189"/>
                    <a:gd name="connsiteY1" fmla="*/ 208459 h 454926"/>
                    <a:gd name="connsiteX2" fmla="*/ 70724 w 510189"/>
                    <a:gd name="connsiteY2" fmla="*/ 154484 h 454926"/>
                    <a:gd name="connsiteX3" fmla="*/ 172324 w 510189"/>
                    <a:gd name="connsiteY3" fmla="*/ 148134 h 454926"/>
                    <a:gd name="connsiteX4" fmla="*/ 188199 w 510189"/>
                    <a:gd name="connsiteY4" fmla="*/ 90984 h 454926"/>
                    <a:gd name="connsiteX5" fmla="*/ 200899 w 510189"/>
                    <a:gd name="connsiteY5" fmla="*/ 11609 h 454926"/>
                    <a:gd name="connsiteX6" fmla="*/ 312024 w 510189"/>
                    <a:gd name="connsiteY6" fmla="*/ 8434 h 454926"/>
                    <a:gd name="connsiteX7" fmla="*/ 312024 w 510189"/>
                    <a:gd name="connsiteY7" fmla="*/ 87809 h 454926"/>
                    <a:gd name="connsiteX8" fmla="*/ 334249 w 510189"/>
                    <a:gd name="connsiteY8" fmla="*/ 135434 h 454926"/>
                    <a:gd name="connsiteX9" fmla="*/ 445374 w 510189"/>
                    <a:gd name="connsiteY9" fmla="*/ 157659 h 454926"/>
                    <a:gd name="connsiteX10" fmla="*/ 508874 w 510189"/>
                    <a:gd name="connsiteY10" fmla="*/ 227509 h 454926"/>
                    <a:gd name="connsiteX11" fmla="*/ 505699 w 510189"/>
                    <a:gd name="connsiteY11" fmla="*/ 449759 h 454926"/>
                    <a:gd name="connsiteX12" fmla="*/ 4049 w 510189"/>
                    <a:gd name="connsiteY12" fmla="*/ 443409 h 454926"/>
                    <a:gd name="connsiteX0" fmla="*/ 5987 w 512127"/>
                    <a:gd name="connsiteY0" fmla="*/ 443409 h 454926"/>
                    <a:gd name="connsiteX1" fmla="*/ 2812 w 512127"/>
                    <a:gd name="connsiteY1" fmla="*/ 217984 h 454926"/>
                    <a:gd name="connsiteX2" fmla="*/ 72662 w 512127"/>
                    <a:gd name="connsiteY2" fmla="*/ 154484 h 454926"/>
                    <a:gd name="connsiteX3" fmla="*/ 174262 w 512127"/>
                    <a:gd name="connsiteY3" fmla="*/ 148134 h 454926"/>
                    <a:gd name="connsiteX4" fmla="*/ 190137 w 512127"/>
                    <a:gd name="connsiteY4" fmla="*/ 90984 h 454926"/>
                    <a:gd name="connsiteX5" fmla="*/ 202837 w 512127"/>
                    <a:gd name="connsiteY5" fmla="*/ 11609 h 454926"/>
                    <a:gd name="connsiteX6" fmla="*/ 313962 w 512127"/>
                    <a:gd name="connsiteY6" fmla="*/ 8434 h 454926"/>
                    <a:gd name="connsiteX7" fmla="*/ 313962 w 512127"/>
                    <a:gd name="connsiteY7" fmla="*/ 87809 h 454926"/>
                    <a:gd name="connsiteX8" fmla="*/ 336187 w 512127"/>
                    <a:gd name="connsiteY8" fmla="*/ 135434 h 454926"/>
                    <a:gd name="connsiteX9" fmla="*/ 447312 w 512127"/>
                    <a:gd name="connsiteY9" fmla="*/ 157659 h 454926"/>
                    <a:gd name="connsiteX10" fmla="*/ 510812 w 512127"/>
                    <a:gd name="connsiteY10" fmla="*/ 227509 h 454926"/>
                    <a:gd name="connsiteX11" fmla="*/ 507637 w 512127"/>
                    <a:gd name="connsiteY11" fmla="*/ 449759 h 454926"/>
                    <a:gd name="connsiteX12" fmla="*/ 5987 w 512127"/>
                    <a:gd name="connsiteY12" fmla="*/ 443409 h 454926"/>
                    <a:gd name="connsiteX0" fmla="*/ 9762 w 515902"/>
                    <a:gd name="connsiteY0" fmla="*/ 443409 h 454926"/>
                    <a:gd name="connsiteX1" fmla="*/ 6587 w 515902"/>
                    <a:gd name="connsiteY1" fmla="*/ 217984 h 454926"/>
                    <a:gd name="connsiteX2" fmla="*/ 76437 w 515902"/>
                    <a:gd name="connsiteY2" fmla="*/ 154484 h 454926"/>
                    <a:gd name="connsiteX3" fmla="*/ 178037 w 515902"/>
                    <a:gd name="connsiteY3" fmla="*/ 148134 h 454926"/>
                    <a:gd name="connsiteX4" fmla="*/ 193912 w 515902"/>
                    <a:gd name="connsiteY4" fmla="*/ 90984 h 454926"/>
                    <a:gd name="connsiteX5" fmla="*/ 206612 w 515902"/>
                    <a:gd name="connsiteY5" fmla="*/ 11609 h 454926"/>
                    <a:gd name="connsiteX6" fmla="*/ 317737 w 515902"/>
                    <a:gd name="connsiteY6" fmla="*/ 8434 h 454926"/>
                    <a:gd name="connsiteX7" fmla="*/ 317737 w 515902"/>
                    <a:gd name="connsiteY7" fmla="*/ 87809 h 454926"/>
                    <a:gd name="connsiteX8" fmla="*/ 339962 w 515902"/>
                    <a:gd name="connsiteY8" fmla="*/ 135434 h 454926"/>
                    <a:gd name="connsiteX9" fmla="*/ 451087 w 515902"/>
                    <a:gd name="connsiteY9" fmla="*/ 157659 h 454926"/>
                    <a:gd name="connsiteX10" fmla="*/ 514587 w 515902"/>
                    <a:gd name="connsiteY10" fmla="*/ 227509 h 454926"/>
                    <a:gd name="connsiteX11" fmla="*/ 511412 w 515902"/>
                    <a:gd name="connsiteY11" fmla="*/ 449759 h 454926"/>
                    <a:gd name="connsiteX12" fmla="*/ 9762 w 515902"/>
                    <a:gd name="connsiteY12" fmla="*/ 443409 h 454926"/>
                    <a:gd name="connsiteX0" fmla="*/ 9762 w 515902"/>
                    <a:gd name="connsiteY0" fmla="*/ 443409 h 454926"/>
                    <a:gd name="connsiteX1" fmla="*/ 6587 w 515902"/>
                    <a:gd name="connsiteY1" fmla="*/ 217984 h 454926"/>
                    <a:gd name="connsiteX2" fmla="*/ 76437 w 515902"/>
                    <a:gd name="connsiteY2" fmla="*/ 154484 h 454926"/>
                    <a:gd name="connsiteX3" fmla="*/ 178037 w 515902"/>
                    <a:gd name="connsiteY3" fmla="*/ 148134 h 454926"/>
                    <a:gd name="connsiteX4" fmla="*/ 193912 w 515902"/>
                    <a:gd name="connsiteY4" fmla="*/ 90984 h 454926"/>
                    <a:gd name="connsiteX5" fmla="*/ 206612 w 515902"/>
                    <a:gd name="connsiteY5" fmla="*/ 11609 h 454926"/>
                    <a:gd name="connsiteX6" fmla="*/ 317737 w 515902"/>
                    <a:gd name="connsiteY6" fmla="*/ 8434 h 454926"/>
                    <a:gd name="connsiteX7" fmla="*/ 317737 w 515902"/>
                    <a:gd name="connsiteY7" fmla="*/ 87809 h 454926"/>
                    <a:gd name="connsiteX8" fmla="*/ 339962 w 515902"/>
                    <a:gd name="connsiteY8" fmla="*/ 135434 h 454926"/>
                    <a:gd name="connsiteX9" fmla="*/ 451087 w 515902"/>
                    <a:gd name="connsiteY9" fmla="*/ 157659 h 454926"/>
                    <a:gd name="connsiteX10" fmla="*/ 514587 w 515902"/>
                    <a:gd name="connsiteY10" fmla="*/ 227509 h 454926"/>
                    <a:gd name="connsiteX11" fmla="*/ 511412 w 515902"/>
                    <a:gd name="connsiteY11" fmla="*/ 449759 h 454926"/>
                    <a:gd name="connsiteX12" fmla="*/ 9762 w 515902"/>
                    <a:gd name="connsiteY12" fmla="*/ 443409 h 454926"/>
                    <a:gd name="connsiteX0" fmla="*/ 9762 w 515902"/>
                    <a:gd name="connsiteY0" fmla="*/ 443409 h 454926"/>
                    <a:gd name="connsiteX1" fmla="*/ 6587 w 515902"/>
                    <a:gd name="connsiteY1" fmla="*/ 217984 h 454926"/>
                    <a:gd name="connsiteX2" fmla="*/ 76437 w 515902"/>
                    <a:gd name="connsiteY2" fmla="*/ 154484 h 454926"/>
                    <a:gd name="connsiteX3" fmla="*/ 193912 w 515902"/>
                    <a:gd name="connsiteY3" fmla="*/ 90984 h 454926"/>
                    <a:gd name="connsiteX4" fmla="*/ 206612 w 515902"/>
                    <a:gd name="connsiteY4" fmla="*/ 11609 h 454926"/>
                    <a:gd name="connsiteX5" fmla="*/ 317737 w 515902"/>
                    <a:gd name="connsiteY5" fmla="*/ 8434 h 454926"/>
                    <a:gd name="connsiteX6" fmla="*/ 317737 w 515902"/>
                    <a:gd name="connsiteY6" fmla="*/ 87809 h 454926"/>
                    <a:gd name="connsiteX7" fmla="*/ 339962 w 515902"/>
                    <a:gd name="connsiteY7" fmla="*/ 135434 h 454926"/>
                    <a:gd name="connsiteX8" fmla="*/ 451087 w 515902"/>
                    <a:gd name="connsiteY8" fmla="*/ 157659 h 454926"/>
                    <a:gd name="connsiteX9" fmla="*/ 514587 w 515902"/>
                    <a:gd name="connsiteY9" fmla="*/ 227509 h 454926"/>
                    <a:gd name="connsiteX10" fmla="*/ 511412 w 515902"/>
                    <a:gd name="connsiteY10" fmla="*/ 449759 h 454926"/>
                    <a:gd name="connsiteX11" fmla="*/ 9762 w 515902"/>
                    <a:gd name="connsiteY11" fmla="*/ 443409 h 454926"/>
                    <a:gd name="connsiteX0" fmla="*/ 9762 w 515902"/>
                    <a:gd name="connsiteY0" fmla="*/ 446099 h 457616"/>
                    <a:gd name="connsiteX1" fmla="*/ 6587 w 515902"/>
                    <a:gd name="connsiteY1" fmla="*/ 220674 h 457616"/>
                    <a:gd name="connsiteX2" fmla="*/ 76437 w 515902"/>
                    <a:gd name="connsiteY2" fmla="*/ 157174 h 457616"/>
                    <a:gd name="connsiteX3" fmla="*/ 190737 w 515902"/>
                    <a:gd name="connsiteY3" fmla="*/ 138124 h 457616"/>
                    <a:gd name="connsiteX4" fmla="*/ 206612 w 515902"/>
                    <a:gd name="connsiteY4" fmla="*/ 14299 h 457616"/>
                    <a:gd name="connsiteX5" fmla="*/ 317737 w 515902"/>
                    <a:gd name="connsiteY5" fmla="*/ 11124 h 457616"/>
                    <a:gd name="connsiteX6" fmla="*/ 317737 w 515902"/>
                    <a:gd name="connsiteY6" fmla="*/ 90499 h 457616"/>
                    <a:gd name="connsiteX7" fmla="*/ 339962 w 515902"/>
                    <a:gd name="connsiteY7" fmla="*/ 138124 h 457616"/>
                    <a:gd name="connsiteX8" fmla="*/ 451087 w 515902"/>
                    <a:gd name="connsiteY8" fmla="*/ 160349 h 457616"/>
                    <a:gd name="connsiteX9" fmla="*/ 514587 w 515902"/>
                    <a:gd name="connsiteY9" fmla="*/ 230199 h 457616"/>
                    <a:gd name="connsiteX10" fmla="*/ 511412 w 515902"/>
                    <a:gd name="connsiteY10" fmla="*/ 452449 h 457616"/>
                    <a:gd name="connsiteX11" fmla="*/ 9762 w 515902"/>
                    <a:gd name="connsiteY11" fmla="*/ 446099 h 457616"/>
                    <a:gd name="connsiteX0" fmla="*/ 9762 w 515902"/>
                    <a:gd name="connsiteY0" fmla="*/ 446099 h 457616"/>
                    <a:gd name="connsiteX1" fmla="*/ 6587 w 515902"/>
                    <a:gd name="connsiteY1" fmla="*/ 220674 h 457616"/>
                    <a:gd name="connsiteX2" fmla="*/ 76437 w 515902"/>
                    <a:gd name="connsiteY2" fmla="*/ 157174 h 457616"/>
                    <a:gd name="connsiteX3" fmla="*/ 190737 w 515902"/>
                    <a:gd name="connsiteY3" fmla="*/ 138124 h 457616"/>
                    <a:gd name="connsiteX4" fmla="*/ 206612 w 515902"/>
                    <a:gd name="connsiteY4" fmla="*/ 14299 h 457616"/>
                    <a:gd name="connsiteX5" fmla="*/ 317737 w 515902"/>
                    <a:gd name="connsiteY5" fmla="*/ 11124 h 457616"/>
                    <a:gd name="connsiteX6" fmla="*/ 317737 w 515902"/>
                    <a:gd name="connsiteY6" fmla="*/ 90499 h 457616"/>
                    <a:gd name="connsiteX7" fmla="*/ 451087 w 515902"/>
                    <a:gd name="connsiteY7" fmla="*/ 160349 h 457616"/>
                    <a:gd name="connsiteX8" fmla="*/ 514587 w 515902"/>
                    <a:gd name="connsiteY8" fmla="*/ 230199 h 457616"/>
                    <a:gd name="connsiteX9" fmla="*/ 511412 w 515902"/>
                    <a:gd name="connsiteY9" fmla="*/ 452449 h 457616"/>
                    <a:gd name="connsiteX10" fmla="*/ 9762 w 515902"/>
                    <a:gd name="connsiteY10" fmla="*/ 446099 h 457616"/>
                    <a:gd name="connsiteX0" fmla="*/ 9762 w 515902"/>
                    <a:gd name="connsiteY0" fmla="*/ 447482 h 458999"/>
                    <a:gd name="connsiteX1" fmla="*/ 6587 w 515902"/>
                    <a:gd name="connsiteY1" fmla="*/ 222057 h 458999"/>
                    <a:gd name="connsiteX2" fmla="*/ 76437 w 515902"/>
                    <a:gd name="connsiteY2" fmla="*/ 158557 h 458999"/>
                    <a:gd name="connsiteX3" fmla="*/ 190737 w 515902"/>
                    <a:gd name="connsiteY3" fmla="*/ 139507 h 458999"/>
                    <a:gd name="connsiteX4" fmla="*/ 206612 w 515902"/>
                    <a:gd name="connsiteY4" fmla="*/ 15682 h 458999"/>
                    <a:gd name="connsiteX5" fmla="*/ 317737 w 515902"/>
                    <a:gd name="connsiteY5" fmla="*/ 12507 h 458999"/>
                    <a:gd name="connsiteX6" fmla="*/ 330437 w 515902"/>
                    <a:gd name="connsiteY6" fmla="*/ 114107 h 458999"/>
                    <a:gd name="connsiteX7" fmla="*/ 451087 w 515902"/>
                    <a:gd name="connsiteY7" fmla="*/ 161732 h 458999"/>
                    <a:gd name="connsiteX8" fmla="*/ 514587 w 515902"/>
                    <a:gd name="connsiteY8" fmla="*/ 231582 h 458999"/>
                    <a:gd name="connsiteX9" fmla="*/ 511412 w 515902"/>
                    <a:gd name="connsiteY9" fmla="*/ 453832 h 458999"/>
                    <a:gd name="connsiteX10" fmla="*/ 9762 w 515902"/>
                    <a:gd name="connsiteY10" fmla="*/ 447482 h 458999"/>
                    <a:gd name="connsiteX0" fmla="*/ 9762 w 515902"/>
                    <a:gd name="connsiteY0" fmla="*/ 446348 h 457865"/>
                    <a:gd name="connsiteX1" fmla="*/ 6587 w 515902"/>
                    <a:gd name="connsiteY1" fmla="*/ 220923 h 457865"/>
                    <a:gd name="connsiteX2" fmla="*/ 76437 w 515902"/>
                    <a:gd name="connsiteY2" fmla="*/ 157423 h 457865"/>
                    <a:gd name="connsiteX3" fmla="*/ 200262 w 515902"/>
                    <a:gd name="connsiteY3" fmla="*/ 119323 h 457865"/>
                    <a:gd name="connsiteX4" fmla="*/ 206612 w 515902"/>
                    <a:gd name="connsiteY4" fmla="*/ 14548 h 457865"/>
                    <a:gd name="connsiteX5" fmla="*/ 317737 w 515902"/>
                    <a:gd name="connsiteY5" fmla="*/ 11373 h 457865"/>
                    <a:gd name="connsiteX6" fmla="*/ 330437 w 515902"/>
                    <a:gd name="connsiteY6" fmla="*/ 112973 h 457865"/>
                    <a:gd name="connsiteX7" fmla="*/ 451087 w 515902"/>
                    <a:gd name="connsiteY7" fmla="*/ 160598 h 457865"/>
                    <a:gd name="connsiteX8" fmla="*/ 514587 w 515902"/>
                    <a:gd name="connsiteY8" fmla="*/ 230448 h 457865"/>
                    <a:gd name="connsiteX9" fmla="*/ 511412 w 515902"/>
                    <a:gd name="connsiteY9" fmla="*/ 452698 h 457865"/>
                    <a:gd name="connsiteX10" fmla="*/ 9762 w 515902"/>
                    <a:gd name="connsiteY10" fmla="*/ 446348 h 457865"/>
                    <a:gd name="connsiteX0" fmla="*/ 9762 w 515902"/>
                    <a:gd name="connsiteY0" fmla="*/ 446681 h 458198"/>
                    <a:gd name="connsiteX1" fmla="*/ 6587 w 515902"/>
                    <a:gd name="connsiteY1" fmla="*/ 221256 h 458198"/>
                    <a:gd name="connsiteX2" fmla="*/ 76437 w 515902"/>
                    <a:gd name="connsiteY2" fmla="*/ 157756 h 458198"/>
                    <a:gd name="connsiteX3" fmla="*/ 200262 w 515902"/>
                    <a:gd name="connsiteY3" fmla="*/ 119656 h 458198"/>
                    <a:gd name="connsiteX4" fmla="*/ 206612 w 515902"/>
                    <a:gd name="connsiteY4" fmla="*/ 14881 h 458198"/>
                    <a:gd name="connsiteX5" fmla="*/ 317737 w 515902"/>
                    <a:gd name="connsiteY5" fmla="*/ 11706 h 458198"/>
                    <a:gd name="connsiteX6" fmla="*/ 311502 w 515902"/>
                    <a:gd name="connsiteY6" fmla="*/ 118302 h 458198"/>
                    <a:gd name="connsiteX7" fmla="*/ 451087 w 515902"/>
                    <a:gd name="connsiteY7" fmla="*/ 160931 h 458198"/>
                    <a:gd name="connsiteX8" fmla="*/ 514587 w 515902"/>
                    <a:gd name="connsiteY8" fmla="*/ 230781 h 458198"/>
                    <a:gd name="connsiteX9" fmla="*/ 511412 w 515902"/>
                    <a:gd name="connsiteY9" fmla="*/ 453031 h 458198"/>
                    <a:gd name="connsiteX10" fmla="*/ 9762 w 515902"/>
                    <a:gd name="connsiteY10" fmla="*/ 446681 h 458198"/>
                    <a:gd name="connsiteX0" fmla="*/ 9762 w 515902"/>
                    <a:gd name="connsiteY0" fmla="*/ 446681 h 458198"/>
                    <a:gd name="connsiteX1" fmla="*/ 6587 w 515902"/>
                    <a:gd name="connsiteY1" fmla="*/ 221256 h 458198"/>
                    <a:gd name="connsiteX2" fmla="*/ 76437 w 515902"/>
                    <a:gd name="connsiteY2" fmla="*/ 157756 h 458198"/>
                    <a:gd name="connsiteX3" fmla="*/ 200262 w 515902"/>
                    <a:gd name="connsiteY3" fmla="*/ 119656 h 458198"/>
                    <a:gd name="connsiteX4" fmla="*/ 206612 w 515902"/>
                    <a:gd name="connsiteY4" fmla="*/ 14881 h 458198"/>
                    <a:gd name="connsiteX5" fmla="*/ 301506 w 515902"/>
                    <a:gd name="connsiteY5" fmla="*/ 11706 h 458198"/>
                    <a:gd name="connsiteX6" fmla="*/ 311502 w 515902"/>
                    <a:gd name="connsiteY6" fmla="*/ 118302 h 458198"/>
                    <a:gd name="connsiteX7" fmla="*/ 451087 w 515902"/>
                    <a:gd name="connsiteY7" fmla="*/ 160931 h 458198"/>
                    <a:gd name="connsiteX8" fmla="*/ 514587 w 515902"/>
                    <a:gd name="connsiteY8" fmla="*/ 230781 h 458198"/>
                    <a:gd name="connsiteX9" fmla="*/ 511412 w 515902"/>
                    <a:gd name="connsiteY9" fmla="*/ 453031 h 458198"/>
                    <a:gd name="connsiteX10" fmla="*/ 9762 w 515902"/>
                    <a:gd name="connsiteY10" fmla="*/ 446681 h 458198"/>
                    <a:gd name="connsiteX0" fmla="*/ 9762 w 515902"/>
                    <a:gd name="connsiteY0" fmla="*/ 446681 h 458198"/>
                    <a:gd name="connsiteX1" fmla="*/ 6587 w 515902"/>
                    <a:gd name="connsiteY1" fmla="*/ 221256 h 458198"/>
                    <a:gd name="connsiteX2" fmla="*/ 76437 w 515902"/>
                    <a:gd name="connsiteY2" fmla="*/ 157756 h 458198"/>
                    <a:gd name="connsiteX3" fmla="*/ 200262 w 515902"/>
                    <a:gd name="connsiteY3" fmla="*/ 119656 h 458198"/>
                    <a:gd name="connsiteX4" fmla="*/ 206612 w 515902"/>
                    <a:gd name="connsiteY4" fmla="*/ 14881 h 458198"/>
                    <a:gd name="connsiteX5" fmla="*/ 301506 w 515902"/>
                    <a:gd name="connsiteY5" fmla="*/ 11706 h 458198"/>
                    <a:gd name="connsiteX6" fmla="*/ 311502 w 515902"/>
                    <a:gd name="connsiteY6" fmla="*/ 118302 h 458198"/>
                    <a:gd name="connsiteX7" fmla="*/ 442972 w 515902"/>
                    <a:gd name="connsiteY7" fmla="*/ 180912 h 458198"/>
                    <a:gd name="connsiteX8" fmla="*/ 514587 w 515902"/>
                    <a:gd name="connsiteY8" fmla="*/ 230781 h 458198"/>
                    <a:gd name="connsiteX9" fmla="*/ 511412 w 515902"/>
                    <a:gd name="connsiteY9" fmla="*/ 453031 h 458198"/>
                    <a:gd name="connsiteX10" fmla="*/ 9762 w 515902"/>
                    <a:gd name="connsiteY10" fmla="*/ 446681 h 458198"/>
                    <a:gd name="connsiteX0" fmla="*/ 9762 w 511905"/>
                    <a:gd name="connsiteY0" fmla="*/ 446681 h 458198"/>
                    <a:gd name="connsiteX1" fmla="*/ 6587 w 511905"/>
                    <a:gd name="connsiteY1" fmla="*/ 221256 h 458198"/>
                    <a:gd name="connsiteX2" fmla="*/ 76437 w 511905"/>
                    <a:gd name="connsiteY2" fmla="*/ 157756 h 458198"/>
                    <a:gd name="connsiteX3" fmla="*/ 200262 w 511905"/>
                    <a:gd name="connsiteY3" fmla="*/ 119656 h 458198"/>
                    <a:gd name="connsiteX4" fmla="*/ 206612 w 511905"/>
                    <a:gd name="connsiteY4" fmla="*/ 14881 h 458198"/>
                    <a:gd name="connsiteX5" fmla="*/ 301506 w 511905"/>
                    <a:gd name="connsiteY5" fmla="*/ 11706 h 458198"/>
                    <a:gd name="connsiteX6" fmla="*/ 311502 w 511905"/>
                    <a:gd name="connsiteY6" fmla="*/ 118302 h 458198"/>
                    <a:gd name="connsiteX7" fmla="*/ 442972 w 511905"/>
                    <a:gd name="connsiteY7" fmla="*/ 180912 h 458198"/>
                    <a:gd name="connsiteX8" fmla="*/ 498357 w 511905"/>
                    <a:gd name="connsiteY8" fmla="*/ 250762 h 458198"/>
                    <a:gd name="connsiteX9" fmla="*/ 511412 w 511905"/>
                    <a:gd name="connsiteY9" fmla="*/ 453031 h 458198"/>
                    <a:gd name="connsiteX10" fmla="*/ 9762 w 511905"/>
                    <a:gd name="connsiteY10" fmla="*/ 446681 h 458198"/>
                    <a:gd name="connsiteX0" fmla="*/ 9762 w 511905"/>
                    <a:gd name="connsiteY0" fmla="*/ 446681 h 458198"/>
                    <a:gd name="connsiteX1" fmla="*/ 6587 w 511905"/>
                    <a:gd name="connsiteY1" fmla="*/ 221256 h 458198"/>
                    <a:gd name="connsiteX2" fmla="*/ 76437 w 511905"/>
                    <a:gd name="connsiteY2" fmla="*/ 157756 h 458198"/>
                    <a:gd name="connsiteX3" fmla="*/ 200262 w 511905"/>
                    <a:gd name="connsiteY3" fmla="*/ 119656 h 458198"/>
                    <a:gd name="connsiteX4" fmla="*/ 206612 w 511905"/>
                    <a:gd name="connsiteY4" fmla="*/ 14881 h 458198"/>
                    <a:gd name="connsiteX5" fmla="*/ 301506 w 511905"/>
                    <a:gd name="connsiteY5" fmla="*/ 11706 h 458198"/>
                    <a:gd name="connsiteX6" fmla="*/ 311502 w 511905"/>
                    <a:gd name="connsiteY6" fmla="*/ 118302 h 458198"/>
                    <a:gd name="connsiteX7" fmla="*/ 437562 w 511905"/>
                    <a:gd name="connsiteY7" fmla="*/ 198396 h 458198"/>
                    <a:gd name="connsiteX8" fmla="*/ 498357 w 511905"/>
                    <a:gd name="connsiteY8" fmla="*/ 250762 h 458198"/>
                    <a:gd name="connsiteX9" fmla="*/ 511412 w 511905"/>
                    <a:gd name="connsiteY9" fmla="*/ 453031 h 458198"/>
                    <a:gd name="connsiteX10" fmla="*/ 9762 w 511905"/>
                    <a:gd name="connsiteY10" fmla="*/ 446681 h 458198"/>
                    <a:gd name="connsiteX0" fmla="*/ 9762 w 511905"/>
                    <a:gd name="connsiteY0" fmla="*/ 446681 h 458198"/>
                    <a:gd name="connsiteX1" fmla="*/ 6587 w 511905"/>
                    <a:gd name="connsiteY1" fmla="*/ 221256 h 458198"/>
                    <a:gd name="connsiteX2" fmla="*/ 76437 w 511905"/>
                    <a:gd name="connsiteY2" fmla="*/ 157756 h 458198"/>
                    <a:gd name="connsiteX3" fmla="*/ 200262 w 511905"/>
                    <a:gd name="connsiteY3" fmla="*/ 119656 h 458198"/>
                    <a:gd name="connsiteX4" fmla="*/ 206612 w 511905"/>
                    <a:gd name="connsiteY4" fmla="*/ 14881 h 458198"/>
                    <a:gd name="connsiteX5" fmla="*/ 301506 w 511905"/>
                    <a:gd name="connsiteY5" fmla="*/ 11706 h 458198"/>
                    <a:gd name="connsiteX6" fmla="*/ 311502 w 511905"/>
                    <a:gd name="connsiteY6" fmla="*/ 118302 h 458198"/>
                    <a:gd name="connsiteX7" fmla="*/ 451087 w 511905"/>
                    <a:gd name="connsiteY7" fmla="*/ 188406 h 458198"/>
                    <a:gd name="connsiteX8" fmla="*/ 498357 w 511905"/>
                    <a:gd name="connsiteY8" fmla="*/ 250762 h 458198"/>
                    <a:gd name="connsiteX9" fmla="*/ 511412 w 511905"/>
                    <a:gd name="connsiteY9" fmla="*/ 453031 h 458198"/>
                    <a:gd name="connsiteX10" fmla="*/ 9762 w 511905"/>
                    <a:gd name="connsiteY10" fmla="*/ 446681 h 458198"/>
                    <a:gd name="connsiteX0" fmla="*/ 9762 w 511905"/>
                    <a:gd name="connsiteY0" fmla="*/ 447695 h 459212"/>
                    <a:gd name="connsiteX1" fmla="*/ 6587 w 511905"/>
                    <a:gd name="connsiteY1" fmla="*/ 222270 h 459212"/>
                    <a:gd name="connsiteX2" fmla="*/ 76437 w 511905"/>
                    <a:gd name="connsiteY2" fmla="*/ 158770 h 459212"/>
                    <a:gd name="connsiteX3" fmla="*/ 200262 w 511905"/>
                    <a:gd name="connsiteY3" fmla="*/ 120670 h 459212"/>
                    <a:gd name="connsiteX4" fmla="*/ 206612 w 511905"/>
                    <a:gd name="connsiteY4" fmla="*/ 15895 h 459212"/>
                    <a:gd name="connsiteX5" fmla="*/ 301506 w 511905"/>
                    <a:gd name="connsiteY5" fmla="*/ 12720 h 459212"/>
                    <a:gd name="connsiteX6" fmla="*/ 311502 w 511905"/>
                    <a:gd name="connsiteY6" fmla="*/ 134302 h 459212"/>
                    <a:gd name="connsiteX7" fmla="*/ 451087 w 511905"/>
                    <a:gd name="connsiteY7" fmla="*/ 189420 h 459212"/>
                    <a:gd name="connsiteX8" fmla="*/ 498357 w 511905"/>
                    <a:gd name="connsiteY8" fmla="*/ 251776 h 459212"/>
                    <a:gd name="connsiteX9" fmla="*/ 511412 w 511905"/>
                    <a:gd name="connsiteY9" fmla="*/ 454045 h 459212"/>
                    <a:gd name="connsiteX10" fmla="*/ 9762 w 511905"/>
                    <a:gd name="connsiteY10" fmla="*/ 447695 h 459212"/>
                    <a:gd name="connsiteX0" fmla="*/ 4227 w 522600"/>
                    <a:gd name="connsiteY0" fmla="*/ 455188 h 463021"/>
                    <a:gd name="connsiteX1" fmla="*/ 17282 w 522600"/>
                    <a:gd name="connsiteY1" fmla="*/ 222270 h 463021"/>
                    <a:gd name="connsiteX2" fmla="*/ 87132 w 522600"/>
                    <a:gd name="connsiteY2" fmla="*/ 158770 h 463021"/>
                    <a:gd name="connsiteX3" fmla="*/ 210957 w 522600"/>
                    <a:gd name="connsiteY3" fmla="*/ 120670 h 463021"/>
                    <a:gd name="connsiteX4" fmla="*/ 217307 w 522600"/>
                    <a:gd name="connsiteY4" fmla="*/ 15895 h 463021"/>
                    <a:gd name="connsiteX5" fmla="*/ 312201 w 522600"/>
                    <a:gd name="connsiteY5" fmla="*/ 12720 h 463021"/>
                    <a:gd name="connsiteX6" fmla="*/ 322197 w 522600"/>
                    <a:gd name="connsiteY6" fmla="*/ 134302 h 463021"/>
                    <a:gd name="connsiteX7" fmla="*/ 461782 w 522600"/>
                    <a:gd name="connsiteY7" fmla="*/ 189420 h 463021"/>
                    <a:gd name="connsiteX8" fmla="*/ 509052 w 522600"/>
                    <a:gd name="connsiteY8" fmla="*/ 251776 h 463021"/>
                    <a:gd name="connsiteX9" fmla="*/ 522107 w 522600"/>
                    <a:gd name="connsiteY9" fmla="*/ 454045 h 463021"/>
                    <a:gd name="connsiteX10" fmla="*/ 4227 w 522600"/>
                    <a:gd name="connsiteY10" fmla="*/ 455188 h 463021"/>
                    <a:gd name="connsiteX0" fmla="*/ 4227 w 522600"/>
                    <a:gd name="connsiteY0" fmla="*/ 455188 h 457596"/>
                    <a:gd name="connsiteX1" fmla="*/ 17282 w 522600"/>
                    <a:gd name="connsiteY1" fmla="*/ 222270 h 457596"/>
                    <a:gd name="connsiteX2" fmla="*/ 87132 w 522600"/>
                    <a:gd name="connsiteY2" fmla="*/ 158770 h 457596"/>
                    <a:gd name="connsiteX3" fmla="*/ 210957 w 522600"/>
                    <a:gd name="connsiteY3" fmla="*/ 120670 h 457596"/>
                    <a:gd name="connsiteX4" fmla="*/ 217307 w 522600"/>
                    <a:gd name="connsiteY4" fmla="*/ 15895 h 457596"/>
                    <a:gd name="connsiteX5" fmla="*/ 312201 w 522600"/>
                    <a:gd name="connsiteY5" fmla="*/ 12720 h 457596"/>
                    <a:gd name="connsiteX6" fmla="*/ 322197 w 522600"/>
                    <a:gd name="connsiteY6" fmla="*/ 134302 h 457596"/>
                    <a:gd name="connsiteX7" fmla="*/ 461782 w 522600"/>
                    <a:gd name="connsiteY7" fmla="*/ 189420 h 457596"/>
                    <a:gd name="connsiteX8" fmla="*/ 509052 w 522600"/>
                    <a:gd name="connsiteY8" fmla="*/ 251776 h 457596"/>
                    <a:gd name="connsiteX9" fmla="*/ 522107 w 522600"/>
                    <a:gd name="connsiteY9" fmla="*/ 454045 h 457596"/>
                    <a:gd name="connsiteX10" fmla="*/ 4227 w 522600"/>
                    <a:gd name="connsiteY10" fmla="*/ 455188 h 457596"/>
                    <a:gd name="connsiteX0" fmla="*/ 12757 w 531130"/>
                    <a:gd name="connsiteY0" fmla="*/ 455188 h 457596"/>
                    <a:gd name="connsiteX1" fmla="*/ 6876 w 531130"/>
                    <a:gd name="connsiteY1" fmla="*/ 237256 h 457596"/>
                    <a:gd name="connsiteX2" fmla="*/ 95662 w 531130"/>
                    <a:gd name="connsiteY2" fmla="*/ 158770 h 457596"/>
                    <a:gd name="connsiteX3" fmla="*/ 219487 w 531130"/>
                    <a:gd name="connsiteY3" fmla="*/ 120670 h 457596"/>
                    <a:gd name="connsiteX4" fmla="*/ 225837 w 531130"/>
                    <a:gd name="connsiteY4" fmla="*/ 15895 h 457596"/>
                    <a:gd name="connsiteX5" fmla="*/ 320731 w 531130"/>
                    <a:gd name="connsiteY5" fmla="*/ 12720 h 457596"/>
                    <a:gd name="connsiteX6" fmla="*/ 330727 w 531130"/>
                    <a:gd name="connsiteY6" fmla="*/ 134302 h 457596"/>
                    <a:gd name="connsiteX7" fmla="*/ 470312 w 531130"/>
                    <a:gd name="connsiteY7" fmla="*/ 189420 h 457596"/>
                    <a:gd name="connsiteX8" fmla="*/ 517582 w 531130"/>
                    <a:gd name="connsiteY8" fmla="*/ 251776 h 457596"/>
                    <a:gd name="connsiteX9" fmla="*/ 530637 w 531130"/>
                    <a:gd name="connsiteY9" fmla="*/ 454045 h 457596"/>
                    <a:gd name="connsiteX10" fmla="*/ 12757 w 531130"/>
                    <a:gd name="connsiteY10" fmla="*/ 455188 h 457596"/>
                    <a:gd name="connsiteX0" fmla="*/ 7226 w 536419"/>
                    <a:gd name="connsiteY0" fmla="*/ 447695 h 456315"/>
                    <a:gd name="connsiteX1" fmla="*/ 12165 w 536419"/>
                    <a:gd name="connsiteY1" fmla="*/ 237256 h 456315"/>
                    <a:gd name="connsiteX2" fmla="*/ 100951 w 536419"/>
                    <a:gd name="connsiteY2" fmla="*/ 158770 h 456315"/>
                    <a:gd name="connsiteX3" fmla="*/ 224776 w 536419"/>
                    <a:gd name="connsiteY3" fmla="*/ 120670 h 456315"/>
                    <a:gd name="connsiteX4" fmla="*/ 231126 w 536419"/>
                    <a:gd name="connsiteY4" fmla="*/ 15895 h 456315"/>
                    <a:gd name="connsiteX5" fmla="*/ 326020 w 536419"/>
                    <a:gd name="connsiteY5" fmla="*/ 12720 h 456315"/>
                    <a:gd name="connsiteX6" fmla="*/ 336016 w 536419"/>
                    <a:gd name="connsiteY6" fmla="*/ 134302 h 456315"/>
                    <a:gd name="connsiteX7" fmla="*/ 475601 w 536419"/>
                    <a:gd name="connsiteY7" fmla="*/ 189420 h 456315"/>
                    <a:gd name="connsiteX8" fmla="*/ 522871 w 536419"/>
                    <a:gd name="connsiteY8" fmla="*/ 251776 h 456315"/>
                    <a:gd name="connsiteX9" fmla="*/ 535926 w 536419"/>
                    <a:gd name="connsiteY9" fmla="*/ 454045 h 456315"/>
                    <a:gd name="connsiteX10" fmla="*/ 7226 w 536419"/>
                    <a:gd name="connsiteY10" fmla="*/ 447695 h 456315"/>
                    <a:gd name="connsiteX0" fmla="*/ 7226 w 528834"/>
                    <a:gd name="connsiteY0" fmla="*/ 447695 h 456315"/>
                    <a:gd name="connsiteX1" fmla="*/ 12165 w 528834"/>
                    <a:gd name="connsiteY1" fmla="*/ 237256 h 456315"/>
                    <a:gd name="connsiteX2" fmla="*/ 100951 w 528834"/>
                    <a:gd name="connsiteY2" fmla="*/ 158770 h 456315"/>
                    <a:gd name="connsiteX3" fmla="*/ 224776 w 528834"/>
                    <a:gd name="connsiteY3" fmla="*/ 120670 h 456315"/>
                    <a:gd name="connsiteX4" fmla="*/ 231126 w 528834"/>
                    <a:gd name="connsiteY4" fmla="*/ 15895 h 456315"/>
                    <a:gd name="connsiteX5" fmla="*/ 326020 w 528834"/>
                    <a:gd name="connsiteY5" fmla="*/ 12720 h 456315"/>
                    <a:gd name="connsiteX6" fmla="*/ 336016 w 528834"/>
                    <a:gd name="connsiteY6" fmla="*/ 134302 h 456315"/>
                    <a:gd name="connsiteX7" fmla="*/ 475601 w 528834"/>
                    <a:gd name="connsiteY7" fmla="*/ 189420 h 456315"/>
                    <a:gd name="connsiteX8" fmla="*/ 522871 w 528834"/>
                    <a:gd name="connsiteY8" fmla="*/ 251776 h 456315"/>
                    <a:gd name="connsiteX9" fmla="*/ 527811 w 528834"/>
                    <a:gd name="connsiteY9" fmla="*/ 454045 h 456315"/>
                    <a:gd name="connsiteX10" fmla="*/ 7226 w 528834"/>
                    <a:gd name="connsiteY10" fmla="*/ 447695 h 456315"/>
                    <a:gd name="connsiteX0" fmla="*/ 7226 w 528834"/>
                    <a:gd name="connsiteY0" fmla="*/ 447695 h 456315"/>
                    <a:gd name="connsiteX1" fmla="*/ 12165 w 528834"/>
                    <a:gd name="connsiteY1" fmla="*/ 237256 h 456315"/>
                    <a:gd name="connsiteX2" fmla="*/ 100951 w 528834"/>
                    <a:gd name="connsiteY2" fmla="*/ 158770 h 456315"/>
                    <a:gd name="connsiteX3" fmla="*/ 224776 w 528834"/>
                    <a:gd name="connsiteY3" fmla="*/ 120670 h 456315"/>
                    <a:gd name="connsiteX4" fmla="*/ 231126 w 528834"/>
                    <a:gd name="connsiteY4" fmla="*/ 15895 h 456315"/>
                    <a:gd name="connsiteX5" fmla="*/ 326020 w 528834"/>
                    <a:gd name="connsiteY5" fmla="*/ 12720 h 456315"/>
                    <a:gd name="connsiteX6" fmla="*/ 336016 w 528834"/>
                    <a:gd name="connsiteY6" fmla="*/ 134302 h 456315"/>
                    <a:gd name="connsiteX7" fmla="*/ 462076 w 528834"/>
                    <a:gd name="connsiteY7" fmla="*/ 184425 h 456315"/>
                    <a:gd name="connsiteX8" fmla="*/ 522871 w 528834"/>
                    <a:gd name="connsiteY8" fmla="*/ 251776 h 456315"/>
                    <a:gd name="connsiteX9" fmla="*/ 527811 w 528834"/>
                    <a:gd name="connsiteY9" fmla="*/ 454045 h 456315"/>
                    <a:gd name="connsiteX10" fmla="*/ 7226 w 528834"/>
                    <a:gd name="connsiteY10" fmla="*/ 447695 h 456315"/>
                    <a:gd name="connsiteX0" fmla="*/ 8515 w 530123"/>
                    <a:gd name="connsiteY0" fmla="*/ 447695 h 456315"/>
                    <a:gd name="connsiteX1" fmla="*/ 10749 w 530123"/>
                    <a:gd name="connsiteY1" fmla="*/ 244749 h 456315"/>
                    <a:gd name="connsiteX2" fmla="*/ 102240 w 530123"/>
                    <a:gd name="connsiteY2" fmla="*/ 158770 h 456315"/>
                    <a:gd name="connsiteX3" fmla="*/ 226065 w 530123"/>
                    <a:gd name="connsiteY3" fmla="*/ 120670 h 456315"/>
                    <a:gd name="connsiteX4" fmla="*/ 232415 w 530123"/>
                    <a:gd name="connsiteY4" fmla="*/ 15895 h 456315"/>
                    <a:gd name="connsiteX5" fmla="*/ 327309 w 530123"/>
                    <a:gd name="connsiteY5" fmla="*/ 12720 h 456315"/>
                    <a:gd name="connsiteX6" fmla="*/ 337305 w 530123"/>
                    <a:gd name="connsiteY6" fmla="*/ 134302 h 456315"/>
                    <a:gd name="connsiteX7" fmla="*/ 463365 w 530123"/>
                    <a:gd name="connsiteY7" fmla="*/ 184425 h 456315"/>
                    <a:gd name="connsiteX8" fmla="*/ 524160 w 530123"/>
                    <a:gd name="connsiteY8" fmla="*/ 251776 h 456315"/>
                    <a:gd name="connsiteX9" fmla="*/ 529100 w 530123"/>
                    <a:gd name="connsiteY9" fmla="*/ 454045 h 456315"/>
                    <a:gd name="connsiteX10" fmla="*/ 8515 w 530123"/>
                    <a:gd name="connsiteY10" fmla="*/ 447695 h 456315"/>
                    <a:gd name="connsiteX0" fmla="*/ 7671 w 529279"/>
                    <a:gd name="connsiteY0" fmla="*/ 447695 h 456315"/>
                    <a:gd name="connsiteX1" fmla="*/ 9905 w 529279"/>
                    <a:gd name="connsiteY1" fmla="*/ 244749 h 456315"/>
                    <a:gd name="connsiteX2" fmla="*/ 87870 w 529279"/>
                    <a:gd name="connsiteY2" fmla="*/ 166263 h 456315"/>
                    <a:gd name="connsiteX3" fmla="*/ 225221 w 529279"/>
                    <a:gd name="connsiteY3" fmla="*/ 120670 h 456315"/>
                    <a:gd name="connsiteX4" fmla="*/ 231571 w 529279"/>
                    <a:gd name="connsiteY4" fmla="*/ 15895 h 456315"/>
                    <a:gd name="connsiteX5" fmla="*/ 326465 w 529279"/>
                    <a:gd name="connsiteY5" fmla="*/ 12720 h 456315"/>
                    <a:gd name="connsiteX6" fmla="*/ 336461 w 529279"/>
                    <a:gd name="connsiteY6" fmla="*/ 134302 h 456315"/>
                    <a:gd name="connsiteX7" fmla="*/ 462521 w 529279"/>
                    <a:gd name="connsiteY7" fmla="*/ 184425 h 456315"/>
                    <a:gd name="connsiteX8" fmla="*/ 523316 w 529279"/>
                    <a:gd name="connsiteY8" fmla="*/ 251776 h 456315"/>
                    <a:gd name="connsiteX9" fmla="*/ 528256 w 529279"/>
                    <a:gd name="connsiteY9" fmla="*/ 454045 h 456315"/>
                    <a:gd name="connsiteX10" fmla="*/ 7671 w 529279"/>
                    <a:gd name="connsiteY10" fmla="*/ 447695 h 456315"/>
                    <a:gd name="connsiteX0" fmla="*/ 7671 w 529279"/>
                    <a:gd name="connsiteY0" fmla="*/ 447558 h 456178"/>
                    <a:gd name="connsiteX1" fmla="*/ 9905 w 529279"/>
                    <a:gd name="connsiteY1" fmla="*/ 244612 h 456178"/>
                    <a:gd name="connsiteX2" fmla="*/ 87870 w 529279"/>
                    <a:gd name="connsiteY2" fmla="*/ 166126 h 456178"/>
                    <a:gd name="connsiteX3" fmla="*/ 206285 w 529279"/>
                    <a:gd name="connsiteY3" fmla="*/ 118035 h 456178"/>
                    <a:gd name="connsiteX4" fmla="*/ 231571 w 529279"/>
                    <a:gd name="connsiteY4" fmla="*/ 15758 h 456178"/>
                    <a:gd name="connsiteX5" fmla="*/ 326465 w 529279"/>
                    <a:gd name="connsiteY5" fmla="*/ 12583 h 456178"/>
                    <a:gd name="connsiteX6" fmla="*/ 336461 w 529279"/>
                    <a:gd name="connsiteY6" fmla="*/ 134165 h 456178"/>
                    <a:gd name="connsiteX7" fmla="*/ 462521 w 529279"/>
                    <a:gd name="connsiteY7" fmla="*/ 184288 h 456178"/>
                    <a:gd name="connsiteX8" fmla="*/ 523316 w 529279"/>
                    <a:gd name="connsiteY8" fmla="*/ 251639 h 456178"/>
                    <a:gd name="connsiteX9" fmla="*/ 528256 w 529279"/>
                    <a:gd name="connsiteY9" fmla="*/ 453908 h 456178"/>
                    <a:gd name="connsiteX10" fmla="*/ 7671 w 529279"/>
                    <a:gd name="connsiteY10" fmla="*/ 447558 h 456178"/>
                    <a:gd name="connsiteX0" fmla="*/ 14544 w 536152"/>
                    <a:gd name="connsiteY0" fmla="*/ 447558 h 456178"/>
                    <a:gd name="connsiteX1" fmla="*/ 5958 w 536152"/>
                    <a:gd name="connsiteY1" fmla="*/ 247109 h 456178"/>
                    <a:gd name="connsiteX2" fmla="*/ 94743 w 536152"/>
                    <a:gd name="connsiteY2" fmla="*/ 166126 h 456178"/>
                    <a:gd name="connsiteX3" fmla="*/ 213158 w 536152"/>
                    <a:gd name="connsiteY3" fmla="*/ 118035 h 456178"/>
                    <a:gd name="connsiteX4" fmla="*/ 238444 w 536152"/>
                    <a:gd name="connsiteY4" fmla="*/ 15758 h 456178"/>
                    <a:gd name="connsiteX5" fmla="*/ 333338 w 536152"/>
                    <a:gd name="connsiteY5" fmla="*/ 12583 h 456178"/>
                    <a:gd name="connsiteX6" fmla="*/ 343334 w 536152"/>
                    <a:gd name="connsiteY6" fmla="*/ 134165 h 456178"/>
                    <a:gd name="connsiteX7" fmla="*/ 469394 w 536152"/>
                    <a:gd name="connsiteY7" fmla="*/ 184288 h 456178"/>
                    <a:gd name="connsiteX8" fmla="*/ 530189 w 536152"/>
                    <a:gd name="connsiteY8" fmla="*/ 251639 h 456178"/>
                    <a:gd name="connsiteX9" fmla="*/ 535129 w 536152"/>
                    <a:gd name="connsiteY9" fmla="*/ 453908 h 456178"/>
                    <a:gd name="connsiteX10" fmla="*/ 14544 w 536152"/>
                    <a:gd name="connsiteY10" fmla="*/ 447558 h 456178"/>
                    <a:gd name="connsiteX0" fmla="*/ 7226 w 542359"/>
                    <a:gd name="connsiteY0" fmla="*/ 450055 h 456488"/>
                    <a:gd name="connsiteX1" fmla="*/ 12165 w 542359"/>
                    <a:gd name="connsiteY1" fmla="*/ 247109 h 456488"/>
                    <a:gd name="connsiteX2" fmla="*/ 100950 w 542359"/>
                    <a:gd name="connsiteY2" fmla="*/ 166126 h 456488"/>
                    <a:gd name="connsiteX3" fmla="*/ 219365 w 542359"/>
                    <a:gd name="connsiteY3" fmla="*/ 118035 h 456488"/>
                    <a:gd name="connsiteX4" fmla="*/ 244651 w 542359"/>
                    <a:gd name="connsiteY4" fmla="*/ 15758 h 456488"/>
                    <a:gd name="connsiteX5" fmla="*/ 339545 w 542359"/>
                    <a:gd name="connsiteY5" fmla="*/ 12583 h 456488"/>
                    <a:gd name="connsiteX6" fmla="*/ 349541 w 542359"/>
                    <a:gd name="connsiteY6" fmla="*/ 134165 h 456488"/>
                    <a:gd name="connsiteX7" fmla="*/ 475601 w 542359"/>
                    <a:gd name="connsiteY7" fmla="*/ 184288 h 456488"/>
                    <a:gd name="connsiteX8" fmla="*/ 536396 w 542359"/>
                    <a:gd name="connsiteY8" fmla="*/ 251639 h 456488"/>
                    <a:gd name="connsiteX9" fmla="*/ 541336 w 542359"/>
                    <a:gd name="connsiteY9" fmla="*/ 453908 h 456488"/>
                    <a:gd name="connsiteX10" fmla="*/ 7226 w 542359"/>
                    <a:gd name="connsiteY10" fmla="*/ 450055 h 456488"/>
                    <a:gd name="connsiteX0" fmla="*/ 7226 w 542359"/>
                    <a:gd name="connsiteY0" fmla="*/ 450055 h 456488"/>
                    <a:gd name="connsiteX1" fmla="*/ 12165 w 542359"/>
                    <a:gd name="connsiteY1" fmla="*/ 247109 h 456488"/>
                    <a:gd name="connsiteX2" fmla="*/ 100950 w 542359"/>
                    <a:gd name="connsiteY2" fmla="*/ 166126 h 456488"/>
                    <a:gd name="connsiteX3" fmla="*/ 219365 w 542359"/>
                    <a:gd name="connsiteY3" fmla="*/ 118035 h 456488"/>
                    <a:gd name="connsiteX4" fmla="*/ 244651 w 542359"/>
                    <a:gd name="connsiteY4" fmla="*/ 15758 h 456488"/>
                    <a:gd name="connsiteX5" fmla="*/ 331430 w 542359"/>
                    <a:gd name="connsiteY5" fmla="*/ 12583 h 456488"/>
                    <a:gd name="connsiteX6" fmla="*/ 349541 w 542359"/>
                    <a:gd name="connsiteY6" fmla="*/ 134165 h 456488"/>
                    <a:gd name="connsiteX7" fmla="*/ 475601 w 542359"/>
                    <a:gd name="connsiteY7" fmla="*/ 184288 h 456488"/>
                    <a:gd name="connsiteX8" fmla="*/ 536396 w 542359"/>
                    <a:gd name="connsiteY8" fmla="*/ 251639 h 456488"/>
                    <a:gd name="connsiteX9" fmla="*/ 541336 w 542359"/>
                    <a:gd name="connsiteY9" fmla="*/ 453908 h 456488"/>
                    <a:gd name="connsiteX10" fmla="*/ 7226 w 542359"/>
                    <a:gd name="connsiteY10" fmla="*/ 450055 h 456488"/>
                    <a:gd name="connsiteX0" fmla="*/ 7226 w 542359"/>
                    <a:gd name="connsiteY0" fmla="*/ 450055 h 456488"/>
                    <a:gd name="connsiteX1" fmla="*/ 12165 w 542359"/>
                    <a:gd name="connsiteY1" fmla="*/ 247109 h 456488"/>
                    <a:gd name="connsiteX2" fmla="*/ 100950 w 542359"/>
                    <a:gd name="connsiteY2" fmla="*/ 166126 h 456488"/>
                    <a:gd name="connsiteX3" fmla="*/ 219365 w 542359"/>
                    <a:gd name="connsiteY3" fmla="*/ 118035 h 456488"/>
                    <a:gd name="connsiteX4" fmla="*/ 244651 w 542359"/>
                    <a:gd name="connsiteY4" fmla="*/ 15758 h 456488"/>
                    <a:gd name="connsiteX5" fmla="*/ 331430 w 542359"/>
                    <a:gd name="connsiteY5" fmla="*/ 12583 h 456488"/>
                    <a:gd name="connsiteX6" fmla="*/ 349541 w 542359"/>
                    <a:gd name="connsiteY6" fmla="*/ 134165 h 456488"/>
                    <a:gd name="connsiteX7" fmla="*/ 483716 w 542359"/>
                    <a:gd name="connsiteY7" fmla="*/ 179293 h 456488"/>
                    <a:gd name="connsiteX8" fmla="*/ 536396 w 542359"/>
                    <a:gd name="connsiteY8" fmla="*/ 251639 h 456488"/>
                    <a:gd name="connsiteX9" fmla="*/ 541336 w 542359"/>
                    <a:gd name="connsiteY9" fmla="*/ 453908 h 456488"/>
                    <a:gd name="connsiteX10" fmla="*/ 7226 w 542359"/>
                    <a:gd name="connsiteY10" fmla="*/ 450055 h 456488"/>
                    <a:gd name="connsiteX0" fmla="*/ 6630 w 541763"/>
                    <a:gd name="connsiteY0" fmla="*/ 450055 h 456488"/>
                    <a:gd name="connsiteX1" fmla="*/ 11569 w 541763"/>
                    <a:gd name="connsiteY1" fmla="*/ 247109 h 456488"/>
                    <a:gd name="connsiteX2" fmla="*/ 89534 w 541763"/>
                    <a:gd name="connsiteY2" fmla="*/ 166126 h 456488"/>
                    <a:gd name="connsiteX3" fmla="*/ 218769 w 541763"/>
                    <a:gd name="connsiteY3" fmla="*/ 118035 h 456488"/>
                    <a:gd name="connsiteX4" fmla="*/ 244055 w 541763"/>
                    <a:gd name="connsiteY4" fmla="*/ 15758 h 456488"/>
                    <a:gd name="connsiteX5" fmla="*/ 330834 w 541763"/>
                    <a:gd name="connsiteY5" fmla="*/ 12583 h 456488"/>
                    <a:gd name="connsiteX6" fmla="*/ 348945 w 541763"/>
                    <a:gd name="connsiteY6" fmla="*/ 134165 h 456488"/>
                    <a:gd name="connsiteX7" fmla="*/ 483120 w 541763"/>
                    <a:gd name="connsiteY7" fmla="*/ 179293 h 456488"/>
                    <a:gd name="connsiteX8" fmla="*/ 535800 w 541763"/>
                    <a:gd name="connsiteY8" fmla="*/ 251639 h 456488"/>
                    <a:gd name="connsiteX9" fmla="*/ 540740 w 541763"/>
                    <a:gd name="connsiteY9" fmla="*/ 453908 h 456488"/>
                    <a:gd name="connsiteX10" fmla="*/ 6630 w 541763"/>
                    <a:gd name="connsiteY10" fmla="*/ 450055 h 456488"/>
                    <a:gd name="connsiteX0" fmla="*/ 4856 w 539989"/>
                    <a:gd name="connsiteY0" fmla="*/ 450055 h 456488"/>
                    <a:gd name="connsiteX1" fmla="*/ 15205 w 539989"/>
                    <a:gd name="connsiteY1" fmla="*/ 227128 h 456488"/>
                    <a:gd name="connsiteX2" fmla="*/ 87760 w 539989"/>
                    <a:gd name="connsiteY2" fmla="*/ 166126 h 456488"/>
                    <a:gd name="connsiteX3" fmla="*/ 216995 w 539989"/>
                    <a:gd name="connsiteY3" fmla="*/ 118035 h 456488"/>
                    <a:gd name="connsiteX4" fmla="*/ 242281 w 539989"/>
                    <a:gd name="connsiteY4" fmla="*/ 15758 h 456488"/>
                    <a:gd name="connsiteX5" fmla="*/ 329060 w 539989"/>
                    <a:gd name="connsiteY5" fmla="*/ 12583 h 456488"/>
                    <a:gd name="connsiteX6" fmla="*/ 347171 w 539989"/>
                    <a:gd name="connsiteY6" fmla="*/ 134165 h 456488"/>
                    <a:gd name="connsiteX7" fmla="*/ 481346 w 539989"/>
                    <a:gd name="connsiteY7" fmla="*/ 179293 h 456488"/>
                    <a:gd name="connsiteX8" fmla="*/ 534026 w 539989"/>
                    <a:gd name="connsiteY8" fmla="*/ 251639 h 456488"/>
                    <a:gd name="connsiteX9" fmla="*/ 538966 w 539989"/>
                    <a:gd name="connsiteY9" fmla="*/ 453908 h 456488"/>
                    <a:gd name="connsiteX10" fmla="*/ 4856 w 539989"/>
                    <a:gd name="connsiteY10" fmla="*/ 450055 h 4564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39989" h="456488">
                      <a:moveTo>
                        <a:pt x="4856" y="450055"/>
                      </a:moveTo>
                      <a:cubicBezTo>
                        <a:pt x="-5198" y="385497"/>
                        <a:pt x="1388" y="274449"/>
                        <a:pt x="15205" y="227128"/>
                      </a:cubicBezTo>
                      <a:cubicBezTo>
                        <a:pt x="29022" y="179807"/>
                        <a:pt x="54128" y="184308"/>
                        <a:pt x="87760" y="166126"/>
                      </a:cubicBezTo>
                      <a:cubicBezTo>
                        <a:pt x="121392" y="147944"/>
                        <a:pt x="191242" y="143096"/>
                        <a:pt x="216995" y="118035"/>
                      </a:cubicBezTo>
                      <a:cubicBezTo>
                        <a:pt x="242748" y="92974"/>
                        <a:pt x="223604" y="33333"/>
                        <a:pt x="242281" y="15758"/>
                      </a:cubicBezTo>
                      <a:cubicBezTo>
                        <a:pt x="260958" y="-1817"/>
                        <a:pt x="311578" y="-7151"/>
                        <a:pt x="329060" y="12583"/>
                      </a:cubicBezTo>
                      <a:cubicBezTo>
                        <a:pt x="346542" y="32317"/>
                        <a:pt x="321790" y="106380"/>
                        <a:pt x="347171" y="134165"/>
                      </a:cubicBezTo>
                      <a:cubicBezTo>
                        <a:pt x="372552" y="161950"/>
                        <a:pt x="450204" y="159714"/>
                        <a:pt x="481346" y="179293"/>
                      </a:cubicBezTo>
                      <a:cubicBezTo>
                        <a:pt x="512489" y="198872"/>
                        <a:pt x="523972" y="202956"/>
                        <a:pt x="534026" y="251639"/>
                      </a:cubicBezTo>
                      <a:cubicBezTo>
                        <a:pt x="537201" y="301381"/>
                        <a:pt x="542141" y="328496"/>
                        <a:pt x="538966" y="453908"/>
                      </a:cubicBezTo>
                      <a:cubicBezTo>
                        <a:pt x="307191" y="461845"/>
                        <a:pt x="250800" y="448827"/>
                        <a:pt x="4856" y="450055"/>
                      </a:cubicBezTo>
                      <a:close/>
                    </a:path>
                  </a:pathLst>
                </a:custGeom>
                <a:solidFill>
                  <a:schemeClr val="bg1"/>
                </a:solidFill>
                <a:ln w="57150">
                  <a:solidFill>
                    <a:schemeClr val="tx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194" name="Oval 193">
                  <a:extLst>
                    <a:ext uri="{FF2B5EF4-FFF2-40B4-BE49-F238E27FC236}">
                      <a16:creationId xmlns:a16="http://schemas.microsoft.com/office/drawing/2014/main" id="{212FDDF9-A1F8-B344-A4DF-B707BA6D2C26}"/>
                    </a:ext>
                  </a:extLst>
                </p:cNvPr>
                <p:cNvSpPr/>
                <p:nvPr/>
              </p:nvSpPr>
              <p:spPr>
                <a:xfrm>
                  <a:off x="1964431" y="3500843"/>
                  <a:ext cx="259337" cy="299858"/>
                </a:xfrm>
                <a:prstGeom prst="ellipse">
                  <a:avLst/>
                </a:prstGeom>
                <a:solidFill>
                  <a:schemeClr val="bg1"/>
                </a:solidFill>
                <a:ln w="57150">
                  <a:solidFill>
                    <a:schemeClr val="tx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grpSp>
        </p:grpSp>
        <p:grpSp>
          <p:nvGrpSpPr>
            <p:cNvPr id="185" name="Group 184">
              <a:extLst>
                <a:ext uri="{FF2B5EF4-FFF2-40B4-BE49-F238E27FC236}">
                  <a16:creationId xmlns:a16="http://schemas.microsoft.com/office/drawing/2014/main" id="{B77D5B11-9E61-E741-8019-CB6FAFC24214}"/>
                </a:ext>
              </a:extLst>
            </p:cNvPr>
            <p:cNvGrpSpPr/>
            <p:nvPr/>
          </p:nvGrpSpPr>
          <p:grpSpPr>
            <a:xfrm>
              <a:off x="2495712" y="4589934"/>
              <a:ext cx="1256698" cy="510604"/>
              <a:chOff x="2495712" y="4589934"/>
              <a:chExt cx="1256698" cy="510604"/>
            </a:xfrm>
            <a:solidFill>
              <a:schemeClr val="tx1">
                <a:lumMod val="50000"/>
              </a:schemeClr>
            </a:solidFill>
          </p:grpSpPr>
          <p:sp>
            <p:nvSpPr>
              <p:cNvPr id="187" name="Rounded Rectangle 186">
                <a:extLst>
                  <a:ext uri="{FF2B5EF4-FFF2-40B4-BE49-F238E27FC236}">
                    <a16:creationId xmlns:a16="http://schemas.microsoft.com/office/drawing/2014/main" id="{668FCA11-2403-874C-9689-327635AEF195}"/>
                  </a:ext>
                </a:extLst>
              </p:cNvPr>
              <p:cNvSpPr/>
              <p:nvPr/>
            </p:nvSpPr>
            <p:spPr>
              <a:xfrm>
                <a:off x="2495712" y="4589934"/>
                <a:ext cx="1256697" cy="251941"/>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188" name="Rectangle 187">
                <a:extLst>
                  <a:ext uri="{FF2B5EF4-FFF2-40B4-BE49-F238E27FC236}">
                    <a16:creationId xmlns:a16="http://schemas.microsoft.com/office/drawing/2014/main" id="{266615CF-DE68-5143-A00E-76FF6AFEB18A}"/>
                  </a:ext>
                </a:extLst>
              </p:cNvPr>
              <p:cNvSpPr/>
              <p:nvPr/>
            </p:nvSpPr>
            <p:spPr>
              <a:xfrm>
                <a:off x="2498725" y="4797790"/>
                <a:ext cx="1253685" cy="13315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189" name="Rectangle 188">
                <a:extLst>
                  <a:ext uri="{FF2B5EF4-FFF2-40B4-BE49-F238E27FC236}">
                    <a16:creationId xmlns:a16="http://schemas.microsoft.com/office/drawing/2014/main" id="{1AFD75B6-95D1-1349-96FC-D73E57541265}"/>
                  </a:ext>
                </a:extLst>
              </p:cNvPr>
              <p:cNvSpPr/>
              <p:nvPr/>
            </p:nvSpPr>
            <p:spPr>
              <a:xfrm>
                <a:off x="2546350" y="4923041"/>
                <a:ext cx="109152" cy="17749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190" name="Rectangle 189">
                <a:extLst>
                  <a:ext uri="{FF2B5EF4-FFF2-40B4-BE49-F238E27FC236}">
                    <a16:creationId xmlns:a16="http://schemas.microsoft.com/office/drawing/2014/main" id="{39C85F06-AA7F-ED47-87D4-CA4D906AE6E2}"/>
                  </a:ext>
                </a:extLst>
              </p:cNvPr>
              <p:cNvSpPr/>
              <p:nvPr/>
            </p:nvSpPr>
            <p:spPr>
              <a:xfrm>
                <a:off x="3610945" y="4923041"/>
                <a:ext cx="109152" cy="17749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grpSp>
        <p:sp>
          <p:nvSpPr>
            <p:cNvPr id="186" name="Trapezoid 185">
              <a:extLst>
                <a:ext uri="{FF2B5EF4-FFF2-40B4-BE49-F238E27FC236}">
                  <a16:creationId xmlns:a16="http://schemas.microsoft.com/office/drawing/2014/main" id="{A847332E-0A73-1F46-AB5E-F884784F1EAB}"/>
                </a:ext>
              </a:extLst>
            </p:cNvPr>
            <p:cNvSpPr/>
            <p:nvPr/>
          </p:nvSpPr>
          <p:spPr>
            <a:xfrm>
              <a:off x="2655502" y="4181475"/>
              <a:ext cx="958850" cy="363303"/>
            </a:xfrm>
            <a:prstGeom prst="trapezoid">
              <a:avLst/>
            </a:prstGeom>
            <a:solidFill>
              <a:schemeClr val="tx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grpSp>
      <p:grpSp>
        <p:nvGrpSpPr>
          <p:cNvPr id="197" name="Group 196">
            <a:extLst>
              <a:ext uri="{FF2B5EF4-FFF2-40B4-BE49-F238E27FC236}">
                <a16:creationId xmlns:a16="http://schemas.microsoft.com/office/drawing/2014/main" id="{F692BB00-6B36-2446-A7C4-805D1BA49952}"/>
              </a:ext>
            </a:extLst>
          </p:cNvPr>
          <p:cNvGrpSpPr/>
          <p:nvPr/>
        </p:nvGrpSpPr>
        <p:grpSpPr>
          <a:xfrm>
            <a:off x="8084284" y="4541521"/>
            <a:ext cx="1025213" cy="1261037"/>
            <a:chOff x="2441771" y="3385414"/>
            <a:chExt cx="1325481" cy="1781019"/>
          </a:xfrm>
        </p:grpSpPr>
        <p:pic>
          <p:nvPicPr>
            <p:cNvPr id="198" name="Picture 197">
              <a:extLst>
                <a:ext uri="{FF2B5EF4-FFF2-40B4-BE49-F238E27FC236}">
                  <a16:creationId xmlns:a16="http://schemas.microsoft.com/office/drawing/2014/main" id="{038CFF7F-A3A3-A743-BFF9-42C56C72A1D7}"/>
                </a:ext>
              </a:extLst>
            </p:cNvPr>
            <p:cNvPicPr>
              <a:picLocks noChangeAspect="1"/>
            </p:cNvPicPr>
            <p:nvPr/>
          </p:nvPicPr>
          <p:blipFill rotWithShape="1">
            <a:blip r:embed="rId2"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a:xfrm>
              <a:off x="2441771" y="3385414"/>
              <a:ext cx="1325481" cy="1781019"/>
            </a:xfrm>
            <a:prstGeom prst="rect">
              <a:avLst/>
            </a:prstGeom>
          </p:spPr>
        </p:pic>
        <p:sp>
          <p:nvSpPr>
            <p:cNvPr id="199" name="Rounded Rectangle 198">
              <a:extLst>
                <a:ext uri="{FF2B5EF4-FFF2-40B4-BE49-F238E27FC236}">
                  <a16:creationId xmlns:a16="http://schemas.microsoft.com/office/drawing/2014/main" id="{EA690435-DEED-8A4A-A267-DB79C8AA06C7}"/>
                </a:ext>
              </a:extLst>
            </p:cNvPr>
            <p:cNvSpPr/>
            <p:nvPr/>
          </p:nvSpPr>
          <p:spPr>
            <a:xfrm>
              <a:off x="2655502" y="3670300"/>
              <a:ext cx="958850" cy="436656"/>
            </a:xfrm>
            <a:prstGeom prst="roundRect">
              <a:avLst/>
            </a:prstGeom>
            <a:solidFill>
              <a:schemeClr val="tx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grpSp>
          <p:nvGrpSpPr>
            <p:cNvPr id="200" name="Group 199">
              <a:extLst>
                <a:ext uri="{FF2B5EF4-FFF2-40B4-BE49-F238E27FC236}">
                  <a16:creationId xmlns:a16="http://schemas.microsoft.com/office/drawing/2014/main" id="{89C72FBD-44C0-6D40-9D37-79716A1C5F3C}"/>
                </a:ext>
              </a:extLst>
            </p:cNvPr>
            <p:cNvGrpSpPr/>
            <p:nvPr/>
          </p:nvGrpSpPr>
          <p:grpSpPr>
            <a:xfrm>
              <a:off x="2776471" y="3456093"/>
              <a:ext cx="748710" cy="1056883"/>
              <a:chOff x="1496718" y="3334932"/>
              <a:chExt cx="748710" cy="1056883"/>
            </a:xfrm>
          </p:grpSpPr>
          <p:grpSp>
            <p:nvGrpSpPr>
              <p:cNvPr id="207" name="Group 206">
                <a:extLst>
                  <a:ext uri="{FF2B5EF4-FFF2-40B4-BE49-F238E27FC236}">
                    <a16:creationId xmlns:a16="http://schemas.microsoft.com/office/drawing/2014/main" id="{891A182A-E682-DC40-9AE4-36936D38B77C}"/>
                  </a:ext>
                </a:extLst>
              </p:cNvPr>
              <p:cNvGrpSpPr/>
              <p:nvPr/>
            </p:nvGrpSpPr>
            <p:grpSpPr>
              <a:xfrm>
                <a:off x="1496718" y="3334932"/>
                <a:ext cx="748710" cy="1056883"/>
                <a:chOff x="1843570" y="3508300"/>
                <a:chExt cx="514980" cy="727982"/>
              </a:xfrm>
              <a:solidFill>
                <a:schemeClr val="bg1"/>
              </a:solidFill>
            </p:grpSpPr>
            <p:sp>
              <p:nvSpPr>
                <p:cNvPr id="211" name="Freeform 210">
                  <a:extLst>
                    <a:ext uri="{FF2B5EF4-FFF2-40B4-BE49-F238E27FC236}">
                      <a16:creationId xmlns:a16="http://schemas.microsoft.com/office/drawing/2014/main" id="{94E0921D-2875-104D-83D9-3DCBE4AF4F72}"/>
                    </a:ext>
                  </a:extLst>
                </p:cNvPr>
                <p:cNvSpPr/>
                <p:nvPr/>
              </p:nvSpPr>
              <p:spPr>
                <a:xfrm>
                  <a:off x="1843570" y="3787509"/>
                  <a:ext cx="514980" cy="448773"/>
                </a:xfrm>
                <a:custGeom>
                  <a:avLst/>
                  <a:gdLst>
                    <a:gd name="connsiteX0" fmla="*/ 36807 w 576731"/>
                    <a:gd name="connsiteY0" fmla="*/ 449906 h 505924"/>
                    <a:gd name="connsiteX1" fmla="*/ 39982 w 576731"/>
                    <a:gd name="connsiteY1" fmla="*/ 214956 h 505924"/>
                    <a:gd name="connsiteX2" fmla="*/ 55857 w 576731"/>
                    <a:gd name="connsiteY2" fmla="*/ 176856 h 505924"/>
                    <a:gd name="connsiteX3" fmla="*/ 103482 w 576731"/>
                    <a:gd name="connsiteY3" fmla="*/ 160981 h 505924"/>
                    <a:gd name="connsiteX4" fmla="*/ 205082 w 576731"/>
                    <a:gd name="connsiteY4" fmla="*/ 154631 h 505924"/>
                    <a:gd name="connsiteX5" fmla="*/ 230482 w 576731"/>
                    <a:gd name="connsiteY5" fmla="*/ 151456 h 505924"/>
                    <a:gd name="connsiteX6" fmla="*/ 233657 w 576731"/>
                    <a:gd name="connsiteY6" fmla="*/ 18106 h 505924"/>
                    <a:gd name="connsiteX7" fmla="*/ 344782 w 576731"/>
                    <a:gd name="connsiteY7" fmla="*/ 14931 h 505924"/>
                    <a:gd name="connsiteX8" fmla="*/ 344782 w 576731"/>
                    <a:gd name="connsiteY8" fmla="*/ 145106 h 505924"/>
                    <a:gd name="connsiteX9" fmla="*/ 386057 w 576731"/>
                    <a:gd name="connsiteY9" fmla="*/ 151456 h 505924"/>
                    <a:gd name="connsiteX10" fmla="*/ 478132 w 576731"/>
                    <a:gd name="connsiteY10" fmla="*/ 164156 h 505924"/>
                    <a:gd name="connsiteX11" fmla="*/ 519407 w 576731"/>
                    <a:gd name="connsiteY11" fmla="*/ 189556 h 505924"/>
                    <a:gd name="connsiteX12" fmla="*/ 541632 w 576731"/>
                    <a:gd name="connsiteY12" fmla="*/ 234006 h 505924"/>
                    <a:gd name="connsiteX13" fmla="*/ 538457 w 576731"/>
                    <a:gd name="connsiteY13" fmla="*/ 488006 h 505924"/>
                    <a:gd name="connsiteX14" fmla="*/ 36807 w 576731"/>
                    <a:gd name="connsiteY14" fmla="*/ 449906 h 505924"/>
                    <a:gd name="connsiteX0" fmla="*/ 5769 w 545693"/>
                    <a:gd name="connsiteY0" fmla="*/ 449906 h 505924"/>
                    <a:gd name="connsiteX1" fmla="*/ 8944 w 545693"/>
                    <a:gd name="connsiteY1" fmla="*/ 214956 h 505924"/>
                    <a:gd name="connsiteX2" fmla="*/ 24819 w 545693"/>
                    <a:gd name="connsiteY2" fmla="*/ 176856 h 505924"/>
                    <a:gd name="connsiteX3" fmla="*/ 72444 w 545693"/>
                    <a:gd name="connsiteY3" fmla="*/ 160981 h 505924"/>
                    <a:gd name="connsiteX4" fmla="*/ 174044 w 545693"/>
                    <a:gd name="connsiteY4" fmla="*/ 154631 h 505924"/>
                    <a:gd name="connsiteX5" fmla="*/ 199444 w 545693"/>
                    <a:gd name="connsiteY5" fmla="*/ 151456 h 505924"/>
                    <a:gd name="connsiteX6" fmla="*/ 202619 w 545693"/>
                    <a:gd name="connsiteY6" fmla="*/ 18106 h 505924"/>
                    <a:gd name="connsiteX7" fmla="*/ 313744 w 545693"/>
                    <a:gd name="connsiteY7" fmla="*/ 14931 h 505924"/>
                    <a:gd name="connsiteX8" fmla="*/ 313744 w 545693"/>
                    <a:gd name="connsiteY8" fmla="*/ 145106 h 505924"/>
                    <a:gd name="connsiteX9" fmla="*/ 355019 w 545693"/>
                    <a:gd name="connsiteY9" fmla="*/ 151456 h 505924"/>
                    <a:gd name="connsiteX10" fmla="*/ 447094 w 545693"/>
                    <a:gd name="connsiteY10" fmla="*/ 164156 h 505924"/>
                    <a:gd name="connsiteX11" fmla="*/ 488369 w 545693"/>
                    <a:gd name="connsiteY11" fmla="*/ 189556 h 505924"/>
                    <a:gd name="connsiteX12" fmla="*/ 510594 w 545693"/>
                    <a:gd name="connsiteY12" fmla="*/ 234006 h 505924"/>
                    <a:gd name="connsiteX13" fmla="*/ 507419 w 545693"/>
                    <a:gd name="connsiteY13" fmla="*/ 488006 h 505924"/>
                    <a:gd name="connsiteX14" fmla="*/ 5769 w 545693"/>
                    <a:gd name="connsiteY14" fmla="*/ 449906 h 505924"/>
                    <a:gd name="connsiteX0" fmla="*/ 21286 w 561210"/>
                    <a:gd name="connsiteY0" fmla="*/ 449906 h 508025"/>
                    <a:gd name="connsiteX1" fmla="*/ 24461 w 561210"/>
                    <a:gd name="connsiteY1" fmla="*/ 214956 h 508025"/>
                    <a:gd name="connsiteX2" fmla="*/ 40336 w 561210"/>
                    <a:gd name="connsiteY2" fmla="*/ 176856 h 508025"/>
                    <a:gd name="connsiteX3" fmla="*/ 87961 w 561210"/>
                    <a:gd name="connsiteY3" fmla="*/ 160981 h 508025"/>
                    <a:gd name="connsiteX4" fmla="*/ 189561 w 561210"/>
                    <a:gd name="connsiteY4" fmla="*/ 154631 h 508025"/>
                    <a:gd name="connsiteX5" fmla="*/ 214961 w 561210"/>
                    <a:gd name="connsiteY5" fmla="*/ 151456 h 508025"/>
                    <a:gd name="connsiteX6" fmla="*/ 218136 w 561210"/>
                    <a:gd name="connsiteY6" fmla="*/ 18106 h 508025"/>
                    <a:gd name="connsiteX7" fmla="*/ 329261 w 561210"/>
                    <a:gd name="connsiteY7" fmla="*/ 14931 h 508025"/>
                    <a:gd name="connsiteX8" fmla="*/ 329261 w 561210"/>
                    <a:gd name="connsiteY8" fmla="*/ 145106 h 508025"/>
                    <a:gd name="connsiteX9" fmla="*/ 370536 w 561210"/>
                    <a:gd name="connsiteY9" fmla="*/ 151456 h 508025"/>
                    <a:gd name="connsiteX10" fmla="*/ 462611 w 561210"/>
                    <a:gd name="connsiteY10" fmla="*/ 164156 h 508025"/>
                    <a:gd name="connsiteX11" fmla="*/ 503886 w 561210"/>
                    <a:gd name="connsiteY11" fmla="*/ 189556 h 508025"/>
                    <a:gd name="connsiteX12" fmla="*/ 526111 w 561210"/>
                    <a:gd name="connsiteY12" fmla="*/ 234006 h 508025"/>
                    <a:gd name="connsiteX13" fmla="*/ 522936 w 561210"/>
                    <a:gd name="connsiteY13" fmla="*/ 488006 h 508025"/>
                    <a:gd name="connsiteX14" fmla="*/ 21286 w 561210"/>
                    <a:gd name="connsiteY14" fmla="*/ 449906 h 508025"/>
                    <a:gd name="connsiteX0" fmla="*/ 21286 w 561210"/>
                    <a:gd name="connsiteY0" fmla="*/ 449906 h 508025"/>
                    <a:gd name="connsiteX1" fmla="*/ 24461 w 561210"/>
                    <a:gd name="connsiteY1" fmla="*/ 214956 h 508025"/>
                    <a:gd name="connsiteX2" fmla="*/ 40336 w 561210"/>
                    <a:gd name="connsiteY2" fmla="*/ 176856 h 508025"/>
                    <a:gd name="connsiteX3" fmla="*/ 87961 w 561210"/>
                    <a:gd name="connsiteY3" fmla="*/ 160981 h 508025"/>
                    <a:gd name="connsiteX4" fmla="*/ 189561 w 561210"/>
                    <a:gd name="connsiteY4" fmla="*/ 154631 h 508025"/>
                    <a:gd name="connsiteX5" fmla="*/ 214961 w 561210"/>
                    <a:gd name="connsiteY5" fmla="*/ 151456 h 508025"/>
                    <a:gd name="connsiteX6" fmla="*/ 218136 w 561210"/>
                    <a:gd name="connsiteY6" fmla="*/ 18106 h 508025"/>
                    <a:gd name="connsiteX7" fmla="*/ 329261 w 561210"/>
                    <a:gd name="connsiteY7" fmla="*/ 14931 h 508025"/>
                    <a:gd name="connsiteX8" fmla="*/ 329261 w 561210"/>
                    <a:gd name="connsiteY8" fmla="*/ 145106 h 508025"/>
                    <a:gd name="connsiteX9" fmla="*/ 370536 w 561210"/>
                    <a:gd name="connsiteY9" fmla="*/ 151456 h 508025"/>
                    <a:gd name="connsiteX10" fmla="*/ 462611 w 561210"/>
                    <a:gd name="connsiteY10" fmla="*/ 164156 h 508025"/>
                    <a:gd name="connsiteX11" fmla="*/ 503886 w 561210"/>
                    <a:gd name="connsiteY11" fmla="*/ 189556 h 508025"/>
                    <a:gd name="connsiteX12" fmla="*/ 526111 w 561210"/>
                    <a:gd name="connsiteY12" fmla="*/ 234006 h 508025"/>
                    <a:gd name="connsiteX13" fmla="*/ 522936 w 561210"/>
                    <a:gd name="connsiteY13" fmla="*/ 488006 h 508025"/>
                    <a:gd name="connsiteX14" fmla="*/ 21286 w 561210"/>
                    <a:gd name="connsiteY14" fmla="*/ 449906 h 508025"/>
                    <a:gd name="connsiteX0" fmla="*/ 4360 w 544284"/>
                    <a:gd name="connsiteY0" fmla="*/ 449906 h 508025"/>
                    <a:gd name="connsiteX1" fmla="*/ 7535 w 544284"/>
                    <a:gd name="connsiteY1" fmla="*/ 214956 h 508025"/>
                    <a:gd name="connsiteX2" fmla="*/ 23410 w 544284"/>
                    <a:gd name="connsiteY2" fmla="*/ 176856 h 508025"/>
                    <a:gd name="connsiteX3" fmla="*/ 71035 w 544284"/>
                    <a:gd name="connsiteY3" fmla="*/ 160981 h 508025"/>
                    <a:gd name="connsiteX4" fmla="*/ 172635 w 544284"/>
                    <a:gd name="connsiteY4" fmla="*/ 154631 h 508025"/>
                    <a:gd name="connsiteX5" fmla="*/ 198035 w 544284"/>
                    <a:gd name="connsiteY5" fmla="*/ 151456 h 508025"/>
                    <a:gd name="connsiteX6" fmla="*/ 201210 w 544284"/>
                    <a:gd name="connsiteY6" fmla="*/ 18106 h 508025"/>
                    <a:gd name="connsiteX7" fmla="*/ 312335 w 544284"/>
                    <a:gd name="connsiteY7" fmla="*/ 14931 h 508025"/>
                    <a:gd name="connsiteX8" fmla="*/ 312335 w 544284"/>
                    <a:gd name="connsiteY8" fmla="*/ 145106 h 508025"/>
                    <a:gd name="connsiteX9" fmla="*/ 353610 w 544284"/>
                    <a:gd name="connsiteY9" fmla="*/ 151456 h 508025"/>
                    <a:gd name="connsiteX10" fmla="*/ 445685 w 544284"/>
                    <a:gd name="connsiteY10" fmla="*/ 164156 h 508025"/>
                    <a:gd name="connsiteX11" fmla="*/ 486960 w 544284"/>
                    <a:gd name="connsiteY11" fmla="*/ 189556 h 508025"/>
                    <a:gd name="connsiteX12" fmla="*/ 509185 w 544284"/>
                    <a:gd name="connsiteY12" fmla="*/ 234006 h 508025"/>
                    <a:gd name="connsiteX13" fmla="*/ 506010 w 544284"/>
                    <a:gd name="connsiteY13" fmla="*/ 488006 h 508025"/>
                    <a:gd name="connsiteX14" fmla="*/ 4360 w 544284"/>
                    <a:gd name="connsiteY14" fmla="*/ 449906 h 508025"/>
                    <a:gd name="connsiteX0" fmla="*/ 4360 w 544284"/>
                    <a:gd name="connsiteY0" fmla="*/ 449906 h 500804"/>
                    <a:gd name="connsiteX1" fmla="*/ 7535 w 544284"/>
                    <a:gd name="connsiteY1" fmla="*/ 214956 h 500804"/>
                    <a:gd name="connsiteX2" fmla="*/ 23410 w 544284"/>
                    <a:gd name="connsiteY2" fmla="*/ 176856 h 500804"/>
                    <a:gd name="connsiteX3" fmla="*/ 71035 w 544284"/>
                    <a:gd name="connsiteY3" fmla="*/ 160981 h 500804"/>
                    <a:gd name="connsiteX4" fmla="*/ 172635 w 544284"/>
                    <a:gd name="connsiteY4" fmla="*/ 154631 h 500804"/>
                    <a:gd name="connsiteX5" fmla="*/ 198035 w 544284"/>
                    <a:gd name="connsiteY5" fmla="*/ 151456 h 500804"/>
                    <a:gd name="connsiteX6" fmla="*/ 201210 w 544284"/>
                    <a:gd name="connsiteY6" fmla="*/ 18106 h 500804"/>
                    <a:gd name="connsiteX7" fmla="*/ 312335 w 544284"/>
                    <a:gd name="connsiteY7" fmla="*/ 14931 h 500804"/>
                    <a:gd name="connsiteX8" fmla="*/ 312335 w 544284"/>
                    <a:gd name="connsiteY8" fmla="*/ 145106 h 500804"/>
                    <a:gd name="connsiteX9" fmla="*/ 353610 w 544284"/>
                    <a:gd name="connsiteY9" fmla="*/ 151456 h 500804"/>
                    <a:gd name="connsiteX10" fmla="*/ 445685 w 544284"/>
                    <a:gd name="connsiteY10" fmla="*/ 164156 h 500804"/>
                    <a:gd name="connsiteX11" fmla="*/ 486960 w 544284"/>
                    <a:gd name="connsiteY11" fmla="*/ 189556 h 500804"/>
                    <a:gd name="connsiteX12" fmla="*/ 509185 w 544284"/>
                    <a:gd name="connsiteY12" fmla="*/ 234006 h 500804"/>
                    <a:gd name="connsiteX13" fmla="*/ 506010 w 544284"/>
                    <a:gd name="connsiteY13" fmla="*/ 488006 h 500804"/>
                    <a:gd name="connsiteX14" fmla="*/ 4360 w 544284"/>
                    <a:gd name="connsiteY14" fmla="*/ 449906 h 500804"/>
                    <a:gd name="connsiteX0" fmla="*/ 4360 w 544284"/>
                    <a:gd name="connsiteY0" fmla="*/ 449906 h 500804"/>
                    <a:gd name="connsiteX1" fmla="*/ 7535 w 544284"/>
                    <a:gd name="connsiteY1" fmla="*/ 214956 h 500804"/>
                    <a:gd name="connsiteX2" fmla="*/ 23410 w 544284"/>
                    <a:gd name="connsiteY2" fmla="*/ 176856 h 500804"/>
                    <a:gd name="connsiteX3" fmla="*/ 71035 w 544284"/>
                    <a:gd name="connsiteY3" fmla="*/ 160981 h 500804"/>
                    <a:gd name="connsiteX4" fmla="*/ 172635 w 544284"/>
                    <a:gd name="connsiteY4" fmla="*/ 154631 h 500804"/>
                    <a:gd name="connsiteX5" fmla="*/ 198035 w 544284"/>
                    <a:gd name="connsiteY5" fmla="*/ 151456 h 500804"/>
                    <a:gd name="connsiteX6" fmla="*/ 201210 w 544284"/>
                    <a:gd name="connsiteY6" fmla="*/ 18106 h 500804"/>
                    <a:gd name="connsiteX7" fmla="*/ 312335 w 544284"/>
                    <a:gd name="connsiteY7" fmla="*/ 14931 h 500804"/>
                    <a:gd name="connsiteX8" fmla="*/ 312335 w 544284"/>
                    <a:gd name="connsiteY8" fmla="*/ 145106 h 500804"/>
                    <a:gd name="connsiteX9" fmla="*/ 353610 w 544284"/>
                    <a:gd name="connsiteY9" fmla="*/ 151456 h 500804"/>
                    <a:gd name="connsiteX10" fmla="*/ 445685 w 544284"/>
                    <a:gd name="connsiteY10" fmla="*/ 164156 h 500804"/>
                    <a:gd name="connsiteX11" fmla="*/ 486960 w 544284"/>
                    <a:gd name="connsiteY11" fmla="*/ 189556 h 500804"/>
                    <a:gd name="connsiteX12" fmla="*/ 509185 w 544284"/>
                    <a:gd name="connsiteY12" fmla="*/ 234006 h 500804"/>
                    <a:gd name="connsiteX13" fmla="*/ 506010 w 544284"/>
                    <a:gd name="connsiteY13" fmla="*/ 488006 h 500804"/>
                    <a:gd name="connsiteX14" fmla="*/ 4360 w 544284"/>
                    <a:gd name="connsiteY14" fmla="*/ 449906 h 500804"/>
                    <a:gd name="connsiteX0" fmla="*/ 4360 w 519024"/>
                    <a:gd name="connsiteY0" fmla="*/ 449906 h 500804"/>
                    <a:gd name="connsiteX1" fmla="*/ 7535 w 519024"/>
                    <a:gd name="connsiteY1" fmla="*/ 214956 h 500804"/>
                    <a:gd name="connsiteX2" fmla="*/ 23410 w 519024"/>
                    <a:gd name="connsiteY2" fmla="*/ 176856 h 500804"/>
                    <a:gd name="connsiteX3" fmla="*/ 71035 w 519024"/>
                    <a:gd name="connsiteY3" fmla="*/ 160981 h 500804"/>
                    <a:gd name="connsiteX4" fmla="*/ 172635 w 519024"/>
                    <a:gd name="connsiteY4" fmla="*/ 154631 h 500804"/>
                    <a:gd name="connsiteX5" fmla="*/ 198035 w 519024"/>
                    <a:gd name="connsiteY5" fmla="*/ 151456 h 500804"/>
                    <a:gd name="connsiteX6" fmla="*/ 201210 w 519024"/>
                    <a:gd name="connsiteY6" fmla="*/ 18106 h 500804"/>
                    <a:gd name="connsiteX7" fmla="*/ 312335 w 519024"/>
                    <a:gd name="connsiteY7" fmla="*/ 14931 h 500804"/>
                    <a:gd name="connsiteX8" fmla="*/ 312335 w 519024"/>
                    <a:gd name="connsiteY8" fmla="*/ 145106 h 500804"/>
                    <a:gd name="connsiteX9" fmla="*/ 353610 w 519024"/>
                    <a:gd name="connsiteY9" fmla="*/ 151456 h 500804"/>
                    <a:gd name="connsiteX10" fmla="*/ 445685 w 519024"/>
                    <a:gd name="connsiteY10" fmla="*/ 164156 h 500804"/>
                    <a:gd name="connsiteX11" fmla="*/ 486960 w 519024"/>
                    <a:gd name="connsiteY11" fmla="*/ 189556 h 500804"/>
                    <a:gd name="connsiteX12" fmla="*/ 509185 w 519024"/>
                    <a:gd name="connsiteY12" fmla="*/ 234006 h 500804"/>
                    <a:gd name="connsiteX13" fmla="*/ 506010 w 519024"/>
                    <a:gd name="connsiteY13" fmla="*/ 488006 h 500804"/>
                    <a:gd name="connsiteX14" fmla="*/ 4360 w 519024"/>
                    <a:gd name="connsiteY14" fmla="*/ 449906 h 500804"/>
                    <a:gd name="connsiteX0" fmla="*/ 4360 w 519024"/>
                    <a:gd name="connsiteY0" fmla="*/ 449906 h 488006"/>
                    <a:gd name="connsiteX1" fmla="*/ 7535 w 519024"/>
                    <a:gd name="connsiteY1" fmla="*/ 214956 h 488006"/>
                    <a:gd name="connsiteX2" fmla="*/ 23410 w 519024"/>
                    <a:gd name="connsiteY2" fmla="*/ 176856 h 488006"/>
                    <a:gd name="connsiteX3" fmla="*/ 71035 w 519024"/>
                    <a:gd name="connsiteY3" fmla="*/ 160981 h 488006"/>
                    <a:gd name="connsiteX4" fmla="*/ 172635 w 519024"/>
                    <a:gd name="connsiteY4" fmla="*/ 154631 h 488006"/>
                    <a:gd name="connsiteX5" fmla="*/ 198035 w 519024"/>
                    <a:gd name="connsiteY5" fmla="*/ 151456 h 488006"/>
                    <a:gd name="connsiteX6" fmla="*/ 201210 w 519024"/>
                    <a:gd name="connsiteY6" fmla="*/ 18106 h 488006"/>
                    <a:gd name="connsiteX7" fmla="*/ 312335 w 519024"/>
                    <a:gd name="connsiteY7" fmla="*/ 14931 h 488006"/>
                    <a:gd name="connsiteX8" fmla="*/ 312335 w 519024"/>
                    <a:gd name="connsiteY8" fmla="*/ 145106 h 488006"/>
                    <a:gd name="connsiteX9" fmla="*/ 353610 w 519024"/>
                    <a:gd name="connsiteY9" fmla="*/ 151456 h 488006"/>
                    <a:gd name="connsiteX10" fmla="*/ 445685 w 519024"/>
                    <a:gd name="connsiteY10" fmla="*/ 164156 h 488006"/>
                    <a:gd name="connsiteX11" fmla="*/ 486960 w 519024"/>
                    <a:gd name="connsiteY11" fmla="*/ 189556 h 488006"/>
                    <a:gd name="connsiteX12" fmla="*/ 509185 w 519024"/>
                    <a:gd name="connsiteY12" fmla="*/ 234006 h 488006"/>
                    <a:gd name="connsiteX13" fmla="*/ 506010 w 519024"/>
                    <a:gd name="connsiteY13" fmla="*/ 488006 h 488006"/>
                    <a:gd name="connsiteX14" fmla="*/ 4360 w 519024"/>
                    <a:gd name="connsiteY14" fmla="*/ 449906 h 488006"/>
                    <a:gd name="connsiteX0" fmla="*/ 4360 w 523534"/>
                    <a:gd name="connsiteY0" fmla="*/ 449906 h 472131"/>
                    <a:gd name="connsiteX1" fmla="*/ 7535 w 523534"/>
                    <a:gd name="connsiteY1" fmla="*/ 214956 h 472131"/>
                    <a:gd name="connsiteX2" fmla="*/ 23410 w 523534"/>
                    <a:gd name="connsiteY2" fmla="*/ 176856 h 472131"/>
                    <a:gd name="connsiteX3" fmla="*/ 71035 w 523534"/>
                    <a:gd name="connsiteY3" fmla="*/ 160981 h 472131"/>
                    <a:gd name="connsiteX4" fmla="*/ 172635 w 523534"/>
                    <a:gd name="connsiteY4" fmla="*/ 154631 h 472131"/>
                    <a:gd name="connsiteX5" fmla="*/ 198035 w 523534"/>
                    <a:gd name="connsiteY5" fmla="*/ 151456 h 472131"/>
                    <a:gd name="connsiteX6" fmla="*/ 201210 w 523534"/>
                    <a:gd name="connsiteY6" fmla="*/ 18106 h 472131"/>
                    <a:gd name="connsiteX7" fmla="*/ 312335 w 523534"/>
                    <a:gd name="connsiteY7" fmla="*/ 14931 h 472131"/>
                    <a:gd name="connsiteX8" fmla="*/ 312335 w 523534"/>
                    <a:gd name="connsiteY8" fmla="*/ 145106 h 472131"/>
                    <a:gd name="connsiteX9" fmla="*/ 353610 w 523534"/>
                    <a:gd name="connsiteY9" fmla="*/ 151456 h 472131"/>
                    <a:gd name="connsiteX10" fmla="*/ 445685 w 523534"/>
                    <a:gd name="connsiteY10" fmla="*/ 164156 h 472131"/>
                    <a:gd name="connsiteX11" fmla="*/ 486960 w 523534"/>
                    <a:gd name="connsiteY11" fmla="*/ 189556 h 472131"/>
                    <a:gd name="connsiteX12" fmla="*/ 509185 w 523534"/>
                    <a:gd name="connsiteY12" fmla="*/ 234006 h 472131"/>
                    <a:gd name="connsiteX13" fmla="*/ 512360 w 523534"/>
                    <a:gd name="connsiteY13" fmla="*/ 472131 h 472131"/>
                    <a:gd name="connsiteX14" fmla="*/ 4360 w 523534"/>
                    <a:gd name="connsiteY14" fmla="*/ 449906 h 472131"/>
                    <a:gd name="connsiteX0" fmla="*/ 4360 w 513675"/>
                    <a:gd name="connsiteY0" fmla="*/ 449906 h 472131"/>
                    <a:gd name="connsiteX1" fmla="*/ 7535 w 513675"/>
                    <a:gd name="connsiteY1" fmla="*/ 214956 h 472131"/>
                    <a:gd name="connsiteX2" fmla="*/ 23410 w 513675"/>
                    <a:gd name="connsiteY2" fmla="*/ 176856 h 472131"/>
                    <a:gd name="connsiteX3" fmla="*/ 71035 w 513675"/>
                    <a:gd name="connsiteY3" fmla="*/ 160981 h 472131"/>
                    <a:gd name="connsiteX4" fmla="*/ 172635 w 513675"/>
                    <a:gd name="connsiteY4" fmla="*/ 154631 h 472131"/>
                    <a:gd name="connsiteX5" fmla="*/ 198035 w 513675"/>
                    <a:gd name="connsiteY5" fmla="*/ 151456 h 472131"/>
                    <a:gd name="connsiteX6" fmla="*/ 201210 w 513675"/>
                    <a:gd name="connsiteY6" fmla="*/ 18106 h 472131"/>
                    <a:gd name="connsiteX7" fmla="*/ 312335 w 513675"/>
                    <a:gd name="connsiteY7" fmla="*/ 14931 h 472131"/>
                    <a:gd name="connsiteX8" fmla="*/ 312335 w 513675"/>
                    <a:gd name="connsiteY8" fmla="*/ 145106 h 472131"/>
                    <a:gd name="connsiteX9" fmla="*/ 353610 w 513675"/>
                    <a:gd name="connsiteY9" fmla="*/ 151456 h 472131"/>
                    <a:gd name="connsiteX10" fmla="*/ 445685 w 513675"/>
                    <a:gd name="connsiteY10" fmla="*/ 164156 h 472131"/>
                    <a:gd name="connsiteX11" fmla="*/ 486960 w 513675"/>
                    <a:gd name="connsiteY11" fmla="*/ 189556 h 472131"/>
                    <a:gd name="connsiteX12" fmla="*/ 509185 w 513675"/>
                    <a:gd name="connsiteY12" fmla="*/ 234006 h 472131"/>
                    <a:gd name="connsiteX13" fmla="*/ 512360 w 513675"/>
                    <a:gd name="connsiteY13" fmla="*/ 472131 h 472131"/>
                    <a:gd name="connsiteX14" fmla="*/ 4360 w 513675"/>
                    <a:gd name="connsiteY14" fmla="*/ 449906 h 472131"/>
                    <a:gd name="connsiteX0" fmla="*/ 4360 w 513675"/>
                    <a:gd name="connsiteY0" fmla="*/ 446969 h 469194"/>
                    <a:gd name="connsiteX1" fmla="*/ 7535 w 513675"/>
                    <a:gd name="connsiteY1" fmla="*/ 212019 h 469194"/>
                    <a:gd name="connsiteX2" fmla="*/ 23410 w 513675"/>
                    <a:gd name="connsiteY2" fmla="*/ 173919 h 469194"/>
                    <a:gd name="connsiteX3" fmla="*/ 71035 w 513675"/>
                    <a:gd name="connsiteY3" fmla="*/ 158044 h 469194"/>
                    <a:gd name="connsiteX4" fmla="*/ 172635 w 513675"/>
                    <a:gd name="connsiteY4" fmla="*/ 151694 h 469194"/>
                    <a:gd name="connsiteX5" fmla="*/ 188510 w 513675"/>
                    <a:gd name="connsiteY5" fmla="*/ 94544 h 469194"/>
                    <a:gd name="connsiteX6" fmla="*/ 201210 w 513675"/>
                    <a:gd name="connsiteY6" fmla="*/ 15169 h 469194"/>
                    <a:gd name="connsiteX7" fmla="*/ 312335 w 513675"/>
                    <a:gd name="connsiteY7" fmla="*/ 11994 h 469194"/>
                    <a:gd name="connsiteX8" fmla="*/ 312335 w 513675"/>
                    <a:gd name="connsiteY8" fmla="*/ 142169 h 469194"/>
                    <a:gd name="connsiteX9" fmla="*/ 353610 w 513675"/>
                    <a:gd name="connsiteY9" fmla="*/ 148519 h 469194"/>
                    <a:gd name="connsiteX10" fmla="*/ 445685 w 513675"/>
                    <a:gd name="connsiteY10" fmla="*/ 161219 h 469194"/>
                    <a:gd name="connsiteX11" fmla="*/ 486960 w 513675"/>
                    <a:gd name="connsiteY11" fmla="*/ 186619 h 469194"/>
                    <a:gd name="connsiteX12" fmla="*/ 509185 w 513675"/>
                    <a:gd name="connsiteY12" fmla="*/ 231069 h 469194"/>
                    <a:gd name="connsiteX13" fmla="*/ 512360 w 513675"/>
                    <a:gd name="connsiteY13" fmla="*/ 469194 h 469194"/>
                    <a:gd name="connsiteX14" fmla="*/ 4360 w 513675"/>
                    <a:gd name="connsiteY14" fmla="*/ 446969 h 469194"/>
                    <a:gd name="connsiteX0" fmla="*/ 4360 w 513675"/>
                    <a:gd name="connsiteY0" fmla="*/ 443409 h 465634"/>
                    <a:gd name="connsiteX1" fmla="*/ 7535 w 513675"/>
                    <a:gd name="connsiteY1" fmla="*/ 208459 h 465634"/>
                    <a:gd name="connsiteX2" fmla="*/ 23410 w 513675"/>
                    <a:gd name="connsiteY2" fmla="*/ 170359 h 465634"/>
                    <a:gd name="connsiteX3" fmla="*/ 71035 w 513675"/>
                    <a:gd name="connsiteY3" fmla="*/ 154484 h 465634"/>
                    <a:gd name="connsiteX4" fmla="*/ 172635 w 513675"/>
                    <a:gd name="connsiteY4" fmla="*/ 148134 h 465634"/>
                    <a:gd name="connsiteX5" fmla="*/ 188510 w 513675"/>
                    <a:gd name="connsiteY5" fmla="*/ 90984 h 465634"/>
                    <a:gd name="connsiteX6" fmla="*/ 201210 w 513675"/>
                    <a:gd name="connsiteY6" fmla="*/ 11609 h 465634"/>
                    <a:gd name="connsiteX7" fmla="*/ 312335 w 513675"/>
                    <a:gd name="connsiteY7" fmla="*/ 8434 h 465634"/>
                    <a:gd name="connsiteX8" fmla="*/ 312335 w 513675"/>
                    <a:gd name="connsiteY8" fmla="*/ 87809 h 465634"/>
                    <a:gd name="connsiteX9" fmla="*/ 353610 w 513675"/>
                    <a:gd name="connsiteY9" fmla="*/ 144959 h 465634"/>
                    <a:gd name="connsiteX10" fmla="*/ 445685 w 513675"/>
                    <a:gd name="connsiteY10" fmla="*/ 157659 h 465634"/>
                    <a:gd name="connsiteX11" fmla="*/ 486960 w 513675"/>
                    <a:gd name="connsiteY11" fmla="*/ 183059 h 465634"/>
                    <a:gd name="connsiteX12" fmla="*/ 509185 w 513675"/>
                    <a:gd name="connsiteY12" fmla="*/ 227509 h 465634"/>
                    <a:gd name="connsiteX13" fmla="*/ 512360 w 513675"/>
                    <a:gd name="connsiteY13" fmla="*/ 465634 h 465634"/>
                    <a:gd name="connsiteX14" fmla="*/ 4360 w 513675"/>
                    <a:gd name="connsiteY14" fmla="*/ 443409 h 465634"/>
                    <a:gd name="connsiteX0" fmla="*/ 4360 w 513675"/>
                    <a:gd name="connsiteY0" fmla="*/ 443409 h 465634"/>
                    <a:gd name="connsiteX1" fmla="*/ 7535 w 513675"/>
                    <a:gd name="connsiteY1" fmla="*/ 208459 h 465634"/>
                    <a:gd name="connsiteX2" fmla="*/ 23410 w 513675"/>
                    <a:gd name="connsiteY2" fmla="*/ 170359 h 465634"/>
                    <a:gd name="connsiteX3" fmla="*/ 71035 w 513675"/>
                    <a:gd name="connsiteY3" fmla="*/ 154484 h 465634"/>
                    <a:gd name="connsiteX4" fmla="*/ 172635 w 513675"/>
                    <a:gd name="connsiteY4" fmla="*/ 148134 h 465634"/>
                    <a:gd name="connsiteX5" fmla="*/ 188510 w 513675"/>
                    <a:gd name="connsiteY5" fmla="*/ 90984 h 465634"/>
                    <a:gd name="connsiteX6" fmla="*/ 201210 w 513675"/>
                    <a:gd name="connsiteY6" fmla="*/ 11609 h 465634"/>
                    <a:gd name="connsiteX7" fmla="*/ 312335 w 513675"/>
                    <a:gd name="connsiteY7" fmla="*/ 8434 h 465634"/>
                    <a:gd name="connsiteX8" fmla="*/ 312335 w 513675"/>
                    <a:gd name="connsiteY8" fmla="*/ 87809 h 465634"/>
                    <a:gd name="connsiteX9" fmla="*/ 334560 w 513675"/>
                    <a:gd name="connsiteY9" fmla="*/ 135434 h 465634"/>
                    <a:gd name="connsiteX10" fmla="*/ 445685 w 513675"/>
                    <a:gd name="connsiteY10" fmla="*/ 157659 h 465634"/>
                    <a:gd name="connsiteX11" fmla="*/ 486960 w 513675"/>
                    <a:gd name="connsiteY11" fmla="*/ 183059 h 465634"/>
                    <a:gd name="connsiteX12" fmla="*/ 509185 w 513675"/>
                    <a:gd name="connsiteY12" fmla="*/ 227509 h 465634"/>
                    <a:gd name="connsiteX13" fmla="*/ 512360 w 513675"/>
                    <a:gd name="connsiteY13" fmla="*/ 465634 h 465634"/>
                    <a:gd name="connsiteX14" fmla="*/ 4360 w 513675"/>
                    <a:gd name="connsiteY14" fmla="*/ 443409 h 465634"/>
                    <a:gd name="connsiteX0" fmla="*/ 4360 w 510500"/>
                    <a:gd name="connsiteY0" fmla="*/ 443409 h 449759"/>
                    <a:gd name="connsiteX1" fmla="*/ 7535 w 510500"/>
                    <a:gd name="connsiteY1" fmla="*/ 208459 h 449759"/>
                    <a:gd name="connsiteX2" fmla="*/ 23410 w 510500"/>
                    <a:gd name="connsiteY2" fmla="*/ 170359 h 449759"/>
                    <a:gd name="connsiteX3" fmla="*/ 71035 w 510500"/>
                    <a:gd name="connsiteY3" fmla="*/ 154484 h 449759"/>
                    <a:gd name="connsiteX4" fmla="*/ 172635 w 510500"/>
                    <a:gd name="connsiteY4" fmla="*/ 148134 h 449759"/>
                    <a:gd name="connsiteX5" fmla="*/ 188510 w 510500"/>
                    <a:gd name="connsiteY5" fmla="*/ 90984 h 449759"/>
                    <a:gd name="connsiteX6" fmla="*/ 201210 w 510500"/>
                    <a:gd name="connsiteY6" fmla="*/ 11609 h 449759"/>
                    <a:gd name="connsiteX7" fmla="*/ 312335 w 510500"/>
                    <a:gd name="connsiteY7" fmla="*/ 8434 h 449759"/>
                    <a:gd name="connsiteX8" fmla="*/ 312335 w 510500"/>
                    <a:gd name="connsiteY8" fmla="*/ 87809 h 449759"/>
                    <a:gd name="connsiteX9" fmla="*/ 334560 w 510500"/>
                    <a:gd name="connsiteY9" fmla="*/ 135434 h 449759"/>
                    <a:gd name="connsiteX10" fmla="*/ 445685 w 510500"/>
                    <a:gd name="connsiteY10" fmla="*/ 157659 h 449759"/>
                    <a:gd name="connsiteX11" fmla="*/ 486960 w 510500"/>
                    <a:gd name="connsiteY11" fmla="*/ 183059 h 449759"/>
                    <a:gd name="connsiteX12" fmla="*/ 509185 w 510500"/>
                    <a:gd name="connsiteY12" fmla="*/ 227509 h 449759"/>
                    <a:gd name="connsiteX13" fmla="*/ 506010 w 510500"/>
                    <a:gd name="connsiteY13" fmla="*/ 449759 h 449759"/>
                    <a:gd name="connsiteX14" fmla="*/ 4360 w 510500"/>
                    <a:gd name="connsiteY14" fmla="*/ 443409 h 449759"/>
                    <a:gd name="connsiteX0" fmla="*/ 4360 w 510500"/>
                    <a:gd name="connsiteY0" fmla="*/ 443409 h 454926"/>
                    <a:gd name="connsiteX1" fmla="*/ 7535 w 510500"/>
                    <a:gd name="connsiteY1" fmla="*/ 208459 h 454926"/>
                    <a:gd name="connsiteX2" fmla="*/ 23410 w 510500"/>
                    <a:gd name="connsiteY2" fmla="*/ 170359 h 454926"/>
                    <a:gd name="connsiteX3" fmla="*/ 71035 w 510500"/>
                    <a:gd name="connsiteY3" fmla="*/ 154484 h 454926"/>
                    <a:gd name="connsiteX4" fmla="*/ 172635 w 510500"/>
                    <a:gd name="connsiteY4" fmla="*/ 148134 h 454926"/>
                    <a:gd name="connsiteX5" fmla="*/ 188510 w 510500"/>
                    <a:gd name="connsiteY5" fmla="*/ 90984 h 454926"/>
                    <a:gd name="connsiteX6" fmla="*/ 201210 w 510500"/>
                    <a:gd name="connsiteY6" fmla="*/ 11609 h 454926"/>
                    <a:gd name="connsiteX7" fmla="*/ 312335 w 510500"/>
                    <a:gd name="connsiteY7" fmla="*/ 8434 h 454926"/>
                    <a:gd name="connsiteX8" fmla="*/ 312335 w 510500"/>
                    <a:gd name="connsiteY8" fmla="*/ 87809 h 454926"/>
                    <a:gd name="connsiteX9" fmla="*/ 334560 w 510500"/>
                    <a:gd name="connsiteY9" fmla="*/ 135434 h 454926"/>
                    <a:gd name="connsiteX10" fmla="*/ 445685 w 510500"/>
                    <a:gd name="connsiteY10" fmla="*/ 157659 h 454926"/>
                    <a:gd name="connsiteX11" fmla="*/ 486960 w 510500"/>
                    <a:gd name="connsiteY11" fmla="*/ 183059 h 454926"/>
                    <a:gd name="connsiteX12" fmla="*/ 509185 w 510500"/>
                    <a:gd name="connsiteY12" fmla="*/ 227509 h 454926"/>
                    <a:gd name="connsiteX13" fmla="*/ 506010 w 510500"/>
                    <a:gd name="connsiteY13" fmla="*/ 449759 h 454926"/>
                    <a:gd name="connsiteX14" fmla="*/ 4360 w 510500"/>
                    <a:gd name="connsiteY14" fmla="*/ 443409 h 454926"/>
                    <a:gd name="connsiteX0" fmla="*/ 6473 w 512613"/>
                    <a:gd name="connsiteY0" fmla="*/ 443409 h 454926"/>
                    <a:gd name="connsiteX1" fmla="*/ 9648 w 512613"/>
                    <a:gd name="connsiteY1" fmla="*/ 208459 h 454926"/>
                    <a:gd name="connsiteX2" fmla="*/ 73148 w 512613"/>
                    <a:gd name="connsiteY2" fmla="*/ 154484 h 454926"/>
                    <a:gd name="connsiteX3" fmla="*/ 174748 w 512613"/>
                    <a:gd name="connsiteY3" fmla="*/ 148134 h 454926"/>
                    <a:gd name="connsiteX4" fmla="*/ 190623 w 512613"/>
                    <a:gd name="connsiteY4" fmla="*/ 90984 h 454926"/>
                    <a:gd name="connsiteX5" fmla="*/ 203323 w 512613"/>
                    <a:gd name="connsiteY5" fmla="*/ 11609 h 454926"/>
                    <a:gd name="connsiteX6" fmla="*/ 314448 w 512613"/>
                    <a:gd name="connsiteY6" fmla="*/ 8434 h 454926"/>
                    <a:gd name="connsiteX7" fmla="*/ 314448 w 512613"/>
                    <a:gd name="connsiteY7" fmla="*/ 87809 h 454926"/>
                    <a:gd name="connsiteX8" fmla="*/ 336673 w 512613"/>
                    <a:gd name="connsiteY8" fmla="*/ 135434 h 454926"/>
                    <a:gd name="connsiteX9" fmla="*/ 447798 w 512613"/>
                    <a:gd name="connsiteY9" fmla="*/ 157659 h 454926"/>
                    <a:gd name="connsiteX10" fmla="*/ 489073 w 512613"/>
                    <a:gd name="connsiteY10" fmla="*/ 183059 h 454926"/>
                    <a:gd name="connsiteX11" fmla="*/ 511298 w 512613"/>
                    <a:gd name="connsiteY11" fmla="*/ 227509 h 454926"/>
                    <a:gd name="connsiteX12" fmla="*/ 508123 w 512613"/>
                    <a:gd name="connsiteY12" fmla="*/ 449759 h 454926"/>
                    <a:gd name="connsiteX13" fmla="*/ 6473 w 512613"/>
                    <a:gd name="connsiteY13" fmla="*/ 443409 h 454926"/>
                    <a:gd name="connsiteX0" fmla="*/ 4049 w 510189"/>
                    <a:gd name="connsiteY0" fmla="*/ 443409 h 454926"/>
                    <a:gd name="connsiteX1" fmla="*/ 7224 w 510189"/>
                    <a:gd name="connsiteY1" fmla="*/ 208459 h 454926"/>
                    <a:gd name="connsiteX2" fmla="*/ 70724 w 510189"/>
                    <a:gd name="connsiteY2" fmla="*/ 154484 h 454926"/>
                    <a:gd name="connsiteX3" fmla="*/ 172324 w 510189"/>
                    <a:gd name="connsiteY3" fmla="*/ 148134 h 454926"/>
                    <a:gd name="connsiteX4" fmla="*/ 188199 w 510189"/>
                    <a:gd name="connsiteY4" fmla="*/ 90984 h 454926"/>
                    <a:gd name="connsiteX5" fmla="*/ 200899 w 510189"/>
                    <a:gd name="connsiteY5" fmla="*/ 11609 h 454926"/>
                    <a:gd name="connsiteX6" fmla="*/ 312024 w 510189"/>
                    <a:gd name="connsiteY6" fmla="*/ 8434 h 454926"/>
                    <a:gd name="connsiteX7" fmla="*/ 312024 w 510189"/>
                    <a:gd name="connsiteY7" fmla="*/ 87809 h 454926"/>
                    <a:gd name="connsiteX8" fmla="*/ 334249 w 510189"/>
                    <a:gd name="connsiteY8" fmla="*/ 135434 h 454926"/>
                    <a:gd name="connsiteX9" fmla="*/ 445374 w 510189"/>
                    <a:gd name="connsiteY9" fmla="*/ 157659 h 454926"/>
                    <a:gd name="connsiteX10" fmla="*/ 486649 w 510189"/>
                    <a:gd name="connsiteY10" fmla="*/ 183059 h 454926"/>
                    <a:gd name="connsiteX11" fmla="*/ 508874 w 510189"/>
                    <a:gd name="connsiteY11" fmla="*/ 227509 h 454926"/>
                    <a:gd name="connsiteX12" fmla="*/ 505699 w 510189"/>
                    <a:gd name="connsiteY12" fmla="*/ 449759 h 454926"/>
                    <a:gd name="connsiteX13" fmla="*/ 4049 w 510189"/>
                    <a:gd name="connsiteY13" fmla="*/ 443409 h 454926"/>
                    <a:gd name="connsiteX0" fmla="*/ 4049 w 510189"/>
                    <a:gd name="connsiteY0" fmla="*/ 443409 h 454926"/>
                    <a:gd name="connsiteX1" fmla="*/ 7224 w 510189"/>
                    <a:gd name="connsiteY1" fmla="*/ 208459 h 454926"/>
                    <a:gd name="connsiteX2" fmla="*/ 70724 w 510189"/>
                    <a:gd name="connsiteY2" fmla="*/ 154484 h 454926"/>
                    <a:gd name="connsiteX3" fmla="*/ 172324 w 510189"/>
                    <a:gd name="connsiteY3" fmla="*/ 148134 h 454926"/>
                    <a:gd name="connsiteX4" fmla="*/ 188199 w 510189"/>
                    <a:gd name="connsiteY4" fmla="*/ 90984 h 454926"/>
                    <a:gd name="connsiteX5" fmla="*/ 200899 w 510189"/>
                    <a:gd name="connsiteY5" fmla="*/ 11609 h 454926"/>
                    <a:gd name="connsiteX6" fmla="*/ 312024 w 510189"/>
                    <a:gd name="connsiteY6" fmla="*/ 8434 h 454926"/>
                    <a:gd name="connsiteX7" fmla="*/ 312024 w 510189"/>
                    <a:gd name="connsiteY7" fmla="*/ 87809 h 454926"/>
                    <a:gd name="connsiteX8" fmla="*/ 334249 w 510189"/>
                    <a:gd name="connsiteY8" fmla="*/ 135434 h 454926"/>
                    <a:gd name="connsiteX9" fmla="*/ 445374 w 510189"/>
                    <a:gd name="connsiteY9" fmla="*/ 157659 h 454926"/>
                    <a:gd name="connsiteX10" fmla="*/ 508874 w 510189"/>
                    <a:gd name="connsiteY10" fmla="*/ 227509 h 454926"/>
                    <a:gd name="connsiteX11" fmla="*/ 505699 w 510189"/>
                    <a:gd name="connsiteY11" fmla="*/ 449759 h 454926"/>
                    <a:gd name="connsiteX12" fmla="*/ 4049 w 510189"/>
                    <a:gd name="connsiteY12" fmla="*/ 443409 h 454926"/>
                    <a:gd name="connsiteX0" fmla="*/ 4049 w 510189"/>
                    <a:gd name="connsiteY0" fmla="*/ 443409 h 454926"/>
                    <a:gd name="connsiteX1" fmla="*/ 7224 w 510189"/>
                    <a:gd name="connsiteY1" fmla="*/ 208459 h 454926"/>
                    <a:gd name="connsiteX2" fmla="*/ 70724 w 510189"/>
                    <a:gd name="connsiteY2" fmla="*/ 154484 h 454926"/>
                    <a:gd name="connsiteX3" fmla="*/ 172324 w 510189"/>
                    <a:gd name="connsiteY3" fmla="*/ 148134 h 454926"/>
                    <a:gd name="connsiteX4" fmla="*/ 188199 w 510189"/>
                    <a:gd name="connsiteY4" fmla="*/ 90984 h 454926"/>
                    <a:gd name="connsiteX5" fmla="*/ 200899 w 510189"/>
                    <a:gd name="connsiteY5" fmla="*/ 11609 h 454926"/>
                    <a:gd name="connsiteX6" fmla="*/ 312024 w 510189"/>
                    <a:gd name="connsiteY6" fmla="*/ 8434 h 454926"/>
                    <a:gd name="connsiteX7" fmla="*/ 312024 w 510189"/>
                    <a:gd name="connsiteY7" fmla="*/ 87809 h 454926"/>
                    <a:gd name="connsiteX8" fmla="*/ 334249 w 510189"/>
                    <a:gd name="connsiteY8" fmla="*/ 135434 h 454926"/>
                    <a:gd name="connsiteX9" fmla="*/ 445374 w 510189"/>
                    <a:gd name="connsiteY9" fmla="*/ 157659 h 454926"/>
                    <a:gd name="connsiteX10" fmla="*/ 508874 w 510189"/>
                    <a:gd name="connsiteY10" fmla="*/ 227509 h 454926"/>
                    <a:gd name="connsiteX11" fmla="*/ 505699 w 510189"/>
                    <a:gd name="connsiteY11" fmla="*/ 449759 h 454926"/>
                    <a:gd name="connsiteX12" fmla="*/ 4049 w 510189"/>
                    <a:gd name="connsiteY12" fmla="*/ 443409 h 454926"/>
                    <a:gd name="connsiteX0" fmla="*/ 5987 w 512127"/>
                    <a:gd name="connsiteY0" fmla="*/ 443409 h 454926"/>
                    <a:gd name="connsiteX1" fmla="*/ 2812 w 512127"/>
                    <a:gd name="connsiteY1" fmla="*/ 217984 h 454926"/>
                    <a:gd name="connsiteX2" fmla="*/ 72662 w 512127"/>
                    <a:gd name="connsiteY2" fmla="*/ 154484 h 454926"/>
                    <a:gd name="connsiteX3" fmla="*/ 174262 w 512127"/>
                    <a:gd name="connsiteY3" fmla="*/ 148134 h 454926"/>
                    <a:gd name="connsiteX4" fmla="*/ 190137 w 512127"/>
                    <a:gd name="connsiteY4" fmla="*/ 90984 h 454926"/>
                    <a:gd name="connsiteX5" fmla="*/ 202837 w 512127"/>
                    <a:gd name="connsiteY5" fmla="*/ 11609 h 454926"/>
                    <a:gd name="connsiteX6" fmla="*/ 313962 w 512127"/>
                    <a:gd name="connsiteY6" fmla="*/ 8434 h 454926"/>
                    <a:gd name="connsiteX7" fmla="*/ 313962 w 512127"/>
                    <a:gd name="connsiteY7" fmla="*/ 87809 h 454926"/>
                    <a:gd name="connsiteX8" fmla="*/ 336187 w 512127"/>
                    <a:gd name="connsiteY8" fmla="*/ 135434 h 454926"/>
                    <a:gd name="connsiteX9" fmla="*/ 447312 w 512127"/>
                    <a:gd name="connsiteY9" fmla="*/ 157659 h 454926"/>
                    <a:gd name="connsiteX10" fmla="*/ 510812 w 512127"/>
                    <a:gd name="connsiteY10" fmla="*/ 227509 h 454926"/>
                    <a:gd name="connsiteX11" fmla="*/ 507637 w 512127"/>
                    <a:gd name="connsiteY11" fmla="*/ 449759 h 454926"/>
                    <a:gd name="connsiteX12" fmla="*/ 5987 w 512127"/>
                    <a:gd name="connsiteY12" fmla="*/ 443409 h 454926"/>
                    <a:gd name="connsiteX0" fmla="*/ 9762 w 515902"/>
                    <a:gd name="connsiteY0" fmla="*/ 443409 h 454926"/>
                    <a:gd name="connsiteX1" fmla="*/ 6587 w 515902"/>
                    <a:gd name="connsiteY1" fmla="*/ 217984 h 454926"/>
                    <a:gd name="connsiteX2" fmla="*/ 76437 w 515902"/>
                    <a:gd name="connsiteY2" fmla="*/ 154484 h 454926"/>
                    <a:gd name="connsiteX3" fmla="*/ 178037 w 515902"/>
                    <a:gd name="connsiteY3" fmla="*/ 148134 h 454926"/>
                    <a:gd name="connsiteX4" fmla="*/ 193912 w 515902"/>
                    <a:gd name="connsiteY4" fmla="*/ 90984 h 454926"/>
                    <a:gd name="connsiteX5" fmla="*/ 206612 w 515902"/>
                    <a:gd name="connsiteY5" fmla="*/ 11609 h 454926"/>
                    <a:gd name="connsiteX6" fmla="*/ 317737 w 515902"/>
                    <a:gd name="connsiteY6" fmla="*/ 8434 h 454926"/>
                    <a:gd name="connsiteX7" fmla="*/ 317737 w 515902"/>
                    <a:gd name="connsiteY7" fmla="*/ 87809 h 454926"/>
                    <a:gd name="connsiteX8" fmla="*/ 339962 w 515902"/>
                    <a:gd name="connsiteY8" fmla="*/ 135434 h 454926"/>
                    <a:gd name="connsiteX9" fmla="*/ 451087 w 515902"/>
                    <a:gd name="connsiteY9" fmla="*/ 157659 h 454926"/>
                    <a:gd name="connsiteX10" fmla="*/ 514587 w 515902"/>
                    <a:gd name="connsiteY10" fmla="*/ 227509 h 454926"/>
                    <a:gd name="connsiteX11" fmla="*/ 511412 w 515902"/>
                    <a:gd name="connsiteY11" fmla="*/ 449759 h 454926"/>
                    <a:gd name="connsiteX12" fmla="*/ 9762 w 515902"/>
                    <a:gd name="connsiteY12" fmla="*/ 443409 h 454926"/>
                    <a:gd name="connsiteX0" fmla="*/ 9762 w 515902"/>
                    <a:gd name="connsiteY0" fmla="*/ 443409 h 454926"/>
                    <a:gd name="connsiteX1" fmla="*/ 6587 w 515902"/>
                    <a:gd name="connsiteY1" fmla="*/ 217984 h 454926"/>
                    <a:gd name="connsiteX2" fmla="*/ 76437 w 515902"/>
                    <a:gd name="connsiteY2" fmla="*/ 154484 h 454926"/>
                    <a:gd name="connsiteX3" fmla="*/ 178037 w 515902"/>
                    <a:gd name="connsiteY3" fmla="*/ 148134 h 454926"/>
                    <a:gd name="connsiteX4" fmla="*/ 193912 w 515902"/>
                    <a:gd name="connsiteY4" fmla="*/ 90984 h 454926"/>
                    <a:gd name="connsiteX5" fmla="*/ 206612 w 515902"/>
                    <a:gd name="connsiteY5" fmla="*/ 11609 h 454926"/>
                    <a:gd name="connsiteX6" fmla="*/ 317737 w 515902"/>
                    <a:gd name="connsiteY6" fmla="*/ 8434 h 454926"/>
                    <a:gd name="connsiteX7" fmla="*/ 317737 w 515902"/>
                    <a:gd name="connsiteY7" fmla="*/ 87809 h 454926"/>
                    <a:gd name="connsiteX8" fmla="*/ 339962 w 515902"/>
                    <a:gd name="connsiteY8" fmla="*/ 135434 h 454926"/>
                    <a:gd name="connsiteX9" fmla="*/ 451087 w 515902"/>
                    <a:gd name="connsiteY9" fmla="*/ 157659 h 454926"/>
                    <a:gd name="connsiteX10" fmla="*/ 514587 w 515902"/>
                    <a:gd name="connsiteY10" fmla="*/ 227509 h 454926"/>
                    <a:gd name="connsiteX11" fmla="*/ 511412 w 515902"/>
                    <a:gd name="connsiteY11" fmla="*/ 449759 h 454926"/>
                    <a:gd name="connsiteX12" fmla="*/ 9762 w 515902"/>
                    <a:gd name="connsiteY12" fmla="*/ 443409 h 454926"/>
                    <a:gd name="connsiteX0" fmla="*/ 9762 w 515902"/>
                    <a:gd name="connsiteY0" fmla="*/ 443409 h 454926"/>
                    <a:gd name="connsiteX1" fmla="*/ 6587 w 515902"/>
                    <a:gd name="connsiteY1" fmla="*/ 217984 h 454926"/>
                    <a:gd name="connsiteX2" fmla="*/ 76437 w 515902"/>
                    <a:gd name="connsiteY2" fmla="*/ 154484 h 454926"/>
                    <a:gd name="connsiteX3" fmla="*/ 193912 w 515902"/>
                    <a:gd name="connsiteY3" fmla="*/ 90984 h 454926"/>
                    <a:gd name="connsiteX4" fmla="*/ 206612 w 515902"/>
                    <a:gd name="connsiteY4" fmla="*/ 11609 h 454926"/>
                    <a:gd name="connsiteX5" fmla="*/ 317737 w 515902"/>
                    <a:gd name="connsiteY5" fmla="*/ 8434 h 454926"/>
                    <a:gd name="connsiteX6" fmla="*/ 317737 w 515902"/>
                    <a:gd name="connsiteY6" fmla="*/ 87809 h 454926"/>
                    <a:gd name="connsiteX7" fmla="*/ 339962 w 515902"/>
                    <a:gd name="connsiteY7" fmla="*/ 135434 h 454926"/>
                    <a:gd name="connsiteX8" fmla="*/ 451087 w 515902"/>
                    <a:gd name="connsiteY8" fmla="*/ 157659 h 454926"/>
                    <a:gd name="connsiteX9" fmla="*/ 514587 w 515902"/>
                    <a:gd name="connsiteY9" fmla="*/ 227509 h 454926"/>
                    <a:gd name="connsiteX10" fmla="*/ 511412 w 515902"/>
                    <a:gd name="connsiteY10" fmla="*/ 449759 h 454926"/>
                    <a:gd name="connsiteX11" fmla="*/ 9762 w 515902"/>
                    <a:gd name="connsiteY11" fmla="*/ 443409 h 454926"/>
                    <a:gd name="connsiteX0" fmla="*/ 9762 w 515902"/>
                    <a:gd name="connsiteY0" fmla="*/ 446099 h 457616"/>
                    <a:gd name="connsiteX1" fmla="*/ 6587 w 515902"/>
                    <a:gd name="connsiteY1" fmla="*/ 220674 h 457616"/>
                    <a:gd name="connsiteX2" fmla="*/ 76437 w 515902"/>
                    <a:gd name="connsiteY2" fmla="*/ 157174 h 457616"/>
                    <a:gd name="connsiteX3" fmla="*/ 190737 w 515902"/>
                    <a:gd name="connsiteY3" fmla="*/ 138124 h 457616"/>
                    <a:gd name="connsiteX4" fmla="*/ 206612 w 515902"/>
                    <a:gd name="connsiteY4" fmla="*/ 14299 h 457616"/>
                    <a:gd name="connsiteX5" fmla="*/ 317737 w 515902"/>
                    <a:gd name="connsiteY5" fmla="*/ 11124 h 457616"/>
                    <a:gd name="connsiteX6" fmla="*/ 317737 w 515902"/>
                    <a:gd name="connsiteY6" fmla="*/ 90499 h 457616"/>
                    <a:gd name="connsiteX7" fmla="*/ 339962 w 515902"/>
                    <a:gd name="connsiteY7" fmla="*/ 138124 h 457616"/>
                    <a:gd name="connsiteX8" fmla="*/ 451087 w 515902"/>
                    <a:gd name="connsiteY8" fmla="*/ 160349 h 457616"/>
                    <a:gd name="connsiteX9" fmla="*/ 514587 w 515902"/>
                    <a:gd name="connsiteY9" fmla="*/ 230199 h 457616"/>
                    <a:gd name="connsiteX10" fmla="*/ 511412 w 515902"/>
                    <a:gd name="connsiteY10" fmla="*/ 452449 h 457616"/>
                    <a:gd name="connsiteX11" fmla="*/ 9762 w 515902"/>
                    <a:gd name="connsiteY11" fmla="*/ 446099 h 457616"/>
                    <a:gd name="connsiteX0" fmla="*/ 9762 w 515902"/>
                    <a:gd name="connsiteY0" fmla="*/ 446099 h 457616"/>
                    <a:gd name="connsiteX1" fmla="*/ 6587 w 515902"/>
                    <a:gd name="connsiteY1" fmla="*/ 220674 h 457616"/>
                    <a:gd name="connsiteX2" fmla="*/ 76437 w 515902"/>
                    <a:gd name="connsiteY2" fmla="*/ 157174 h 457616"/>
                    <a:gd name="connsiteX3" fmla="*/ 190737 w 515902"/>
                    <a:gd name="connsiteY3" fmla="*/ 138124 h 457616"/>
                    <a:gd name="connsiteX4" fmla="*/ 206612 w 515902"/>
                    <a:gd name="connsiteY4" fmla="*/ 14299 h 457616"/>
                    <a:gd name="connsiteX5" fmla="*/ 317737 w 515902"/>
                    <a:gd name="connsiteY5" fmla="*/ 11124 h 457616"/>
                    <a:gd name="connsiteX6" fmla="*/ 317737 w 515902"/>
                    <a:gd name="connsiteY6" fmla="*/ 90499 h 457616"/>
                    <a:gd name="connsiteX7" fmla="*/ 451087 w 515902"/>
                    <a:gd name="connsiteY7" fmla="*/ 160349 h 457616"/>
                    <a:gd name="connsiteX8" fmla="*/ 514587 w 515902"/>
                    <a:gd name="connsiteY8" fmla="*/ 230199 h 457616"/>
                    <a:gd name="connsiteX9" fmla="*/ 511412 w 515902"/>
                    <a:gd name="connsiteY9" fmla="*/ 452449 h 457616"/>
                    <a:gd name="connsiteX10" fmla="*/ 9762 w 515902"/>
                    <a:gd name="connsiteY10" fmla="*/ 446099 h 457616"/>
                    <a:gd name="connsiteX0" fmla="*/ 9762 w 515902"/>
                    <a:gd name="connsiteY0" fmla="*/ 447482 h 458999"/>
                    <a:gd name="connsiteX1" fmla="*/ 6587 w 515902"/>
                    <a:gd name="connsiteY1" fmla="*/ 222057 h 458999"/>
                    <a:gd name="connsiteX2" fmla="*/ 76437 w 515902"/>
                    <a:gd name="connsiteY2" fmla="*/ 158557 h 458999"/>
                    <a:gd name="connsiteX3" fmla="*/ 190737 w 515902"/>
                    <a:gd name="connsiteY3" fmla="*/ 139507 h 458999"/>
                    <a:gd name="connsiteX4" fmla="*/ 206612 w 515902"/>
                    <a:gd name="connsiteY4" fmla="*/ 15682 h 458999"/>
                    <a:gd name="connsiteX5" fmla="*/ 317737 w 515902"/>
                    <a:gd name="connsiteY5" fmla="*/ 12507 h 458999"/>
                    <a:gd name="connsiteX6" fmla="*/ 330437 w 515902"/>
                    <a:gd name="connsiteY6" fmla="*/ 114107 h 458999"/>
                    <a:gd name="connsiteX7" fmla="*/ 451087 w 515902"/>
                    <a:gd name="connsiteY7" fmla="*/ 161732 h 458999"/>
                    <a:gd name="connsiteX8" fmla="*/ 514587 w 515902"/>
                    <a:gd name="connsiteY8" fmla="*/ 231582 h 458999"/>
                    <a:gd name="connsiteX9" fmla="*/ 511412 w 515902"/>
                    <a:gd name="connsiteY9" fmla="*/ 453832 h 458999"/>
                    <a:gd name="connsiteX10" fmla="*/ 9762 w 515902"/>
                    <a:gd name="connsiteY10" fmla="*/ 447482 h 458999"/>
                    <a:gd name="connsiteX0" fmla="*/ 9762 w 515902"/>
                    <a:gd name="connsiteY0" fmla="*/ 446348 h 457865"/>
                    <a:gd name="connsiteX1" fmla="*/ 6587 w 515902"/>
                    <a:gd name="connsiteY1" fmla="*/ 220923 h 457865"/>
                    <a:gd name="connsiteX2" fmla="*/ 76437 w 515902"/>
                    <a:gd name="connsiteY2" fmla="*/ 157423 h 457865"/>
                    <a:gd name="connsiteX3" fmla="*/ 200262 w 515902"/>
                    <a:gd name="connsiteY3" fmla="*/ 119323 h 457865"/>
                    <a:gd name="connsiteX4" fmla="*/ 206612 w 515902"/>
                    <a:gd name="connsiteY4" fmla="*/ 14548 h 457865"/>
                    <a:gd name="connsiteX5" fmla="*/ 317737 w 515902"/>
                    <a:gd name="connsiteY5" fmla="*/ 11373 h 457865"/>
                    <a:gd name="connsiteX6" fmla="*/ 330437 w 515902"/>
                    <a:gd name="connsiteY6" fmla="*/ 112973 h 457865"/>
                    <a:gd name="connsiteX7" fmla="*/ 451087 w 515902"/>
                    <a:gd name="connsiteY7" fmla="*/ 160598 h 457865"/>
                    <a:gd name="connsiteX8" fmla="*/ 514587 w 515902"/>
                    <a:gd name="connsiteY8" fmla="*/ 230448 h 457865"/>
                    <a:gd name="connsiteX9" fmla="*/ 511412 w 515902"/>
                    <a:gd name="connsiteY9" fmla="*/ 452698 h 457865"/>
                    <a:gd name="connsiteX10" fmla="*/ 9762 w 515902"/>
                    <a:gd name="connsiteY10" fmla="*/ 446348 h 457865"/>
                    <a:gd name="connsiteX0" fmla="*/ 8840 w 514980"/>
                    <a:gd name="connsiteY0" fmla="*/ 446348 h 457865"/>
                    <a:gd name="connsiteX1" fmla="*/ 5665 w 514980"/>
                    <a:gd name="connsiteY1" fmla="*/ 220923 h 457865"/>
                    <a:gd name="connsiteX2" fmla="*/ 62412 w 514980"/>
                    <a:gd name="connsiteY2" fmla="*/ 133367 h 457865"/>
                    <a:gd name="connsiteX3" fmla="*/ 199340 w 514980"/>
                    <a:gd name="connsiteY3" fmla="*/ 119323 h 457865"/>
                    <a:gd name="connsiteX4" fmla="*/ 205690 w 514980"/>
                    <a:gd name="connsiteY4" fmla="*/ 14548 h 457865"/>
                    <a:gd name="connsiteX5" fmla="*/ 316815 w 514980"/>
                    <a:gd name="connsiteY5" fmla="*/ 11373 h 457865"/>
                    <a:gd name="connsiteX6" fmla="*/ 329515 w 514980"/>
                    <a:gd name="connsiteY6" fmla="*/ 112973 h 457865"/>
                    <a:gd name="connsiteX7" fmla="*/ 450165 w 514980"/>
                    <a:gd name="connsiteY7" fmla="*/ 160598 h 457865"/>
                    <a:gd name="connsiteX8" fmla="*/ 513665 w 514980"/>
                    <a:gd name="connsiteY8" fmla="*/ 230448 h 457865"/>
                    <a:gd name="connsiteX9" fmla="*/ 510490 w 514980"/>
                    <a:gd name="connsiteY9" fmla="*/ 452698 h 457865"/>
                    <a:gd name="connsiteX10" fmla="*/ 8840 w 514980"/>
                    <a:gd name="connsiteY10" fmla="*/ 446348 h 457865"/>
                    <a:gd name="connsiteX0" fmla="*/ 8840 w 514980"/>
                    <a:gd name="connsiteY0" fmla="*/ 445015 h 456532"/>
                    <a:gd name="connsiteX1" fmla="*/ 5665 w 514980"/>
                    <a:gd name="connsiteY1" fmla="*/ 219590 h 456532"/>
                    <a:gd name="connsiteX2" fmla="*/ 62412 w 514980"/>
                    <a:gd name="connsiteY2" fmla="*/ 132034 h 456532"/>
                    <a:gd name="connsiteX3" fmla="*/ 186237 w 514980"/>
                    <a:gd name="connsiteY3" fmla="*/ 93934 h 456532"/>
                    <a:gd name="connsiteX4" fmla="*/ 205690 w 514980"/>
                    <a:gd name="connsiteY4" fmla="*/ 13215 h 456532"/>
                    <a:gd name="connsiteX5" fmla="*/ 316815 w 514980"/>
                    <a:gd name="connsiteY5" fmla="*/ 10040 h 456532"/>
                    <a:gd name="connsiteX6" fmla="*/ 329515 w 514980"/>
                    <a:gd name="connsiteY6" fmla="*/ 111640 h 456532"/>
                    <a:gd name="connsiteX7" fmla="*/ 450165 w 514980"/>
                    <a:gd name="connsiteY7" fmla="*/ 159265 h 456532"/>
                    <a:gd name="connsiteX8" fmla="*/ 513665 w 514980"/>
                    <a:gd name="connsiteY8" fmla="*/ 229115 h 456532"/>
                    <a:gd name="connsiteX9" fmla="*/ 510490 w 514980"/>
                    <a:gd name="connsiteY9" fmla="*/ 451365 h 456532"/>
                    <a:gd name="connsiteX10" fmla="*/ 8840 w 514980"/>
                    <a:gd name="connsiteY10" fmla="*/ 445015 h 456532"/>
                    <a:gd name="connsiteX0" fmla="*/ 8840 w 514980"/>
                    <a:gd name="connsiteY0" fmla="*/ 445015 h 456532"/>
                    <a:gd name="connsiteX1" fmla="*/ 5665 w 514980"/>
                    <a:gd name="connsiteY1" fmla="*/ 219590 h 456532"/>
                    <a:gd name="connsiteX2" fmla="*/ 62412 w 514980"/>
                    <a:gd name="connsiteY2" fmla="*/ 132034 h 456532"/>
                    <a:gd name="connsiteX3" fmla="*/ 186237 w 514980"/>
                    <a:gd name="connsiteY3" fmla="*/ 93934 h 456532"/>
                    <a:gd name="connsiteX4" fmla="*/ 205690 w 514980"/>
                    <a:gd name="connsiteY4" fmla="*/ 13215 h 456532"/>
                    <a:gd name="connsiteX5" fmla="*/ 316815 w 514980"/>
                    <a:gd name="connsiteY5" fmla="*/ 10040 h 456532"/>
                    <a:gd name="connsiteX6" fmla="*/ 329515 w 514980"/>
                    <a:gd name="connsiteY6" fmla="*/ 111640 h 456532"/>
                    <a:gd name="connsiteX7" fmla="*/ 461084 w 514980"/>
                    <a:gd name="connsiteY7" fmla="*/ 146143 h 456532"/>
                    <a:gd name="connsiteX8" fmla="*/ 513665 w 514980"/>
                    <a:gd name="connsiteY8" fmla="*/ 229115 h 456532"/>
                    <a:gd name="connsiteX9" fmla="*/ 510490 w 514980"/>
                    <a:gd name="connsiteY9" fmla="*/ 451365 h 456532"/>
                    <a:gd name="connsiteX10" fmla="*/ 8840 w 514980"/>
                    <a:gd name="connsiteY10" fmla="*/ 445015 h 456532"/>
                    <a:gd name="connsiteX0" fmla="*/ 8840 w 514980"/>
                    <a:gd name="connsiteY0" fmla="*/ 444105 h 455622"/>
                    <a:gd name="connsiteX1" fmla="*/ 5665 w 514980"/>
                    <a:gd name="connsiteY1" fmla="*/ 218680 h 455622"/>
                    <a:gd name="connsiteX2" fmla="*/ 62412 w 514980"/>
                    <a:gd name="connsiteY2" fmla="*/ 131124 h 455622"/>
                    <a:gd name="connsiteX3" fmla="*/ 186237 w 514980"/>
                    <a:gd name="connsiteY3" fmla="*/ 93024 h 455622"/>
                    <a:gd name="connsiteX4" fmla="*/ 205690 w 514980"/>
                    <a:gd name="connsiteY4" fmla="*/ 12305 h 455622"/>
                    <a:gd name="connsiteX5" fmla="*/ 316815 w 514980"/>
                    <a:gd name="connsiteY5" fmla="*/ 9130 h 455622"/>
                    <a:gd name="connsiteX6" fmla="*/ 351353 w 514980"/>
                    <a:gd name="connsiteY6" fmla="*/ 97608 h 455622"/>
                    <a:gd name="connsiteX7" fmla="*/ 461084 w 514980"/>
                    <a:gd name="connsiteY7" fmla="*/ 145233 h 455622"/>
                    <a:gd name="connsiteX8" fmla="*/ 513665 w 514980"/>
                    <a:gd name="connsiteY8" fmla="*/ 228205 h 455622"/>
                    <a:gd name="connsiteX9" fmla="*/ 510490 w 514980"/>
                    <a:gd name="connsiteY9" fmla="*/ 450455 h 455622"/>
                    <a:gd name="connsiteX10" fmla="*/ 8840 w 514980"/>
                    <a:gd name="connsiteY10" fmla="*/ 444105 h 455622"/>
                    <a:gd name="connsiteX0" fmla="*/ 8840 w 514980"/>
                    <a:gd name="connsiteY0" fmla="*/ 442755 h 454272"/>
                    <a:gd name="connsiteX1" fmla="*/ 5665 w 514980"/>
                    <a:gd name="connsiteY1" fmla="*/ 217330 h 454272"/>
                    <a:gd name="connsiteX2" fmla="*/ 62412 w 514980"/>
                    <a:gd name="connsiteY2" fmla="*/ 129774 h 454272"/>
                    <a:gd name="connsiteX3" fmla="*/ 186237 w 514980"/>
                    <a:gd name="connsiteY3" fmla="*/ 91674 h 454272"/>
                    <a:gd name="connsiteX4" fmla="*/ 205690 w 514980"/>
                    <a:gd name="connsiteY4" fmla="*/ 10955 h 454272"/>
                    <a:gd name="connsiteX5" fmla="*/ 325550 w 514980"/>
                    <a:gd name="connsiteY5" fmla="*/ 9967 h 454272"/>
                    <a:gd name="connsiteX6" fmla="*/ 351353 w 514980"/>
                    <a:gd name="connsiteY6" fmla="*/ 96258 h 454272"/>
                    <a:gd name="connsiteX7" fmla="*/ 461084 w 514980"/>
                    <a:gd name="connsiteY7" fmla="*/ 143883 h 454272"/>
                    <a:gd name="connsiteX8" fmla="*/ 513665 w 514980"/>
                    <a:gd name="connsiteY8" fmla="*/ 226855 h 454272"/>
                    <a:gd name="connsiteX9" fmla="*/ 510490 w 514980"/>
                    <a:gd name="connsiteY9" fmla="*/ 449105 h 454272"/>
                    <a:gd name="connsiteX10" fmla="*/ 8840 w 514980"/>
                    <a:gd name="connsiteY10" fmla="*/ 442755 h 454272"/>
                    <a:gd name="connsiteX0" fmla="*/ 8840 w 514980"/>
                    <a:gd name="connsiteY0" fmla="*/ 442755 h 454272"/>
                    <a:gd name="connsiteX1" fmla="*/ 5665 w 514980"/>
                    <a:gd name="connsiteY1" fmla="*/ 217330 h 454272"/>
                    <a:gd name="connsiteX2" fmla="*/ 62412 w 514980"/>
                    <a:gd name="connsiteY2" fmla="*/ 129774 h 454272"/>
                    <a:gd name="connsiteX3" fmla="*/ 186237 w 514980"/>
                    <a:gd name="connsiteY3" fmla="*/ 91674 h 454272"/>
                    <a:gd name="connsiteX4" fmla="*/ 205690 w 514980"/>
                    <a:gd name="connsiteY4" fmla="*/ 10955 h 454272"/>
                    <a:gd name="connsiteX5" fmla="*/ 325550 w 514980"/>
                    <a:gd name="connsiteY5" fmla="*/ 9967 h 454272"/>
                    <a:gd name="connsiteX6" fmla="*/ 351353 w 514980"/>
                    <a:gd name="connsiteY6" fmla="*/ 96258 h 454272"/>
                    <a:gd name="connsiteX7" fmla="*/ 461084 w 514980"/>
                    <a:gd name="connsiteY7" fmla="*/ 143883 h 454272"/>
                    <a:gd name="connsiteX8" fmla="*/ 513665 w 514980"/>
                    <a:gd name="connsiteY8" fmla="*/ 226855 h 454272"/>
                    <a:gd name="connsiteX9" fmla="*/ 510490 w 514980"/>
                    <a:gd name="connsiteY9" fmla="*/ 449105 h 454272"/>
                    <a:gd name="connsiteX10" fmla="*/ 8840 w 514980"/>
                    <a:gd name="connsiteY10" fmla="*/ 442755 h 454272"/>
                    <a:gd name="connsiteX0" fmla="*/ 8840 w 514980"/>
                    <a:gd name="connsiteY0" fmla="*/ 442755 h 454272"/>
                    <a:gd name="connsiteX1" fmla="*/ 5665 w 514980"/>
                    <a:gd name="connsiteY1" fmla="*/ 217330 h 454272"/>
                    <a:gd name="connsiteX2" fmla="*/ 62412 w 514980"/>
                    <a:gd name="connsiteY2" fmla="*/ 129774 h 454272"/>
                    <a:gd name="connsiteX3" fmla="*/ 186237 w 514980"/>
                    <a:gd name="connsiteY3" fmla="*/ 91674 h 454272"/>
                    <a:gd name="connsiteX4" fmla="*/ 205690 w 514980"/>
                    <a:gd name="connsiteY4" fmla="*/ 10955 h 454272"/>
                    <a:gd name="connsiteX5" fmla="*/ 325550 w 514980"/>
                    <a:gd name="connsiteY5" fmla="*/ 9967 h 454272"/>
                    <a:gd name="connsiteX6" fmla="*/ 351353 w 514980"/>
                    <a:gd name="connsiteY6" fmla="*/ 96258 h 454272"/>
                    <a:gd name="connsiteX7" fmla="*/ 461084 w 514980"/>
                    <a:gd name="connsiteY7" fmla="*/ 143883 h 454272"/>
                    <a:gd name="connsiteX8" fmla="*/ 513665 w 514980"/>
                    <a:gd name="connsiteY8" fmla="*/ 226855 h 454272"/>
                    <a:gd name="connsiteX9" fmla="*/ 510490 w 514980"/>
                    <a:gd name="connsiteY9" fmla="*/ 449105 h 454272"/>
                    <a:gd name="connsiteX10" fmla="*/ 8840 w 514980"/>
                    <a:gd name="connsiteY10" fmla="*/ 442755 h 454272"/>
                    <a:gd name="connsiteX0" fmla="*/ 8840 w 514980"/>
                    <a:gd name="connsiteY0" fmla="*/ 442755 h 454272"/>
                    <a:gd name="connsiteX1" fmla="*/ 5665 w 514980"/>
                    <a:gd name="connsiteY1" fmla="*/ 217330 h 454272"/>
                    <a:gd name="connsiteX2" fmla="*/ 62412 w 514980"/>
                    <a:gd name="connsiteY2" fmla="*/ 129774 h 454272"/>
                    <a:gd name="connsiteX3" fmla="*/ 186237 w 514980"/>
                    <a:gd name="connsiteY3" fmla="*/ 91674 h 454272"/>
                    <a:gd name="connsiteX4" fmla="*/ 205690 w 514980"/>
                    <a:gd name="connsiteY4" fmla="*/ 10955 h 454272"/>
                    <a:gd name="connsiteX5" fmla="*/ 325550 w 514980"/>
                    <a:gd name="connsiteY5" fmla="*/ 9967 h 454272"/>
                    <a:gd name="connsiteX6" fmla="*/ 351353 w 514980"/>
                    <a:gd name="connsiteY6" fmla="*/ 96258 h 454272"/>
                    <a:gd name="connsiteX7" fmla="*/ 461084 w 514980"/>
                    <a:gd name="connsiteY7" fmla="*/ 143883 h 454272"/>
                    <a:gd name="connsiteX8" fmla="*/ 513665 w 514980"/>
                    <a:gd name="connsiteY8" fmla="*/ 226855 h 454272"/>
                    <a:gd name="connsiteX9" fmla="*/ 510490 w 514980"/>
                    <a:gd name="connsiteY9" fmla="*/ 449105 h 454272"/>
                    <a:gd name="connsiteX10" fmla="*/ 8840 w 514980"/>
                    <a:gd name="connsiteY10" fmla="*/ 442755 h 454272"/>
                    <a:gd name="connsiteX0" fmla="*/ 8840 w 514980"/>
                    <a:gd name="connsiteY0" fmla="*/ 436996 h 448513"/>
                    <a:gd name="connsiteX1" fmla="*/ 5665 w 514980"/>
                    <a:gd name="connsiteY1" fmla="*/ 211571 h 448513"/>
                    <a:gd name="connsiteX2" fmla="*/ 62412 w 514980"/>
                    <a:gd name="connsiteY2" fmla="*/ 124015 h 448513"/>
                    <a:gd name="connsiteX3" fmla="*/ 186237 w 514980"/>
                    <a:gd name="connsiteY3" fmla="*/ 85915 h 448513"/>
                    <a:gd name="connsiteX4" fmla="*/ 205690 w 514980"/>
                    <a:gd name="connsiteY4" fmla="*/ 5196 h 448513"/>
                    <a:gd name="connsiteX5" fmla="*/ 325550 w 514980"/>
                    <a:gd name="connsiteY5" fmla="*/ 4208 h 448513"/>
                    <a:gd name="connsiteX6" fmla="*/ 351353 w 514980"/>
                    <a:gd name="connsiteY6" fmla="*/ 90499 h 448513"/>
                    <a:gd name="connsiteX7" fmla="*/ 461084 w 514980"/>
                    <a:gd name="connsiteY7" fmla="*/ 138124 h 448513"/>
                    <a:gd name="connsiteX8" fmla="*/ 513665 w 514980"/>
                    <a:gd name="connsiteY8" fmla="*/ 221096 h 448513"/>
                    <a:gd name="connsiteX9" fmla="*/ 510490 w 514980"/>
                    <a:gd name="connsiteY9" fmla="*/ 443346 h 448513"/>
                    <a:gd name="connsiteX10" fmla="*/ 8840 w 514980"/>
                    <a:gd name="connsiteY10" fmla="*/ 436996 h 448513"/>
                    <a:gd name="connsiteX0" fmla="*/ 8840 w 514980"/>
                    <a:gd name="connsiteY0" fmla="*/ 436996 h 448513"/>
                    <a:gd name="connsiteX1" fmla="*/ 5665 w 514980"/>
                    <a:gd name="connsiteY1" fmla="*/ 211571 h 448513"/>
                    <a:gd name="connsiteX2" fmla="*/ 62412 w 514980"/>
                    <a:gd name="connsiteY2" fmla="*/ 124015 h 448513"/>
                    <a:gd name="connsiteX3" fmla="*/ 186237 w 514980"/>
                    <a:gd name="connsiteY3" fmla="*/ 85915 h 448513"/>
                    <a:gd name="connsiteX4" fmla="*/ 205690 w 514980"/>
                    <a:gd name="connsiteY4" fmla="*/ 5196 h 448513"/>
                    <a:gd name="connsiteX5" fmla="*/ 325550 w 514980"/>
                    <a:gd name="connsiteY5" fmla="*/ 4208 h 448513"/>
                    <a:gd name="connsiteX6" fmla="*/ 351353 w 514980"/>
                    <a:gd name="connsiteY6" fmla="*/ 90499 h 448513"/>
                    <a:gd name="connsiteX7" fmla="*/ 461084 w 514980"/>
                    <a:gd name="connsiteY7" fmla="*/ 138124 h 448513"/>
                    <a:gd name="connsiteX8" fmla="*/ 513665 w 514980"/>
                    <a:gd name="connsiteY8" fmla="*/ 221096 h 448513"/>
                    <a:gd name="connsiteX9" fmla="*/ 510490 w 514980"/>
                    <a:gd name="connsiteY9" fmla="*/ 443346 h 448513"/>
                    <a:gd name="connsiteX10" fmla="*/ 8840 w 514980"/>
                    <a:gd name="connsiteY10" fmla="*/ 436996 h 448513"/>
                    <a:gd name="connsiteX0" fmla="*/ 8840 w 514980"/>
                    <a:gd name="connsiteY0" fmla="*/ 436996 h 448513"/>
                    <a:gd name="connsiteX1" fmla="*/ 5665 w 514980"/>
                    <a:gd name="connsiteY1" fmla="*/ 211571 h 448513"/>
                    <a:gd name="connsiteX2" fmla="*/ 62412 w 514980"/>
                    <a:gd name="connsiteY2" fmla="*/ 124015 h 448513"/>
                    <a:gd name="connsiteX3" fmla="*/ 186237 w 514980"/>
                    <a:gd name="connsiteY3" fmla="*/ 85915 h 448513"/>
                    <a:gd name="connsiteX4" fmla="*/ 205690 w 514980"/>
                    <a:gd name="connsiteY4" fmla="*/ 5196 h 448513"/>
                    <a:gd name="connsiteX5" fmla="*/ 325550 w 514980"/>
                    <a:gd name="connsiteY5" fmla="*/ 4208 h 448513"/>
                    <a:gd name="connsiteX6" fmla="*/ 351353 w 514980"/>
                    <a:gd name="connsiteY6" fmla="*/ 90499 h 448513"/>
                    <a:gd name="connsiteX7" fmla="*/ 461084 w 514980"/>
                    <a:gd name="connsiteY7" fmla="*/ 138124 h 448513"/>
                    <a:gd name="connsiteX8" fmla="*/ 513665 w 514980"/>
                    <a:gd name="connsiteY8" fmla="*/ 221096 h 448513"/>
                    <a:gd name="connsiteX9" fmla="*/ 510490 w 514980"/>
                    <a:gd name="connsiteY9" fmla="*/ 443346 h 448513"/>
                    <a:gd name="connsiteX10" fmla="*/ 8840 w 514980"/>
                    <a:gd name="connsiteY10" fmla="*/ 436996 h 448513"/>
                    <a:gd name="connsiteX0" fmla="*/ 8840 w 514980"/>
                    <a:gd name="connsiteY0" fmla="*/ 436996 h 448513"/>
                    <a:gd name="connsiteX1" fmla="*/ 5665 w 514980"/>
                    <a:gd name="connsiteY1" fmla="*/ 211571 h 448513"/>
                    <a:gd name="connsiteX2" fmla="*/ 62412 w 514980"/>
                    <a:gd name="connsiteY2" fmla="*/ 124015 h 448513"/>
                    <a:gd name="connsiteX3" fmla="*/ 168766 w 514980"/>
                    <a:gd name="connsiteY3" fmla="*/ 88102 h 448513"/>
                    <a:gd name="connsiteX4" fmla="*/ 205690 w 514980"/>
                    <a:gd name="connsiteY4" fmla="*/ 5196 h 448513"/>
                    <a:gd name="connsiteX5" fmla="*/ 325550 w 514980"/>
                    <a:gd name="connsiteY5" fmla="*/ 4208 h 448513"/>
                    <a:gd name="connsiteX6" fmla="*/ 351353 w 514980"/>
                    <a:gd name="connsiteY6" fmla="*/ 90499 h 448513"/>
                    <a:gd name="connsiteX7" fmla="*/ 461084 w 514980"/>
                    <a:gd name="connsiteY7" fmla="*/ 138124 h 448513"/>
                    <a:gd name="connsiteX8" fmla="*/ 513665 w 514980"/>
                    <a:gd name="connsiteY8" fmla="*/ 221096 h 448513"/>
                    <a:gd name="connsiteX9" fmla="*/ 510490 w 514980"/>
                    <a:gd name="connsiteY9" fmla="*/ 443346 h 448513"/>
                    <a:gd name="connsiteX10" fmla="*/ 8840 w 514980"/>
                    <a:gd name="connsiteY10" fmla="*/ 436996 h 448513"/>
                    <a:gd name="connsiteX0" fmla="*/ 8840 w 514980"/>
                    <a:gd name="connsiteY0" fmla="*/ 440628 h 452145"/>
                    <a:gd name="connsiteX1" fmla="*/ 5665 w 514980"/>
                    <a:gd name="connsiteY1" fmla="*/ 215203 h 452145"/>
                    <a:gd name="connsiteX2" fmla="*/ 62412 w 514980"/>
                    <a:gd name="connsiteY2" fmla="*/ 127647 h 452145"/>
                    <a:gd name="connsiteX3" fmla="*/ 168766 w 514980"/>
                    <a:gd name="connsiteY3" fmla="*/ 91734 h 452145"/>
                    <a:gd name="connsiteX4" fmla="*/ 179484 w 514980"/>
                    <a:gd name="connsiteY4" fmla="*/ 4454 h 452145"/>
                    <a:gd name="connsiteX5" fmla="*/ 325550 w 514980"/>
                    <a:gd name="connsiteY5" fmla="*/ 7840 h 452145"/>
                    <a:gd name="connsiteX6" fmla="*/ 351353 w 514980"/>
                    <a:gd name="connsiteY6" fmla="*/ 94131 h 452145"/>
                    <a:gd name="connsiteX7" fmla="*/ 461084 w 514980"/>
                    <a:gd name="connsiteY7" fmla="*/ 141756 h 452145"/>
                    <a:gd name="connsiteX8" fmla="*/ 513665 w 514980"/>
                    <a:gd name="connsiteY8" fmla="*/ 224728 h 452145"/>
                    <a:gd name="connsiteX9" fmla="*/ 510490 w 514980"/>
                    <a:gd name="connsiteY9" fmla="*/ 446978 h 452145"/>
                    <a:gd name="connsiteX10" fmla="*/ 8840 w 514980"/>
                    <a:gd name="connsiteY10" fmla="*/ 440628 h 452145"/>
                    <a:gd name="connsiteX0" fmla="*/ 8840 w 514980"/>
                    <a:gd name="connsiteY0" fmla="*/ 442422 h 453939"/>
                    <a:gd name="connsiteX1" fmla="*/ 5665 w 514980"/>
                    <a:gd name="connsiteY1" fmla="*/ 216997 h 453939"/>
                    <a:gd name="connsiteX2" fmla="*/ 62412 w 514980"/>
                    <a:gd name="connsiteY2" fmla="*/ 129441 h 453939"/>
                    <a:gd name="connsiteX3" fmla="*/ 168766 w 514980"/>
                    <a:gd name="connsiteY3" fmla="*/ 93528 h 453939"/>
                    <a:gd name="connsiteX4" fmla="*/ 179484 w 514980"/>
                    <a:gd name="connsiteY4" fmla="*/ 6248 h 453939"/>
                    <a:gd name="connsiteX5" fmla="*/ 351756 w 514980"/>
                    <a:gd name="connsiteY5" fmla="*/ 886 h 453939"/>
                    <a:gd name="connsiteX6" fmla="*/ 351353 w 514980"/>
                    <a:gd name="connsiteY6" fmla="*/ 95925 h 453939"/>
                    <a:gd name="connsiteX7" fmla="*/ 461084 w 514980"/>
                    <a:gd name="connsiteY7" fmla="*/ 143550 h 453939"/>
                    <a:gd name="connsiteX8" fmla="*/ 513665 w 514980"/>
                    <a:gd name="connsiteY8" fmla="*/ 226522 h 453939"/>
                    <a:gd name="connsiteX9" fmla="*/ 510490 w 514980"/>
                    <a:gd name="connsiteY9" fmla="*/ 448772 h 453939"/>
                    <a:gd name="connsiteX10" fmla="*/ 8840 w 514980"/>
                    <a:gd name="connsiteY10" fmla="*/ 442422 h 453939"/>
                    <a:gd name="connsiteX0" fmla="*/ 8840 w 514980"/>
                    <a:gd name="connsiteY0" fmla="*/ 442422 h 453939"/>
                    <a:gd name="connsiteX1" fmla="*/ 5665 w 514980"/>
                    <a:gd name="connsiteY1" fmla="*/ 216997 h 453939"/>
                    <a:gd name="connsiteX2" fmla="*/ 62412 w 514980"/>
                    <a:gd name="connsiteY2" fmla="*/ 129441 h 453939"/>
                    <a:gd name="connsiteX3" fmla="*/ 168766 w 514980"/>
                    <a:gd name="connsiteY3" fmla="*/ 93528 h 453939"/>
                    <a:gd name="connsiteX4" fmla="*/ 179484 w 514980"/>
                    <a:gd name="connsiteY4" fmla="*/ 6248 h 453939"/>
                    <a:gd name="connsiteX5" fmla="*/ 351756 w 514980"/>
                    <a:gd name="connsiteY5" fmla="*/ 886 h 453939"/>
                    <a:gd name="connsiteX6" fmla="*/ 366640 w 514980"/>
                    <a:gd name="connsiteY6" fmla="*/ 100299 h 453939"/>
                    <a:gd name="connsiteX7" fmla="*/ 461084 w 514980"/>
                    <a:gd name="connsiteY7" fmla="*/ 143550 h 453939"/>
                    <a:gd name="connsiteX8" fmla="*/ 513665 w 514980"/>
                    <a:gd name="connsiteY8" fmla="*/ 226522 h 453939"/>
                    <a:gd name="connsiteX9" fmla="*/ 510490 w 514980"/>
                    <a:gd name="connsiteY9" fmla="*/ 448772 h 453939"/>
                    <a:gd name="connsiteX10" fmla="*/ 8840 w 514980"/>
                    <a:gd name="connsiteY10" fmla="*/ 442422 h 453939"/>
                    <a:gd name="connsiteX0" fmla="*/ 8840 w 514980"/>
                    <a:gd name="connsiteY0" fmla="*/ 442422 h 450476"/>
                    <a:gd name="connsiteX1" fmla="*/ 5665 w 514980"/>
                    <a:gd name="connsiteY1" fmla="*/ 216997 h 450476"/>
                    <a:gd name="connsiteX2" fmla="*/ 62412 w 514980"/>
                    <a:gd name="connsiteY2" fmla="*/ 129441 h 450476"/>
                    <a:gd name="connsiteX3" fmla="*/ 168766 w 514980"/>
                    <a:gd name="connsiteY3" fmla="*/ 93528 h 450476"/>
                    <a:gd name="connsiteX4" fmla="*/ 179484 w 514980"/>
                    <a:gd name="connsiteY4" fmla="*/ 6248 h 450476"/>
                    <a:gd name="connsiteX5" fmla="*/ 351756 w 514980"/>
                    <a:gd name="connsiteY5" fmla="*/ 886 h 450476"/>
                    <a:gd name="connsiteX6" fmla="*/ 366640 w 514980"/>
                    <a:gd name="connsiteY6" fmla="*/ 100299 h 450476"/>
                    <a:gd name="connsiteX7" fmla="*/ 461084 w 514980"/>
                    <a:gd name="connsiteY7" fmla="*/ 143550 h 450476"/>
                    <a:gd name="connsiteX8" fmla="*/ 513665 w 514980"/>
                    <a:gd name="connsiteY8" fmla="*/ 226522 h 450476"/>
                    <a:gd name="connsiteX9" fmla="*/ 510490 w 514980"/>
                    <a:gd name="connsiteY9" fmla="*/ 448772 h 450476"/>
                    <a:gd name="connsiteX10" fmla="*/ 8840 w 514980"/>
                    <a:gd name="connsiteY10" fmla="*/ 442422 h 450476"/>
                    <a:gd name="connsiteX0" fmla="*/ 8840 w 514980"/>
                    <a:gd name="connsiteY0" fmla="*/ 442422 h 448772"/>
                    <a:gd name="connsiteX1" fmla="*/ 5665 w 514980"/>
                    <a:gd name="connsiteY1" fmla="*/ 216997 h 448772"/>
                    <a:gd name="connsiteX2" fmla="*/ 62412 w 514980"/>
                    <a:gd name="connsiteY2" fmla="*/ 129441 h 448772"/>
                    <a:gd name="connsiteX3" fmla="*/ 168766 w 514980"/>
                    <a:gd name="connsiteY3" fmla="*/ 93528 h 448772"/>
                    <a:gd name="connsiteX4" fmla="*/ 179484 w 514980"/>
                    <a:gd name="connsiteY4" fmla="*/ 6248 h 448772"/>
                    <a:gd name="connsiteX5" fmla="*/ 351756 w 514980"/>
                    <a:gd name="connsiteY5" fmla="*/ 886 h 448772"/>
                    <a:gd name="connsiteX6" fmla="*/ 366640 w 514980"/>
                    <a:gd name="connsiteY6" fmla="*/ 100299 h 448772"/>
                    <a:gd name="connsiteX7" fmla="*/ 461084 w 514980"/>
                    <a:gd name="connsiteY7" fmla="*/ 143550 h 448772"/>
                    <a:gd name="connsiteX8" fmla="*/ 513665 w 514980"/>
                    <a:gd name="connsiteY8" fmla="*/ 226522 h 448772"/>
                    <a:gd name="connsiteX9" fmla="*/ 510490 w 514980"/>
                    <a:gd name="connsiteY9" fmla="*/ 448772 h 448772"/>
                    <a:gd name="connsiteX10" fmla="*/ 8840 w 514980"/>
                    <a:gd name="connsiteY10" fmla="*/ 442422 h 448772"/>
                    <a:gd name="connsiteX0" fmla="*/ 8840 w 514980"/>
                    <a:gd name="connsiteY0" fmla="*/ 442422 h 448772"/>
                    <a:gd name="connsiteX1" fmla="*/ 5665 w 514980"/>
                    <a:gd name="connsiteY1" fmla="*/ 216997 h 448772"/>
                    <a:gd name="connsiteX2" fmla="*/ 62412 w 514980"/>
                    <a:gd name="connsiteY2" fmla="*/ 129441 h 448772"/>
                    <a:gd name="connsiteX3" fmla="*/ 168766 w 514980"/>
                    <a:gd name="connsiteY3" fmla="*/ 93528 h 448772"/>
                    <a:gd name="connsiteX4" fmla="*/ 179484 w 514980"/>
                    <a:gd name="connsiteY4" fmla="*/ 6248 h 448772"/>
                    <a:gd name="connsiteX5" fmla="*/ 351756 w 514980"/>
                    <a:gd name="connsiteY5" fmla="*/ 886 h 448772"/>
                    <a:gd name="connsiteX6" fmla="*/ 357905 w 514980"/>
                    <a:gd name="connsiteY6" fmla="*/ 98112 h 448772"/>
                    <a:gd name="connsiteX7" fmla="*/ 461084 w 514980"/>
                    <a:gd name="connsiteY7" fmla="*/ 143550 h 448772"/>
                    <a:gd name="connsiteX8" fmla="*/ 513665 w 514980"/>
                    <a:gd name="connsiteY8" fmla="*/ 226522 h 448772"/>
                    <a:gd name="connsiteX9" fmla="*/ 510490 w 514980"/>
                    <a:gd name="connsiteY9" fmla="*/ 448772 h 448772"/>
                    <a:gd name="connsiteX10" fmla="*/ 8840 w 514980"/>
                    <a:gd name="connsiteY10" fmla="*/ 442422 h 448772"/>
                    <a:gd name="connsiteX0" fmla="*/ 8840 w 514980"/>
                    <a:gd name="connsiteY0" fmla="*/ 442422 h 448772"/>
                    <a:gd name="connsiteX1" fmla="*/ 5665 w 514980"/>
                    <a:gd name="connsiteY1" fmla="*/ 216997 h 448772"/>
                    <a:gd name="connsiteX2" fmla="*/ 62412 w 514980"/>
                    <a:gd name="connsiteY2" fmla="*/ 129441 h 448772"/>
                    <a:gd name="connsiteX3" fmla="*/ 168766 w 514980"/>
                    <a:gd name="connsiteY3" fmla="*/ 93528 h 448772"/>
                    <a:gd name="connsiteX4" fmla="*/ 179484 w 514980"/>
                    <a:gd name="connsiteY4" fmla="*/ 6248 h 448772"/>
                    <a:gd name="connsiteX5" fmla="*/ 351756 w 514980"/>
                    <a:gd name="connsiteY5" fmla="*/ 886 h 448772"/>
                    <a:gd name="connsiteX6" fmla="*/ 357905 w 514980"/>
                    <a:gd name="connsiteY6" fmla="*/ 98112 h 448772"/>
                    <a:gd name="connsiteX7" fmla="*/ 454533 w 514980"/>
                    <a:gd name="connsiteY7" fmla="*/ 136989 h 448772"/>
                    <a:gd name="connsiteX8" fmla="*/ 513665 w 514980"/>
                    <a:gd name="connsiteY8" fmla="*/ 226522 h 448772"/>
                    <a:gd name="connsiteX9" fmla="*/ 510490 w 514980"/>
                    <a:gd name="connsiteY9" fmla="*/ 448772 h 448772"/>
                    <a:gd name="connsiteX10" fmla="*/ 8840 w 514980"/>
                    <a:gd name="connsiteY10" fmla="*/ 442422 h 448772"/>
                    <a:gd name="connsiteX0" fmla="*/ 8840 w 514980"/>
                    <a:gd name="connsiteY0" fmla="*/ 442422 h 448772"/>
                    <a:gd name="connsiteX1" fmla="*/ 5665 w 514980"/>
                    <a:gd name="connsiteY1" fmla="*/ 216997 h 448772"/>
                    <a:gd name="connsiteX2" fmla="*/ 62412 w 514980"/>
                    <a:gd name="connsiteY2" fmla="*/ 129441 h 448772"/>
                    <a:gd name="connsiteX3" fmla="*/ 168766 w 514980"/>
                    <a:gd name="connsiteY3" fmla="*/ 93528 h 448772"/>
                    <a:gd name="connsiteX4" fmla="*/ 179484 w 514980"/>
                    <a:gd name="connsiteY4" fmla="*/ 6248 h 448772"/>
                    <a:gd name="connsiteX5" fmla="*/ 351756 w 514980"/>
                    <a:gd name="connsiteY5" fmla="*/ 886 h 448772"/>
                    <a:gd name="connsiteX6" fmla="*/ 357905 w 514980"/>
                    <a:gd name="connsiteY6" fmla="*/ 98112 h 448772"/>
                    <a:gd name="connsiteX7" fmla="*/ 454533 w 514980"/>
                    <a:gd name="connsiteY7" fmla="*/ 136989 h 448772"/>
                    <a:gd name="connsiteX8" fmla="*/ 513665 w 514980"/>
                    <a:gd name="connsiteY8" fmla="*/ 226522 h 448772"/>
                    <a:gd name="connsiteX9" fmla="*/ 510490 w 514980"/>
                    <a:gd name="connsiteY9" fmla="*/ 448772 h 448772"/>
                    <a:gd name="connsiteX10" fmla="*/ 8840 w 514980"/>
                    <a:gd name="connsiteY10" fmla="*/ 442422 h 448772"/>
                    <a:gd name="connsiteX0" fmla="*/ 8840 w 514980"/>
                    <a:gd name="connsiteY0" fmla="*/ 442422 h 448772"/>
                    <a:gd name="connsiteX1" fmla="*/ 5665 w 514980"/>
                    <a:gd name="connsiteY1" fmla="*/ 216997 h 448772"/>
                    <a:gd name="connsiteX2" fmla="*/ 62412 w 514980"/>
                    <a:gd name="connsiteY2" fmla="*/ 129441 h 448772"/>
                    <a:gd name="connsiteX3" fmla="*/ 168766 w 514980"/>
                    <a:gd name="connsiteY3" fmla="*/ 93528 h 448772"/>
                    <a:gd name="connsiteX4" fmla="*/ 179484 w 514980"/>
                    <a:gd name="connsiteY4" fmla="*/ 6248 h 448772"/>
                    <a:gd name="connsiteX5" fmla="*/ 351756 w 514980"/>
                    <a:gd name="connsiteY5" fmla="*/ 886 h 448772"/>
                    <a:gd name="connsiteX6" fmla="*/ 357905 w 514980"/>
                    <a:gd name="connsiteY6" fmla="*/ 98112 h 448772"/>
                    <a:gd name="connsiteX7" fmla="*/ 454533 w 514980"/>
                    <a:gd name="connsiteY7" fmla="*/ 136989 h 448772"/>
                    <a:gd name="connsiteX8" fmla="*/ 513665 w 514980"/>
                    <a:gd name="connsiteY8" fmla="*/ 226522 h 448772"/>
                    <a:gd name="connsiteX9" fmla="*/ 510490 w 514980"/>
                    <a:gd name="connsiteY9" fmla="*/ 448772 h 448772"/>
                    <a:gd name="connsiteX10" fmla="*/ 8840 w 514980"/>
                    <a:gd name="connsiteY10" fmla="*/ 442422 h 448772"/>
                    <a:gd name="connsiteX0" fmla="*/ 8840 w 514980"/>
                    <a:gd name="connsiteY0" fmla="*/ 442422 h 448772"/>
                    <a:gd name="connsiteX1" fmla="*/ 5665 w 514980"/>
                    <a:gd name="connsiteY1" fmla="*/ 216997 h 448772"/>
                    <a:gd name="connsiteX2" fmla="*/ 62412 w 514980"/>
                    <a:gd name="connsiteY2" fmla="*/ 129441 h 448772"/>
                    <a:gd name="connsiteX3" fmla="*/ 168766 w 514980"/>
                    <a:gd name="connsiteY3" fmla="*/ 93528 h 448772"/>
                    <a:gd name="connsiteX4" fmla="*/ 179484 w 514980"/>
                    <a:gd name="connsiteY4" fmla="*/ 6248 h 448772"/>
                    <a:gd name="connsiteX5" fmla="*/ 351756 w 514980"/>
                    <a:gd name="connsiteY5" fmla="*/ 886 h 448772"/>
                    <a:gd name="connsiteX6" fmla="*/ 353538 w 514980"/>
                    <a:gd name="connsiteY6" fmla="*/ 98112 h 448772"/>
                    <a:gd name="connsiteX7" fmla="*/ 454533 w 514980"/>
                    <a:gd name="connsiteY7" fmla="*/ 136989 h 448772"/>
                    <a:gd name="connsiteX8" fmla="*/ 513665 w 514980"/>
                    <a:gd name="connsiteY8" fmla="*/ 226522 h 448772"/>
                    <a:gd name="connsiteX9" fmla="*/ 510490 w 514980"/>
                    <a:gd name="connsiteY9" fmla="*/ 448772 h 448772"/>
                    <a:gd name="connsiteX10" fmla="*/ 8840 w 514980"/>
                    <a:gd name="connsiteY10" fmla="*/ 442422 h 448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14980" h="448772">
                      <a:moveTo>
                        <a:pt x="8840" y="442422"/>
                      </a:moveTo>
                      <a:cubicBezTo>
                        <a:pt x="-1214" y="377864"/>
                        <a:pt x="-3264" y="269160"/>
                        <a:pt x="5665" y="216997"/>
                      </a:cubicBezTo>
                      <a:cubicBezTo>
                        <a:pt x="14594" y="164834"/>
                        <a:pt x="35229" y="150019"/>
                        <a:pt x="62412" y="129441"/>
                      </a:cubicBezTo>
                      <a:cubicBezTo>
                        <a:pt x="89595" y="108863"/>
                        <a:pt x="149254" y="114060"/>
                        <a:pt x="168766" y="93528"/>
                      </a:cubicBezTo>
                      <a:cubicBezTo>
                        <a:pt x="188278" y="72996"/>
                        <a:pt x="189023" y="43922"/>
                        <a:pt x="179484" y="6248"/>
                      </a:cubicBezTo>
                      <a:cubicBezTo>
                        <a:pt x="202703" y="-7370"/>
                        <a:pt x="323111" y="6352"/>
                        <a:pt x="351756" y="886"/>
                      </a:cubicBezTo>
                      <a:cubicBezTo>
                        <a:pt x="354195" y="39159"/>
                        <a:pt x="342961" y="75428"/>
                        <a:pt x="353538" y="98112"/>
                      </a:cubicBezTo>
                      <a:cubicBezTo>
                        <a:pt x="364115" y="120796"/>
                        <a:pt x="427845" y="115587"/>
                        <a:pt x="454533" y="136989"/>
                      </a:cubicBezTo>
                      <a:cubicBezTo>
                        <a:pt x="481221" y="158391"/>
                        <a:pt x="503611" y="177839"/>
                        <a:pt x="513665" y="226522"/>
                      </a:cubicBezTo>
                      <a:cubicBezTo>
                        <a:pt x="516840" y="276264"/>
                        <a:pt x="513665" y="323360"/>
                        <a:pt x="510490" y="448772"/>
                      </a:cubicBezTo>
                      <a:lnTo>
                        <a:pt x="8840" y="442422"/>
                      </a:lnTo>
                      <a:close/>
                    </a:path>
                  </a:pathLst>
                </a:custGeom>
                <a:grpFill/>
                <a:ln w="571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212" name="Oval 211">
                  <a:extLst>
                    <a:ext uri="{FF2B5EF4-FFF2-40B4-BE49-F238E27FC236}">
                      <a16:creationId xmlns:a16="http://schemas.microsoft.com/office/drawing/2014/main" id="{A2848A44-3067-3B4B-BAC6-AF08EE4D9805}"/>
                    </a:ext>
                  </a:extLst>
                </p:cNvPr>
                <p:cNvSpPr/>
                <p:nvPr/>
              </p:nvSpPr>
              <p:spPr>
                <a:xfrm>
                  <a:off x="1971467" y="3508300"/>
                  <a:ext cx="282088" cy="336550"/>
                </a:xfrm>
                <a:prstGeom prst="ellipse">
                  <a:avLst/>
                </a:prstGeom>
                <a:grpFill/>
                <a:ln w="571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grpSp>
          <p:grpSp>
            <p:nvGrpSpPr>
              <p:cNvPr id="208" name="Group 207">
                <a:extLst>
                  <a:ext uri="{FF2B5EF4-FFF2-40B4-BE49-F238E27FC236}">
                    <a16:creationId xmlns:a16="http://schemas.microsoft.com/office/drawing/2014/main" id="{BA5504CD-4E69-A549-8499-05FDA3FD0395}"/>
                  </a:ext>
                </a:extLst>
              </p:cNvPr>
              <p:cNvGrpSpPr/>
              <p:nvPr/>
            </p:nvGrpSpPr>
            <p:grpSpPr>
              <a:xfrm>
                <a:off x="1553120" y="3388644"/>
                <a:ext cx="633802" cy="938165"/>
                <a:chOff x="1806977" y="3500843"/>
                <a:chExt cx="539989" cy="738018"/>
              </a:xfrm>
            </p:grpSpPr>
            <p:sp>
              <p:nvSpPr>
                <p:cNvPr id="209" name="Freeform 208">
                  <a:extLst>
                    <a:ext uri="{FF2B5EF4-FFF2-40B4-BE49-F238E27FC236}">
                      <a16:creationId xmlns:a16="http://schemas.microsoft.com/office/drawing/2014/main" id="{AD31A43B-DE9C-524B-A17F-A2E4FDCA06C5}"/>
                    </a:ext>
                  </a:extLst>
                </p:cNvPr>
                <p:cNvSpPr/>
                <p:nvPr/>
              </p:nvSpPr>
              <p:spPr>
                <a:xfrm>
                  <a:off x="1806977" y="3782373"/>
                  <a:ext cx="539989" cy="456488"/>
                </a:xfrm>
                <a:custGeom>
                  <a:avLst/>
                  <a:gdLst>
                    <a:gd name="connsiteX0" fmla="*/ 36807 w 576731"/>
                    <a:gd name="connsiteY0" fmla="*/ 449906 h 505924"/>
                    <a:gd name="connsiteX1" fmla="*/ 39982 w 576731"/>
                    <a:gd name="connsiteY1" fmla="*/ 214956 h 505924"/>
                    <a:gd name="connsiteX2" fmla="*/ 55857 w 576731"/>
                    <a:gd name="connsiteY2" fmla="*/ 176856 h 505924"/>
                    <a:gd name="connsiteX3" fmla="*/ 103482 w 576731"/>
                    <a:gd name="connsiteY3" fmla="*/ 160981 h 505924"/>
                    <a:gd name="connsiteX4" fmla="*/ 205082 w 576731"/>
                    <a:gd name="connsiteY4" fmla="*/ 154631 h 505924"/>
                    <a:gd name="connsiteX5" fmla="*/ 230482 w 576731"/>
                    <a:gd name="connsiteY5" fmla="*/ 151456 h 505924"/>
                    <a:gd name="connsiteX6" fmla="*/ 233657 w 576731"/>
                    <a:gd name="connsiteY6" fmla="*/ 18106 h 505924"/>
                    <a:gd name="connsiteX7" fmla="*/ 344782 w 576731"/>
                    <a:gd name="connsiteY7" fmla="*/ 14931 h 505924"/>
                    <a:gd name="connsiteX8" fmla="*/ 344782 w 576731"/>
                    <a:gd name="connsiteY8" fmla="*/ 145106 h 505924"/>
                    <a:gd name="connsiteX9" fmla="*/ 386057 w 576731"/>
                    <a:gd name="connsiteY9" fmla="*/ 151456 h 505924"/>
                    <a:gd name="connsiteX10" fmla="*/ 478132 w 576731"/>
                    <a:gd name="connsiteY10" fmla="*/ 164156 h 505924"/>
                    <a:gd name="connsiteX11" fmla="*/ 519407 w 576731"/>
                    <a:gd name="connsiteY11" fmla="*/ 189556 h 505924"/>
                    <a:gd name="connsiteX12" fmla="*/ 541632 w 576731"/>
                    <a:gd name="connsiteY12" fmla="*/ 234006 h 505924"/>
                    <a:gd name="connsiteX13" fmla="*/ 538457 w 576731"/>
                    <a:gd name="connsiteY13" fmla="*/ 488006 h 505924"/>
                    <a:gd name="connsiteX14" fmla="*/ 36807 w 576731"/>
                    <a:gd name="connsiteY14" fmla="*/ 449906 h 505924"/>
                    <a:gd name="connsiteX0" fmla="*/ 5769 w 545693"/>
                    <a:gd name="connsiteY0" fmla="*/ 449906 h 505924"/>
                    <a:gd name="connsiteX1" fmla="*/ 8944 w 545693"/>
                    <a:gd name="connsiteY1" fmla="*/ 214956 h 505924"/>
                    <a:gd name="connsiteX2" fmla="*/ 24819 w 545693"/>
                    <a:gd name="connsiteY2" fmla="*/ 176856 h 505924"/>
                    <a:gd name="connsiteX3" fmla="*/ 72444 w 545693"/>
                    <a:gd name="connsiteY3" fmla="*/ 160981 h 505924"/>
                    <a:gd name="connsiteX4" fmla="*/ 174044 w 545693"/>
                    <a:gd name="connsiteY4" fmla="*/ 154631 h 505924"/>
                    <a:gd name="connsiteX5" fmla="*/ 199444 w 545693"/>
                    <a:gd name="connsiteY5" fmla="*/ 151456 h 505924"/>
                    <a:gd name="connsiteX6" fmla="*/ 202619 w 545693"/>
                    <a:gd name="connsiteY6" fmla="*/ 18106 h 505924"/>
                    <a:gd name="connsiteX7" fmla="*/ 313744 w 545693"/>
                    <a:gd name="connsiteY7" fmla="*/ 14931 h 505924"/>
                    <a:gd name="connsiteX8" fmla="*/ 313744 w 545693"/>
                    <a:gd name="connsiteY8" fmla="*/ 145106 h 505924"/>
                    <a:gd name="connsiteX9" fmla="*/ 355019 w 545693"/>
                    <a:gd name="connsiteY9" fmla="*/ 151456 h 505924"/>
                    <a:gd name="connsiteX10" fmla="*/ 447094 w 545693"/>
                    <a:gd name="connsiteY10" fmla="*/ 164156 h 505924"/>
                    <a:gd name="connsiteX11" fmla="*/ 488369 w 545693"/>
                    <a:gd name="connsiteY11" fmla="*/ 189556 h 505924"/>
                    <a:gd name="connsiteX12" fmla="*/ 510594 w 545693"/>
                    <a:gd name="connsiteY12" fmla="*/ 234006 h 505924"/>
                    <a:gd name="connsiteX13" fmla="*/ 507419 w 545693"/>
                    <a:gd name="connsiteY13" fmla="*/ 488006 h 505924"/>
                    <a:gd name="connsiteX14" fmla="*/ 5769 w 545693"/>
                    <a:gd name="connsiteY14" fmla="*/ 449906 h 505924"/>
                    <a:gd name="connsiteX0" fmla="*/ 21286 w 561210"/>
                    <a:gd name="connsiteY0" fmla="*/ 449906 h 508025"/>
                    <a:gd name="connsiteX1" fmla="*/ 24461 w 561210"/>
                    <a:gd name="connsiteY1" fmla="*/ 214956 h 508025"/>
                    <a:gd name="connsiteX2" fmla="*/ 40336 w 561210"/>
                    <a:gd name="connsiteY2" fmla="*/ 176856 h 508025"/>
                    <a:gd name="connsiteX3" fmla="*/ 87961 w 561210"/>
                    <a:gd name="connsiteY3" fmla="*/ 160981 h 508025"/>
                    <a:gd name="connsiteX4" fmla="*/ 189561 w 561210"/>
                    <a:gd name="connsiteY4" fmla="*/ 154631 h 508025"/>
                    <a:gd name="connsiteX5" fmla="*/ 214961 w 561210"/>
                    <a:gd name="connsiteY5" fmla="*/ 151456 h 508025"/>
                    <a:gd name="connsiteX6" fmla="*/ 218136 w 561210"/>
                    <a:gd name="connsiteY6" fmla="*/ 18106 h 508025"/>
                    <a:gd name="connsiteX7" fmla="*/ 329261 w 561210"/>
                    <a:gd name="connsiteY7" fmla="*/ 14931 h 508025"/>
                    <a:gd name="connsiteX8" fmla="*/ 329261 w 561210"/>
                    <a:gd name="connsiteY8" fmla="*/ 145106 h 508025"/>
                    <a:gd name="connsiteX9" fmla="*/ 370536 w 561210"/>
                    <a:gd name="connsiteY9" fmla="*/ 151456 h 508025"/>
                    <a:gd name="connsiteX10" fmla="*/ 462611 w 561210"/>
                    <a:gd name="connsiteY10" fmla="*/ 164156 h 508025"/>
                    <a:gd name="connsiteX11" fmla="*/ 503886 w 561210"/>
                    <a:gd name="connsiteY11" fmla="*/ 189556 h 508025"/>
                    <a:gd name="connsiteX12" fmla="*/ 526111 w 561210"/>
                    <a:gd name="connsiteY12" fmla="*/ 234006 h 508025"/>
                    <a:gd name="connsiteX13" fmla="*/ 522936 w 561210"/>
                    <a:gd name="connsiteY13" fmla="*/ 488006 h 508025"/>
                    <a:gd name="connsiteX14" fmla="*/ 21286 w 561210"/>
                    <a:gd name="connsiteY14" fmla="*/ 449906 h 508025"/>
                    <a:gd name="connsiteX0" fmla="*/ 21286 w 561210"/>
                    <a:gd name="connsiteY0" fmla="*/ 449906 h 508025"/>
                    <a:gd name="connsiteX1" fmla="*/ 24461 w 561210"/>
                    <a:gd name="connsiteY1" fmla="*/ 214956 h 508025"/>
                    <a:gd name="connsiteX2" fmla="*/ 40336 w 561210"/>
                    <a:gd name="connsiteY2" fmla="*/ 176856 h 508025"/>
                    <a:gd name="connsiteX3" fmla="*/ 87961 w 561210"/>
                    <a:gd name="connsiteY3" fmla="*/ 160981 h 508025"/>
                    <a:gd name="connsiteX4" fmla="*/ 189561 w 561210"/>
                    <a:gd name="connsiteY4" fmla="*/ 154631 h 508025"/>
                    <a:gd name="connsiteX5" fmla="*/ 214961 w 561210"/>
                    <a:gd name="connsiteY5" fmla="*/ 151456 h 508025"/>
                    <a:gd name="connsiteX6" fmla="*/ 218136 w 561210"/>
                    <a:gd name="connsiteY6" fmla="*/ 18106 h 508025"/>
                    <a:gd name="connsiteX7" fmla="*/ 329261 w 561210"/>
                    <a:gd name="connsiteY7" fmla="*/ 14931 h 508025"/>
                    <a:gd name="connsiteX8" fmla="*/ 329261 w 561210"/>
                    <a:gd name="connsiteY8" fmla="*/ 145106 h 508025"/>
                    <a:gd name="connsiteX9" fmla="*/ 370536 w 561210"/>
                    <a:gd name="connsiteY9" fmla="*/ 151456 h 508025"/>
                    <a:gd name="connsiteX10" fmla="*/ 462611 w 561210"/>
                    <a:gd name="connsiteY10" fmla="*/ 164156 h 508025"/>
                    <a:gd name="connsiteX11" fmla="*/ 503886 w 561210"/>
                    <a:gd name="connsiteY11" fmla="*/ 189556 h 508025"/>
                    <a:gd name="connsiteX12" fmla="*/ 526111 w 561210"/>
                    <a:gd name="connsiteY12" fmla="*/ 234006 h 508025"/>
                    <a:gd name="connsiteX13" fmla="*/ 522936 w 561210"/>
                    <a:gd name="connsiteY13" fmla="*/ 488006 h 508025"/>
                    <a:gd name="connsiteX14" fmla="*/ 21286 w 561210"/>
                    <a:gd name="connsiteY14" fmla="*/ 449906 h 508025"/>
                    <a:gd name="connsiteX0" fmla="*/ 4360 w 544284"/>
                    <a:gd name="connsiteY0" fmla="*/ 449906 h 508025"/>
                    <a:gd name="connsiteX1" fmla="*/ 7535 w 544284"/>
                    <a:gd name="connsiteY1" fmla="*/ 214956 h 508025"/>
                    <a:gd name="connsiteX2" fmla="*/ 23410 w 544284"/>
                    <a:gd name="connsiteY2" fmla="*/ 176856 h 508025"/>
                    <a:gd name="connsiteX3" fmla="*/ 71035 w 544284"/>
                    <a:gd name="connsiteY3" fmla="*/ 160981 h 508025"/>
                    <a:gd name="connsiteX4" fmla="*/ 172635 w 544284"/>
                    <a:gd name="connsiteY4" fmla="*/ 154631 h 508025"/>
                    <a:gd name="connsiteX5" fmla="*/ 198035 w 544284"/>
                    <a:gd name="connsiteY5" fmla="*/ 151456 h 508025"/>
                    <a:gd name="connsiteX6" fmla="*/ 201210 w 544284"/>
                    <a:gd name="connsiteY6" fmla="*/ 18106 h 508025"/>
                    <a:gd name="connsiteX7" fmla="*/ 312335 w 544284"/>
                    <a:gd name="connsiteY7" fmla="*/ 14931 h 508025"/>
                    <a:gd name="connsiteX8" fmla="*/ 312335 w 544284"/>
                    <a:gd name="connsiteY8" fmla="*/ 145106 h 508025"/>
                    <a:gd name="connsiteX9" fmla="*/ 353610 w 544284"/>
                    <a:gd name="connsiteY9" fmla="*/ 151456 h 508025"/>
                    <a:gd name="connsiteX10" fmla="*/ 445685 w 544284"/>
                    <a:gd name="connsiteY10" fmla="*/ 164156 h 508025"/>
                    <a:gd name="connsiteX11" fmla="*/ 486960 w 544284"/>
                    <a:gd name="connsiteY11" fmla="*/ 189556 h 508025"/>
                    <a:gd name="connsiteX12" fmla="*/ 509185 w 544284"/>
                    <a:gd name="connsiteY12" fmla="*/ 234006 h 508025"/>
                    <a:gd name="connsiteX13" fmla="*/ 506010 w 544284"/>
                    <a:gd name="connsiteY13" fmla="*/ 488006 h 508025"/>
                    <a:gd name="connsiteX14" fmla="*/ 4360 w 544284"/>
                    <a:gd name="connsiteY14" fmla="*/ 449906 h 508025"/>
                    <a:gd name="connsiteX0" fmla="*/ 4360 w 544284"/>
                    <a:gd name="connsiteY0" fmla="*/ 449906 h 500804"/>
                    <a:gd name="connsiteX1" fmla="*/ 7535 w 544284"/>
                    <a:gd name="connsiteY1" fmla="*/ 214956 h 500804"/>
                    <a:gd name="connsiteX2" fmla="*/ 23410 w 544284"/>
                    <a:gd name="connsiteY2" fmla="*/ 176856 h 500804"/>
                    <a:gd name="connsiteX3" fmla="*/ 71035 w 544284"/>
                    <a:gd name="connsiteY3" fmla="*/ 160981 h 500804"/>
                    <a:gd name="connsiteX4" fmla="*/ 172635 w 544284"/>
                    <a:gd name="connsiteY4" fmla="*/ 154631 h 500804"/>
                    <a:gd name="connsiteX5" fmla="*/ 198035 w 544284"/>
                    <a:gd name="connsiteY5" fmla="*/ 151456 h 500804"/>
                    <a:gd name="connsiteX6" fmla="*/ 201210 w 544284"/>
                    <a:gd name="connsiteY6" fmla="*/ 18106 h 500804"/>
                    <a:gd name="connsiteX7" fmla="*/ 312335 w 544284"/>
                    <a:gd name="connsiteY7" fmla="*/ 14931 h 500804"/>
                    <a:gd name="connsiteX8" fmla="*/ 312335 w 544284"/>
                    <a:gd name="connsiteY8" fmla="*/ 145106 h 500804"/>
                    <a:gd name="connsiteX9" fmla="*/ 353610 w 544284"/>
                    <a:gd name="connsiteY9" fmla="*/ 151456 h 500804"/>
                    <a:gd name="connsiteX10" fmla="*/ 445685 w 544284"/>
                    <a:gd name="connsiteY10" fmla="*/ 164156 h 500804"/>
                    <a:gd name="connsiteX11" fmla="*/ 486960 w 544284"/>
                    <a:gd name="connsiteY11" fmla="*/ 189556 h 500804"/>
                    <a:gd name="connsiteX12" fmla="*/ 509185 w 544284"/>
                    <a:gd name="connsiteY12" fmla="*/ 234006 h 500804"/>
                    <a:gd name="connsiteX13" fmla="*/ 506010 w 544284"/>
                    <a:gd name="connsiteY13" fmla="*/ 488006 h 500804"/>
                    <a:gd name="connsiteX14" fmla="*/ 4360 w 544284"/>
                    <a:gd name="connsiteY14" fmla="*/ 449906 h 500804"/>
                    <a:gd name="connsiteX0" fmla="*/ 4360 w 544284"/>
                    <a:gd name="connsiteY0" fmla="*/ 449906 h 500804"/>
                    <a:gd name="connsiteX1" fmla="*/ 7535 w 544284"/>
                    <a:gd name="connsiteY1" fmla="*/ 214956 h 500804"/>
                    <a:gd name="connsiteX2" fmla="*/ 23410 w 544284"/>
                    <a:gd name="connsiteY2" fmla="*/ 176856 h 500804"/>
                    <a:gd name="connsiteX3" fmla="*/ 71035 w 544284"/>
                    <a:gd name="connsiteY3" fmla="*/ 160981 h 500804"/>
                    <a:gd name="connsiteX4" fmla="*/ 172635 w 544284"/>
                    <a:gd name="connsiteY4" fmla="*/ 154631 h 500804"/>
                    <a:gd name="connsiteX5" fmla="*/ 198035 w 544284"/>
                    <a:gd name="connsiteY5" fmla="*/ 151456 h 500804"/>
                    <a:gd name="connsiteX6" fmla="*/ 201210 w 544284"/>
                    <a:gd name="connsiteY6" fmla="*/ 18106 h 500804"/>
                    <a:gd name="connsiteX7" fmla="*/ 312335 w 544284"/>
                    <a:gd name="connsiteY7" fmla="*/ 14931 h 500804"/>
                    <a:gd name="connsiteX8" fmla="*/ 312335 w 544284"/>
                    <a:gd name="connsiteY8" fmla="*/ 145106 h 500804"/>
                    <a:gd name="connsiteX9" fmla="*/ 353610 w 544284"/>
                    <a:gd name="connsiteY9" fmla="*/ 151456 h 500804"/>
                    <a:gd name="connsiteX10" fmla="*/ 445685 w 544284"/>
                    <a:gd name="connsiteY10" fmla="*/ 164156 h 500804"/>
                    <a:gd name="connsiteX11" fmla="*/ 486960 w 544284"/>
                    <a:gd name="connsiteY11" fmla="*/ 189556 h 500804"/>
                    <a:gd name="connsiteX12" fmla="*/ 509185 w 544284"/>
                    <a:gd name="connsiteY12" fmla="*/ 234006 h 500804"/>
                    <a:gd name="connsiteX13" fmla="*/ 506010 w 544284"/>
                    <a:gd name="connsiteY13" fmla="*/ 488006 h 500804"/>
                    <a:gd name="connsiteX14" fmla="*/ 4360 w 544284"/>
                    <a:gd name="connsiteY14" fmla="*/ 449906 h 500804"/>
                    <a:gd name="connsiteX0" fmla="*/ 4360 w 519024"/>
                    <a:gd name="connsiteY0" fmla="*/ 449906 h 500804"/>
                    <a:gd name="connsiteX1" fmla="*/ 7535 w 519024"/>
                    <a:gd name="connsiteY1" fmla="*/ 214956 h 500804"/>
                    <a:gd name="connsiteX2" fmla="*/ 23410 w 519024"/>
                    <a:gd name="connsiteY2" fmla="*/ 176856 h 500804"/>
                    <a:gd name="connsiteX3" fmla="*/ 71035 w 519024"/>
                    <a:gd name="connsiteY3" fmla="*/ 160981 h 500804"/>
                    <a:gd name="connsiteX4" fmla="*/ 172635 w 519024"/>
                    <a:gd name="connsiteY4" fmla="*/ 154631 h 500804"/>
                    <a:gd name="connsiteX5" fmla="*/ 198035 w 519024"/>
                    <a:gd name="connsiteY5" fmla="*/ 151456 h 500804"/>
                    <a:gd name="connsiteX6" fmla="*/ 201210 w 519024"/>
                    <a:gd name="connsiteY6" fmla="*/ 18106 h 500804"/>
                    <a:gd name="connsiteX7" fmla="*/ 312335 w 519024"/>
                    <a:gd name="connsiteY7" fmla="*/ 14931 h 500804"/>
                    <a:gd name="connsiteX8" fmla="*/ 312335 w 519024"/>
                    <a:gd name="connsiteY8" fmla="*/ 145106 h 500804"/>
                    <a:gd name="connsiteX9" fmla="*/ 353610 w 519024"/>
                    <a:gd name="connsiteY9" fmla="*/ 151456 h 500804"/>
                    <a:gd name="connsiteX10" fmla="*/ 445685 w 519024"/>
                    <a:gd name="connsiteY10" fmla="*/ 164156 h 500804"/>
                    <a:gd name="connsiteX11" fmla="*/ 486960 w 519024"/>
                    <a:gd name="connsiteY11" fmla="*/ 189556 h 500804"/>
                    <a:gd name="connsiteX12" fmla="*/ 509185 w 519024"/>
                    <a:gd name="connsiteY12" fmla="*/ 234006 h 500804"/>
                    <a:gd name="connsiteX13" fmla="*/ 506010 w 519024"/>
                    <a:gd name="connsiteY13" fmla="*/ 488006 h 500804"/>
                    <a:gd name="connsiteX14" fmla="*/ 4360 w 519024"/>
                    <a:gd name="connsiteY14" fmla="*/ 449906 h 500804"/>
                    <a:gd name="connsiteX0" fmla="*/ 4360 w 519024"/>
                    <a:gd name="connsiteY0" fmla="*/ 449906 h 488006"/>
                    <a:gd name="connsiteX1" fmla="*/ 7535 w 519024"/>
                    <a:gd name="connsiteY1" fmla="*/ 214956 h 488006"/>
                    <a:gd name="connsiteX2" fmla="*/ 23410 w 519024"/>
                    <a:gd name="connsiteY2" fmla="*/ 176856 h 488006"/>
                    <a:gd name="connsiteX3" fmla="*/ 71035 w 519024"/>
                    <a:gd name="connsiteY3" fmla="*/ 160981 h 488006"/>
                    <a:gd name="connsiteX4" fmla="*/ 172635 w 519024"/>
                    <a:gd name="connsiteY4" fmla="*/ 154631 h 488006"/>
                    <a:gd name="connsiteX5" fmla="*/ 198035 w 519024"/>
                    <a:gd name="connsiteY5" fmla="*/ 151456 h 488006"/>
                    <a:gd name="connsiteX6" fmla="*/ 201210 w 519024"/>
                    <a:gd name="connsiteY6" fmla="*/ 18106 h 488006"/>
                    <a:gd name="connsiteX7" fmla="*/ 312335 w 519024"/>
                    <a:gd name="connsiteY7" fmla="*/ 14931 h 488006"/>
                    <a:gd name="connsiteX8" fmla="*/ 312335 w 519024"/>
                    <a:gd name="connsiteY8" fmla="*/ 145106 h 488006"/>
                    <a:gd name="connsiteX9" fmla="*/ 353610 w 519024"/>
                    <a:gd name="connsiteY9" fmla="*/ 151456 h 488006"/>
                    <a:gd name="connsiteX10" fmla="*/ 445685 w 519024"/>
                    <a:gd name="connsiteY10" fmla="*/ 164156 h 488006"/>
                    <a:gd name="connsiteX11" fmla="*/ 486960 w 519024"/>
                    <a:gd name="connsiteY11" fmla="*/ 189556 h 488006"/>
                    <a:gd name="connsiteX12" fmla="*/ 509185 w 519024"/>
                    <a:gd name="connsiteY12" fmla="*/ 234006 h 488006"/>
                    <a:gd name="connsiteX13" fmla="*/ 506010 w 519024"/>
                    <a:gd name="connsiteY13" fmla="*/ 488006 h 488006"/>
                    <a:gd name="connsiteX14" fmla="*/ 4360 w 519024"/>
                    <a:gd name="connsiteY14" fmla="*/ 449906 h 488006"/>
                    <a:gd name="connsiteX0" fmla="*/ 4360 w 523534"/>
                    <a:gd name="connsiteY0" fmla="*/ 449906 h 472131"/>
                    <a:gd name="connsiteX1" fmla="*/ 7535 w 523534"/>
                    <a:gd name="connsiteY1" fmla="*/ 214956 h 472131"/>
                    <a:gd name="connsiteX2" fmla="*/ 23410 w 523534"/>
                    <a:gd name="connsiteY2" fmla="*/ 176856 h 472131"/>
                    <a:gd name="connsiteX3" fmla="*/ 71035 w 523534"/>
                    <a:gd name="connsiteY3" fmla="*/ 160981 h 472131"/>
                    <a:gd name="connsiteX4" fmla="*/ 172635 w 523534"/>
                    <a:gd name="connsiteY4" fmla="*/ 154631 h 472131"/>
                    <a:gd name="connsiteX5" fmla="*/ 198035 w 523534"/>
                    <a:gd name="connsiteY5" fmla="*/ 151456 h 472131"/>
                    <a:gd name="connsiteX6" fmla="*/ 201210 w 523534"/>
                    <a:gd name="connsiteY6" fmla="*/ 18106 h 472131"/>
                    <a:gd name="connsiteX7" fmla="*/ 312335 w 523534"/>
                    <a:gd name="connsiteY7" fmla="*/ 14931 h 472131"/>
                    <a:gd name="connsiteX8" fmla="*/ 312335 w 523534"/>
                    <a:gd name="connsiteY8" fmla="*/ 145106 h 472131"/>
                    <a:gd name="connsiteX9" fmla="*/ 353610 w 523534"/>
                    <a:gd name="connsiteY9" fmla="*/ 151456 h 472131"/>
                    <a:gd name="connsiteX10" fmla="*/ 445685 w 523534"/>
                    <a:gd name="connsiteY10" fmla="*/ 164156 h 472131"/>
                    <a:gd name="connsiteX11" fmla="*/ 486960 w 523534"/>
                    <a:gd name="connsiteY11" fmla="*/ 189556 h 472131"/>
                    <a:gd name="connsiteX12" fmla="*/ 509185 w 523534"/>
                    <a:gd name="connsiteY12" fmla="*/ 234006 h 472131"/>
                    <a:gd name="connsiteX13" fmla="*/ 512360 w 523534"/>
                    <a:gd name="connsiteY13" fmla="*/ 472131 h 472131"/>
                    <a:gd name="connsiteX14" fmla="*/ 4360 w 523534"/>
                    <a:gd name="connsiteY14" fmla="*/ 449906 h 472131"/>
                    <a:gd name="connsiteX0" fmla="*/ 4360 w 513675"/>
                    <a:gd name="connsiteY0" fmla="*/ 449906 h 472131"/>
                    <a:gd name="connsiteX1" fmla="*/ 7535 w 513675"/>
                    <a:gd name="connsiteY1" fmla="*/ 214956 h 472131"/>
                    <a:gd name="connsiteX2" fmla="*/ 23410 w 513675"/>
                    <a:gd name="connsiteY2" fmla="*/ 176856 h 472131"/>
                    <a:gd name="connsiteX3" fmla="*/ 71035 w 513675"/>
                    <a:gd name="connsiteY3" fmla="*/ 160981 h 472131"/>
                    <a:gd name="connsiteX4" fmla="*/ 172635 w 513675"/>
                    <a:gd name="connsiteY4" fmla="*/ 154631 h 472131"/>
                    <a:gd name="connsiteX5" fmla="*/ 198035 w 513675"/>
                    <a:gd name="connsiteY5" fmla="*/ 151456 h 472131"/>
                    <a:gd name="connsiteX6" fmla="*/ 201210 w 513675"/>
                    <a:gd name="connsiteY6" fmla="*/ 18106 h 472131"/>
                    <a:gd name="connsiteX7" fmla="*/ 312335 w 513675"/>
                    <a:gd name="connsiteY7" fmla="*/ 14931 h 472131"/>
                    <a:gd name="connsiteX8" fmla="*/ 312335 w 513675"/>
                    <a:gd name="connsiteY8" fmla="*/ 145106 h 472131"/>
                    <a:gd name="connsiteX9" fmla="*/ 353610 w 513675"/>
                    <a:gd name="connsiteY9" fmla="*/ 151456 h 472131"/>
                    <a:gd name="connsiteX10" fmla="*/ 445685 w 513675"/>
                    <a:gd name="connsiteY10" fmla="*/ 164156 h 472131"/>
                    <a:gd name="connsiteX11" fmla="*/ 486960 w 513675"/>
                    <a:gd name="connsiteY11" fmla="*/ 189556 h 472131"/>
                    <a:gd name="connsiteX12" fmla="*/ 509185 w 513675"/>
                    <a:gd name="connsiteY12" fmla="*/ 234006 h 472131"/>
                    <a:gd name="connsiteX13" fmla="*/ 512360 w 513675"/>
                    <a:gd name="connsiteY13" fmla="*/ 472131 h 472131"/>
                    <a:gd name="connsiteX14" fmla="*/ 4360 w 513675"/>
                    <a:gd name="connsiteY14" fmla="*/ 449906 h 472131"/>
                    <a:gd name="connsiteX0" fmla="*/ 4360 w 513675"/>
                    <a:gd name="connsiteY0" fmla="*/ 446969 h 469194"/>
                    <a:gd name="connsiteX1" fmla="*/ 7535 w 513675"/>
                    <a:gd name="connsiteY1" fmla="*/ 212019 h 469194"/>
                    <a:gd name="connsiteX2" fmla="*/ 23410 w 513675"/>
                    <a:gd name="connsiteY2" fmla="*/ 173919 h 469194"/>
                    <a:gd name="connsiteX3" fmla="*/ 71035 w 513675"/>
                    <a:gd name="connsiteY3" fmla="*/ 158044 h 469194"/>
                    <a:gd name="connsiteX4" fmla="*/ 172635 w 513675"/>
                    <a:gd name="connsiteY4" fmla="*/ 151694 h 469194"/>
                    <a:gd name="connsiteX5" fmla="*/ 188510 w 513675"/>
                    <a:gd name="connsiteY5" fmla="*/ 94544 h 469194"/>
                    <a:gd name="connsiteX6" fmla="*/ 201210 w 513675"/>
                    <a:gd name="connsiteY6" fmla="*/ 15169 h 469194"/>
                    <a:gd name="connsiteX7" fmla="*/ 312335 w 513675"/>
                    <a:gd name="connsiteY7" fmla="*/ 11994 h 469194"/>
                    <a:gd name="connsiteX8" fmla="*/ 312335 w 513675"/>
                    <a:gd name="connsiteY8" fmla="*/ 142169 h 469194"/>
                    <a:gd name="connsiteX9" fmla="*/ 353610 w 513675"/>
                    <a:gd name="connsiteY9" fmla="*/ 148519 h 469194"/>
                    <a:gd name="connsiteX10" fmla="*/ 445685 w 513675"/>
                    <a:gd name="connsiteY10" fmla="*/ 161219 h 469194"/>
                    <a:gd name="connsiteX11" fmla="*/ 486960 w 513675"/>
                    <a:gd name="connsiteY11" fmla="*/ 186619 h 469194"/>
                    <a:gd name="connsiteX12" fmla="*/ 509185 w 513675"/>
                    <a:gd name="connsiteY12" fmla="*/ 231069 h 469194"/>
                    <a:gd name="connsiteX13" fmla="*/ 512360 w 513675"/>
                    <a:gd name="connsiteY13" fmla="*/ 469194 h 469194"/>
                    <a:gd name="connsiteX14" fmla="*/ 4360 w 513675"/>
                    <a:gd name="connsiteY14" fmla="*/ 446969 h 469194"/>
                    <a:gd name="connsiteX0" fmla="*/ 4360 w 513675"/>
                    <a:gd name="connsiteY0" fmla="*/ 443409 h 465634"/>
                    <a:gd name="connsiteX1" fmla="*/ 7535 w 513675"/>
                    <a:gd name="connsiteY1" fmla="*/ 208459 h 465634"/>
                    <a:gd name="connsiteX2" fmla="*/ 23410 w 513675"/>
                    <a:gd name="connsiteY2" fmla="*/ 170359 h 465634"/>
                    <a:gd name="connsiteX3" fmla="*/ 71035 w 513675"/>
                    <a:gd name="connsiteY3" fmla="*/ 154484 h 465634"/>
                    <a:gd name="connsiteX4" fmla="*/ 172635 w 513675"/>
                    <a:gd name="connsiteY4" fmla="*/ 148134 h 465634"/>
                    <a:gd name="connsiteX5" fmla="*/ 188510 w 513675"/>
                    <a:gd name="connsiteY5" fmla="*/ 90984 h 465634"/>
                    <a:gd name="connsiteX6" fmla="*/ 201210 w 513675"/>
                    <a:gd name="connsiteY6" fmla="*/ 11609 h 465634"/>
                    <a:gd name="connsiteX7" fmla="*/ 312335 w 513675"/>
                    <a:gd name="connsiteY7" fmla="*/ 8434 h 465634"/>
                    <a:gd name="connsiteX8" fmla="*/ 312335 w 513675"/>
                    <a:gd name="connsiteY8" fmla="*/ 87809 h 465634"/>
                    <a:gd name="connsiteX9" fmla="*/ 353610 w 513675"/>
                    <a:gd name="connsiteY9" fmla="*/ 144959 h 465634"/>
                    <a:gd name="connsiteX10" fmla="*/ 445685 w 513675"/>
                    <a:gd name="connsiteY10" fmla="*/ 157659 h 465634"/>
                    <a:gd name="connsiteX11" fmla="*/ 486960 w 513675"/>
                    <a:gd name="connsiteY11" fmla="*/ 183059 h 465634"/>
                    <a:gd name="connsiteX12" fmla="*/ 509185 w 513675"/>
                    <a:gd name="connsiteY12" fmla="*/ 227509 h 465634"/>
                    <a:gd name="connsiteX13" fmla="*/ 512360 w 513675"/>
                    <a:gd name="connsiteY13" fmla="*/ 465634 h 465634"/>
                    <a:gd name="connsiteX14" fmla="*/ 4360 w 513675"/>
                    <a:gd name="connsiteY14" fmla="*/ 443409 h 465634"/>
                    <a:gd name="connsiteX0" fmla="*/ 4360 w 513675"/>
                    <a:gd name="connsiteY0" fmla="*/ 443409 h 465634"/>
                    <a:gd name="connsiteX1" fmla="*/ 7535 w 513675"/>
                    <a:gd name="connsiteY1" fmla="*/ 208459 h 465634"/>
                    <a:gd name="connsiteX2" fmla="*/ 23410 w 513675"/>
                    <a:gd name="connsiteY2" fmla="*/ 170359 h 465634"/>
                    <a:gd name="connsiteX3" fmla="*/ 71035 w 513675"/>
                    <a:gd name="connsiteY3" fmla="*/ 154484 h 465634"/>
                    <a:gd name="connsiteX4" fmla="*/ 172635 w 513675"/>
                    <a:gd name="connsiteY4" fmla="*/ 148134 h 465634"/>
                    <a:gd name="connsiteX5" fmla="*/ 188510 w 513675"/>
                    <a:gd name="connsiteY5" fmla="*/ 90984 h 465634"/>
                    <a:gd name="connsiteX6" fmla="*/ 201210 w 513675"/>
                    <a:gd name="connsiteY6" fmla="*/ 11609 h 465634"/>
                    <a:gd name="connsiteX7" fmla="*/ 312335 w 513675"/>
                    <a:gd name="connsiteY7" fmla="*/ 8434 h 465634"/>
                    <a:gd name="connsiteX8" fmla="*/ 312335 w 513675"/>
                    <a:gd name="connsiteY8" fmla="*/ 87809 h 465634"/>
                    <a:gd name="connsiteX9" fmla="*/ 334560 w 513675"/>
                    <a:gd name="connsiteY9" fmla="*/ 135434 h 465634"/>
                    <a:gd name="connsiteX10" fmla="*/ 445685 w 513675"/>
                    <a:gd name="connsiteY10" fmla="*/ 157659 h 465634"/>
                    <a:gd name="connsiteX11" fmla="*/ 486960 w 513675"/>
                    <a:gd name="connsiteY11" fmla="*/ 183059 h 465634"/>
                    <a:gd name="connsiteX12" fmla="*/ 509185 w 513675"/>
                    <a:gd name="connsiteY12" fmla="*/ 227509 h 465634"/>
                    <a:gd name="connsiteX13" fmla="*/ 512360 w 513675"/>
                    <a:gd name="connsiteY13" fmla="*/ 465634 h 465634"/>
                    <a:gd name="connsiteX14" fmla="*/ 4360 w 513675"/>
                    <a:gd name="connsiteY14" fmla="*/ 443409 h 465634"/>
                    <a:gd name="connsiteX0" fmla="*/ 4360 w 510500"/>
                    <a:gd name="connsiteY0" fmla="*/ 443409 h 449759"/>
                    <a:gd name="connsiteX1" fmla="*/ 7535 w 510500"/>
                    <a:gd name="connsiteY1" fmla="*/ 208459 h 449759"/>
                    <a:gd name="connsiteX2" fmla="*/ 23410 w 510500"/>
                    <a:gd name="connsiteY2" fmla="*/ 170359 h 449759"/>
                    <a:gd name="connsiteX3" fmla="*/ 71035 w 510500"/>
                    <a:gd name="connsiteY3" fmla="*/ 154484 h 449759"/>
                    <a:gd name="connsiteX4" fmla="*/ 172635 w 510500"/>
                    <a:gd name="connsiteY4" fmla="*/ 148134 h 449759"/>
                    <a:gd name="connsiteX5" fmla="*/ 188510 w 510500"/>
                    <a:gd name="connsiteY5" fmla="*/ 90984 h 449759"/>
                    <a:gd name="connsiteX6" fmla="*/ 201210 w 510500"/>
                    <a:gd name="connsiteY6" fmla="*/ 11609 h 449759"/>
                    <a:gd name="connsiteX7" fmla="*/ 312335 w 510500"/>
                    <a:gd name="connsiteY7" fmla="*/ 8434 h 449759"/>
                    <a:gd name="connsiteX8" fmla="*/ 312335 w 510500"/>
                    <a:gd name="connsiteY8" fmla="*/ 87809 h 449759"/>
                    <a:gd name="connsiteX9" fmla="*/ 334560 w 510500"/>
                    <a:gd name="connsiteY9" fmla="*/ 135434 h 449759"/>
                    <a:gd name="connsiteX10" fmla="*/ 445685 w 510500"/>
                    <a:gd name="connsiteY10" fmla="*/ 157659 h 449759"/>
                    <a:gd name="connsiteX11" fmla="*/ 486960 w 510500"/>
                    <a:gd name="connsiteY11" fmla="*/ 183059 h 449759"/>
                    <a:gd name="connsiteX12" fmla="*/ 509185 w 510500"/>
                    <a:gd name="connsiteY12" fmla="*/ 227509 h 449759"/>
                    <a:gd name="connsiteX13" fmla="*/ 506010 w 510500"/>
                    <a:gd name="connsiteY13" fmla="*/ 449759 h 449759"/>
                    <a:gd name="connsiteX14" fmla="*/ 4360 w 510500"/>
                    <a:gd name="connsiteY14" fmla="*/ 443409 h 449759"/>
                    <a:gd name="connsiteX0" fmla="*/ 4360 w 510500"/>
                    <a:gd name="connsiteY0" fmla="*/ 443409 h 454926"/>
                    <a:gd name="connsiteX1" fmla="*/ 7535 w 510500"/>
                    <a:gd name="connsiteY1" fmla="*/ 208459 h 454926"/>
                    <a:gd name="connsiteX2" fmla="*/ 23410 w 510500"/>
                    <a:gd name="connsiteY2" fmla="*/ 170359 h 454926"/>
                    <a:gd name="connsiteX3" fmla="*/ 71035 w 510500"/>
                    <a:gd name="connsiteY3" fmla="*/ 154484 h 454926"/>
                    <a:gd name="connsiteX4" fmla="*/ 172635 w 510500"/>
                    <a:gd name="connsiteY4" fmla="*/ 148134 h 454926"/>
                    <a:gd name="connsiteX5" fmla="*/ 188510 w 510500"/>
                    <a:gd name="connsiteY5" fmla="*/ 90984 h 454926"/>
                    <a:gd name="connsiteX6" fmla="*/ 201210 w 510500"/>
                    <a:gd name="connsiteY6" fmla="*/ 11609 h 454926"/>
                    <a:gd name="connsiteX7" fmla="*/ 312335 w 510500"/>
                    <a:gd name="connsiteY7" fmla="*/ 8434 h 454926"/>
                    <a:gd name="connsiteX8" fmla="*/ 312335 w 510500"/>
                    <a:gd name="connsiteY8" fmla="*/ 87809 h 454926"/>
                    <a:gd name="connsiteX9" fmla="*/ 334560 w 510500"/>
                    <a:gd name="connsiteY9" fmla="*/ 135434 h 454926"/>
                    <a:gd name="connsiteX10" fmla="*/ 445685 w 510500"/>
                    <a:gd name="connsiteY10" fmla="*/ 157659 h 454926"/>
                    <a:gd name="connsiteX11" fmla="*/ 486960 w 510500"/>
                    <a:gd name="connsiteY11" fmla="*/ 183059 h 454926"/>
                    <a:gd name="connsiteX12" fmla="*/ 509185 w 510500"/>
                    <a:gd name="connsiteY12" fmla="*/ 227509 h 454926"/>
                    <a:gd name="connsiteX13" fmla="*/ 506010 w 510500"/>
                    <a:gd name="connsiteY13" fmla="*/ 449759 h 454926"/>
                    <a:gd name="connsiteX14" fmla="*/ 4360 w 510500"/>
                    <a:gd name="connsiteY14" fmla="*/ 443409 h 454926"/>
                    <a:gd name="connsiteX0" fmla="*/ 6473 w 512613"/>
                    <a:gd name="connsiteY0" fmla="*/ 443409 h 454926"/>
                    <a:gd name="connsiteX1" fmla="*/ 9648 w 512613"/>
                    <a:gd name="connsiteY1" fmla="*/ 208459 h 454926"/>
                    <a:gd name="connsiteX2" fmla="*/ 73148 w 512613"/>
                    <a:gd name="connsiteY2" fmla="*/ 154484 h 454926"/>
                    <a:gd name="connsiteX3" fmla="*/ 174748 w 512613"/>
                    <a:gd name="connsiteY3" fmla="*/ 148134 h 454926"/>
                    <a:gd name="connsiteX4" fmla="*/ 190623 w 512613"/>
                    <a:gd name="connsiteY4" fmla="*/ 90984 h 454926"/>
                    <a:gd name="connsiteX5" fmla="*/ 203323 w 512613"/>
                    <a:gd name="connsiteY5" fmla="*/ 11609 h 454926"/>
                    <a:gd name="connsiteX6" fmla="*/ 314448 w 512613"/>
                    <a:gd name="connsiteY6" fmla="*/ 8434 h 454926"/>
                    <a:gd name="connsiteX7" fmla="*/ 314448 w 512613"/>
                    <a:gd name="connsiteY7" fmla="*/ 87809 h 454926"/>
                    <a:gd name="connsiteX8" fmla="*/ 336673 w 512613"/>
                    <a:gd name="connsiteY8" fmla="*/ 135434 h 454926"/>
                    <a:gd name="connsiteX9" fmla="*/ 447798 w 512613"/>
                    <a:gd name="connsiteY9" fmla="*/ 157659 h 454926"/>
                    <a:gd name="connsiteX10" fmla="*/ 489073 w 512613"/>
                    <a:gd name="connsiteY10" fmla="*/ 183059 h 454926"/>
                    <a:gd name="connsiteX11" fmla="*/ 511298 w 512613"/>
                    <a:gd name="connsiteY11" fmla="*/ 227509 h 454926"/>
                    <a:gd name="connsiteX12" fmla="*/ 508123 w 512613"/>
                    <a:gd name="connsiteY12" fmla="*/ 449759 h 454926"/>
                    <a:gd name="connsiteX13" fmla="*/ 6473 w 512613"/>
                    <a:gd name="connsiteY13" fmla="*/ 443409 h 454926"/>
                    <a:gd name="connsiteX0" fmla="*/ 4049 w 510189"/>
                    <a:gd name="connsiteY0" fmla="*/ 443409 h 454926"/>
                    <a:gd name="connsiteX1" fmla="*/ 7224 w 510189"/>
                    <a:gd name="connsiteY1" fmla="*/ 208459 h 454926"/>
                    <a:gd name="connsiteX2" fmla="*/ 70724 w 510189"/>
                    <a:gd name="connsiteY2" fmla="*/ 154484 h 454926"/>
                    <a:gd name="connsiteX3" fmla="*/ 172324 w 510189"/>
                    <a:gd name="connsiteY3" fmla="*/ 148134 h 454926"/>
                    <a:gd name="connsiteX4" fmla="*/ 188199 w 510189"/>
                    <a:gd name="connsiteY4" fmla="*/ 90984 h 454926"/>
                    <a:gd name="connsiteX5" fmla="*/ 200899 w 510189"/>
                    <a:gd name="connsiteY5" fmla="*/ 11609 h 454926"/>
                    <a:gd name="connsiteX6" fmla="*/ 312024 w 510189"/>
                    <a:gd name="connsiteY6" fmla="*/ 8434 h 454926"/>
                    <a:gd name="connsiteX7" fmla="*/ 312024 w 510189"/>
                    <a:gd name="connsiteY7" fmla="*/ 87809 h 454926"/>
                    <a:gd name="connsiteX8" fmla="*/ 334249 w 510189"/>
                    <a:gd name="connsiteY8" fmla="*/ 135434 h 454926"/>
                    <a:gd name="connsiteX9" fmla="*/ 445374 w 510189"/>
                    <a:gd name="connsiteY9" fmla="*/ 157659 h 454926"/>
                    <a:gd name="connsiteX10" fmla="*/ 486649 w 510189"/>
                    <a:gd name="connsiteY10" fmla="*/ 183059 h 454926"/>
                    <a:gd name="connsiteX11" fmla="*/ 508874 w 510189"/>
                    <a:gd name="connsiteY11" fmla="*/ 227509 h 454926"/>
                    <a:gd name="connsiteX12" fmla="*/ 505699 w 510189"/>
                    <a:gd name="connsiteY12" fmla="*/ 449759 h 454926"/>
                    <a:gd name="connsiteX13" fmla="*/ 4049 w 510189"/>
                    <a:gd name="connsiteY13" fmla="*/ 443409 h 454926"/>
                    <a:gd name="connsiteX0" fmla="*/ 4049 w 510189"/>
                    <a:gd name="connsiteY0" fmla="*/ 443409 h 454926"/>
                    <a:gd name="connsiteX1" fmla="*/ 7224 w 510189"/>
                    <a:gd name="connsiteY1" fmla="*/ 208459 h 454926"/>
                    <a:gd name="connsiteX2" fmla="*/ 70724 w 510189"/>
                    <a:gd name="connsiteY2" fmla="*/ 154484 h 454926"/>
                    <a:gd name="connsiteX3" fmla="*/ 172324 w 510189"/>
                    <a:gd name="connsiteY3" fmla="*/ 148134 h 454926"/>
                    <a:gd name="connsiteX4" fmla="*/ 188199 w 510189"/>
                    <a:gd name="connsiteY4" fmla="*/ 90984 h 454926"/>
                    <a:gd name="connsiteX5" fmla="*/ 200899 w 510189"/>
                    <a:gd name="connsiteY5" fmla="*/ 11609 h 454926"/>
                    <a:gd name="connsiteX6" fmla="*/ 312024 w 510189"/>
                    <a:gd name="connsiteY6" fmla="*/ 8434 h 454926"/>
                    <a:gd name="connsiteX7" fmla="*/ 312024 w 510189"/>
                    <a:gd name="connsiteY7" fmla="*/ 87809 h 454926"/>
                    <a:gd name="connsiteX8" fmla="*/ 334249 w 510189"/>
                    <a:gd name="connsiteY8" fmla="*/ 135434 h 454926"/>
                    <a:gd name="connsiteX9" fmla="*/ 445374 w 510189"/>
                    <a:gd name="connsiteY9" fmla="*/ 157659 h 454926"/>
                    <a:gd name="connsiteX10" fmla="*/ 508874 w 510189"/>
                    <a:gd name="connsiteY10" fmla="*/ 227509 h 454926"/>
                    <a:gd name="connsiteX11" fmla="*/ 505699 w 510189"/>
                    <a:gd name="connsiteY11" fmla="*/ 449759 h 454926"/>
                    <a:gd name="connsiteX12" fmla="*/ 4049 w 510189"/>
                    <a:gd name="connsiteY12" fmla="*/ 443409 h 454926"/>
                    <a:gd name="connsiteX0" fmla="*/ 4049 w 510189"/>
                    <a:gd name="connsiteY0" fmla="*/ 443409 h 454926"/>
                    <a:gd name="connsiteX1" fmla="*/ 7224 w 510189"/>
                    <a:gd name="connsiteY1" fmla="*/ 208459 h 454926"/>
                    <a:gd name="connsiteX2" fmla="*/ 70724 w 510189"/>
                    <a:gd name="connsiteY2" fmla="*/ 154484 h 454926"/>
                    <a:gd name="connsiteX3" fmla="*/ 172324 w 510189"/>
                    <a:gd name="connsiteY3" fmla="*/ 148134 h 454926"/>
                    <a:gd name="connsiteX4" fmla="*/ 188199 w 510189"/>
                    <a:gd name="connsiteY4" fmla="*/ 90984 h 454926"/>
                    <a:gd name="connsiteX5" fmla="*/ 200899 w 510189"/>
                    <a:gd name="connsiteY5" fmla="*/ 11609 h 454926"/>
                    <a:gd name="connsiteX6" fmla="*/ 312024 w 510189"/>
                    <a:gd name="connsiteY6" fmla="*/ 8434 h 454926"/>
                    <a:gd name="connsiteX7" fmla="*/ 312024 w 510189"/>
                    <a:gd name="connsiteY7" fmla="*/ 87809 h 454926"/>
                    <a:gd name="connsiteX8" fmla="*/ 334249 w 510189"/>
                    <a:gd name="connsiteY8" fmla="*/ 135434 h 454926"/>
                    <a:gd name="connsiteX9" fmla="*/ 445374 w 510189"/>
                    <a:gd name="connsiteY9" fmla="*/ 157659 h 454926"/>
                    <a:gd name="connsiteX10" fmla="*/ 508874 w 510189"/>
                    <a:gd name="connsiteY10" fmla="*/ 227509 h 454926"/>
                    <a:gd name="connsiteX11" fmla="*/ 505699 w 510189"/>
                    <a:gd name="connsiteY11" fmla="*/ 449759 h 454926"/>
                    <a:gd name="connsiteX12" fmla="*/ 4049 w 510189"/>
                    <a:gd name="connsiteY12" fmla="*/ 443409 h 454926"/>
                    <a:gd name="connsiteX0" fmla="*/ 5987 w 512127"/>
                    <a:gd name="connsiteY0" fmla="*/ 443409 h 454926"/>
                    <a:gd name="connsiteX1" fmla="*/ 2812 w 512127"/>
                    <a:gd name="connsiteY1" fmla="*/ 217984 h 454926"/>
                    <a:gd name="connsiteX2" fmla="*/ 72662 w 512127"/>
                    <a:gd name="connsiteY2" fmla="*/ 154484 h 454926"/>
                    <a:gd name="connsiteX3" fmla="*/ 174262 w 512127"/>
                    <a:gd name="connsiteY3" fmla="*/ 148134 h 454926"/>
                    <a:gd name="connsiteX4" fmla="*/ 190137 w 512127"/>
                    <a:gd name="connsiteY4" fmla="*/ 90984 h 454926"/>
                    <a:gd name="connsiteX5" fmla="*/ 202837 w 512127"/>
                    <a:gd name="connsiteY5" fmla="*/ 11609 h 454926"/>
                    <a:gd name="connsiteX6" fmla="*/ 313962 w 512127"/>
                    <a:gd name="connsiteY6" fmla="*/ 8434 h 454926"/>
                    <a:gd name="connsiteX7" fmla="*/ 313962 w 512127"/>
                    <a:gd name="connsiteY7" fmla="*/ 87809 h 454926"/>
                    <a:gd name="connsiteX8" fmla="*/ 336187 w 512127"/>
                    <a:gd name="connsiteY8" fmla="*/ 135434 h 454926"/>
                    <a:gd name="connsiteX9" fmla="*/ 447312 w 512127"/>
                    <a:gd name="connsiteY9" fmla="*/ 157659 h 454926"/>
                    <a:gd name="connsiteX10" fmla="*/ 510812 w 512127"/>
                    <a:gd name="connsiteY10" fmla="*/ 227509 h 454926"/>
                    <a:gd name="connsiteX11" fmla="*/ 507637 w 512127"/>
                    <a:gd name="connsiteY11" fmla="*/ 449759 h 454926"/>
                    <a:gd name="connsiteX12" fmla="*/ 5987 w 512127"/>
                    <a:gd name="connsiteY12" fmla="*/ 443409 h 454926"/>
                    <a:gd name="connsiteX0" fmla="*/ 9762 w 515902"/>
                    <a:gd name="connsiteY0" fmla="*/ 443409 h 454926"/>
                    <a:gd name="connsiteX1" fmla="*/ 6587 w 515902"/>
                    <a:gd name="connsiteY1" fmla="*/ 217984 h 454926"/>
                    <a:gd name="connsiteX2" fmla="*/ 76437 w 515902"/>
                    <a:gd name="connsiteY2" fmla="*/ 154484 h 454926"/>
                    <a:gd name="connsiteX3" fmla="*/ 178037 w 515902"/>
                    <a:gd name="connsiteY3" fmla="*/ 148134 h 454926"/>
                    <a:gd name="connsiteX4" fmla="*/ 193912 w 515902"/>
                    <a:gd name="connsiteY4" fmla="*/ 90984 h 454926"/>
                    <a:gd name="connsiteX5" fmla="*/ 206612 w 515902"/>
                    <a:gd name="connsiteY5" fmla="*/ 11609 h 454926"/>
                    <a:gd name="connsiteX6" fmla="*/ 317737 w 515902"/>
                    <a:gd name="connsiteY6" fmla="*/ 8434 h 454926"/>
                    <a:gd name="connsiteX7" fmla="*/ 317737 w 515902"/>
                    <a:gd name="connsiteY7" fmla="*/ 87809 h 454926"/>
                    <a:gd name="connsiteX8" fmla="*/ 339962 w 515902"/>
                    <a:gd name="connsiteY8" fmla="*/ 135434 h 454926"/>
                    <a:gd name="connsiteX9" fmla="*/ 451087 w 515902"/>
                    <a:gd name="connsiteY9" fmla="*/ 157659 h 454926"/>
                    <a:gd name="connsiteX10" fmla="*/ 514587 w 515902"/>
                    <a:gd name="connsiteY10" fmla="*/ 227509 h 454926"/>
                    <a:gd name="connsiteX11" fmla="*/ 511412 w 515902"/>
                    <a:gd name="connsiteY11" fmla="*/ 449759 h 454926"/>
                    <a:gd name="connsiteX12" fmla="*/ 9762 w 515902"/>
                    <a:gd name="connsiteY12" fmla="*/ 443409 h 454926"/>
                    <a:gd name="connsiteX0" fmla="*/ 9762 w 515902"/>
                    <a:gd name="connsiteY0" fmla="*/ 443409 h 454926"/>
                    <a:gd name="connsiteX1" fmla="*/ 6587 w 515902"/>
                    <a:gd name="connsiteY1" fmla="*/ 217984 h 454926"/>
                    <a:gd name="connsiteX2" fmla="*/ 76437 w 515902"/>
                    <a:gd name="connsiteY2" fmla="*/ 154484 h 454926"/>
                    <a:gd name="connsiteX3" fmla="*/ 178037 w 515902"/>
                    <a:gd name="connsiteY3" fmla="*/ 148134 h 454926"/>
                    <a:gd name="connsiteX4" fmla="*/ 193912 w 515902"/>
                    <a:gd name="connsiteY4" fmla="*/ 90984 h 454926"/>
                    <a:gd name="connsiteX5" fmla="*/ 206612 w 515902"/>
                    <a:gd name="connsiteY5" fmla="*/ 11609 h 454926"/>
                    <a:gd name="connsiteX6" fmla="*/ 317737 w 515902"/>
                    <a:gd name="connsiteY6" fmla="*/ 8434 h 454926"/>
                    <a:gd name="connsiteX7" fmla="*/ 317737 w 515902"/>
                    <a:gd name="connsiteY7" fmla="*/ 87809 h 454926"/>
                    <a:gd name="connsiteX8" fmla="*/ 339962 w 515902"/>
                    <a:gd name="connsiteY8" fmla="*/ 135434 h 454926"/>
                    <a:gd name="connsiteX9" fmla="*/ 451087 w 515902"/>
                    <a:gd name="connsiteY9" fmla="*/ 157659 h 454926"/>
                    <a:gd name="connsiteX10" fmla="*/ 514587 w 515902"/>
                    <a:gd name="connsiteY10" fmla="*/ 227509 h 454926"/>
                    <a:gd name="connsiteX11" fmla="*/ 511412 w 515902"/>
                    <a:gd name="connsiteY11" fmla="*/ 449759 h 454926"/>
                    <a:gd name="connsiteX12" fmla="*/ 9762 w 515902"/>
                    <a:gd name="connsiteY12" fmla="*/ 443409 h 454926"/>
                    <a:gd name="connsiteX0" fmla="*/ 9762 w 515902"/>
                    <a:gd name="connsiteY0" fmla="*/ 443409 h 454926"/>
                    <a:gd name="connsiteX1" fmla="*/ 6587 w 515902"/>
                    <a:gd name="connsiteY1" fmla="*/ 217984 h 454926"/>
                    <a:gd name="connsiteX2" fmla="*/ 76437 w 515902"/>
                    <a:gd name="connsiteY2" fmla="*/ 154484 h 454926"/>
                    <a:gd name="connsiteX3" fmla="*/ 193912 w 515902"/>
                    <a:gd name="connsiteY3" fmla="*/ 90984 h 454926"/>
                    <a:gd name="connsiteX4" fmla="*/ 206612 w 515902"/>
                    <a:gd name="connsiteY4" fmla="*/ 11609 h 454926"/>
                    <a:gd name="connsiteX5" fmla="*/ 317737 w 515902"/>
                    <a:gd name="connsiteY5" fmla="*/ 8434 h 454926"/>
                    <a:gd name="connsiteX6" fmla="*/ 317737 w 515902"/>
                    <a:gd name="connsiteY6" fmla="*/ 87809 h 454926"/>
                    <a:gd name="connsiteX7" fmla="*/ 339962 w 515902"/>
                    <a:gd name="connsiteY7" fmla="*/ 135434 h 454926"/>
                    <a:gd name="connsiteX8" fmla="*/ 451087 w 515902"/>
                    <a:gd name="connsiteY8" fmla="*/ 157659 h 454926"/>
                    <a:gd name="connsiteX9" fmla="*/ 514587 w 515902"/>
                    <a:gd name="connsiteY9" fmla="*/ 227509 h 454926"/>
                    <a:gd name="connsiteX10" fmla="*/ 511412 w 515902"/>
                    <a:gd name="connsiteY10" fmla="*/ 449759 h 454926"/>
                    <a:gd name="connsiteX11" fmla="*/ 9762 w 515902"/>
                    <a:gd name="connsiteY11" fmla="*/ 443409 h 454926"/>
                    <a:gd name="connsiteX0" fmla="*/ 9762 w 515902"/>
                    <a:gd name="connsiteY0" fmla="*/ 446099 h 457616"/>
                    <a:gd name="connsiteX1" fmla="*/ 6587 w 515902"/>
                    <a:gd name="connsiteY1" fmla="*/ 220674 h 457616"/>
                    <a:gd name="connsiteX2" fmla="*/ 76437 w 515902"/>
                    <a:gd name="connsiteY2" fmla="*/ 157174 h 457616"/>
                    <a:gd name="connsiteX3" fmla="*/ 190737 w 515902"/>
                    <a:gd name="connsiteY3" fmla="*/ 138124 h 457616"/>
                    <a:gd name="connsiteX4" fmla="*/ 206612 w 515902"/>
                    <a:gd name="connsiteY4" fmla="*/ 14299 h 457616"/>
                    <a:gd name="connsiteX5" fmla="*/ 317737 w 515902"/>
                    <a:gd name="connsiteY5" fmla="*/ 11124 h 457616"/>
                    <a:gd name="connsiteX6" fmla="*/ 317737 w 515902"/>
                    <a:gd name="connsiteY6" fmla="*/ 90499 h 457616"/>
                    <a:gd name="connsiteX7" fmla="*/ 339962 w 515902"/>
                    <a:gd name="connsiteY7" fmla="*/ 138124 h 457616"/>
                    <a:gd name="connsiteX8" fmla="*/ 451087 w 515902"/>
                    <a:gd name="connsiteY8" fmla="*/ 160349 h 457616"/>
                    <a:gd name="connsiteX9" fmla="*/ 514587 w 515902"/>
                    <a:gd name="connsiteY9" fmla="*/ 230199 h 457616"/>
                    <a:gd name="connsiteX10" fmla="*/ 511412 w 515902"/>
                    <a:gd name="connsiteY10" fmla="*/ 452449 h 457616"/>
                    <a:gd name="connsiteX11" fmla="*/ 9762 w 515902"/>
                    <a:gd name="connsiteY11" fmla="*/ 446099 h 457616"/>
                    <a:gd name="connsiteX0" fmla="*/ 9762 w 515902"/>
                    <a:gd name="connsiteY0" fmla="*/ 446099 h 457616"/>
                    <a:gd name="connsiteX1" fmla="*/ 6587 w 515902"/>
                    <a:gd name="connsiteY1" fmla="*/ 220674 h 457616"/>
                    <a:gd name="connsiteX2" fmla="*/ 76437 w 515902"/>
                    <a:gd name="connsiteY2" fmla="*/ 157174 h 457616"/>
                    <a:gd name="connsiteX3" fmla="*/ 190737 w 515902"/>
                    <a:gd name="connsiteY3" fmla="*/ 138124 h 457616"/>
                    <a:gd name="connsiteX4" fmla="*/ 206612 w 515902"/>
                    <a:gd name="connsiteY4" fmla="*/ 14299 h 457616"/>
                    <a:gd name="connsiteX5" fmla="*/ 317737 w 515902"/>
                    <a:gd name="connsiteY5" fmla="*/ 11124 h 457616"/>
                    <a:gd name="connsiteX6" fmla="*/ 317737 w 515902"/>
                    <a:gd name="connsiteY6" fmla="*/ 90499 h 457616"/>
                    <a:gd name="connsiteX7" fmla="*/ 451087 w 515902"/>
                    <a:gd name="connsiteY7" fmla="*/ 160349 h 457616"/>
                    <a:gd name="connsiteX8" fmla="*/ 514587 w 515902"/>
                    <a:gd name="connsiteY8" fmla="*/ 230199 h 457616"/>
                    <a:gd name="connsiteX9" fmla="*/ 511412 w 515902"/>
                    <a:gd name="connsiteY9" fmla="*/ 452449 h 457616"/>
                    <a:gd name="connsiteX10" fmla="*/ 9762 w 515902"/>
                    <a:gd name="connsiteY10" fmla="*/ 446099 h 457616"/>
                    <a:gd name="connsiteX0" fmla="*/ 9762 w 515902"/>
                    <a:gd name="connsiteY0" fmla="*/ 447482 h 458999"/>
                    <a:gd name="connsiteX1" fmla="*/ 6587 w 515902"/>
                    <a:gd name="connsiteY1" fmla="*/ 222057 h 458999"/>
                    <a:gd name="connsiteX2" fmla="*/ 76437 w 515902"/>
                    <a:gd name="connsiteY2" fmla="*/ 158557 h 458999"/>
                    <a:gd name="connsiteX3" fmla="*/ 190737 w 515902"/>
                    <a:gd name="connsiteY3" fmla="*/ 139507 h 458999"/>
                    <a:gd name="connsiteX4" fmla="*/ 206612 w 515902"/>
                    <a:gd name="connsiteY4" fmla="*/ 15682 h 458999"/>
                    <a:gd name="connsiteX5" fmla="*/ 317737 w 515902"/>
                    <a:gd name="connsiteY5" fmla="*/ 12507 h 458999"/>
                    <a:gd name="connsiteX6" fmla="*/ 330437 w 515902"/>
                    <a:gd name="connsiteY6" fmla="*/ 114107 h 458999"/>
                    <a:gd name="connsiteX7" fmla="*/ 451087 w 515902"/>
                    <a:gd name="connsiteY7" fmla="*/ 161732 h 458999"/>
                    <a:gd name="connsiteX8" fmla="*/ 514587 w 515902"/>
                    <a:gd name="connsiteY8" fmla="*/ 231582 h 458999"/>
                    <a:gd name="connsiteX9" fmla="*/ 511412 w 515902"/>
                    <a:gd name="connsiteY9" fmla="*/ 453832 h 458999"/>
                    <a:gd name="connsiteX10" fmla="*/ 9762 w 515902"/>
                    <a:gd name="connsiteY10" fmla="*/ 447482 h 458999"/>
                    <a:gd name="connsiteX0" fmla="*/ 9762 w 515902"/>
                    <a:gd name="connsiteY0" fmla="*/ 446348 h 457865"/>
                    <a:gd name="connsiteX1" fmla="*/ 6587 w 515902"/>
                    <a:gd name="connsiteY1" fmla="*/ 220923 h 457865"/>
                    <a:gd name="connsiteX2" fmla="*/ 76437 w 515902"/>
                    <a:gd name="connsiteY2" fmla="*/ 157423 h 457865"/>
                    <a:gd name="connsiteX3" fmla="*/ 200262 w 515902"/>
                    <a:gd name="connsiteY3" fmla="*/ 119323 h 457865"/>
                    <a:gd name="connsiteX4" fmla="*/ 206612 w 515902"/>
                    <a:gd name="connsiteY4" fmla="*/ 14548 h 457865"/>
                    <a:gd name="connsiteX5" fmla="*/ 317737 w 515902"/>
                    <a:gd name="connsiteY5" fmla="*/ 11373 h 457865"/>
                    <a:gd name="connsiteX6" fmla="*/ 330437 w 515902"/>
                    <a:gd name="connsiteY6" fmla="*/ 112973 h 457865"/>
                    <a:gd name="connsiteX7" fmla="*/ 451087 w 515902"/>
                    <a:gd name="connsiteY7" fmla="*/ 160598 h 457865"/>
                    <a:gd name="connsiteX8" fmla="*/ 514587 w 515902"/>
                    <a:gd name="connsiteY8" fmla="*/ 230448 h 457865"/>
                    <a:gd name="connsiteX9" fmla="*/ 511412 w 515902"/>
                    <a:gd name="connsiteY9" fmla="*/ 452698 h 457865"/>
                    <a:gd name="connsiteX10" fmla="*/ 9762 w 515902"/>
                    <a:gd name="connsiteY10" fmla="*/ 446348 h 457865"/>
                    <a:gd name="connsiteX0" fmla="*/ 9762 w 515902"/>
                    <a:gd name="connsiteY0" fmla="*/ 446681 h 458198"/>
                    <a:gd name="connsiteX1" fmla="*/ 6587 w 515902"/>
                    <a:gd name="connsiteY1" fmla="*/ 221256 h 458198"/>
                    <a:gd name="connsiteX2" fmla="*/ 76437 w 515902"/>
                    <a:gd name="connsiteY2" fmla="*/ 157756 h 458198"/>
                    <a:gd name="connsiteX3" fmla="*/ 200262 w 515902"/>
                    <a:gd name="connsiteY3" fmla="*/ 119656 h 458198"/>
                    <a:gd name="connsiteX4" fmla="*/ 206612 w 515902"/>
                    <a:gd name="connsiteY4" fmla="*/ 14881 h 458198"/>
                    <a:gd name="connsiteX5" fmla="*/ 317737 w 515902"/>
                    <a:gd name="connsiteY5" fmla="*/ 11706 h 458198"/>
                    <a:gd name="connsiteX6" fmla="*/ 311502 w 515902"/>
                    <a:gd name="connsiteY6" fmla="*/ 118302 h 458198"/>
                    <a:gd name="connsiteX7" fmla="*/ 451087 w 515902"/>
                    <a:gd name="connsiteY7" fmla="*/ 160931 h 458198"/>
                    <a:gd name="connsiteX8" fmla="*/ 514587 w 515902"/>
                    <a:gd name="connsiteY8" fmla="*/ 230781 h 458198"/>
                    <a:gd name="connsiteX9" fmla="*/ 511412 w 515902"/>
                    <a:gd name="connsiteY9" fmla="*/ 453031 h 458198"/>
                    <a:gd name="connsiteX10" fmla="*/ 9762 w 515902"/>
                    <a:gd name="connsiteY10" fmla="*/ 446681 h 458198"/>
                    <a:gd name="connsiteX0" fmla="*/ 9762 w 515902"/>
                    <a:gd name="connsiteY0" fmla="*/ 446681 h 458198"/>
                    <a:gd name="connsiteX1" fmla="*/ 6587 w 515902"/>
                    <a:gd name="connsiteY1" fmla="*/ 221256 h 458198"/>
                    <a:gd name="connsiteX2" fmla="*/ 76437 w 515902"/>
                    <a:gd name="connsiteY2" fmla="*/ 157756 h 458198"/>
                    <a:gd name="connsiteX3" fmla="*/ 200262 w 515902"/>
                    <a:gd name="connsiteY3" fmla="*/ 119656 h 458198"/>
                    <a:gd name="connsiteX4" fmla="*/ 206612 w 515902"/>
                    <a:gd name="connsiteY4" fmla="*/ 14881 h 458198"/>
                    <a:gd name="connsiteX5" fmla="*/ 301506 w 515902"/>
                    <a:gd name="connsiteY5" fmla="*/ 11706 h 458198"/>
                    <a:gd name="connsiteX6" fmla="*/ 311502 w 515902"/>
                    <a:gd name="connsiteY6" fmla="*/ 118302 h 458198"/>
                    <a:gd name="connsiteX7" fmla="*/ 451087 w 515902"/>
                    <a:gd name="connsiteY7" fmla="*/ 160931 h 458198"/>
                    <a:gd name="connsiteX8" fmla="*/ 514587 w 515902"/>
                    <a:gd name="connsiteY8" fmla="*/ 230781 h 458198"/>
                    <a:gd name="connsiteX9" fmla="*/ 511412 w 515902"/>
                    <a:gd name="connsiteY9" fmla="*/ 453031 h 458198"/>
                    <a:gd name="connsiteX10" fmla="*/ 9762 w 515902"/>
                    <a:gd name="connsiteY10" fmla="*/ 446681 h 458198"/>
                    <a:gd name="connsiteX0" fmla="*/ 9762 w 515902"/>
                    <a:gd name="connsiteY0" fmla="*/ 446681 h 458198"/>
                    <a:gd name="connsiteX1" fmla="*/ 6587 w 515902"/>
                    <a:gd name="connsiteY1" fmla="*/ 221256 h 458198"/>
                    <a:gd name="connsiteX2" fmla="*/ 76437 w 515902"/>
                    <a:gd name="connsiteY2" fmla="*/ 157756 h 458198"/>
                    <a:gd name="connsiteX3" fmla="*/ 200262 w 515902"/>
                    <a:gd name="connsiteY3" fmla="*/ 119656 h 458198"/>
                    <a:gd name="connsiteX4" fmla="*/ 206612 w 515902"/>
                    <a:gd name="connsiteY4" fmla="*/ 14881 h 458198"/>
                    <a:gd name="connsiteX5" fmla="*/ 301506 w 515902"/>
                    <a:gd name="connsiteY5" fmla="*/ 11706 h 458198"/>
                    <a:gd name="connsiteX6" fmla="*/ 311502 w 515902"/>
                    <a:gd name="connsiteY6" fmla="*/ 118302 h 458198"/>
                    <a:gd name="connsiteX7" fmla="*/ 442972 w 515902"/>
                    <a:gd name="connsiteY7" fmla="*/ 180912 h 458198"/>
                    <a:gd name="connsiteX8" fmla="*/ 514587 w 515902"/>
                    <a:gd name="connsiteY8" fmla="*/ 230781 h 458198"/>
                    <a:gd name="connsiteX9" fmla="*/ 511412 w 515902"/>
                    <a:gd name="connsiteY9" fmla="*/ 453031 h 458198"/>
                    <a:gd name="connsiteX10" fmla="*/ 9762 w 515902"/>
                    <a:gd name="connsiteY10" fmla="*/ 446681 h 458198"/>
                    <a:gd name="connsiteX0" fmla="*/ 9762 w 511905"/>
                    <a:gd name="connsiteY0" fmla="*/ 446681 h 458198"/>
                    <a:gd name="connsiteX1" fmla="*/ 6587 w 511905"/>
                    <a:gd name="connsiteY1" fmla="*/ 221256 h 458198"/>
                    <a:gd name="connsiteX2" fmla="*/ 76437 w 511905"/>
                    <a:gd name="connsiteY2" fmla="*/ 157756 h 458198"/>
                    <a:gd name="connsiteX3" fmla="*/ 200262 w 511905"/>
                    <a:gd name="connsiteY3" fmla="*/ 119656 h 458198"/>
                    <a:gd name="connsiteX4" fmla="*/ 206612 w 511905"/>
                    <a:gd name="connsiteY4" fmla="*/ 14881 h 458198"/>
                    <a:gd name="connsiteX5" fmla="*/ 301506 w 511905"/>
                    <a:gd name="connsiteY5" fmla="*/ 11706 h 458198"/>
                    <a:gd name="connsiteX6" fmla="*/ 311502 w 511905"/>
                    <a:gd name="connsiteY6" fmla="*/ 118302 h 458198"/>
                    <a:gd name="connsiteX7" fmla="*/ 442972 w 511905"/>
                    <a:gd name="connsiteY7" fmla="*/ 180912 h 458198"/>
                    <a:gd name="connsiteX8" fmla="*/ 498357 w 511905"/>
                    <a:gd name="connsiteY8" fmla="*/ 250762 h 458198"/>
                    <a:gd name="connsiteX9" fmla="*/ 511412 w 511905"/>
                    <a:gd name="connsiteY9" fmla="*/ 453031 h 458198"/>
                    <a:gd name="connsiteX10" fmla="*/ 9762 w 511905"/>
                    <a:gd name="connsiteY10" fmla="*/ 446681 h 458198"/>
                    <a:gd name="connsiteX0" fmla="*/ 9762 w 511905"/>
                    <a:gd name="connsiteY0" fmla="*/ 446681 h 458198"/>
                    <a:gd name="connsiteX1" fmla="*/ 6587 w 511905"/>
                    <a:gd name="connsiteY1" fmla="*/ 221256 h 458198"/>
                    <a:gd name="connsiteX2" fmla="*/ 76437 w 511905"/>
                    <a:gd name="connsiteY2" fmla="*/ 157756 h 458198"/>
                    <a:gd name="connsiteX3" fmla="*/ 200262 w 511905"/>
                    <a:gd name="connsiteY3" fmla="*/ 119656 h 458198"/>
                    <a:gd name="connsiteX4" fmla="*/ 206612 w 511905"/>
                    <a:gd name="connsiteY4" fmla="*/ 14881 h 458198"/>
                    <a:gd name="connsiteX5" fmla="*/ 301506 w 511905"/>
                    <a:gd name="connsiteY5" fmla="*/ 11706 h 458198"/>
                    <a:gd name="connsiteX6" fmla="*/ 311502 w 511905"/>
                    <a:gd name="connsiteY6" fmla="*/ 118302 h 458198"/>
                    <a:gd name="connsiteX7" fmla="*/ 437562 w 511905"/>
                    <a:gd name="connsiteY7" fmla="*/ 198396 h 458198"/>
                    <a:gd name="connsiteX8" fmla="*/ 498357 w 511905"/>
                    <a:gd name="connsiteY8" fmla="*/ 250762 h 458198"/>
                    <a:gd name="connsiteX9" fmla="*/ 511412 w 511905"/>
                    <a:gd name="connsiteY9" fmla="*/ 453031 h 458198"/>
                    <a:gd name="connsiteX10" fmla="*/ 9762 w 511905"/>
                    <a:gd name="connsiteY10" fmla="*/ 446681 h 458198"/>
                    <a:gd name="connsiteX0" fmla="*/ 9762 w 511905"/>
                    <a:gd name="connsiteY0" fmla="*/ 446681 h 458198"/>
                    <a:gd name="connsiteX1" fmla="*/ 6587 w 511905"/>
                    <a:gd name="connsiteY1" fmla="*/ 221256 h 458198"/>
                    <a:gd name="connsiteX2" fmla="*/ 76437 w 511905"/>
                    <a:gd name="connsiteY2" fmla="*/ 157756 h 458198"/>
                    <a:gd name="connsiteX3" fmla="*/ 200262 w 511905"/>
                    <a:gd name="connsiteY3" fmla="*/ 119656 h 458198"/>
                    <a:gd name="connsiteX4" fmla="*/ 206612 w 511905"/>
                    <a:gd name="connsiteY4" fmla="*/ 14881 h 458198"/>
                    <a:gd name="connsiteX5" fmla="*/ 301506 w 511905"/>
                    <a:gd name="connsiteY5" fmla="*/ 11706 h 458198"/>
                    <a:gd name="connsiteX6" fmla="*/ 311502 w 511905"/>
                    <a:gd name="connsiteY6" fmla="*/ 118302 h 458198"/>
                    <a:gd name="connsiteX7" fmla="*/ 451087 w 511905"/>
                    <a:gd name="connsiteY7" fmla="*/ 188406 h 458198"/>
                    <a:gd name="connsiteX8" fmla="*/ 498357 w 511905"/>
                    <a:gd name="connsiteY8" fmla="*/ 250762 h 458198"/>
                    <a:gd name="connsiteX9" fmla="*/ 511412 w 511905"/>
                    <a:gd name="connsiteY9" fmla="*/ 453031 h 458198"/>
                    <a:gd name="connsiteX10" fmla="*/ 9762 w 511905"/>
                    <a:gd name="connsiteY10" fmla="*/ 446681 h 458198"/>
                    <a:gd name="connsiteX0" fmla="*/ 9762 w 511905"/>
                    <a:gd name="connsiteY0" fmla="*/ 447695 h 459212"/>
                    <a:gd name="connsiteX1" fmla="*/ 6587 w 511905"/>
                    <a:gd name="connsiteY1" fmla="*/ 222270 h 459212"/>
                    <a:gd name="connsiteX2" fmla="*/ 76437 w 511905"/>
                    <a:gd name="connsiteY2" fmla="*/ 158770 h 459212"/>
                    <a:gd name="connsiteX3" fmla="*/ 200262 w 511905"/>
                    <a:gd name="connsiteY3" fmla="*/ 120670 h 459212"/>
                    <a:gd name="connsiteX4" fmla="*/ 206612 w 511905"/>
                    <a:gd name="connsiteY4" fmla="*/ 15895 h 459212"/>
                    <a:gd name="connsiteX5" fmla="*/ 301506 w 511905"/>
                    <a:gd name="connsiteY5" fmla="*/ 12720 h 459212"/>
                    <a:gd name="connsiteX6" fmla="*/ 311502 w 511905"/>
                    <a:gd name="connsiteY6" fmla="*/ 134302 h 459212"/>
                    <a:gd name="connsiteX7" fmla="*/ 451087 w 511905"/>
                    <a:gd name="connsiteY7" fmla="*/ 189420 h 459212"/>
                    <a:gd name="connsiteX8" fmla="*/ 498357 w 511905"/>
                    <a:gd name="connsiteY8" fmla="*/ 251776 h 459212"/>
                    <a:gd name="connsiteX9" fmla="*/ 511412 w 511905"/>
                    <a:gd name="connsiteY9" fmla="*/ 454045 h 459212"/>
                    <a:gd name="connsiteX10" fmla="*/ 9762 w 511905"/>
                    <a:gd name="connsiteY10" fmla="*/ 447695 h 459212"/>
                    <a:gd name="connsiteX0" fmla="*/ 4227 w 522600"/>
                    <a:gd name="connsiteY0" fmla="*/ 455188 h 463021"/>
                    <a:gd name="connsiteX1" fmla="*/ 17282 w 522600"/>
                    <a:gd name="connsiteY1" fmla="*/ 222270 h 463021"/>
                    <a:gd name="connsiteX2" fmla="*/ 87132 w 522600"/>
                    <a:gd name="connsiteY2" fmla="*/ 158770 h 463021"/>
                    <a:gd name="connsiteX3" fmla="*/ 210957 w 522600"/>
                    <a:gd name="connsiteY3" fmla="*/ 120670 h 463021"/>
                    <a:gd name="connsiteX4" fmla="*/ 217307 w 522600"/>
                    <a:gd name="connsiteY4" fmla="*/ 15895 h 463021"/>
                    <a:gd name="connsiteX5" fmla="*/ 312201 w 522600"/>
                    <a:gd name="connsiteY5" fmla="*/ 12720 h 463021"/>
                    <a:gd name="connsiteX6" fmla="*/ 322197 w 522600"/>
                    <a:gd name="connsiteY6" fmla="*/ 134302 h 463021"/>
                    <a:gd name="connsiteX7" fmla="*/ 461782 w 522600"/>
                    <a:gd name="connsiteY7" fmla="*/ 189420 h 463021"/>
                    <a:gd name="connsiteX8" fmla="*/ 509052 w 522600"/>
                    <a:gd name="connsiteY8" fmla="*/ 251776 h 463021"/>
                    <a:gd name="connsiteX9" fmla="*/ 522107 w 522600"/>
                    <a:gd name="connsiteY9" fmla="*/ 454045 h 463021"/>
                    <a:gd name="connsiteX10" fmla="*/ 4227 w 522600"/>
                    <a:gd name="connsiteY10" fmla="*/ 455188 h 463021"/>
                    <a:gd name="connsiteX0" fmla="*/ 4227 w 522600"/>
                    <a:gd name="connsiteY0" fmla="*/ 455188 h 457596"/>
                    <a:gd name="connsiteX1" fmla="*/ 17282 w 522600"/>
                    <a:gd name="connsiteY1" fmla="*/ 222270 h 457596"/>
                    <a:gd name="connsiteX2" fmla="*/ 87132 w 522600"/>
                    <a:gd name="connsiteY2" fmla="*/ 158770 h 457596"/>
                    <a:gd name="connsiteX3" fmla="*/ 210957 w 522600"/>
                    <a:gd name="connsiteY3" fmla="*/ 120670 h 457596"/>
                    <a:gd name="connsiteX4" fmla="*/ 217307 w 522600"/>
                    <a:gd name="connsiteY4" fmla="*/ 15895 h 457596"/>
                    <a:gd name="connsiteX5" fmla="*/ 312201 w 522600"/>
                    <a:gd name="connsiteY5" fmla="*/ 12720 h 457596"/>
                    <a:gd name="connsiteX6" fmla="*/ 322197 w 522600"/>
                    <a:gd name="connsiteY6" fmla="*/ 134302 h 457596"/>
                    <a:gd name="connsiteX7" fmla="*/ 461782 w 522600"/>
                    <a:gd name="connsiteY7" fmla="*/ 189420 h 457596"/>
                    <a:gd name="connsiteX8" fmla="*/ 509052 w 522600"/>
                    <a:gd name="connsiteY8" fmla="*/ 251776 h 457596"/>
                    <a:gd name="connsiteX9" fmla="*/ 522107 w 522600"/>
                    <a:gd name="connsiteY9" fmla="*/ 454045 h 457596"/>
                    <a:gd name="connsiteX10" fmla="*/ 4227 w 522600"/>
                    <a:gd name="connsiteY10" fmla="*/ 455188 h 457596"/>
                    <a:gd name="connsiteX0" fmla="*/ 12757 w 531130"/>
                    <a:gd name="connsiteY0" fmla="*/ 455188 h 457596"/>
                    <a:gd name="connsiteX1" fmla="*/ 6876 w 531130"/>
                    <a:gd name="connsiteY1" fmla="*/ 237256 h 457596"/>
                    <a:gd name="connsiteX2" fmla="*/ 95662 w 531130"/>
                    <a:gd name="connsiteY2" fmla="*/ 158770 h 457596"/>
                    <a:gd name="connsiteX3" fmla="*/ 219487 w 531130"/>
                    <a:gd name="connsiteY3" fmla="*/ 120670 h 457596"/>
                    <a:gd name="connsiteX4" fmla="*/ 225837 w 531130"/>
                    <a:gd name="connsiteY4" fmla="*/ 15895 h 457596"/>
                    <a:gd name="connsiteX5" fmla="*/ 320731 w 531130"/>
                    <a:gd name="connsiteY5" fmla="*/ 12720 h 457596"/>
                    <a:gd name="connsiteX6" fmla="*/ 330727 w 531130"/>
                    <a:gd name="connsiteY6" fmla="*/ 134302 h 457596"/>
                    <a:gd name="connsiteX7" fmla="*/ 470312 w 531130"/>
                    <a:gd name="connsiteY7" fmla="*/ 189420 h 457596"/>
                    <a:gd name="connsiteX8" fmla="*/ 517582 w 531130"/>
                    <a:gd name="connsiteY8" fmla="*/ 251776 h 457596"/>
                    <a:gd name="connsiteX9" fmla="*/ 530637 w 531130"/>
                    <a:gd name="connsiteY9" fmla="*/ 454045 h 457596"/>
                    <a:gd name="connsiteX10" fmla="*/ 12757 w 531130"/>
                    <a:gd name="connsiteY10" fmla="*/ 455188 h 457596"/>
                    <a:gd name="connsiteX0" fmla="*/ 7226 w 536419"/>
                    <a:gd name="connsiteY0" fmla="*/ 447695 h 456315"/>
                    <a:gd name="connsiteX1" fmla="*/ 12165 w 536419"/>
                    <a:gd name="connsiteY1" fmla="*/ 237256 h 456315"/>
                    <a:gd name="connsiteX2" fmla="*/ 100951 w 536419"/>
                    <a:gd name="connsiteY2" fmla="*/ 158770 h 456315"/>
                    <a:gd name="connsiteX3" fmla="*/ 224776 w 536419"/>
                    <a:gd name="connsiteY3" fmla="*/ 120670 h 456315"/>
                    <a:gd name="connsiteX4" fmla="*/ 231126 w 536419"/>
                    <a:gd name="connsiteY4" fmla="*/ 15895 h 456315"/>
                    <a:gd name="connsiteX5" fmla="*/ 326020 w 536419"/>
                    <a:gd name="connsiteY5" fmla="*/ 12720 h 456315"/>
                    <a:gd name="connsiteX6" fmla="*/ 336016 w 536419"/>
                    <a:gd name="connsiteY6" fmla="*/ 134302 h 456315"/>
                    <a:gd name="connsiteX7" fmla="*/ 475601 w 536419"/>
                    <a:gd name="connsiteY7" fmla="*/ 189420 h 456315"/>
                    <a:gd name="connsiteX8" fmla="*/ 522871 w 536419"/>
                    <a:gd name="connsiteY8" fmla="*/ 251776 h 456315"/>
                    <a:gd name="connsiteX9" fmla="*/ 535926 w 536419"/>
                    <a:gd name="connsiteY9" fmla="*/ 454045 h 456315"/>
                    <a:gd name="connsiteX10" fmla="*/ 7226 w 536419"/>
                    <a:gd name="connsiteY10" fmla="*/ 447695 h 456315"/>
                    <a:gd name="connsiteX0" fmla="*/ 7226 w 528834"/>
                    <a:gd name="connsiteY0" fmla="*/ 447695 h 456315"/>
                    <a:gd name="connsiteX1" fmla="*/ 12165 w 528834"/>
                    <a:gd name="connsiteY1" fmla="*/ 237256 h 456315"/>
                    <a:gd name="connsiteX2" fmla="*/ 100951 w 528834"/>
                    <a:gd name="connsiteY2" fmla="*/ 158770 h 456315"/>
                    <a:gd name="connsiteX3" fmla="*/ 224776 w 528834"/>
                    <a:gd name="connsiteY3" fmla="*/ 120670 h 456315"/>
                    <a:gd name="connsiteX4" fmla="*/ 231126 w 528834"/>
                    <a:gd name="connsiteY4" fmla="*/ 15895 h 456315"/>
                    <a:gd name="connsiteX5" fmla="*/ 326020 w 528834"/>
                    <a:gd name="connsiteY5" fmla="*/ 12720 h 456315"/>
                    <a:gd name="connsiteX6" fmla="*/ 336016 w 528834"/>
                    <a:gd name="connsiteY6" fmla="*/ 134302 h 456315"/>
                    <a:gd name="connsiteX7" fmla="*/ 475601 w 528834"/>
                    <a:gd name="connsiteY7" fmla="*/ 189420 h 456315"/>
                    <a:gd name="connsiteX8" fmla="*/ 522871 w 528834"/>
                    <a:gd name="connsiteY8" fmla="*/ 251776 h 456315"/>
                    <a:gd name="connsiteX9" fmla="*/ 527811 w 528834"/>
                    <a:gd name="connsiteY9" fmla="*/ 454045 h 456315"/>
                    <a:gd name="connsiteX10" fmla="*/ 7226 w 528834"/>
                    <a:gd name="connsiteY10" fmla="*/ 447695 h 456315"/>
                    <a:gd name="connsiteX0" fmla="*/ 7226 w 528834"/>
                    <a:gd name="connsiteY0" fmla="*/ 447695 h 456315"/>
                    <a:gd name="connsiteX1" fmla="*/ 12165 w 528834"/>
                    <a:gd name="connsiteY1" fmla="*/ 237256 h 456315"/>
                    <a:gd name="connsiteX2" fmla="*/ 100951 w 528834"/>
                    <a:gd name="connsiteY2" fmla="*/ 158770 h 456315"/>
                    <a:gd name="connsiteX3" fmla="*/ 224776 w 528834"/>
                    <a:gd name="connsiteY3" fmla="*/ 120670 h 456315"/>
                    <a:gd name="connsiteX4" fmla="*/ 231126 w 528834"/>
                    <a:gd name="connsiteY4" fmla="*/ 15895 h 456315"/>
                    <a:gd name="connsiteX5" fmla="*/ 326020 w 528834"/>
                    <a:gd name="connsiteY5" fmla="*/ 12720 h 456315"/>
                    <a:gd name="connsiteX6" fmla="*/ 336016 w 528834"/>
                    <a:gd name="connsiteY6" fmla="*/ 134302 h 456315"/>
                    <a:gd name="connsiteX7" fmla="*/ 462076 w 528834"/>
                    <a:gd name="connsiteY7" fmla="*/ 184425 h 456315"/>
                    <a:gd name="connsiteX8" fmla="*/ 522871 w 528834"/>
                    <a:gd name="connsiteY8" fmla="*/ 251776 h 456315"/>
                    <a:gd name="connsiteX9" fmla="*/ 527811 w 528834"/>
                    <a:gd name="connsiteY9" fmla="*/ 454045 h 456315"/>
                    <a:gd name="connsiteX10" fmla="*/ 7226 w 528834"/>
                    <a:gd name="connsiteY10" fmla="*/ 447695 h 456315"/>
                    <a:gd name="connsiteX0" fmla="*/ 8515 w 530123"/>
                    <a:gd name="connsiteY0" fmla="*/ 447695 h 456315"/>
                    <a:gd name="connsiteX1" fmla="*/ 10749 w 530123"/>
                    <a:gd name="connsiteY1" fmla="*/ 244749 h 456315"/>
                    <a:gd name="connsiteX2" fmla="*/ 102240 w 530123"/>
                    <a:gd name="connsiteY2" fmla="*/ 158770 h 456315"/>
                    <a:gd name="connsiteX3" fmla="*/ 226065 w 530123"/>
                    <a:gd name="connsiteY3" fmla="*/ 120670 h 456315"/>
                    <a:gd name="connsiteX4" fmla="*/ 232415 w 530123"/>
                    <a:gd name="connsiteY4" fmla="*/ 15895 h 456315"/>
                    <a:gd name="connsiteX5" fmla="*/ 327309 w 530123"/>
                    <a:gd name="connsiteY5" fmla="*/ 12720 h 456315"/>
                    <a:gd name="connsiteX6" fmla="*/ 337305 w 530123"/>
                    <a:gd name="connsiteY6" fmla="*/ 134302 h 456315"/>
                    <a:gd name="connsiteX7" fmla="*/ 463365 w 530123"/>
                    <a:gd name="connsiteY7" fmla="*/ 184425 h 456315"/>
                    <a:gd name="connsiteX8" fmla="*/ 524160 w 530123"/>
                    <a:gd name="connsiteY8" fmla="*/ 251776 h 456315"/>
                    <a:gd name="connsiteX9" fmla="*/ 529100 w 530123"/>
                    <a:gd name="connsiteY9" fmla="*/ 454045 h 456315"/>
                    <a:gd name="connsiteX10" fmla="*/ 8515 w 530123"/>
                    <a:gd name="connsiteY10" fmla="*/ 447695 h 456315"/>
                    <a:gd name="connsiteX0" fmla="*/ 7671 w 529279"/>
                    <a:gd name="connsiteY0" fmla="*/ 447695 h 456315"/>
                    <a:gd name="connsiteX1" fmla="*/ 9905 w 529279"/>
                    <a:gd name="connsiteY1" fmla="*/ 244749 h 456315"/>
                    <a:gd name="connsiteX2" fmla="*/ 87870 w 529279"/>
                    <a:gd name="connsiteY2" fmla="*/ 166263 h 456315"/>
                    <a:gd name="connsiteX3" fmla="*/ 225221 w 529279"/>
                    <a:gd name="connsiteY3" fmla="*/ 120670 h 456315"/>
                    <a:gd name="connsiteX4" fmla="*/ 231571 w 529279"/>
                    <a:gd name="connsiteY4" fmla="*/ 15895 h 456315"/>
                    <a:gd name="connsiteX5" fmla="*/ 326465 w 529279"/>
                    <a:gd name="connsiteY5" fmla="*/ 12720 h 456315"/>
                    <a:gd name="connsiteX6" fmla="*/ 336461 w 529279"/>
                    <a:gd name="connsiteY6" fmla="*/ 134302 h 456315"/>
                    <a:gd name="connsiteX7" fmla="*/ 462521 w 529279"/>
                    <a:gd name="connsiteY7" fmla="*/ 184425 h 456315"/>
                    <a:gd name="connsiteX8" fmla="*/ 523316 w 529279"/>
                    <a:gd name="connsiteY8" fmla="*/ 251776 h 456315"/>
                    <a:gd name="connsiteX9" fmla="*/ 528256 w 529279"/>
                    <a:gd name="connsiteY9" fmla="*/ 454045 h 456315"/>
                    <a:gd name="connsiteX10" fmla="*/ 7671 w 529279"/>
                    <a:gd name="connsiteY10" fmla="*/ 447695 h 456315"/>
                    <a:gd name="connsiteX0" fmla="*/ 7671 w 529279"/>
                    <a:gd name="connsiteY0" fmla="*/ 447558 h 456178"/>
                    <a:gd name="connsiteX1" fmla="*/ 9905 w 529279"/>
                    <a:gd name="connsiteY1" fmla="*/ 244612 h 456178"/>
                    <a:gd name="connsiteX2" fmla="*/ 87870 w 529279"/>
                    <a:gd name="connsiteY2" fmla="*/ 166126 h 456178"/>
                    <a:gd name="connsiteX3" fmla="*/ 206285 w 529279"/>
                    <a:gd name="connsiteY3" fmla="*/ 118035 h 456178"/>
                    <a:gd name="connsiteX4" fmla="*/ 231571 w 529279"/>
                    <a:gd name="connsiteY4" fmla="*/ 15758 h 456178"/>
                    <a:gd name="connsiteX5" fmla="*/ 326465 w 529279"/>
                    <a:gd name="connsiteY5" fmla="*/ 12583 h 456178"/>
                    <a:gd name="connsiteX6" fmla="*/ 336461 w 529279"/>
                    <a:gd name="connsiteY6" fmla="*/ 134165 h 456178"/>
                    <a:gd name="connsiteX7" fmla="*/ 462521 w 529279"/>
                    <a:gd name="connsiteY7" fmla="*/ 184288 h 456178"/>
                    <a:gd name="connsiteX8" fmla="*/ 523316 w 529279"/>
                    <a:gd name="connsiteY8" fmla="*/ 251639 h 456178"/>
                    <a:gd name="connsiteX9" fmla="*/ 528256 w 529279"/>
                    <a:gd name="connsiteY9" fmla="*/ 453908 h 456178"/>
                    <a:gd name="connsiteX10" fmla="*/ 7671 w 529279"/>
                    <a:gd name="connsiteY10" fmla="*/ 447558 h 456178"/>
                    <a:gd name="connsiteX0" fmla="*/ 14544 w 536152"/>
                    <a:gd name="connsiteY0" fmla="*/ 447558 h 456178"/>
                    <a:gd name="connsiteX1" fmla="*/ 5958 w 536152"/>
                    <a:gd name="connsiteY1" fmla="*/ 247109 h 456178"/>
                    <a:gd name="connsiteX2" fmla="*/ 94743 w 536152"/>
                    <a:gd name="connsiteY2" fmla="*/ 166126 h 456178"/>
                    <a:gd name="connsiteX3" fmla="*/ 213158 w 536152"/>
                    <a:gd name="connsiteY3" fmla="*/ 118035 h 456178"/>
                    <a:gd name="connsiteX4" fmla="*/ 238444 w 536152"/>
                    <a:gd name="connsiteY4" fmla="*/ 15758 h 456178"/>
                    <a:gd name="connsiteX5" fmla="*/ 333338 w 536152"/>
                    <a:gd name="connsiteY5" fmla="*/ 12583 h 456178"/>
                    <a:gd name="connsiteX6" fmla="*/ 343334 w 536152"/>
                    <a:gd name="connsiteY6" fmla="*/ 134165 h 456178"/>
                    <a:gd name="connsiteX7" fmla="*/ 469394 w 536152"/>
                    <a:gd name="connsiteY7" fmla="*/ 184288 h 456178"/>
                    <a:gd name="connsiteX8" fmla="*/ 530189 w 536152"/>
                    <a:gd name="connsiteY8" fmla="*/ 251639 h 456178"/>
                    <a:gd name="connsiteX9" fmla="*/ 535129 w 536152"/>
                    <a:gd name="connsiteY9" fmla="*/ 453908 h 456178"/>
                    <a:gd name="connsiteX10" fmla="*/ 14544 w 536152"/>
                    <a:gd name="connsiteY10" fmla="*/ 447558 h 456178"/>
                    <a:gd name="connsiteX0" fmla="*/ 7226 w 542359"/>
                    <a:gd name="connsiteY0" fmla="*/ 450055 h 456488"/>
                    <a:gd name="connsiteX1" fmla="*/ 12165 w 542359"/>
                    <a:gd name="connsiteY1" fmla="*/ 247109 h 456488"/>
                    <a:gd name="connsiteX2" fmla="*/ 100950 w 542359"/>
                    <a:gd name="connsiteY2" fmla="*/ 166126 h 456488"/>
                    <a:gd name="connsiteX3" fmla="*/ 219365 w 542359"/>
                    <a:gd name="connsiteY3" fmla="*/ 118035 h 456488"/>
                    <a:gd name="connsiteX4" fmla="*/ 244651 w 542359"/>
                    <a:gd name="connsiteY4" fmla="*/ 15758 h 456488"/>
                    <a:gd name="connsiteX5" fmla="*/ 339545 w 542359"/>
                    <a:gd name="connsiteY5" fmla="*/ 12583 h 456488"/>
                    <a:gd name="connsiteX6" fmla="*/ 349541 w 542359"/>
                    <a:gd name="connsiteY6" fmla="*/ 134165 h 456488"/>
                    <a:gd name="connsiteX7" fmla="*/ 475601 w 542359"/>
                    <a:gd name="connsiteY7" fmla="*/ 184288 h 456488"/>
                    <a:gd name="connsiteX8" fmla="*/ 536396 w 542359"/>
                    <a:gd name="connsiteY8" fmla="*/ 251639 h 456488"/>
                    <a:gd name="connsiteX9" fmla="*/ 541336 w 542359"/>
                    <a:gd name="connsiteY9" fmla="*/ 453908 h 456488"/>
                    <a:gd name="connsiteX10" fmla="*/ 7226 w 542359"/>
                    <a:gd name="connsiteY10" fmla="*/ 450055 h 456488"/>
                    <a:gd name="connsiteX0" fmla="*/ 7226 w 542359"/>
                    <a:gd name="connsiteY0" fmla="*/ 450055 h 456488"/>
                    <a:gd name="connsiteX1" fmla="*/ 12165 w 542359"/>
                    <a:gd name="connsiteY1" fmla="*/ 247109 h 456488"/>
                    <a:gd name="connsiteX2" fmla="*/ 100950 w 542359"/>
                    <a:gd name="connsiteY2" fmla="*/ 166126 h 456488"/>
                    <a:gd name="connsiteX3" fmla="*/ 219365 w 542359"/>
                    <a:gd name="connsiteY3" fmla="*/ 118035 h 456488"/>
                    <a:gd name="connsiteX4" fmla="*/ 244651 w 542359"/>
                    <a:gd name="connsiteY4" fmla="*/ 15758 h 456488"/>
                    <a:gd name="connsiteX5" fmla="*/ 331430 w 542359"/>
                    <a:gd name="connsiteY5" fmla="*/ 12583 h 456488"/>
                    <a:gd name="connsiteX6" fmla="*/ 349541 w 542359"/>
                    <a:gd name="connsiteY6" fmla="*/ 134165 h 456488"/>
                    <a:gd name="connsiteX7" fmla="*/ 475601 w 542359"/>
                    <a:gd name="connsiteY7" fmla="*/ 184288 h 456488"/>
                    <a:gd name="connsiteX8" fmla="*/ 536396 w 542359"/>
                    <a:gd name="connsiteY8" fmla="*/ 251639 h 456488"/>
                    <a:gd name="connsiteX9" fmla="*/ 541336 w 542359"/>
                    <a:gd name="connsiteY9" fmla="*/ 453908 h 456488"/>
                    <a:gd name="connsiteX10" fmla="*/ 7226 w 542359"/>
                    <a:gd name="connsiteY10" fmla="*/ 450055 h 456488"/>
                    <a:gd name="connsiteX0" fmla="*/ 7226 w 542359"/>
                    <a:gd name="connsiteY0" fmla="*/ 450055 h 456488"/>
                    <a:gd name="connsiteX1" fmla="*/ 12165 w 542359"/>
                    <a:gd name="connsiteY1" fmla="*/ 247109 h 456488"/>
                    <a:gd name="connsiteX2" fmla="*/ 100950 w 542359"/>
                    <a:gd name="connsiteY2" fmla="*/ 166126 h 456488"/>
                    <a:gd name="connsiteX3" fmla="*/ 219365 w 542359"/>
                    <a:gd name="connsiteY3" fmla="*/ 118035 h 456488"/>
                    <a:gd name="connsiteX4" fmla="*/ 244651 w 542359"/>
                    <a:gd name="connsiteY4" fmla="*/ 15758 h 456488"/>
                    <a:gd name="connsiteX5" fmla="*/ 331430 w 542359"/>
                    <a:gd name="connsiteY5" fmla="*/ 12583 h 456488"/>
                    <a:gd name="connsiteX6" fmla="*/ 349541 w 542359"/>
                    <a:gd name="connsiteY6" fmla="*/ 134165 h 456488"/>
                    <a:gd name="connsiteX7" fmla="*/ 483716 w 542359"/>
                    <a:gd name="connsiteY7" fmla="*/ 179293 h 456488"/>
                    <a:gd name="connsiteX8" fmla="*/ 536396 w 542359"/>
                    <a:gd name="connsiteY8" fmla="*/ 251639 h 456488"/>
                    <a:gd name="connsiteX9" fmla="*/ 541336 w 542359"/>
                    <a:gd name="connsiteY9" fmla="*/ 453908 h 456488"/>
                    <a:gd name="connsiteX10" fmla="*/ 7226 w 542359"/>
                    <a:gd name="connsiteY10" fmla="*/ 450055 h 456488"/>
                    <a:gd name="connsiteX0" fmla="*/ 6630 w 541763"/>
                    <a:gd name="connsiteY0" fmla="*/ 450055 h 456488"/>
                    <a:gd name="connsiteX1" fmla="*/ 11569 w 541763"/>
                    <a:gd name="connsiteY1" fmla="*/ 247109 h 456488"/>
                    <a:gd name="connsiteX2" fmla="*/ 89534 w 541763"/>
                    <a:gd name="connsiteY2" fmla="*/ 166126 h 456488"/>
                    <a:gd name="connsiteX3" fmla="*/ 218769 w 541763"/>
                    <a:gd name="connsiteY3" fmla="*/ 118035 h 456488"/>
                    <a:gd name="connsiteX4" fmla="*/ 244055 w 541763"/>
                    <a:gd name="connsiteY4" fmla="*/ 15758 h 456488"/>
                    <a:gd name="connsiteX5" fmla="*/ 330834 w 541763"/>
                    <a:gd name="connsiteY5" fmla="*/ 12583 h 456488"/>
                    <a:gd name="connsiteX6" fmla="*/ 348945 w 541763"/>
                    <a:gd name="connsiteY6" fmla="*/ 134165 h 456488"/>
                    <a:gd name="connsiteX7" fmla="*/ 483120 w 541763"/>
                    <a:gd name="connsiteY7" fmla="*/ 179293 h 456488"/>
                    <a:gd name="connsiteX8" fmla="*/ 535800 w 541763"/>
                    <a:gd name="connsiteY8" fmla="*/ 251639 h 456488"/>
                    <a:gd name="connsiteX9" fmla="*/ 540740 w 541763"/>
                    <a:gd name="connsiteY9" fmla="*/ 453908 h 456488"/>
                    <a:gd name="connsiteX10" fmla="*/ 6630 w 541763"/>
                    <a:gd name="connsiteY10" fmla="*/ 450055 h 456488"/>
                    <a:gd name="connsiteX0" fmla="*/ 4856 w 539989"/>
                    <a:gd name="connsiteY0" fmla="*/ 450055 h 456488"/>
                    <a:gd name="connsiteX1" fmla="*/ 15205 w 539989"/>
                    <a:gd name="connsiteY1" fmla="*/ 227128 h 456488"/>
                    <a:gd name="connsiteX2" fmla="*/ 87760 w 539989"/>
                    <a:gd name="connsiteY2" fmla="*/ 166126 h 456488"/>
                    <a:gd name="connsiteX3" fmla="*/ 216995 w 539989"/>
                    <a:gd name="connsiteY3" fmla="*/ 118035 h 456488"/>
                    <a:gd name="connsiteX4" fmla="*/ 242281 w 539989"/>
                    <a:gd name="connsiteY4" fmla="*/ 15758 h 456488"/>
                    <a:gd name="connsiteX5" fmla="*/ 329060 w 539989"/>
                    <a:gd name="connsiteY5" fmla="*/ 12583 h 456488"/>
                    <a:gd name="connsiteX6" fmla="*/ 347171 w 539989"/>
                    <a:gd name="connsiteY6" fmla="*/ 134165 h 456488"/>
                    <a:gd name="connsiteX7" fmla="*/ 481346 w 539989"/>
                    <a:gd name="connsiteY7" fmla="*/ 179293 h 456488"/>
                    <a:gd name="connsiteX8" fmla="*/ 534026 w 539989"/>
                    <a:gd name="connsiteY8" fmla="*/ 251639 h 456488"/>
                    <a:gd name="connsiteX9" fmla="*/ 538966 w 539989"/>
                    <a:gd name="connsiteY9" fmla="*/ 453908 h 456488"/>
                    <a:gd name="connsiteX10" fmla="*/ 4856 w 539989"/>
                    <a:gd name="connsiteY10" fmla="*/ 450055 h 4564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39989" h="456488">
                      <a:moveTo>
                        <a:pt x="4856" y="450055"/>
                      </a:moveTo>
                      <a:cubicBezTo>
                        <a:pt x="-5198" y="385497"/>
                        <a:pt x="1388" y="274449"/>
                        <a:pt x="15205" y="227128"/>
                      </a:cubicBezTo>
                      <a:cubicBezTo>
                        <a:pt x="29022" y="179807"/>
                        <a:pt x="54128" y="184308"/>
                        <a:pt x="87760" y="166126"/>
                      </a:cubicBezTo>
                      <a:cubicBezTo>
                        <a:pt x="121392" y="147944"/>
                        <a:pt x="191242" y="143096"/>
                        <a:pt x="216995" y="118035"/>
                      </a:cubicBezTo>
                      <a:cubicBezTo>
                        <a:pt x="242748" y="92974"/>
                        <a:pt x="223604" y="33333"/>
                        <a:pt x="242281" y="15758"/>
                      </a:cubicBezTo>
                      <a:cubicBezTo>
                        <a:pt x="260958" y="-1817"/>
                        <a:pt x="311578" y="-7151"/>
                        <a:pt x="329060" y="12583"/>
                      </a:cubicBezTo>
                      <a:cubicBezTo>
                        <a:pt x="346542" y="32317"/>
                        <a:pt x="321790" y="106380"/>
                        <a:pt x="347171" y="134165"/>
                      </a:cubicBezTo>
                      <a:cubicBezTo>
                        <a:pt x="372552" y="161950"/>
                        <a:pt x="450204" y="159714"/>
                        <a:pt x="481346" y="179293"/>
                      </a:cubicBezTo>
                      <a:cubicBezTo>
                        <a:pt x="512489" y="198872"/>
                        <a:pt x="523972" y="202956"/>
                        <a:pt x="534026" y="251639"/>
                      </a:cubicBezTo>
                      <a:cubicBezTo>
                        <a:pt x="537201" y="301381"/>
                        <a:pt x="542141" y="328496"/>
                        <a:pt x="538966" y="453908"/>
                      </a:cubicBezTo>
                      <a:cubicBezTo>
                        <a:pt x="307191" y="461845"/>
                        <a:pt x="250800" y="448827"/>
                        <a:pt x="4856" y="450055"/>
                      </a:cubicBezTo>
                      <a:close/>
                    </a:path>
                  </a:pathLst>
                </a:custGeom>
                <a:solidFill>
                  <a:schemeClr val="bg1"/>
                </a:solidFill>
                <a:ln w="57150">
                  <a:solidFill>
                    <a:schemeClr val="tx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210" name="Oval 209">
                  <a:extLst>
                    <a:ext uri="{FF2B5EF4-FFF2-40B4-BE49-F238E27FC236}">
                      <a16:creationId xmlns:a16="http://schemas.microsoft.com/office/drawing/2014/main" id="{2E1EC022-110A-4340-873B-597DBD51ADAB}"/>
                    </a:ext>
                  </a:extLst>
                </p:cNvPr>
                <p:cNvSpPr/>
                <p:nvPr/>
              </p:nvSpPr>
              <p:spPr>
                <a:xfrm>
                  <a:off x="1964431" y="3500843"/>
                  <a:ext cx="259337" cy="299858"/>
                </a:xfrm>
                <a:prstGeom prst="ellipse">
                  <a:avLst/>
                </a:prstGeom>
                <a:solidFill>
                  <a:schemeClr val="bg1"/>
                </a:solidFill>
                <a:ln w="57150">
                  <a:solidFill>
                    <a:schemeClr val="tx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grpSp>
        </p:grpSp>
        <p:grpSp>
          <p:nvGrpSpPr>
            <p:cNvPr id="201" name="Group 200">
              <a:extLst>
                <a:ext uri="{FF2B5EF4-FFF2-40B4-BE49-F238E27FC236}">
                  <a16:creationId xmlns:a16="http://schemas.microsoft.com/office/drawing/2014/main" id="{3C1D1A70-BF6B-F148-B48D-35520E77C3BC}"/>
                </a:ext>
              </a:extLst>
            </p:cNvPr>
            <p:cNvGrpSpPr/>
            <p:nvPr/>
          </p:nvGrpSpPr>
          <p:grpSpPr>
            <a:xfrm>
              <a:off x="2495712" y="4589934"/>
              <a:ext cx="1256698" cy="510604"/>
              <a:chOff x="2495712" y="4589934"/>
              <a:chExt cx="1256698" cy="510604"/>
            </a:xfrm>
            <a:solidFill>
              <a:schemeClr val="tx1">
                <a:lumMod val="50000"/>
              </a:schemeClr>
            </a:solidFill>
          </p:grpSpPr>
          <p:sp>
            <p:nvSpPr>
              <p:cNvPr id="203" name="Rounded Rectangle 202">
                <a:extLst>
                  <a:ext uri="{FF2B5EF4-FFF2-40B4-BE49-F238E27FC236}">
                    <a16:creationId xmlns:a16="http://schemas.microsoft.com/office/drawing/2014/main" id="{2EE65E06-7B98-BC43-8DCB-97190138DF7C}"/>
                  </a:ext>
                </a:extLst>
              </p:cNvPr>
              <p:cNvSpPr/>
              <p:nvPr/>
            </p:nvSpPr>
            <p:spPr>
              <a:xfrm>
                <a:off x="2495712" y="4589934"/>
                <a:ext cx="1256697" cy="251941"/>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204" name="Rectangle 203">
                <a:extLst>
                  <a:ext uri="{FF2B5EF4-FFF2-40B4-BE49-F238E27FC236}">
                    <a16:creationId xmlns:a16="http://schemas.microsoft.com/office/drawing/2014/main" id="{44B43FF5-B046-D94C-ABAB-5877419445E4}"/>
                  </a:ext>
                </a:extLst>
              </p:cNvPr>
              <p:cNvSpPr/>
              <p:nvPr/>
            </p:nvSpPr>
            <p:spPr>
              <a:xfrm>
                <a:off x="2498725" y="4797790"/>
                <a:ext cx="1253685" cy="13315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205" name="Rectangle 204">
                <a:extLst>
                  <a:ext uri="{FF2B5EF4-FFF2-40B4-BE49-F238E27FC236}">
                    <a16:creationId xmlns:a16="http://schemas.microsoft.com/office/drawing/2014/main" id="{4195F183-B7AB-ED4E-A25F-4A8B35F81D7C}"/>
                  </a:ext>
                </a:extLst>
              </p:cNvPr>
              <p:cNvSpPr/>
              <p:nvPr/>
            </p:nvSpPr>
            <p:spPr>
              <a:xfrm>
                <a:off x="2546350" y="4923041"/>
                <a:ext cx="109152" cy="17749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206" name="Rectangle 205">
                <a:extLst>
                  <a:ext uri="{FF2B5EF4-FFF2-40B4-BE49-F238E27FC236}">
                    <a16:creationId xmlns:a16="http://schemas.microsoft.com/office/drawing/2014/main" id="{DF6D99E0-9D9C-3A43-98AC-2A48FC7E3225}"/>
                  </a:ext>
                </a:extLst>
              </p:cNvPr>
              <p:cNvSpPr/>
              <p:nvPr/>
            </p:nvSpPr>
            <p:spPr>
              <a:xfrm>
                <a:off x="3610945" y="4923041"/>
                <a:ext cx="109152" cy="17749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grpSp>
        <p:sp>
          <p:nvSpPr>
            <p:cNvPr id="202" name="Trapezoid 201">
              <a:extLst>
                <a:ext uri="{FF2B5EF4-FFF2-40B4-BE49-F238E27FC236}">
                  <a16:creationId xmlns:a16="http://schemas.microsoft.com/office/drawing/2014/main" id="{CECC9474-A110-9C4F-BCAC-ACF15E08A54E}"/>
                </a:ext>
              </a:extLst>
            </p:cNvPr>
            <p:cNvSpPr/>
            <p:nvPr/>
          </p:nvSpPr>
          <p:spPr>
            <a:xfrm>
              <a:off x="2655502" y="4181475"/>
              <a:ext cx="958850" cy="363303"/>
            </a:xfrm>
            <a:prstGeom prst="trapezoid">
              <a:avLst/>
            </a:prstGeom>
            <a:solidFill>
              <a:schemeClr val="tx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grpSp>
      <p:grpSp>
        <p:nvGrpSpPr>
          <p:cNvPr id="213" name="Group 212">
            <a:extLst>
              <a:ext uri="{FF2B5EF4-FFF2-40B4-BE49-F238E27FC236}">
                <a16:creationId xmlns:a16="http://schemas.microsoft.com/office/drawing/2014/main" id="{24A03E98-3F80-364A-99B5-74C7A19685F0}"/>
              </a:ext>
            </a:extLst>
          </p:cNvPr>
          <p:cNvGrpSpPr/>
          <p:nvPr/>
        </p:nvGrpSpPr>
        <p:grpSpPr>
          <a:xfrm>
            <a:off x="9394139" y="5260525"/>
            <a:ext cx="1025213" cy="1261037"/>
            <a:chOff x="2441771" y="3385414"/>
            <a:chExt cx="1325481" cy="1781019"/>
          </a:xfrm>
        </p:grpSpPr>
        <p:pic>
          <p:nvPicPr>
            <p:cNvPr id="214" name="Picture 213">
              <a:extLst>
                <a:ext uri="{FF2B5EF4-FFF2-40B4-BE49-F238E27FC236}">
                  <a16:creationId xmlns:a16="http://schemas.microsoft.com/office/drawing/2014/main" id="{E4CA6338-9D9B-2749-8894-67A550E47B13}"/>
                </a:ext>
              </a:extLst>
            </p:cNvPr>
            <p:cNvPicPr>
              <a:picLocks noChangeAspect="1"/>
            </p:cNvPicPr>
            <p:nvPr/>
          </p:nvPicPr>
          <p:blipFill rotWithShape="1">
            <a:blip r:embed="rId2"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a:xfrm>
              <a:off x="2441771" y="3385414"/>
              <a:ext cx="1325481" cy="1781019"/>
            </a:xfrm>
            <a:prstGeom prst="rect">
              <a:avLst/>
            </a:prstGeom>
          </p:spPr>
        </p:pic>
        <p:sp>
          <p:nvSpPr>
            <p:cNvPr id="215" name="Rounded Rectangle 214">
              <a:extLst>
                <a:ext uri="{FF2B5EF4-FFF2-40B4-BE49-F238E27FC236}">
                  <a16:creationId xmlns:a16="http://schemas.microsoft.com/office/drawing/2014/main" id="{7C05138A-3D23-7440-9146-4D4F317E3487}"/>
                </a:ext>
              </a:extLst>
            </p:cNvPr>
            <p:cNvSpPr/>
            <p:nvPr/>
          </p:nvSpPr>
          <p:spPr>
            <a:xfrm>
              <a:off x="2655502" y="3670300"/>
              <a:ext cx="958850" cy="436656"/>
            </a:xfrm>
            <a:prstGeom prst="roundRect">
              <a:avLst/>
            </a:prstGeom>
            <a:solidFill>
              <a:schemeClr val="tx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grpSp>
          <p:nvGrpSpPr>
            <p:cNvPr id="216" name="Group 215">
              <a:extLst>
                <a:ext uri="{FF2B5EF4-FFF2-40B4-BE49-F238E27FC236}">
                  <a16:creationId xmlns:a16="http://schemas.microsoft.com/office/drawing/2014/main" id="{4DBD30F7-D47A-5242-B445-F15FA9408791}"/>
                </a:ext>
              </a:extLst>
            </p:cNvPr>
            <p:cNvGrpSpPr/>
            <p:nvPr/>
          </p:nvGrpSpPr>
          <p:grpSpPr>
            <a:xfrm>
              <a:off x="2776471" y="3456093"/>
              <a:ext cx="748710" cy="1056883"/>
              <a:chOff x="1496718" y="3334932"/>
              <a:chExt cx="748710" cy="1056883"/>
            </a:xfrm>
          </p:grpSpPr>
          <p:grpSp>
            <p:nvGrpSpPr>
              <p:cNvPr id="223" name="Group 222">
                <a:extLst>
                  <a:ext uri="{FF2B5EF4-FFF2-40B4-BE49-F238E27FC236}">
                    <a16:creationId xmlns:a16="http://schemas.microsoft.com/office/drawing/2014/main" id="{19D72686-6748-FE4B-BDDA-0BAA3901DE2D}"/>
                  </a:ext>
                </a:extLst>
              </p:cNvPr>
              <p:cNvGrpSpPr/>
              <p:nvPr/>
            </p:nvGrpSpPr>
            <p:grpSpPr>
              <a:xfrm>
                <a:off x="1496718" y="3334932"/>
                <a:ext cx="748710" cy="1056883"/>
                <a:chOff x="1843570" y="3508300"/>
                <a:chExt cx="514980" cy="727982"/>
              </a:xfrm>
              <a:solidFill>
                <a:schemeClr val="bg1"/>
              </a:solidFill>
            </p:grpSpPr>
            <p:sp>
              <p:nvSpPr>
                <p:cNvPr id="227" name="Freeform 226">
                  <a:extLst>
                    <a:ext uri="{FF2B5EF4-FFF2-40B4-BE49-F238E27FC236}">
                      <a16:creationId xmlns:a16="http://schemas.microsoft.com/office/drawing/2014/main" id="{38D499AD-4216-C14D-BE75-0C9DC15F0392}"/>
                    </a:ext>
                  </a:extLst>
                </p:cNvPr>
                <p:cNvSpPr/>
                <p:nvPr/>
              </p:nvSpPr>
              <p:spPr>
                <a:xfrm>
                  <a:off x="1843570" y="3787509"/>
                  <a:ext cx="514980" cy="448773"/>
                </a:xfrm>
                <a:custGeom>
                  <a:avLst/>
                  <a:gdLst>
                    <a:gd name="connsiteX0" fmla="*/ 36807 w 576731"/>
                    <a:gd name="connsiteY0" fmla="*/ 449906 h 505924"/>
                    <a:gd name="connsiteX1" fmla="*/ 39982 w 576731"/>
                    <a:gd name="connsiteY1" fmla="*/ 214956 h 505924"/>
                    <a:gd name="connsiteX2" fmla="*/ 55857 w 576731"/>
                    <a:gd name="connsiteY2" fmla="*/ 176856 h 505924"/>
                    <a:gd name="connsiteX3" fmla="*/ 103482 w 576731"/>
                    <a:gd name="connsiteY3" fmla="*/ 160981 h 505924"/>
                    <a:gd name="connsiteX4" fmla="*/ 205082 w 576731"/>
                    <a:gd name="connsiteY4" fmla="*/ 154631 h 505924"/>
                    <a:gd name="connsiteX5" fmla="*/ 230482 w 576731"/>
                    <a:gd name="connsiteY5" fmla="*/ 151456 h 505924"/>
                    <a:gd name="connsiteX6" fmla="*/ 233657 w 576731"/>
                    <a:gd name="connsiteY6" fmla="*/ 18106 h 505924"/>
                    <a:gd name="connsiteX7" fmla="*/ 344782 w 576731"/>
                    <a:gd name="connsiteY7" fmla="*/ 14931 h 505924"/>
                    <a:gd name="connsiteX8" fmla="*/ 344782 w 576731"/>
                    <a:gd name="connsiteY8" fmla="*/ 145106 h 505924"/>
                    <a:gd name="connsiteX9" fmla="*/ 386057 w 576731"/>
                    <a:gd name="connsiteY9" fmla="*/ 151456 h 505924"/>
                    <a:gd name="connsiteX10" fmla="*/ 478132 w 576731"/>
                    <a:gd name="connsiteY10" fmla="*/ 164156 h 505924"/>
                    <a:gd name="connsiteX11" fmla="*/ 519407 w 576731"/>
                    <a:gd name="connsiteY11" fmla="*/ 189556 h 505924"/>
                    <a:gd name="connsiteX12" fmla="*/ 541632 w 576731"/>
                    <a:gd name="connsiteY12" fmla="*/ 234006 h 505924"/>
                    <a:gd name="connsiteX13" fmla="*/ 538457 w 576731"/>
                    <a:gd name="connsiteY13" fmla="*/ 488006 h 505924"/>
                    <a:gd name="connsiteX14" fmla="*/ 36807 w 576731"/>
                    <a:gd name="connsiteY14" fmla="*/ 449906 h 505924"/>
                    <a:gd name="connsiteX0" fmla="*/ 5769 w 545693"/>
                    <a:gd name="connsiteY0" fmla="*/ 449906 h 505924"/>
                    <a:gd name="connsiteX1" fmla="*/ 8944 w 545693"/>
                    <a:gd name="connsiteY1" fmla="*/ 214956 h 505924"/>
                    <a:gd name="connsiteX2" fmla="*/ 24819 w 545693"/>
                    <a:gd name="connsiteY2" fmla="*/ 176856 h 505924"/>
                    <a:gd name="connsiteX3" fmla="*/ 72444 w 545693"/>
                    <a:gd name="connsiteY3" fmla="*/ 160981 h 505924"/>
                    <a:gd name="connsiteX4" fmla="*/ 174044 w 545693"/>
                    <a:gd name="connsiteY4" fmla="*/ 154631 h 505924"/>
                    <a:gd name="connsiteX5" fmla="*/ 199444 w 545693"/>
                    <a:gd name="connsiteY5" fmla="*/ 151456 h 505924"/>
                    <a:gd name="connsiteX6" fmla="*/ 202619 w 545693"/>
                    <a:gd name="connsiteY6" fmla="*/ 18106 h 505924"/>
                    <a:gd name="connsiteX7" fmla="*/ 313744 w 545693"/>
                    <a:gd name="connsiteY7" fmla="*/ 14931 h 505924"/>
                    <a:gd name="connsiteX8" fmla="*/ 313744 w 545693"/>
                    <a:gd name="connsiteY8" fmla="*/ 145106 h 505924"/>
                    <a:gd name="connsiteX9" fmla="*/ 355019 w 545693"/>
                    <a:gd name="connsiteY9" fmla="*/ 151456 h 505924"/>
                    <a:gd name="connsiteX10" fmla="*/ 447094 w 545693"/>
                    <a:gd name="connsiteY10" fmla="*/ 164156 h 505924"/>
                    <a:gd name="connsiteX11" fmla="*/ 488369 w 545693"/>
                    <a:gd name="connsiteY11" fmla="*/ 189556 h 505924"/>
                    <a:gd name="connsiteX12" fmla="*/ 510594 w 545693"/>
                    <a:gd name="connsiteY12" fmla="*/ 234006 h 505924"/>
                    <a:gd name="connsiteX13" fmla="*/ 507419 w 545693"/>
                    <a:gd name="connsiteY13" fmla="*/ 488006 h 505924"/>
                    <a:gd name="connsiteX14" fmla="*/ 5769 w 545693"/>
                    <a:gd name="connsiteY14" fmla="*/ 449906 h 505924"/>
                    <a:gd name="connsiteX0" fmla="*/ 21286 w 561210"/>
                    <a:gd name="connsiteY0" fmla="*/ 449906 h 508025"/>
                    <a:gd name="connsiteX1" fmla="*/ 24461 w 561210"/>
                    <a:gd name="connsiteY1" fmla="*/ 214956 h 508025"/>
                    <a:gd name="connsiteX2" fmla="*/ 40336 w 561210"/>
                    <a:gd name="connsiteY2" fmla="*/ 176856 h 508025"/>
                    <a:gd name="connsiteX3" fmla="*/ 87961 w 561210"/>
                    <a:gd name="connsiteY3" fmla="*/ 160981 h 508025"/>
                    <a:gd name="connsiteX4" fmla="*/ 189561 w 561210"/>
                    <a:gd name="connsiteY4" fmla="*/ 154631 h 508025"/>
                    <a:gd name="connsiteX5" fmla="*/ 214961 w 561210"/>
                    <a:gd name="connsiteY5" fmla="*/ 151456 h 508025"/>
                    <a:gd name="connsiteX6" fmla="*/ 218136 w 561210"/>
                    <a:gd name="connsiteY6" fmla="*/ 18106 h 508025"/>
                    <a:gd name="connsiteX7" fmla="*/ 329261 w 561210"/>
                    <a:gd name="connsiteY7" fmla="*/ 14931 h 508025"/>
                    <a:gd name="connsiteX8" fmla="*/ 329261 w 561210"/>
                    <a:gd name="connsiteY8" fmla="*/ 145106 h 508025"/>
                    <a:gd name="connsiteX9" fmla="*/ 370536 w 561210"/>
                    <a:gd name="connsiteY9" fmla="*/ 151456 h 508025"/>
                    <a:gd name="connsiteX10" fmla="*/ 462611 w 561210"/>
                    <a:gd name="connsiteY10" fmla="*/ 164156 h 508025"/>
                    <a:gd name="connsiteX11" fmla="*/ 503886 w 561210"/>
                    <a:gd name="connsiteY11" fmla="*/ 189556 h 508025"/>
                    <a:gd name="connsiteX12" fmla="*/ 526111 w 561210"/>
                    <a:gd name="connsiteY12" fmla="*/ 234006 h 508025"/>
                    <a:gd name="connsiteX13" fmla="*/ 522936 w 561210"/>
                    <a:gd name="connsiteY13" fmla="*/ 488006 h 508025"/>
                    <a:gd name="connsiteX14" fmla="*/ 21286 w 561210"/>
                    <a:gd name="connsiteY14" fmla="*/ 449906 h 508025"/>
                    <a:gd name="connsiteX0" fmla="*/ 21286 w 561210"/>
                    <a:gd name="connsiteY0" fmla="*/ 449906 h 508025"/>
                    <a:gd name="connsiteX1" fmla="*/ 24461 w 561210"/>
                    <a:gd name="connsiteY1" fmla="*/ 214956 h 508025"/>
                    <a:gd name="connsiteX2" fmla="*/ 40336 w 561210"/>
                    <a:gd name="connsiteY2" fmla="*/ 176856 h 508025"/>
                    <a:gd name="connsiteX3" fmla="*/ 87961 w 561210"/>
                    <a:gd name="connsiteY3" fmla="*/ 160981 h 508025"/>
                    <a:gd name="connsiteX4" fmla="*/ 189561 w 561210"/>
                    <a:gd name="connsiteY4" fmla="*/ 154631 h 508025"/>
                    <a:gd name="connsiteX5" fmla="*/ 214961 w 561210"/>
                    <a:gd name="connsiteY5" fmla="*/ 151456 h 508025"/>
                    <a:gd name="connsiteX6" fmla="*/ 218136 w 561210"/>
                    <a:gd name="connsiteY6" fmla="*/ 18106 h 508025"/>
                    <a:gd name="connsiteX7" fmla="*/ 329261 w 561210"/>
                    <a:gd name="connsiteY7" fmla="*/ 14931 h 508025"/>
                    <a:gd name="connsiteX8" fmla="*/ 329261 w 561210"/>
                    <a:gd name="connsiteY8" fmla="*/ 145106 h 508025"/>
                    <a:gd name="connsiteX9" fmla="*/ 370536 w 561210"/>
                    <a:gd name="connsiteY9" fmla="*/ 151456 h 508025"/>
                    <a:gd name="connsiteX10" fmla="*/ 462611 w 561210"/>
                    <a:gd name="connsiteY10" fmla="*/ 164156 h 508025"/>
                    <a:gd name="connsiteX11" fmla="*/ 503886 w 561210"/>
                    <a:gd name="connsiteY11" fmla="*/ 189556 h 508025"/>
                    <a:gd name="connsiteX12" fmla="*/ 526111 w 561210"/>
                    <a:gd name="connsiteY12" fmla="*/ 234006 h 508025"/>
                    <a:gd name="connsiteX13" fmla="*/ 522936 w 561210"/>
                    <a:gd name="connsiteY13" fmla="*/ 488006 h 508025"/>
                    <a:gd name="connsiteX14" fmla="*/ 21286 w 561210"/>
                    <a:gd name="connsiteY14" fmla="*/ 449906 h 508025"/>
                    <a:gd name="connsiteX0" fmla="*/ 4360 w 544284"/>
                    <a:gd name="connsiteY0" fmla="*/ 449906 h 508025"/>
                    <a:gd name="connsiteX1" fmla="*/ 7535 w 544284"/>
                    <a:gd name="connsiteY1" fmla="*/ 214956 h 508025"/>
                    <a:gd name="connsiteX2" fmla="*/ 23410 w 544284"/>
                    <a:gd name="connsiteY2" fmla="*/ 176856 h 508025"/>
                    <a:gd name="connsiteX3" fmla="*/ 71035 w 544284"/>
                    <a:gd name="connsiteY3" fmla="*/ 160981 h 508025"/>
                    <a:gd name="connsiteX4" fmla="*/ 172635 w 544284"/>
                    <a:gd name="connsiteY4" fmla="*/ 154631 h 508025"/>
                    <a:gd name="connsiteX5" fmla="*/ 198035 w 544284"/>
                    <a:gd name="connsiteY5" fmla="*/ 151456 h 508025"/>
                    <a:gd name="connsiteX6" fmla="*/ 201210 w 544284"/>
                    <a:gd name="connsiteY6" fmla="*/ 18106 h 508025"/>
                    <a:gd name="connsiteX7" fmla="*/ 312335 w 544284"/>
                    <a:gd name="connsiteY7" fmla="*/ 14931 h 508025"/>
                    <a:gd name="connsiteX8" fmla="*/ 312335 w 544284"/>
                    <a:gd name="connsiteY8" fmla="*/ 145106 h 508025"/>
                    <a:gd name="connsiteX9" fmla="*/ 353610 w 544284"/>
                    <a:gd name="connsiteY9" fmla="*/ 151456 h 508025"/>
                    <a:gd name="connsiteX10" fmla="*/ 445685 w 544284"/>
                    <a:gd name="connsiteY10" fmla="*/ 164156 h 508025"/>
                    <a:gd name="connsiteX11" fmla="*/ 486960 w 544284"/>
                    <a:gd name="connsiteY11" fmla="*/ 189556 h 508025"/>
                    <a:gd name="connsiteX12" fmla="*/ 509185 w 544284"/>
                    <a:gd name="connsiteY12" fmla="*/ 234006 h 508025"/>
                    <a:gd name="connsiteX13" fmla="*/ 506010 w 544284"/>
                    <a:gd name="connsiteY13" fmla="*/ 488006 h 508025"/>
                    <a:gd name="connsiteX14" fmla="*/ 4360 w 544284"/>
                    <a:gd name="connsiteY14" fmla="*/ 449906 h 508025"/>
                    <a:gd name="connsiteX0" fmla="*/ 4360 w 544284"/>
                    <a:gd name="connsiteY0" fmla="*/ 449906 h 500804"/>
                    <a:gd name="connsiteX1" fmla="*/ 7535 w 544284"/>
                    <a:gd name="connsiteY1" fmla="*/ 214956 h 500804"/>
                    <a:gd name="connsiteX2" fmla="*/ 23410 w 544284"/>
                    <a:gd name="connsiteY2" fmla="*/ 176856 h 500804"/>
                    <a:gd name="connsiteX3" fmla="*/ 71035 w 544284"/>
                    <a:gd name="connsiteY3" fmla="*/ 160981 h 500804"/>
                    <a:gd name="connsiteX4" fmla="*/ 172635 w 544284"/>
                    <a:gd name="connsiteY4" fmla="*/ 154631 h 500804"/>
                    <a:gd name="connsiteX5" fmla="*/ 198035 w 544284"/>
                    <a:gd name="connsiteY5" fmla="*/ 151456 h 500804"/>
                    <a:gd name="connsiteX6" fmla="*/ 201210 w 544284"/>
                    <a:gd name="connsiteY6" fmla="*/ 18106 h 500804"/>
                    <a:gd name="connsiteX7" fmla="*/ 312335 w 544284"/>
                    <a:gd name="connsiteY7" fmla="*/ 14931 h 500804"/>
                    <a:gd name="connsiteX8" fmla="*/ 312335 w 544284"/>
                    <a:gd name="connsiteY8" fmla="*/ 145106 h 500804"/>
                    <a:gd name="connsiteX9" fmla="*/ 353610 w 544284"/>
                    <a:gd name="connsiteY9" fmla="*/ 151456 h 500804"/>
                    <a:gd name="connsiteX10" fmla="*/ 445685 w 544284"/>
                    <a:gd name="connsiteY10" fmla="*/ 164156 h 500804"/>
                    <a:gd name="connsiteX11" fmla="*/ 486960 w 544284"/>
                    <a:gd name="connsiteY11" fmla="*/ 189556 h 500804"/>
                    <a:gd name="connsiteX12" fmla="*/ 509185 w 544284"/>
                    <a:gd name="connsiteY12" fmla="*/ 234006 h 500804"/>
                    <a:gd name="connsiteX13" fmla="*/ 506010 w 544284"/>
                    <a:gd name="connsiteY13" fmla="*/ 488006 h 500804"/>
                    <a:gd name="connsiteX14" fmla="*/ 4360 w 544284"/>
                    <a:gd name="connsiteY14" fmla="*/ 449906 h 500804"/>
                    <a:gd name="connsiteX0" fmla="*/ 4360 w 544284"/>
                    <a:gd name="connsiteY0" fmla="*/ 449906 h 500804"/>
                    <a:gd name="connsiteX1" fmla="*/ 7535 w 544284"/>
                    <a:gd name="connsiteY1" fmla="*/ 214956 h 500804"/>
                    <a:gd name="connsiteX2" fmla="*/ 23410 w 544284"/>
                    <a:gd name="connsiteY2" fmla="*/ 176856 h 500804"/>
                    <a:gd name="connsiteX3" fmla="*/ 71035 w 544284"/>
                    <a:gd name="connsiteY3" fmla="*/ 160981 h 500804"/>
                    <a:gd name="connsiteX4" fmla="*/ 172635 w 544284"/>
                    <a:gd name="connsiteY4" fmla="*/ 154631 h 500804"/>
                    <a:gd name="connsiteX5" fmla="*/ 198035 w 544284"/>
                    <a:gd name="connsiteY5" fmla="*/ 151456 h 500804"/>
                    <a:gd name="connsiteX6" fmla="*/ 201210 w 544284"/>
                    <a:gd name="connsiteY6" fmla="*/ 18106 h 500804"/>
                    <a:gd name="connsiteX7" fmla="*/ 312335 w 544284"/>
                    <a:gd name="connsiteY7" fmla="*/ 14931 h 500804"/>
                    <a:gd name="connsiteX8" fmla="*/ 312335 w 544284"/>
                    <a:gd name="connsiteY8" fmla="*/ 145106 h 500804"/>
                    <a:gd name="connsiteX9" fmla="*/ 353610 w 544284"/>
                    <a:gd name="connsiteY9" fmla="*/ 151456 h 500804"/>
                    <a:gd name="connsiteX10" fmla="*/ 445685 w 544284"/>
                    <a:gd name="connsiteY10" fmla="*/ 164156 h 500804"/>
                    <a:gd name="connsiteX11" fmla="*/ 486960 w 544284"/>
                    <a:gd name="connsiteY11" fmla="*/ 189556 h 500804"/>
                    <a:gd name="connsiteX12" fmla="*/ 509185 w 544284"/>
                    <a:gd name="connsiteY12" fmla="*/ 234006 h 500804"/>
                    <a:gd name="connsiteX13" fmla="*/ 506010 w 544284"/>
                    <a:gd name="connsiteY13" fmla="*/ 488006 h 500804"/>
                    <a:gd name="connsiteX14" fmla="*/ 4360 w 544284"/>
                    <a:gd name="connsiteY14" fmla="*/ 449906 h 500804"/>
                    <a:gd name="connsiteX0" fmla="*/ 4360 w 519024"/>
                    <a:gd name="connsiteY0" fmla="*/ 449906 h 500804"/>
                    <a:gd name="connsiteX1" fmla="*/ 7535 w 519024"/>
                    <a:gd name="connsiteY1" fmla="*/ 214956 h 500804"/>
                    <a:gd name="connsiteX2" fmla="*/ 23410 w 519024"/>
                    <a:gd name="connsiteY2" fmla="*/ 176856 h 500804"/>
                    <a:gd name="connsiteX3" fmla="*/ 71035 w 519024"/>
                    <a:gd name="connsiteY3" fmla="*/ 160981 h 500804"/>
                    <a:gd name="connsiteX4" fmla="*/ 172635 w 519024"/>
                    <a:gd name="connsiteY4" fmla="*/ 154631 h 500804"/>
                    <a:gd name="connsiteX5" fmla="*/ 198035 w 519024"/>
                    <a:gd name="connsiteY5" fmla="*/ 151456 h 500804"/>
                    <a:gd name="connsiteX6" fmla="*/ 201210 w 519024"/>
                    <a:gd name="connsiteY6" fmla="*/ 18106 h 500804"/>
                    <a:gd name="connsiteX7" fmla="*/ 312335 w 519024"/>
                    <a:gd name="connsiteY7" fmla="*/ 14931 h 500804"/>
                    <a:gd name="connsiteX8" fmla="*/ 312335 w 519024"/>
                    <a:gd name="connsiteY8" fmla="*/ 145106 h 500804"/>
                    <a:gd name="connsiteX9" fmla="*/ 353610 w 519024"/>
                    <a:gd name="connsiteY9" fmla="*/ 151456 h 500804"/>
                    <a:gd name="connsiteX10" fmla="*/ 445685 w 519024"/>
                    <a:gd name="connsiteY10" fmla="*/ 164156 h 500804"/>
                    <a:gd name="connsiteX11" fmla="*/ 486960 w 519024"/>
                    <a:gd name="connsiteY11" fmla="*/ 189556 h 500804"/>
                    <a:gd name="connsiteX12" fmla="*/ 509185 w 519024"/>
                    <a:gd name="connsiteY12" fmla="*/ 234006 h 500804"/>
                    <a:gd name="connsiteX13" fmla="*/ 506010 w 519024"/>
                    <a:gd name="connsiteY13" fmla="*/ 488006 h 500804"/>
                    <a:gd name="connsiteX14" fmla="*/ 4360 w 519024"/>
                    <a:gd name="connsiteY14" fmla="*/ 449906 h 500804"/>
                    <a:gd name="connsiteX0" fmla="*/ 4360 w 519024"/>
                    <a:gd name="connsiteY0" fmla="*/ 449906 h 488006"/>
                    <a:gd name="connsiteX1" fmla="*/ 7535 w 519024"/>
                    <a:gd name="connsiteY1" fmla="*/ 214956 h 488006"/>
                    <a:gd name="connsiteX2" fmla="*/ 23410 w 519024"/>
                    <a:gd name="connsiteY2" fmla="*/ 176856 h 488006"/>
                    <a:gd name="connsiteX3" fmla="*/ 71035 w 519024"/>
                    <a:gd name="connsiteY3" fmla="*/ 160981 h 488006"/>
                    <a:gd name="connsiteX4" fmla="*/ 172635 w 519024"/>
                    <a:gd name="connsiteY4" fmla="*/ 154631 h 488006"/>
                    <a:gd name="connsiteX5" fmla="*/ 198035 w 519024"/>
                    <a:gd name="connsiteY5" fmla="*/ 151456 h 488006"/>
                    <a:gd name="connsiteX6" fmla="*/ 201210 w 519024"/>
                    <a:gd name="connsiteY6" fmla="*/ 18106 h 488006"/>
                    <a:gd name="connsiteX7" fmla="*/ 312335 w 519024"/>
                    <a:gd name="connsiteY7" fmla="*/ 14931 h 488006"/>
                    <a:gd name="connsiteX8" fmla="*/ 312335 w 519024"/>
                    <a:gd name="connsiteY8" fmla="*/ 145106 h 488006"/>
                    <a:gd name="connsiteX9" fmla="*/ 353610 w 519024"/>
                    <a:gd name="connsiteY9" fmla="*/ 151456 h 488006"/>
                    <a:gd name="connsiteX10" fmla="*/ 445685 w 519024"/>
                    <a:gd name="connsiteY10" fmla="*/ 164156 h 488006"/>
                    <a:gd name="connsiteX11" fmla="*/ 486960 w 519024"/>
                    <a:gd name="connsiteY11" fmla="*/ 189556 h 488006"/>
                    <a:gd name="connsiteX12" fmla="*/ 509185 w 519024"/>
                    <a:gd name="connsiteY12" fmla="*/ 234006 h 488006"/>
                    <a:gd name="connsiteX13" fmla="*/ 506010 w 519024"/>
                    <a:gd name="connsiteY13" fmla="*/ 488006 h 488006"/>
                    <a:gd name="connsiteX14" fmla="*/ 4360 w 519024"/>
                    <a:gd name="connsiteY14" fmla="*/ 449906 h 488006"/>
                    <a:gd name="connsiteX0" fmla="*/ 4360 w 523534"/>
                    <a:gd name="connsiteY0" fmla="*/ 449906 h 472131"/>
                    <a:gd name="connsiteX1" fmla="*/ 7535 w 523534"/>
                    <a:gd name="connsiteY1" fmla="*/ 214956 h 472131"/>
                    <a:gd name="connsiteX2" fmla="*/ 23410 w 523534"/>
                    <a:gd name="connsiteY2" fmla="*/ 176856 h 472131"/>
                    <a:gd name="connsiteX3" fmla="*/ 71035 w 523534"/>
                    <a:gd name="connsiteY3" fmla="*/ 160981 h 472131"/>
                    <a:gd name="connsiteX4" fmla="*/ 172635 w 523534"/>
                    <a:gd name="connsiteY4" fmla="*/ 154631 h 472131"/>
                    <a:gd name="connsiteX5" fmla="*/ 198035 w 523534"/>
                    <a:gd name="connsiteY5" fmla="*/ 151456 h 472131"/>
                    <a:gd name="connsiteX6" fmla="*/ 201210 w 523534"/>
                    <a:gd name="connsiteY6" fmla="*/ 18106 h 472131"/>
                    <a:gd name="connsiteX7" fmla="*/ 312335 w 523534"/>
                    <a:gd name="connsiteY7" fmla="*/ 14931 h 472131"/>
                    <a:gd name="connsiteX8" fmla="*/ 312335 w 523534"/>
                    <a:gd name="connsiteY8" fmla="*/ 145106 h 472131"/>
                    <a:gd name="connsiteX9" fmla="*/ 353610 w 523534"/>
                    <a:gd name="connsiteY9" fmla="*/ 151456 h 472131"/>
                    <a:gd name="connsiteX10" fmla="*/ 445685 w 523534"/>
                    <a:gd name="connsiteY10" fmla="*/ 164156 h 472131"/>
                    <a:gd name="connsiteX11" fmla="*/ 486960 w 523534"/>
                    <a:gd name="connsiteY11" fmla="*/ 189556 h 472131"/>
                    <a:gd name="connsiteX12" fmla="*/ 509185 w 523534"/>
                    <a:gd name="connsiteY12" fmla="*/ 234006 h 472131"/>
                    <a:gd name="connsiteX13" fmla="*/ 512360 w 523534"/>
                    <a:gd name="connsiteY13" fmla="*/ 472131 h 472131"/>
                    <a:gd name="connsiteX14" fmla="*/ 4360 w 523534"/>
                    <a:gd name="connsiteY14" fmla="*/ 449906 h 472131"/>
                    <a:gd name="connsiteX0" fmla="*/ 4360 w 513675"/>
                    <a:gd name="connsiteY0" fmla="*/ 449906 h 472131"/>
                    <a:gd name="connsiteX1" fmla="*/ 7535 w 513675"/>
                    <a:gd name="connsiteY1" fmla="*/ 214956 h 472131"/>
                    <a:gd name="connsiteX2" fmla="*/ 23410 w 513675"/>
                    <a:gd name="connsiteY2" fmla="*/ 176856 h 472131"/>
                    <a:gd name="connsiteX3" fmla="*/ 71035 w 513675"/>
                    <a:gd name="connsiteY3" fmla="*/ 160981 h 472131"/>
                    <a:gd name="connsiteX4" fmla="*/ 172635 w 513675"/>
                    <a:gd name="connsiteY4" fmla="*/ 154631 h 472131"/>
                    <a:gd name="connsiteX5" fmla="*/ 198035 w 513675"/>
                    <a:gd name="connsiteY5" fmla="*/ 151456 h 472131"/>
                    <a:gd name="connsiteX6" fmla="*/ 201210 w 513675"/>
                    <a:gd name="connsiteY6" fmla="*/ 18106 h 472131"/>
                    <a:gd name="connsiteX7" fmla="*/ 312335 w 513675"/>
                    <a:gd name="connsiteY7" fmla="*/ 14931 h 472131"/>
                    <a:gd name="connsiteX8" fmla="*/ 312335 w 513675"/>
                    <a:gd name="connsiteY8" fmla="*/ 145106 h 472131"/>
                    <a:gd name="connsiteX9" fmla="*/ 353610 w 513675"/>
                    <a:gd name="connsiteY9" fmla="*/ 151456 h 472131"/>
                    <a:gd name="connsiteX10" fmla="*/ 445685 w 513675"/>
                    <a:gd name="connsiteY10" fmla="*/ 164156 h 472131"/>
                    <a:gd name="connsiteX11" fmla="*/ 486960 w 513675"/>
                    <a:gd name="connsiteY11" fmla="*/ 189556 h 472131"/>
                    <a:gd name="connsiteX12" fmla="*/ 509185 w 513675"/>
                    <a:gd name="connsiteY12" fmla="*/ 234006 h 472131"/>
                    <a:gd name="connsiteX13" fmla="*/ 512360 w 513675"/>
                    <a:gd name="connsiteY13" fmla="*/ 472131 h 472131"/>
                    <a:gd name="connsiteX14" fmla="*/ 4360 w 513675"/>
                    <a:gd name="connsiteY14" fmla="*/ 449906 h 472131"/>
                    <a:gd name="connsiteX0" fmla="*/ 4360 w 513675"/>
                    <a:gd name="connsiteY0" fmla="*/ 446969 h 469194"/>
                    <a:gd name="connsiteX1" fmla="*/ 7535 w 513675"/>
                    <a:gd name="connsiteY1" fmla="*/ 212019 h 469194"/>
                    <a:gd name="connsiteX2" fmla="*/ 23410 w 513675"/>
                    <a:gd name="connsiteY2" fmla="*/ 173919 h 469194"/>
                    <a:gd name="connsiteX3" fmla="*/ 71035 w 513675"/>
                    <a:gd name="connsiteY3" fmla="*/ 158044 h 469194"/>
                    <a:gd name="connsiteX4" fmla="*/ 172635 w 513675"/>
                    <a:gd name="connsiteY4" fmla="*/ 151694 h 469194"/>
                    <a:gd name="connsiteX5" fmla="*/ 188510 w 513675"/>
                    <a:gd name="connsiteY5" fmla="*/ 94544 h 469194"/>
                    <a:gd name="connsiteX6" fmla="*/ 201210 w 513675"/>
                    <a:gd name="connsiteY6" fmla="*/ 15169 h 469194"/>
                    <a:gd name="connsiteX7" fmla="*/ 312335 w 513675"/>
                    <a:gd name="connsiteY7" fmla="*/ 11994 h 469194"/>
                    <a:gd name="connsiteX8" fmla="*/ 312335 w 513675"/>
                    <a:gd name="connsiteY8" fmla="*/ 142169 h 469194"/>
                    <a:gd name="connsiteX9" fmla="*/ 353610 w 513675"/>
                    <a:gd name="connsiteY9" fmla="*/ 148519 h 469194"/>
                    <a:gd name="connsiteX10" fmla="*/ 445685 w 513675"/>
                    <a:gd name="connsiteY10" fmla="*/ 161219 h 469194"/>
                    <a:gd name="connsiteX11" fmla="*/ 486960 w 513675"/>
                    <a:gd name="connsiteY11" fmla="*/ 186619 h 469194"/>
                    <a:gd name="connsiteX12" fmla="*/ 509185 w 513675"/>
                    <a:gd name="connsiteY12" fmla="*/ 231069 h 469194"/>
                    <a:gd name="connsiteX13" fmla="*/ 512360 w 513675"/>
                    <a:gd name="connsiteY13" fmla="*/ 469194 h 469194"/>
                    <a:gd name="connsiteX14" fmla="*/ 4360 w 513675"/>
                    <a:gd name="connsiteY14" fmla="*/ 446969 h 469194"/>
                    <a:gd name="connsiteX0" fmla="*/ 4360 w 513675"/>
                    <a:gd name="connsiteY0" fmla="*/ 443409 h 465634"/>
                    <a:gd name="connsiteX1" fmla="*/ 7535 w 513675"/>
                    <a:gd name="connsiteY1" fmla="*/ 208459 h 465634"/>
                    <a:gd name="connsiteX2" fmla="*/ 23410 w 513675"/>
                    <a:gd name="connsiteY2" fmla="*/ 170359 h 465634"/>
                    <a:gd name="connsiteX3" fmla="*/ 71035 w 513675"/>
                    <a:gd name="connsiteY3" fmla="*/ 154484 h 465634"/>
                    <a:gd name="connsiteX4" fmla="*/ 172635 w 513675"/>
                    <a:gd name="connsiteY4" fmla="*/ 148134 h 465634"/>
                    <a:gd name="connsiteX5" fmla="*/ 188510 w 513675"/>
                    <a:gd name="connsiteY5" fmla="*/ 90984 h 465634"/>
                    <a:gd name="connsiteX6" fmla="*/ 201210 w 513675"/>
                    <a:gd name="connsiteY6" fmla="*/ 11609 h 465634"/>
                    <a:gd name="connsiteX7" fmla="*/ 312335 w 513675"/>
                    <a:gd name="connsiteY7" fmla="*/ 8434 h 465634"/>
                    <a:gd name="connsiteX8" fmla="*/ 312335 w 513675"/>
                    <a:gd name="connsiteY8" fmla="*/ 87809 h 465634"/>
                    <a:gd name="connsiteX9" fmla="*/ 353610 w 513675"/>
                    <a:gd name="connsiteY9" fmla="*/ 144959 h 465634"/>
                    <a:gd name="connsiteX10" fmla="*/ 445685 w 513675"/>
                    <a:gd name="connsiteY10" fmla="*/ 157659 h 465634"/>
                    <a:gd name="connsiteX11" fmla="*/ 486960 w 513675"/>
                    <a:gd name="connsiteY11" fmla="*/ 183059 h 465634"/>
                    <a:gd name="connsiteX12" fmla="*/ 509185 w 513675"/>
                    <a:gd name="connsiteY12" fmla="*/ 227509 h 465634"/>
                    <a:gd name="connsiteX13" fmla="*/ 512360 w 513675"/>
                    <a:gd name="connsiteY13" fmla="*/ 465634 h 465634"/>
                    <a:gd name="connsiteX14" fmla="*/ 4360 w 513675"/>
                    <a:gd name="connsiteY14" fmla="*/ 443409 h 465634"/>
                    <a:gd name="connsiteX0" fmla="*/ 4360 w 513675"/>
                    <a:gd name="connsiteY0" fmla="*/ 443409 h 465634"/>
                    <a:gd name="connsiteX1" fmla="*/ 7535 w 513675"/>
                    <a:gd name="connsiteY1" fmla="*/ 208459 h 465634"/>
                    <a:gd name="connsiteX2" fmla="*/ 23410 w 513675"/>
                    <a:gd name="connsiteY2" fmla="*/ 170359 h 465634"/>
                    <a:gd name="connsiteX3" fmla="*/ 71035 w 513675"/>
                    <a:gd name="connsiteY3" fmla="*/ 154484 h 465634"/>
                    <a:gd name="connsiteX4" fmla="*/ 172635 w 513675"/>
                    <a:gd name="connsiteY4" fmla="*/ 148134 h 465634"/>
                    <a:gd name="connsiteX5" fmla="*/ 188510 w 513675"/>
                    <a:gd name="connsiteY5" fmla="*/ 90984 h 465634"/>
                    <a:gd name="connsiteX6" fmla="*/ 201210 w 513675"/>
                    <a:gd name="connsiteY6" fmla="*/ 11609 h 465634"/>
                    <a:gd name="connsiteX7" fmla="*/ 312335 w 513675"/>
                    <a:gd name="connsiteY7" fmla="*/ 8434 h 465634"/>
                    <a:gd name="connsiteX8" fmla="*/ 312335 w 513675"/>
                    <a:gd name="connsiteY8" fmla="*/ 87809 h 465634"/>
                    <a:gd name="connsiteX9" fmla="*/ 334560 w 513675"/>
                    <a:gd name="connsiteY9" fmla="*/ 135434 h 465634"/>
                    <a:gd name="connsiteX10" fmla="*/ 445685 w 513675"/>
                    <a:gd name="connsiteY10" fmla="*/ 157659 h 465634"/>
                    <a:gd name="connsiteX11" fmla="*/ 486960 w 513675"/>
                    <a:gd name="connsiteY11" fmla="*/ 183059 h 465634"/>
                    <a:gd name="connsiteX12" fmla="*/ 509185 w 513675"/>
                    <a:gd name="connsiteY12" fmla="*/ 227509 h 465634"/>
                    <a:gd name="connsiteX13" fmla="*/ 512360 w 513675"/>
                    <a:gd name="connsiteY13" fmla="*/ 465634 h 465634"/>
                    <a:gd name="connsiteX14" fmla="*/ 4360 w 513675"/>
                    <a:gd name="connsiteY14" fmla="*/ 443409 h 465634"/>
                    <a:gd name="connsiteX0" fmla="*/ 4360 w 510500"/>
                    <a:gd name="connsiteY0" fmla="*/ 443409 h 449759"/>
                    <a:gd name="connsiteX1" fmla="*/ 7535 w 510500"/>
                    <a:gd name="connsiteY1" fmla="*/ 208459 h 449759"/>
                    <a:gd name="connsiteX2" fmla="*/ 23410 w 510500"/>
                    <a:gd name="connsiteY2" fmla="*/ 170359 h 449759"/>
                    <a:gd name="connsiteX3" fmla="*/ 71035 w 510500"/>
                    <a:gd name="connsiteY3" fmla="*/ 154484 h 449759"/>
                    <a:gd name="connsiteX4" fmla="*/ 172635 w 510500"/>
                    <a:gd name="connsiteY4" fmla="*/ 148134 h 449759"/>
                    <a:gd name="connsiteX5" fmla="*/ 188510 w 510500"/>
                    <a:gd name="connsiteY5" fmla="*/ 90984 h 449759"/>
                    <a:gd name="connsiteX6" fmla="*/ 201210 w 510500"/>
                    <a:gd name="connsiteY6" fmla="*/ 11609 h 449759"/>
                    <a:gd name="connsiteX7" fmla="*/ 312335 w 510500"/>
                    <a:gd name="connsiteY7" fmla="*/ 8434 h 449759"/>
                    <a:gd name="connsiteX8" fmla="*/ 312335 w 510500"/>
                    <a:gd name="connsiteY8" fmla="*/ 87809 h 449759"/>
                    <a:gd name="connsiteX9" fmla="*/ 334560 w 510500"/>
                    <a:gd name="connsiteY9" fmla="*/ 135434 h 449759"/>
                    <a:gd name="connsiteX10" fmla="*/ 445685 w 510500"/>
                    <a:gd name="connsiteY10" fmla="*/ 157659 h 449759"/>
                    <a:gd name="connsiteX11" fmla="*/ 486960 w 510500"/>
                    <a:gd name="connsiteY11" fmla="*/ 183059 h 449759"/>
                    <a:gd name="connsiteX12" fmla="*/ 509185 w 510500"/>
                    <a:gd name="connsiteY12" fmla="*/ 227509 h 449759"/>
                    <a:gd name="connsiteX13" fmla="*/ 506010 w 510500"/>
                    <a:gd name="connsiteY13" fmla="*/ 449759 h 449759"/>
                    <a:gd name="connsiteX14" fmla="*/ 4360 w 510500"/>
                    <a:gd name="connsiteY14" fmla="*/ 443409 h 449759"/>
                    <a:gd name="connsiteX0" fmla="*/ 4360 w 510500"/>
                    <a:gd name="connsiteY0" fmla="*/ 443409 h 454926"/>
                    <a:gd name="connsiteX1" fmla="*/ 7535 w 510500"/>
                    <a:gd name="connsiteY1" fmla="*/ 208459 h 454926"/>
                    <a:gd name="connsiteX2" fmla="*/ 23410 w 510500"/>
                    <a:gd name="connsiteY2" fmla="*/ 170359 h 454926"/>
                    <a:gd name="connsiteX3" fmla="*/ 71035 w 510500"/>
                    <a:gd name="connsiteY3" fmla="*/ 154484 h 454926"/>
                    <a:gd name="connsiteX4" fmla="*/ 172635 w 510500"/>
                    <a:gd name="connsiteY4" fmla="*/ 148134 h 454926"/>
                    <a:gd name="connsiteX5" fmla="*/ 188510 w 510500"/>
                    <a:gd name="connsiteY5" fmla="*/ 90984 h 454926"/>
                    <a:gd name="connsiteX6" fmla="*/ 201210 w 510500"/>
                    <a:gd name="connsiteY6" fmla="*/ 11609 h 454926"/>
                    <a:gd name="connsiteX7" fmla="*/ 312335 w 510500"/>
                    <a:gd name="connsiteY7" fmla="*/ 8434 h 454926"/>
                    <a:gd name="connsiteX8" fmla="*/ 312335 w 510500"/>
                    <a:gd name="connsiteY8" fmla="*/ 87809 h 454926"/>
                    <a:gd name="connsiteX9" fmla="*/ 334560 w 510500"/>
                    <a:gd name="connsiteY9" fmla="*/ 135434 h 454926"/>
                    <a:gd name="connsiteX10" fmla="*/ 445685 w 510500"/>
                    <a:gd name="connsiteY10" fmla="*/ 157659 h 454926"/>
                    <a:gd name="connsiteX11" fmla="*/ 486960 w 510500"/>
                    <a:gd name="connsiteY11" fmla="*/ 183059 h 454926"/>
                    <a:gd name="connsiteX12" fmla="*/ 509185 w 510500"/>
                    <a:gd name="connsiteY12" fmla="*/ 227509 h 454926"/>
                    <a:gd name="connsiteX13" fmla="*/ 506010 w 510500"/>
                    <a:gd name="connsiteY13" fmla="*/ 449759 h 454926"/>
                    <a:gd name="connsiteX14" fmla="*/ 4360 w 510500"/>
                    <a:gd name="connsiteY14" fmla="*/ 443409 h 454926"/>
                    <a:gd name="connsiteX0" fmla="*/ 6473 w 512613"/>
                    <a:gd name="connsiteY0" fmla="*/ 443409 h 454926"/>
                    <a:gd name="connsiteX1" fmla="*/ 9648 w 512613"/>
                    <a:gd name="connsiteY1" fmla="*/ 208459 h 454926"/>
                    <a:gd name="connsiteX2" fmla="*/ 73148 w 512613"/>
                    <a:gd name="connsiteY2" fmla="*/ 154484 h 454926"/>
                    <a:gd name="connsiteX3" fmla="*/ 174748 w 512613"/>
                    <a:gd name="connsiteY3" fmla="*/ 148134 h 454926"/>
                    <a:gd name="connsiteX4" fmla="*/ 190623 w 512613"/>
                    <a:gd name="connsiteY4" fmla="*/ 90984 h 454926"/>
                    <a:gd name="connsiteX5" fmla="*/ 203323 w 512613"/>
                    <a:gd name="connsiteY5" fmla="*/ 11609 h 454926"/>
                    <a:gd name="connsiteX6" fmla="*/ 314448 w 512613"/>
                    <a:gd name="connsiteY6" fmla="*/ 8434 h 454926"/>
                    <a:gd name="connsiteX7" fmla="*/ 314448 w 512613"/>
                    <a:gd name="connsiteY7" fmla="*/ 87809 h 454926"/>
                    <a:gd name="connsiteX8" fmla="*/ 336673 w 512613"/>
                    <a:gd name="connsiteY8" fmla="*/ 135434 h 454926"/>
                    <a:gd name="connsiteX9" fmla="*/ 447798 w 512613"/>
                    <a:gd name="connsiteY9" fmla="*/ 157659 h 454926"/>
                    <a:gd name="connsiteX10" fmla="*/ 489073 w 512613"/>
                    <a:gd name="connsiteY10" fmla="*/ 183059 h 454926"/>
                    <a:gd name="connsiteX11" fmla="*/ 511298 w 512613"/>
                    <a:gd name="connsiteY11" fmla="*/ 227509 h 454926"/>
                    <a:gd name="connsiteX12" fmla="*/ 508123 w 512613"/>
                    <a:gd name="connsiteY12" fmla="*/ 449759 h 454926"/>
                    <a:gd name="connsiteX13" fmla="*/ 6473 w 512613"/>
                    <a:gd name="connsiteY13" fmla="*/ 443409 h 454926"/>
                    <a:gd name="connsiteX0" fmla="*/ 4049 w 510189"/>
                    <a:gd name="connsiteY0" fmla="*/ 443409 h 454926"/>
                    <a:gd name="connsiteX1" fmla="*/ 7224 w 510189"/>
                    <a:gd name="connsiteY1" fmla="*/ 208459 h 454926"/>
                    <a:gd name="connsiteX2" fmla="*/ 70724 w 510189"/>
                    <a:gd name="connsiteY2" fmla="*/ 154484 h 454926"/>
                    <a:gd name="connsiteX3" fmla="*/ 172324 w 510189"/>
                    <a:gd name="connsiteY3" fmla="*/ 148134 h 454926"/>
                    <a:gd name="connsiteX4" fmla="*/ 188199 w 510189"/>
                    <a:gd name="connsiteY4" fmla="*/ 90984 h 454926"/>
                    <a:gd name="connsiteX5" fmla="*/ 200899 w 510189"/>
                    <a:gd name="connsiteY5" fmla="*/ 11609 h 454926"/>
                    <a:gd name="connsiteX6" fmla="*/ 312024 w 510189"/>
                    <a:gd name="connsiteY6" fmla="*/ 8434 h 454926"/>
                    <a:gd name="connsiteX7" fmla="*/ 312024 w 510189"/>
                    <a:gd name="connsiteY7" fmla="*/ 87809 h 454926"/>
                    <a:gd name="connsiteX8" fmla="*/ 334249 w 510189"/>
                    <a:gd name="connsiteY8" fmla="*/ 135434 h 454926"/>
                    <a:gd name="connsiteX9" fmla="*/ 445374 w 510189"/>
                    <a:gd name="connsiteY9" fmla="*/ 157659 h 454926"/>
                    <a:gd name="connsiteX10" fmla="*/ 486649 w 510189"/>
                    <a:gd name="connsiteY10" fmla="*/ 183059 h 454926"/>
                    <a:gd name="connsiteX11" fmla="*/ 508874 w 510189"/>
                    <a:gd name="connsiteY11" fmla="*/ 227509 h 454926"/>
                    <a:gd name="connsiteX12" fmla="*/ 505699 w 510189"/>
                    <a:gd name="connsiteY12" fmla="*/ 449759 h 454926"/>
                    <a:gd name="connsiteX13" fmla="*/ 4049 w 510189"/>
                    <a:gd name="connsiteY13" fmla="*/ 443409 h 454926"/>
                    <a:gd name="connsiteX0" fmla="*/ 4049 w 510189"/>
                    <a:gd name="connsiteY0" fmla="*/ 443409 h 454926"/>
                    <a:gd name="connsiteX1" fmla="*/ 7224 w 510189"/>
                    <a:gd name="connsiteY1" fmla="*/ 208459 h 454926"/>
                    <a:gd name="connsiteX2" fmla="*/ 70724 w 510189"/>
                    <a:gd name="connsiteY2" fmla="*/ 154484 h 454926"/>
                    <a:gd name="connsiteX3" fmla="*/ 172324 w 510189"/>
                    <a:gd name="connsiteY3" fmla="*/ 148134 h 454926"/>
                    <a:gd name="connsiteX4" fmla="*/ 188199 w 510189"/>
                    <a:gd name="connsiteY4" fmla="*/ 90984 h 454926"/>
                    <a:gd name="connsiteX5" fmla="*/ 200899 w 510189"/>
                    <a:gd name="connsiteY5" fmla="*/ 11609 h 454926"/>
                    <a:gd name="connsiteX6" fmla="*/ 312024 w 510189"/>
                    <a:gd name="connsiteY6" fmla="*/ 8434 h 454926"/>
                    <a:gd name="connsiteX7" fmla="*/ 312024 w 510189"/>
                    <a:gd name="connsiteY7" fmla="*/ 87809 h 454926"/>
                    <a:gd name="connsiteX8" fmla="*/ 334249 w 510189"/>
                    <a:gd name="connsiteY8" fmla="*/ 135434 h 454926"/>
                    <a:gd name="connsiteX9" fmla="*/ 445374 w 510189"/>
                    <a:gd name="connsiteY9" fmla="*/ 157659 h 454926"/>
                    <a:gd name="connsiteX10" fmla="*/ 508874 w 510189"/>
                    <a:gd name="connsiteY10" fmla="*/ 227509 h 454926"/>
                    <a:gd name="connsiteX11" fmla="*/ 505699 w 510189"/>
                    <a:gd name="connsiteY11" fmla="*/ 449759 h 454926"/>
                    <a:gd name="connsiteX12" fmla="*/ 4049 w 510189"/>
                    <a:gd name="connsiteY12" fmla="*/ 443409 h 454926"/>
                    <a:gd name="connsiteX0" fmla="*/ 4049 w 510189"/>
                    <a:gd name="connsiteY0" fmla="*/ 443409 h 454926"/>
                    <a:gd name="connsiteX1" fmla="*/ 7224 w 510189"/>
                    <a:gd name="connsiteY1" fmla="*/ 208459 h 454926"/>
                    <a:gd name="connsiteX2" fmla="*/ 70724 w 510189"/>
                    <a:gd name="connsiteY2" fmla="*/ 154484 h 454926"/>
                    <a:gd name="connsiteX3" fmla="*/ 172324 w 510189"/>
                    <a:gd name="connsiteY3" fmla="*/ 148134 h 454926"/>
                    <a:gd name="connsiteX4" fmla="*/ 188199 w 510189"/>
                    <a:gd name="connsiteY4" fmla="*/ 90984 h 454926"/>
                    <a:gd name="connsiteX5" fmla="*/ 200899 w 510189"/>
                    <a:gd name="connsiteY5" fmla="*/ 11609 h 454926"/>
                    <a:gd name="connsiteX6" fmla="*/ 312024 w 510189"/>
                    <a:gd name="connsiteY6" fmla="*/ 8434 h 454926"/>
                    <a:gd name="connsiteX7" fmla="*/ 312024 w 510189"/>
                    <a:gd name="connsiteY7" fmla="*/ 87809 h 454926"/>
                    <a:gd name="connsiteX8" fmla="*/ 334249 w 510189"/>
                    <a:gd name="connsiteY8" fmla="*/ 135434 h 454926"/>
                    <a:gd name="connsiteX9" fmla="*/ 445374 w 510189"/>
                    <a:gd name="connsiteY9" fmla="*/ 157659 h 454926"/>
                    <a:gd name="connsiteX10" fmla="*/ 508874 w 510189"/>
                    <a:gd name="connsiteY10" fmla="*/ 227509 h 454926"/>
                    <a:gd name="connsiteX11" fmla="*/ 505699 w 510189"/>
                    <a:gd name="connsiteY11" fmla="*/ 449759 h 454926"/>
                    <a:gd name="connsiteX12" fmla="*/ 4049 w 510189"/>
                    <a:gd name="connsiteY12" fmla="*/ 443409 h 454926"/>
                    <a:gd name="connsiteX0" fmla="*/ 5987 w 512127"/>
                    <a:gd name="connsiteY0" fmla="*/ 443409 h 454926"/>
                    <a:gd name="connsiteX1" fmla="*/ 2812 w 512127"/>
                    <a:gd name="connsiteY1" fmla="*/ 217984 h 454926"/>
                    <a:gd name="connsiteX2" fmla="*/ 72662 w 512127"/>
                    <a:gd name="connsiteY2" fmla="*/ 154484 h 454926"/>
                    <a:gd name="connsiteX3" fmla="*/ 174262 w 512127"/>
                    <a:gd name="connsiteY3" fmla="*/ 148134 h 454926"/>
                    <a:gd name="connsiteX4" fmla="*/ 190137 w 512127"/>
                    <a:gd name="connsiteY4" fmla="*/ 90984 h 454926"/>
                    <a:gd name="connsiteX5" fmla="*/ 202837 w 512127"/>
                    <a:gd name="connsiteY5" fmla="*/ 11609 h 454926"/>
                    <a:gd name="connsiteX6" fmla="*/ 313962 w 512127"/>
                    <a:gd name="connsiteY6" fmla="*/ 8434 h 454926"/>
                    <a:gd name="connsiteX7" fmla="*/ 313962 w 512127"/>
                    <a:gd name="connsiteY7" fmla="*/ 87809 h 454926"/>
                    <a:gd name="connsiteX8" fmla="*/ 336187 w 512127"/>
                    <a:gd name="connsiteY8" fmla="*/ 135434 h 454926"/>
                    <a:gd name="connsiteX9" fmla="*/ 447312 w 512127"/>
                    <a:gd name="connsiteY9" fmla="*/ 157659 h 454926"/>
                    <a:gd name="connsiteX10" fmla="*/ 510812 w 512127"/>
                    <a:gd name="connsiteY10" fmla="*/ 227509 h 454926"/>
                    <a:gd name="connsiteX11" fmla="*/ 507637 w 512127"/>
                    <a:gd name="connsiteY11" fmla="*/ 449759 h 454926"/>
                    <a:gd name="connsiteX12" fmla="*/ 5987 w 512127"/>
                    <a:gd name="connsiteY12" fmla="*/ 443409 h 454926"/>
                    <a:gd name="connsiteX0" fmla="*/ 9762 w 515902"/>
                    <a:gd name="connsiteY0" fmla="*/ 443409 h 454926"/>
                    <a:gd name="connsiteX1" fmla="*/ 6587 w 515902"/>
                    <a:gd name="connsiteY1" fmla="*/ 217984 h 454926"/>
                    <a:gd name="connsiteX2" fmla="*/ 76437 w 515902"/>
                    <a:gd name="connsiteY2" fmla="*/ 154484 h 454926"/>
                    <a:gd name="connsiteX3" fmla="*/ 178037 w 515902"/>
                    <a:gd name="connsiteY3" fmla="*/ 148134 h 454926"/>
                    <a:gd name="connsiteX4" fmla="*/ 193912 w 515902"/>
                    <a:gd name="connsiteY4" fmla="*/ 90984 h 454926"/>
                    <a:gd name="connsiteX5" fmla="*/ 206612 w 515902"/>
                    <a:gd name="connsiteY5" fmla="*/ 11609 h 454926"/>
                    <a:gd name="connsiteX6" fmla="*/ 317737 w 515902"/>
                    <a:gd name="connsiteY6" fmla="*/ 8434 h 454926"/>
                    <a:gd name="connsiteX7" fmla="*/ 317737 w 515902"/>
                    <a:gd name="connsiteY7" fmla="*/ 87809 h 454926"/>
                    <a:gd name="connsiteX8" fmla="*/ 339962 w 515902"/>
                    <a:gd name="connsiteY8" fmla="*/ 135434 h 454926"/>
                    <a:gd name="connsiteX9" fmla="*/ 451087 w 515902"/>
                    <a:gd name="connsiteY9" fmla="*/ 157659 h 454926"/>
                    <a:gd name="connsiteX10" fmla="*/ 514587 w 515902"/>
                    <a:gd name="connsiteY10" fmla="*/ 227509 h 454926"/>
                    <a:gd name="connsiteX11" fmla="*/ 511412 w 515902"/>
                    <a:gd name="connsiteY11" fmla="*/ 449759 h 454926"/>
                    <a:gd name="connsiteX12" fmla="*/ 9762 w 515902"/>
                    <a:gd name="connsiteY12" fmla="*/ 443409 h 454926"/>
                    <a:gd name="connsiteX0" fmla="*/ 9762 w 515902"/>
                    <a:gd name="connsiteY0" fmla="*/ 443409 h 454926"/>
                    <a:gd name="connsiteX1" fmla="*/ 6587 w 515902"/>
                    <a:gd name="connsiteY1" fmla="*/ 217984 h 454926"/>
                    <a:gd name="connsiteX2" fmla="*/ 76437 w 515902"/>
                    <a:gd name="connsiteY2" fmla="*/ 154484 h 454926"/>
                    <a:gd name="connsiteX3" fmla="*/ 178037 w 515902"/>
                    <a:gd name="connsiteY3" fmla="*/ 148134 h 454926"/>
                    <a:gd name="connsiteX4" fmla="*/ 193912 w 515902"/>
                    <a:gd name="connsiteY4" fmla="*/ 90984 h 454926"/>
                    <a:gd name="connsiteX5" fmla="*/ 206612 w 515902"/>
                    <a:gd name="connsiteY5" fmla="*/ 11609 h 454926"/>
                    <a:gd name="connsiteX6" fmla="*/ 317737 w 515902"/>
                    <a:gd name="connsiteY6" fmla="*/ 8434 h 454926"/>
                    <a:gd name="connsiteX7" fmla="*/ 317737 w 515902"/>
                    <a:gd name="connsiteY7" fmla="*/ 87809 h 454926"/>
                    <a:gd name="connsiteX8" fmla="*/ 339962 w 515902"/>
                    <a:gd name="connsiteY8" fmla="*/ 135434 h 454926"/>
                    <a:gd name="connsiteX9" fmla="*/ 451087 w 515902"/>
                    <a:gd name="connsiteY9" fmla="*/ 157659 h 454926"/>
                    <a:gd name="connsiteX10" fmla="*/ 514587 w 515902"/>
                    <a:gd name="connsiteY10" fmla="*/ 227509 h 454926"/>
                    <a:gd name="connsiteX11" fmla="*/ 511412 w 515902"/>
                    <a:gd name="connsiteY11" fmla="*/ 449759 h 454926"/>
                    <a:gd name="connsiteX12" fmla="*/ 9762 w 515902"/>
                    <a:gd name="connsiteY12" fmla="*/ 443409 h 454926"/>
                    <a:gd name="connsiteX0" fmla="*/ 9762 w 515902"/>
                    <a:gd name="connsiteY0" fmla="*/ 443409 h 454926"/>
                    <a:gd name="connsiteX1" fmla="*/ 6587 w 515902"/>
                    <a:gd name="connsiteY1" fmla="*/ 217984 h 454926"/>
                    <a:gd name="connsiteX2" fmla="*/ 76437 w 515902"/>
                    <a:gd name="connsiteY2" fmla="*/ 154484 h 454926"/>
                    <a:gd name="connsiteX3" fmla="*/ 193912 w 515902"/>
                    <a:gd name="connsiteY3" fmla="*/ 90984 h 454926"/>
                    <a:gd name="connsiteX4" fmla="*/ 206612 w 515902"/>
                    <a:gd name="connsiteY4" fmla="*/ 11609 h 454926"/>
                    <a:gd name="connsiteX5" fmla="*/ 317737 w 515902"/>
                    <a:gd name="connsiteY5" fmla="*/ 8434 h 454926"/>
                    <a:gd name="connsiteX6" fmla="*/ 317737 w 515902"/>
                    <a:gd name="connsiteY6" fmla="*/ 87809 h 454926"/>
                    <a:gd name="connsiteX7" fmla="*/ 339962 w 515902"/>
                    <a:gd name="connsiteY7" fmla="*/ 135434 h 454926"/>
                    <a:gd name="connsiteX8" fmla="*/ 451087 w 515902"/>
                    <a:gd name="connsiteY8" fmla="*/ 157659 h 454926"/>
                    <a:gd name="connsiteX9" fmla="*/ 514587 w 515902"/>
                    <a:gd name="connsiteY9" fmla="*/ 227509 h 454926"/>
                    <a:gd name="connsiteX10" fmla="*/ 511412 w 515902"/>
                    <a:gd name="connsiteY10" fmla="*/ 449759 h 454926"/>
                    <a:gd name="connsiteX11" fmla="*/ 9762 w 515902"/>
                    <a:gd name="connsiteY11" fmla="*/ 443409 h 454926"/>
                    <a:gd name="connsiteX0" fmla="*/ 9762 w 515902"/>
                    <a:gd name="connsiteY0" fmla="*/ 446099 h 457616"/>
                    <a:gd name="connsiteX1" fmla="*/ 6587 w 515902"/>
                    <a:gd name="connsiteY1" fmla="*/ 220674 h 457616"/>
                    <a:gd name="connsiteX2" fmla="*/ 76437 w 515902"/>
                    <a:gd name="connsiteY2" fmla="*/ 157174 h 457616"/>
                    <a:gd name="connsiteX3" fmla="*/ 190737 w 515902"/>
                    <a:gd name="connsiteY3" fmla="*/ 138124 h 457616"/>
                    <a:gd name="connsiteX4" fmla="*/ 206612 w 515902"/>
                    <a:gd name="connsiteY4" fmla="*/ 14299 h 457616"/>
                    <a:gd name="connsiteX5" fmla="*/ 317737 w 515902"/>
                    <a:gd name="connsiteY5" fmla="*/ 11124 h 457616"/>
                    <a:gd name="connsiteX6" fmla="*/ 317737 w 515902"/>
                    <a:gd name="connsiteY6" fmla="*/ 90499 h 457616"/>
                    <a:gd name="connsiteX7" fmla="*/ 339962 w 515902"/>
                    <a:gd name="connsiteY7" fmla="*/ 138124 h 457616"/>
                    <a:gd name="connsiteX8" fmla="*/ 451087 w 515902"/>
                    <a:gd name="connsiteY8" fmla="*/ 160349 h 457616"/>
                    <a:gd name="connsiteX9" fmla="*/ 514587 w 515902"/>
                    <a:gd name="connsiteY9" fmla="*/ 230199 h 457616"/>
                    <a:gd name="connsiteX10" fmla="*/ 511412 w 515902"/>
                    <a:gd name="connsiteY10" fmla="*/ 452449 h 457616"/>
                    <a:gd name="connsiteX11" fmla="*/ 9762 w 515902"/>
                    <a:gd name="connsiteY11" fmla="*/ 446099 h 457616"/>
                    <a:gd name="connsiteX0" fmla="*/ 9762 w 515902"/>
                    <a:gd name="connsiteY0" fmla="*/ 446099 h 457616"/>
                    <a:gd name="connsiteX1" fmla="*/ 6587 w 515902"/>
                    <a:gd name="connsiteY1" fmla="*/ 220674 h 457616"/>
                    <a:gd name="connsiteX2" fmla="*/ 76437 w 515902"/>
                    <a:gd name="connsiteY2" fmla="*/ 157174 h 457616"/>
                    <a:gd name="connsiteX3" fmla="*/ 190737 w 515902"/>
                    <a:gd name="connsiteY3" fmla="*/ 138124 h 457616"/>
                    <a:gd name="connsiteX4" fmla="*/ 206612 w 515902"/>
                    <a:gd name="connsiteY4" fmla="*/ 14299 h 457616"/>
                    <a:gd name="connsiteX5" fmla="*/ 317737 w 515902"/>
                    <a:gd name="connsiteY5" fmla="*/ 11124 h 457616"/>
                    <a:gd name="connsiteX6" fmla="*/ 317737 w 515902"/>
                    <a:gd name="connsiteY6" fmla="*/ 90499 h 457616"/>
                    <a:gd name="connsiteX7" fmla="*/ 451087 w 515902"/>
                    <a:gd name="connsiteY7" fmla="*/ 160349 h 457616"/>
                    <a:gd name="connsiteX8" fmla="*/ 514587 w 515902"/>
                    <a:gd name="connsiteY8" fmla="*/ 230199 h 457616"/>
                    <a:gd name="connsiteX9" fmla="*/ 511412 w 515902"/>
                    <a:gd name="connsiteY9" fmla="*/ 452449 h 457616"/>
                    <a:gd name="connsiteX10" fmla="*/ 9762 w 515902"/>
                    <a:gd name="connsiteY10" fmla="*/ 446099 h 457616"/>
                    <a:gd name="connsiteX0" fmla="*/ 9762 w 515902"/>
                    <a:gd name="connsiteY0" fmla="*/ 447482 h 458999"/>
                    <a:gd name="connsiteX1" fmla="*/ 6587 w 515902"/>
                    <a:gd name="connsiteY1" fmla="*/ 222057 h 458999"/>
                    <a:gd name="connsiteX2" fmla="*/ 76437 w 515902"/>
                    <a:gd name="connsiteY2" fmla="*/ 158557 h 458999"/>
                    <a:gd name="connsiteX3" fmla="*/ 190737 w 515902"/>
                    <a:gd name="connsiteY3" fmla="*/ 139507 h 458999"/>
                    <a:gd name="connsiteX4" fmla="*/ 206612 w 515902"/>
                    <a:gd name="connsiteY4" fmla="*/ 15682 h 458999"/>
                    <a:gd name="connsiteX5" fmla="*/ 317737 w 515902"/>
                    <a:gd name="connsiteY5" fmla="*/ 12507 h 458999"/>
                    <a:gd name="connsiteX6" fmla="*/ 330437 w 515902"/>
                    <a:gd name="connsiteY6" fmla="*/ 114107 h 458999"/>
                    <a:gd name="connsiteX7" fmla="*/ 451087 w 515902"/>
                    <a:gd name="connsiteY7" fmla="*/ 161732 h 458999"/>
                    <a:gd name="connsiteX8" fmla="*/ 514587 w 515902"/>
                    <a:gd name="connsiteY8" fmla="*/ 231582 h 458999"/>
                    <a:gd name="connsiteX9" fmla="*/ 511412 w 515902"/>
                    <a:gd name="connsiteY9" fmla="*/ 453832 h 458999"/>
                    <a:gd name="connsiteX10" fmla="*/ 9762 w 515902"/>
                    <a:gd name="connsiteY10" fmla="*/ 447482 h 458999"/>
                    <a:gd name="connsiteX0" fmla="*/ 9762 w 515902"/>
                    <a:gd name="connsiteY0" fmla="*/ 446348 h 457865"/>
                    <a:gd name="connsiteX1" fmla="*/ 6587 w 515902"/>
                    <a:gd name="connsiteY1" fmla="*/ 220923 h 457865"/>
                    <a:gd name="connsiteX2" fmla="*/ 76437 w 515902"/>
                    <a:gd name="connsiteY2" fmla="*/ 157423 h 457865"/>
                    <a:gd name="connsiteX3" fmla="*/ 200262 w 515902"/>
                    <a:gd name="connsiteY3" fmla="*/ 119323 h 457865"/>
                    <a:gd name="connsiteX4" fmla="*/ 206612 w 515902"/>
                    <a:gd name="connsiteY4" fmla="*/ 14548 h 457865"/>
                    <a:gd name="connsiteX5" fmla="*/ 317737 w 515902"/>
                    <a:gd name="connsiteY5" fmla="*/ 11373 h 457865"/>
                    <a:gd name="connsiteX6" fmla="*/ 330437 w 515902"/>
                    <a:gd name="connsiteY6" fmla="*/ 112973 h 457865"/>
                    <a:gd name="connsiteX7" fmla="*/ 451087 w 515902"/>
                    <a:gd name="connsiteY7" fmla="*/ 160598 h 457865"/>
                    <a:gd name="connsiteX8" fmla="*/ 514587 w 515902"/>
                    <a:gd name="connsiteY8" fmla="*/ 230448 h 457865"/>
                    <a:gd name="connsiteX9" fmla="*/ 511412 w 515902"/>
                    <a:gd name="connsiteY9" fmla="*/ 452698 h 457865"/>
                    <a:gd name="connsiteX10" fmla="*/ 9762 w 515902"/>
                    <a:gd name="connsiteY10" fmla="*/ 446348 h 457865"/>
                    <a:gd name="connsiteX0" fmla="*/ 8840 w 514980"/>
                    <a:gd name="connsiteY0" fmla="*/ 446348 h 457865"/>
                    <a:gd name="connsiteX1" fmla="*/ 5665 w 514980"/>
                    <a:gd name="connsiteY1" fmla="*/ 220923 h 457865"/>
                    <a:gd name="connsiteX2" fmla="*/ 62412 w 514980"/>
                    <a:gd name="connsiteY2" fmla="*/ 133367 h 457865"/>
                    <a:gd name="connsiteX3" fmla="*/ 199340 w 514980"/>
                    <a:gd name="connsiteY3" fmla="*/ 119323 h 457865"/>
                    <a:gd name="connsiteX4" fmla="*/ 205690 w 514980"/>
                    <a:gd name="connsiteY4" fmla="*/ 14548 h 457865"/>
                    <a:gd name="connsiteX5" fmla="*/ 316815 w 514980"/>
                    <a:gd name="connsiteY5" fmla="*/ 11373 h 457865"/>
                    <a:gd name="connsiteX6" fmla="*/ 329515 w 514980"/>
                    <a:gd name="connsiteY6" fmla="*/ 112973 h 457865"/>
                    <a:gd name="connsiteX7" fmla="*/ 450165 w 514980"/>
                    <a:gd name="connsiteY7" fmla="*/ 160598 h 457865"/>
                    <a:gd name="connsiteX8" fmla="*/ 513665 w 514980"/>
                    <a:gd name="connsiteY8" fmla="*/ 230448 h 457865"/>
                    <a:gd name="connsiteX9" fmla="*/ 510490 w 514980"/>
                    <a:gd name="connsiteY9" fmla="*/ 452698 h 457865"/>
                    <a:gd name="connsiteX10" fmla="*/ 8840 w 514980"/>
                    <a:gd name="connsiteY10" fmla="*/ 446348 h 457865"/>
                    <a:gd name="connsiteX0" fmla="*/ 8840 w 514980"/>
                    <a:gd name="connsiteY0" fmla="*/ 445015 h 456532"/>
                    <a:gd name="connsiteX1" fmla="*/ 5665 w 514980"/>
                    <a:gd name="connsiteY1" fmla="*/ 219590 h 456532"/>
                    <a:gd name="connsiteX2" fmla="*/ 62412 w 514980"/>
                    <a:gd name="connsiteY2" fmla="*/ 132034 h 456532"/>
                    <a:gd name="connsiteX3" fmla="*/ 186237 w 514980"/>
                    <a:gd name="connsiteY3" fmla="*/ 93934 h 456532"/>
                    <a:gd name="connsiteX4" fmla="*/ 205690 w 514980"/>
                    <a:gd name="connsiteY4" fmla="*/ 13215 h 456532"/>
                    <a:gd name="connsiteX5" fmla="*/ 316815 w 514980"/>
                    <a:gd name="connsiteY5" fmla="*/ 10040 h 456532"/>
                    <a:gd name="connsiteX6" fmla="*/ 329515 w 514980"/>
                    <a:gd name="connsiteY6" fmla="*/ 111640 h 456532"/>
                    <a:gd name="connsiteX7" fmla="*/ 450165 w 514980"/>
                    <a:gd name="connsiteY7" fmla="*/ 159265 h 456532"/>
                    <a:gd name="connsiteX8" fmla="*/ 513665 w 514980"/>
                    <a:gd name="connsiteY8" fmla="*/ 229115 h 456532"/>
                    <a:gd name="connsiteX9" fmla="*/ 510490 w 514980"/>
                    <a:gd name="connsiteY9" fmla="*/ 451365 h 456532"/>
                    <a:gd name="connsiteX10" fmla="*/ 8840 w 514980"/>
                    <a:gd name="connsiteY10" fmla="*/ 445015 h 456532"/>
                    <a:gd name="connsiteX0" fmla="*/ 8840 w 514980"/>
                    <a:gd name="connsiteY0" fmla="*/ 445015 h 456532"/>
                    <a:gd name="connsiteX1" fmla="*/ 5665 w 514980"/>
                    <a:gd name="connsiteY1" fmla="*/ 219590 h 456532"/>
                    <a:gd name="connsiteX2" fmla="*/ 62412 w 514980"/>
                    <a:gd name="connsiteY2" fmla="*/ 132034 h 456532"/>
                    <a:gd name="connsiteX3" fmla="*/ 186237 w 514980"/>
                    <a:gd name="connsiteY3" fmla="*/ 93934 h 456532"/>
                    <a:gd name="connsiteX4" fmla="*/ 205690 w 514980"/>
                    <a:gd name="connsiteY4" fmla="*/ 13215 h 456532"/>
                    <a:gd name="connsiteX5" fmla="*/ 316815 w 514980"/>
                    <a:gd name="connsiteY5" fmla="*/ 10040 h 456532"/>
                    <a:gd name="connsiteX6" fmla="*/ 329515 w 514980"/>
                    <a:gd name="connsiteY6" fmla="*/ 111640 h 456532"/>
                    <a:gd name="connsiteX7" fmla="*/ 461084 w 514980"/>
                    <a:gd name="connsiteY7" fmla="*/ 146143 h 456532"/>
                    <a:gd name="connsiteX8" fmla="*/ 513665 w 514980"/>
                    <a:gd name="connsiteY8" fmla="*/ 229115 h 456532"/>
                    <a:gd name="connsiteX9" fmla="*/ 510490 w 514980"/>
                    <a:gd name="connsiteY9" fmla="*/ 451365 h 456532"/>
                    <a:gd name="connsiteX10" fmla="*/ 8840 w 514980"/>
                    <a:gd name="connsiteY10" fmla="*/ 445015 h 456532"/>
                    <a:gd name="connsiteX0" fmla="*/ 8840 w 514980"/>
                    <a:gd name="connsiteY0" fmla="*/ 444105 h 455622"/>
                    <a:gd name="connsiteX1" fmla="*/ 5665 w 514980"/>
                    <a:gd name="connsiteY1" fmla="*/ 218680 h 455622"/>
                    <a:gd name="connsiteX2" fmla="*/ 62412 w 514980"/>
                    <a:gd name="connsiteY2" fmla="*/ 131124 h 455622"/>
                    <a:gd name="connsiteX3" fmla="*/ 186237 w 514980"/>
                    <a:gd name="connsiteY3" fmla="*/ 93024 h 455622"/>
                    <a:gd name="connsiteX4" fmla="*/ 205690 w 514980"/>
                    <a:gd name="connsiteY4" fmla="*/ 12305 h 455622"/>
                    <a:gd name="connsiteX5" fmla="*/ 316815 w 514980"/>
                    <a:gd name="connsiteY5" fmla="*/ 9130 h 455622"/>
                    <a:gd name="connsiteX6" fmla="*/ 351353 w 514980"/>
                    <a:gd name="connsiteY6" fmla="*/ 97608 h 455622"/>
                    <a:gd name="connsiteX7" fmla="*/ 461084 w 514980"/>
                    <a:gd name="connsiteY7" fmla="*/ 145233 h 455622"/>
                    <a:gd name="connsiteX8" fmla="*/ 513665 w 514980"/>
                    <a:gd name="connsiteY8" fmla="*/ 228205 h 455622"/>
                    <a:gd name="connsiteX9" fmla="*/ 510490 w 514980"/>
                    <a:gd name="connsiteY9" fmla="*/ 450455 h 455622"/>
                    <a:gd name="connsiteX10" fmla="*/ 8840 w 514980"/>
                    <a:gd name="connsiteY10" fmla="*/ 444105 h 455622"/>
                    <a:gd name="connsiteX0" fmla="*/ 8840 w 514980"/>
                    <a:gd name="connsiteY0" fmla="*/ 442755 h 454272"/>
                    <a:gd name="connsiteX1" fmla="*/ 5665 w 514980"/>
                    <a:gd name="connsiteY1" fmla="*/ 217330 h 454272"/>
                    <a:gd name="connsiteX2" fmla="*/ 62412 w 514980"/>
                    <a:gd name="connsiteY2" fmla="*/ 129774 h 454272"/>
                    <a:gd name="connsiteX3" fmla="*/ 186237 w 514980"/>
                    <a:gd name="connsiteY3" fmla="*/ 91674 h 454272"/>
                    <a:gd name="connsiteX4" fmla="*/ 205690 w 514980"/>
                    <a:gd name="connsiteY4" fmla="*/ 10955 h 454272"/>
                    <a:gd name="connsiteX5" fmla="*/ 325550 w 514980"/>
                    <a:gd name="connsiteY5" fmla="*/ 9967 h 454272"/>
                    <a:gd name="connsiteX6" fmla="*/ 351353 w 514980"/>
                    <a:gd name="connsiteY6" fmla="*/ 96258 h 454272"/>
                    <a:gd name="connsiteX7" fmla="*/ 461084 w 514980"/>
                    <a:gd name="connsiteY7" fmla="*/ 143883 h 454272"/>
                    <a:gd name="connsiteX8" fmla="*/ 513665 w 514980"/>
                    <a:gd name="connsiteY8" fmla="*/ 226855 h 454272"/>
                    <a:gd name="connsiteX9" fmla="*/ 510490 w 514980"/>
                    <a:gd name="connsiteY9" fmla="*/ 449105 h 454272"/>
                    <a:gd name="connsiteX10" fmla="*/ 8840 w 514980"/>
                    <a:gd name="connsiteY10" fmla="*/ 442755 h 454272"/>
                    <a:gd name="connsiteX0" fmla="*/ 8840 w 514980"/>
                    <a:gd name="connsiteY0" fmla="*/ 442755 h 454272"/>
                    <a:gd name="connsiteX1" fmla="*/ 5665 w 514980"/>
                    <a:gd name="connsiteY1" fmla="*/ 217330 h 454272"/>
                    <a:gd name="connsiteX2" fmla="*/ 62412 w 514980"/>
                    <a:gd name="connsiteY2" fmla="*/ 129774 h 454272"/>
                    <a:gd name="connsiteX3" fmla="*/ 186237 w 514980"/>
                    <a:gd name="connsiteY3" fmla="*/ 91674 h 454272"/>
                    <a:gd name="connsiteX4" fmla="*/ 205690 w 514980"/>
                    <a:gd name="connsiteY4" fmla="*/ 10955 h 454272"/>
                    <a:gd name="connsiteX5" fmla="*/ 325550 w 514980"/>
                    <a:gd name="connsiteY5" fmla="*/ 9967 h 454272"/>
                    <a:gd name="connsiteX6" fmla="*/ 351353 w 514980"/>
                    <a:gd name="connsiteY6" fmla="*/ 96258 h 454272"/>
                    <a:gd name="connsiteX7" fmla="*/ 461084 w 514980"/>
                    <a:gd name="connsiteY7" fmla="*/ 143883 h 454272"/>
                    <a:gd name="connsiteX8" fmla="*/ 513665 w 514980"/>
                    <a:gd name="connsiteY8" fmla="*/ 226855 h 454272"/>
                    <a:gd name="connsiteX9" fmla="*/ 510490 w 514980"/>
                    <a:gd name="connsiteY9" fmla="*/ 449105 h 454272"/>
                    <a:gd name="connsiteX10" fmla="*/ 8840 w 514980"/>
                    <a:gd name="connsiteY10" fmla="*/ 442755 h 454272"/>
                    <a:gd name="connsiteX0" fmla="*/ 8840 w 514980"/>
                    <a:gd name="connsiteY0" fmla="*/ 442755 h 454272"/>
                    <a:gd name="connsiteX1" fmla="*/ 5665 w 514980"/>
                    <a:gd name="connsiteY1" fmla="*/ 217330 h 454272"/>
                    <a:gd name="connsiteX2" fmla="*/ 62412 w 514980"/>
                    <a:gd name="connsiteY2" fmla="*/ 129774 h 454272"/>
                    <a:gd name="connsiteX3" fmla="*/ 186237 w 514980"/>
                    <a:gd name="connsiteY3" fmla="*/ 91674 h 454272"/>
                    <a:gd name="connsiteX4" fmla="*/ 205690 w 514980"/>
                    <a:gd name="connsiteY4" fmla="*/ 10955 h 454272"/>
                    <a:gd name="connsiteX5" fmla="*/ 325550 w 514980"/>
                    <a:gd name="connsiteY5" fmla="*/ 9967 h 454272"/>
                    <a:gd name="connsiteX6" fmla="*/ 351353 w 514980"/>
                    <a:gd name="connsiteY6" fmla="*/ 96258 h 454272"/>
                    <a:gd name="connsiteX7" fmla="*/ 461084 w 514980"/>
                    <a:gd name="connsiteY7" fmla="*/ 143883 h 454272"/>
                    <a:gd name="connsiteX8" fmla="*/ 513665 w 514980"/>
                    <a:gd name="connsiteY8" fmla="*/ 226855 h 454272"/>
                    <a:gd name="connsiteX9" fmla="*/ 510490 w 514980"/>
                    <a:gd name="connsiteY9" fmla="*/ 449105 h 454272"/>
                    <a:gd name="connsiteX10" fmla="*/ 8840 w 514980"/>
                    <a:gd name="connsiteY10" fmla="*/ 442755 h 454272"/>
                    <a:gd name="connsiteX0" fmla="*/ 8840 w 514980"/>
                    <a:gd name="connsiteY0" fmla="*/ 442755 h 454272"/>
                    <a:gd name="connsiteX1" fmla="*/ 5665 w 514980"/>
                    <a:gd name="connsiteY1" fmla="*/ 217330 h 454272"/>
                    <a:gd name="connsiteX2" fmla="*/ 62412 w 514980"/>
                    <a:gd name="connsiteY2" fmla="*/ 129774 h 454272"/>
                    <a:gd name="connsiteX3" fmla="*/ 186237 w 514980"/>
                    <a:gd name="connsiteY3" fmla="*/ 91674 h 454272"/>
                    <a:gd name="connsiteX4" fmla="*/ 205690 w 514980"/>
                    <a:gd name="connsiteY4" fmla="*/ 10955 h 454272"/>
                    <a:gd name="connsiteX5" fmla="*/ 325550 w 514980"/>
                    <a:gd name="connsiteY5" fmla="*/ 9967 h 454272"/>
                    <a:gd name="connsiteX6" fmla="*/ 351353 w 514980"/>
                    <a:gd name="connsiteY6" fmla="*/ 96258 h 454272"/>
                    <a:gd name="connsiteX7" fmla="*/ 461084 w 514980"/>
                    <a:gd name="connsiteY7" fmla="*/ 143883 h 454272"/>
                    <a:gd name="connsiteX8" fmla="*/ 513665 w 514980"/>
                    <a:gd name="connsiteY8" fmla="*/ 226855 h 454272"/>
                    <a:gd name="connsiteX9" fmla="*/ 510490 w 514980"/>
                    <a:gd name="connsiteY9" fmla="*/ 449105 h 454272"/>
                    <a:gd name="connsiteX10" fmla="*/ 8840 w 514980"/>
                    <a:gd name="connsiteY10" fmla="*/ 442755 h 454272"/>
                    <a:gd name="connsiteX0" fmla="*/ 8840 w 514980"/>
                    <a:gd name="connsiteY0" fmla="*/ 436996 h 448513"/>
                    <a:gd name="connsiteX1" fmla="*/ 5665 w 514980"/>
                    <a:gd name="connsiteY1" fmla="*/ 211571 h 448513"/>
                    <a:gd name="connsiteX2" fmla="*/ 62412 w 514980"/>
                    <a:gd name="connsiteY2" fmla="*/ 124015 h 448513"/>
                    <a:gd name="connsiteX3" fmla="*/ 186237 w 514980"/>
                    <a:gd name="connsiteY3" fmla="*/ 85915 h 448513"/>
                    <a:gd name="connsiteX4" fmla="*/ 205690 w 514980"/>
                    <a:gd name="connsiteY4" fmla="*/ 5196 h 448513"/>
                    <a:gd name="connsiteX5" fmla="*/ 325550 w 514980"/>
                    <a:gd name="connsiteY5" fmla="*/ 4208 h 448513"/>
                    <a:gd name="connsiteX6" fmla="*/ 351353 w 514980"/>
                    <a:gd name="connsiteY6" fmla="*/ 90499 h 448513"/>
                    <a:gd name="connsiteX7" fmla="*/ 461084 w 514980"/>
                    <a:gd name="connsiteY7" fmla="*/ 138124 h 448513"/>
                    <a:gd name="connsiteX8" fmla="*/ 513665 w 514980"/>
                    <a:gd name="connsiteY8" fmla="*/ 221096 h 448513"/>
                    <a:gd name="connsiteX9" fmla="*/ 510490 w 514980"/>
                    <a:gd name="connsiteY9" fmla="*/ 443346 h 448513"/>
                    <a:gd name="connsiteX10" fmla="*/ 8840 w 514980"/>
                    <a:gd name="connsiteY10" fmla="*/ 436996 h 448513"/>
                    <a:gd name="connsiteX0" fmla="*/ 8840 w 514980"/>
                    <a:gd name="connsiteY0" fmla="*/ 436996 h 448513"/>
                    <a:gd name="connsiteX1" fmla="*/ 5665 w 514980"/>
                    <a:gd name="connsiteY1" fmla="*/ 211571 h 448513"/>
                    <a:gd name="connsiteX2" fmla="*/ 62412 w 514980"/>
                    <a:gd name="connsiteY2" fmla="*/ 124015 h 448513"/>
                    <a:gd name="connsiteX3" fmla="*/ 186237 w 514980"/>
                    <a:gd name="connsiteY3" fmla="*/ 85915 h 448513"/>
                    <a:gd name="connsiteX4" fmla="*/ 205690 w 514980"/>
                    <a:gd name="connsiteY4" fmla="*/ 5196 h 448513"/>
                    <a:gd name="connsiteX5" fmla="*/ 325550 w 514980"/>
                    <a:gd name="connsiteY5" fmla="*/ 4208 h 448513"/>
                    <a:gd name="connsiteX6" fmla="*/ 351353 w 514980"/>
                    <a:gd name="connsiteY6" fmla="*/ 90499 h 448513"/>
                    <a:gd name="connsiteX7" fmla="*/ 461084 w 514980"/>
                    <a:gd name="connsiteY7" fmla="*/ 138124 h 448513"/>
                    <a:gd name="connsiteX8" fmla="*/ 513665 w 514980"/>
                    <a:gd name="connsiteY8" fmla="*/ 221096 h 448513"/>
                    <a:gd name="connsiteX9" fmla="*/ 510490 w 514980"/>
                    <a:gd name="connsiteY9" fmla="*/ 443346 h 448513"/>
                    <a:gd name="connsiteX10" fmla="*/ 8840 w 514980"/>
                    <a:gd name="connsiteY10" fmla="*/ 436996 h 448513"/>
                    <a:gd name="connsiteX0" fmla="*/ 8840 w 514980"/>
                    <a:gd name="connsiteY0" fmla="*/ 436996 h 448513"/>
                    <a:gd name="connsiteX1" fmla="*/ 5665 w 514980"/>
                    <a:gd name="connsiteY1" fmla="*/ 211571 h 448513"/>
                    <a:gd name="connsiteX2" fmla="*/ 62412 w 514980"/>
                    <a:gd name="connsiteY2" fmla="*/ 124015 h 448513"/>
                    <a:gd name="connsiteX3" fmla="*/ 186237 w 514980"/>
                    <a:gd name="connsiteY3" fmla="*/ 85915 h 448513"/>
                    <a:gd name="connsiteX4" fmla="*/ 205690 w 514980"/>
                    <a:gd name="connsiteY4" fmla="*/ 5196 h 448513"/>
                    <a:gd name="connsiteX5" fmla="*/ 325550 w 514980"/>
                    <a:gd name="connsiteY5" fmla="*/ 4208 h 448513"/>
                    <a:gd name="connsiteX6" fmla="*/ 351353 w 514980"/>
                    <a:gd name="connsiteY6" fmla="*/ 90499 h 448513"/>
                    <a:gd name="connsiteX7" fmla="*/ 461084 w 514980"/>
                    <a:gd name="connsiteY7" fmla="*/ 138124 h 448513"/>
                    <a:gd name="connsiteX8" fmla="*/ 513665 w 514980"/>
                    <a:gd name="connsiteY8" fmla="*/ 221096 h 448513"/>
                    <a:gd name="connsiteX9" fmla="*/ 510490 w 514980"/>
                    <a:gd name="connsiteY9" fmla="*/ 443346 h 448513"/>
                    <a:gd name="connsiteX10" fmla="*/ 8840 w 514980"/>
                    <a:gd name="connsiteY10" fmla="*/ 436996 h 448513"/>
                    <a:gd name="connsiteX0" fmla="*/ 8840 w 514980"/>
                    <a:gd name="connsiteY0" fmla="*/ 436996 h 448513"/>
                    <a:gd name="connsiteX1" fmla="*/ 5665 w 514980"/>
                    <a:gd name="connsiteY1" fmla="*/ 211571 h 448513"/>
                    <a:gd name="connsiteX2" fmla="*/ 62412 w 514980"/>
                    <a:gd name="connsiteY2" fmla="*/ 124015 h 448513"/>
                    <a:gd name="connsiteX3" fmla="*/ 168766 w 514980"/>
                    <a:gd name="connsiteY3" fmla="*/ 88102 h 448513"/>
                    <a:gd name="connsiteX4" fmla="*/ 205690 w 514980"/>
                    <a:gd name="connsiteY4" fmla="*/ 5196 h 448513"/>
                    <a:gd name="connsiteX5" fmla="*/ 325550 w 514980"/>
                    <a:gd name="connsiteY5" fmla="*/ 4208 h 448513"/>
                    <a:gd name="connsiteX6" fmla="*/ 351353 w 514980"/>
                    <a:gd name="connsiteY6" fmla="*/ 90499 h 448513"/>
                    <a:gd name="connsiteX7" fmla="*/ 461084 w 514980"/>
                    <a:gd name="connsiteY7" fmla="*/ 138124 h 448513"/>
                    <a:gd name="connsiteX8" fmla="*/ 513665 w 514980"/>
                    <a:gd name="connsiteY8" fmla="*/ 221096 h 448513"/>
                    <a:gd name="connsiteX9" fmla="*/ 510490 w 514980"/>
                    <a:gd name="connsiteY9" fmla="*/ 443346 h 448513"/>
                    <a:gd name="connsiteX10" fmla="*/ 8840 w 514980"/>
                    <a:gd name="connsiteY10" fmla="*/ 436996 h 448513"/>
                    <a:gd name="connsiteX0" fmla="*/ 8840 w 514980"/>
                    <a:gd name="connsiteY0" fmla="*/ 440628 h 452145"/>
                    <a:gd name="connsiteX1" fmla="*/ 5665 w 514980"/>
                    <a:gd name="connsiteY1" fmla="*/ 215203 h 452145"/>
                    <a:gd name="connsiteX2" fmla="*/ 62412 w 514980"/>
                    <a:gd name="connsiteY2" fmla="*/ 127647 h 452145"/>
                    <a:gd name="connsiteX3" fmla="*/ 168766 w 514980"/>
                    <a:gd name="connsiteY3" fmla="*/ 91734 h 452145"/>
                    <a:gd name="connsiteX4" fmla="*/ 179484 w 514980"/>
                    <a:gd name="connsiteY4" fmla="*/ 4454 h 452145"/>
                    <a:gd name="connsiteX5" fmla="*/ 325550 w 514980"/>
                    <a:gd name="connsiteY5" fmla="*/ 7840 h 452145"/>
                    <a:gd name="connsiteX6" fmla="*/ 351353 w 514980"/>
                    <a:gd name="connsiteY6" fmla="*/ 94131 h 452145"/>
                    <a:gd name="connsiteX7" fmla="*/ 461084 w 514980"/>
                    <a:gd name="connsiteY7" fmla="*/ 141756 h 452145"/>
                    <a:gd name="connsiteX8" fmla="*/ 513665 w 514980"/>
                    <a:gd name="connsiteY8" fmla="*/ 224728 h 452145"/>
                    <a:gd name="connsiteX9" fmla="*/ 510490 w 514980"/>
                    <a:gd name="connsiteY9" fmla="*/ 446978 h 452145"/>
                    <a:gd name="connsiteX10" fmla="*/ 8840 w 514980"/>
                    <a:gd name="connsiteY10" fmla="*/ 440628 h 452145"/>
                    <a:gd name="connsiteX0" fmla="*/ 8840 w 514980"/>
                    <a:gd name="connsiteY0" fmla="*/ 442422 h 453939"/>
                    <a:gd name="connsiteX1" fmla="*/ 5665 w 514980"/>
                    <a:gd name="connsiteY1" fmla="*/ 216997 h 453939"/>
                    <a:gd name="connsiteX2" fmla="*/ 62412 w 514980"/>
                    <a:gd name="connsiteY2" fmla="*/ 129441 h 453939"/>
                    <a:gd name="connsiteX3" fmla="*/ 168766 w 514980"/>
                    <a:gd name="connsiteY3" fmla="*/ 93528 h 453939"/>
                    <a:gd name="connsiteX4" fmla="*/ 179484 w 514980"/>
                    <a:gd name="connsiteY4" fmla="*/ 6248 h 453939"/>
                    <a:gd name="connsiteX5" fmla="*/ 351756 w 514980"/>
                    <a:gd name="connsiteY5" fmla="*/ 886 h 453939"/>
                    <a:gd name="connsiteX6" fmla="*/ 351353 w 514980"/>
                    <a:gd name="connsiteY6" fmla="*/ 95925 h 453939"/>
                    <a:gd name="connsiteX7" fmla="*/ 461084 w 514980"/>
                    <a:gd name="connsiteY7" fmla="*/ 143550 h 453939"/>
                    <a:gd name="connsiteX8" fmla="*/ 513665 w 514980"/>
                    <a:gd name="connsiteY8" fmla="*/ 226522 h 453939"/>
                    <a:gd name="connsiteX9" fmla="*/ 510490 w 514980"/>
                    <a:gd name="connsiteY9" fmla="*/ 448772 h 453939"/>
                    <a:gd name="connsiteX10" fmla="*/ 8840 w 514980"/>
                    <a:gd name="connsiteY10" fmla="*/ 442422 h 453939"/>
                    <a:gd name="connsiteX0" fmla="*/ 8840 w 514980"/>
                    <a:gd name="connsiteY0" fmla="*/ 442422 h 453939"/>
                    <a:gd name="connsiteX1" fmla="*/ 5665 w 514980"/>
                    <a:gd name="connsiteY1" fmla="*/ 216997 h 453939"/>
                    <a:gd name="connsiteX2" fmla="*/ 62412 w 514980"/>
                    <a:gd name="connsiteY2" fmla="*/ 129441 h 453939"/>
                    <a:gd name="connsiteX3" fmla="*/ 168766 w 514980"/>
                    <a:gd name="connsiteY3" fmla="*/ 93528 h 453939"/>
                    <a:gd name="connsiteX4" fmla="*/ 179484 w 514980"/>
                    <a:gd name="connsiteY4" fmla="*/ 6248 h 453939"/>
                    <a:gd name="connsiteX5" fmla="*/ 351756 w 514980"/>
                    <a:gd name="connsiteY5" fmla="*/ 886 h 453939"/>
                    <a:gd name="connsiteX6" fmla="*/ 366640 w 514980"/>
                    <a:gd name="connsiteY6" fmla="*/ 100299 h 453939"/>
                    <a:gd name="connsiteX7" fmla="*/ 461084 w 514980"/>
                    <a:gd name="connsiteY7" fmla="*/ 143550 h 453939"/>
                    <a:gd name="connsiteX8" fmla="*/ 513665 w 514980"/>
                    <a:gd name="connsiteY8" fmla="*/ 226522 h 453939"/>
                    <a:gd name="connsiteX9" fmla="*/ 510490 w 514980"/>
                    <a:gd name="connsiteY9" fmla="*/ 448772 h 453939"/>
                    <a:gd name="connsiteX10" fmla="*/ 8840 w 514980"/>
                    <a:gd name="connsiteY10" fmla="*/ 442422 h 453939"/>
                    <a:gd name="connsiteX0" fmla="*/ 8840 w 514980"/>
                    <a:gd name="connsiteY0" fmla="*/ 442422 h 450476"/>
                    <a:gd name="connsiteX1" fmla="*/ 5665 w 514980"/>
                    <a:gd name="connsiteY1" fmla="*/ 216997 h 450476"/>
                    <a:gd name="connsiteX2" fmla="*/ 62412 w 514980"/>
                    <a:gd name="connsiteY2" fmla="*/ 129441 h 450476"/>
                    <a:gd name="connsiteX3" fmla="*/ 168766 w 514980"/>
                    <a:gd name="connsiteY3" fmla="*/ 93528 h 450476"/>
                    <a:gd name="connsiteX4" fmla="*/ 179484 w 514980"/>
                    <a:gd name="connsiteY4" fmla="*/ 6248 h 450476"/>
                    <a:gd name="connsiteX5" fmla="*/ 351756 w 514980"/>
                    <a:gd name="connsiteY5" fmla="*/ 886 h 450476"/>
                    <a:gd name="connsiteX6" fmla="*/ 366640 w 514980"/>
                    <a:gd name="connsiteY6" fmla="*/ 100299 h 450476"/>
                    <a:gd name="connsiteX7" fmla="*/ 461084 w 514980"/>
                    <a:gd name="connsiteY7" fmla="*/ 143550 h 450476"/>
                    <a:gd name="connsiteX8" fmla="*/ 513665 w 514980"/>
                    <a:gd name="connsiteY8" fmla="*/ 226522 h 450476"/>
                    <a:gd name="connsiteX9" fmla="*/ 510490 w 514980"/>
                    <a:gd name="connsiteY9" fmla="*/ 448772 h 450476"/>
                    <a:gd name="connsiteX10" fmla="*/ 8840 w 514980"/>
                    <a:gd name="connsiteY10" fmla="*/ 442422 h 450476"/>
                    <a:gd name="connsiteX0" fmla="*/ 8840 w 514980"/>
                    <a:gd name="connsiteY0" fmla="*/ 442422 h 448772"/>
                    <a:gd name="connsiteX1" fmla="*/ 5665 w 514980"/>
                    <a:gd name="connsiteY1" fmla="*/ 216997 h 448772"/>
                    <a:gd name="connsiteX2" fmla="*/ 62412 w 514980"/>
                    <a:gd name="connsiteY2" fmla="*/ 129441 h 448772"/>
                    <a:gd name="connsiteX3" fmla="*/ 168766 w 514980"/>
                    <a:gd name="connsiteY3" fmla="*/ 93528 h 448772"/>
                    <a:gd name="connsiteX4" fmla="*/ 179484 w 514980"/>
                    <a:gd name="connsiteY4" fmla="*/ 6248 h 448772"/>
                    <a:gd name="connsiteX5" fmla="*/ 351756 w 514980"/>
                    <a:gd name="connsiteY5" fmla="*/ 886 h 448772"/>
                    <a:gd name="connsiteX6" fmla="*/ 366640 w 514980"/>
                    <a:gd name="connsiteY6" fmla="*/ 100299 h 448772"/>
                    <a:gd name="connsiteX7" fmla="*/ 461084 w 514980"/>
                    <a:gd name="connsiteY7" fmla="*/ 143550 h 448772"/>
                    <a:gd name="connsiteX8" fmla="*/ 513665 w 514980"/>
                    <a:gd name="connsiteY8" fmla="*/ 226522 h 448772"/>
                    <a:gd name="connsiteX9" fmla="*/ 510490 w 514980"/>
                    <a:gd name="connsiteY9" fmla="*/ 448772 h 448772"/>
                    <a:gd name="connsiteX10" fmla="*/ 8840 w 514980"/>
                    <a:gd name="connsiteY10" fmla="*/ 442422 h 448772"/>
                    <a:gd name="connsiteX0" fmla="*/ 8840 w 514980"/>
                    <a:gd name="connsiteY0" fmla="*/ 442422 h 448772"/>
                    <a:gd name="connsiteX1" fmla="*/ 5665 w 514980"/>
                    <a:gd name="connsiteY1" fmla="*/ 216997 h 448772"/>
                    <a:gd name="connsiteX2" fmla="*/ 62412 w 514980"/>
                    <a:gd name="connsiteY2" fmla="*/ 129441 h 448772"/>
                    <a:gd name="connsiteX3" fmla="*/ 168766 w 514980"/>
                    <a:gd name="connsiteY3" fmla="*/ 93528 h 448772"/>
                    <a:gd name="connsiteX4" fmla="*/ 179484 w 514980"/>
                    <a:gd name="connsiteY4" fmla="*/ 6248 h 448772"/>
                    <a:gd name="connsiteX5" fmla="*/ 351756 w 514980"/>
                    <a:gd name="connsiteY5" fmla="*/ 886 h 448772"/>
                    <a:gd name="connsiteX6" fmla="*/ 357905 w 514980"/>
                    <a:gd name="connsiteY6" fmla="*/ 98112 h 448772"/>
                    <a:gd name="connsiteX7" fmla="*/ 461084 w 514980"/>
                    <a:gd name="connsiteY7" fmla="*/ 143550 h 448772"/>
                    <a:gd name="connsiteX8" fmla="*/ 513665 w 514980"/>
                    <a:gd name="connsiteY8" fmla="*/ 226522 h 448772"/>
                    <a:gd name="connsiteX9" fmla="*/ 510490 w 514980"/>
                    <a:gd name="connsiteY9" fmla="*/ 448772 h 448772"/>
                    <a:gd name="connsiteX10" fmla="*/ 8840 w 514980"/>
                    <a:gd name="connsiteY10" fmla="*/ 442422 h 448772"/>
                    <a:gd name="connsiteX0" fmla="*/ 8840 w 514980"/>
                    <a:gd name="connsiteY0" fmla="*/ 442422 h 448772"/>
                    <a:gd name="connsiteX1" fmla="*/ 5665 w 514980"/>
                    <a:gd name="connsiteY1" fmla="*/ 216997 h 448772"/>
                    <a:gd name="connsiteX2" fmla="*/ 62412 w 514980"/>
                    <a:gd name="connsiteY2" fmla="*/ 129441 h 448772"/>
                    <a:gd name="connsiteX3" fmla="*/ 168766 w 514980"/>
                    <a:gd name="connsiteY3" fmla="*/ 93528 h 448772"/>
                    <a:gd name="connsiteX4" fmla="*/ 179484 w 514980"/>
                    <a:gd name="connsiteY4" fmla="*/ 6248 h 448772"/>
                    <a:gd name="connsiteX5" fmla="*/ 351756 w 514980"/>
                    <a:gd name="connsiteY5" fmla="*/ 886 h 448772"/>
                    <a:gd name="connsiteX6" fmla="*/ 357905 w 514980"/>
                    <a:gd name="connsiteY6" fmla="*/ 98112 h 448772"/>
                    <a:gd name="connsiteX7" fmla="*/ 454533 w 514980"/>
                    <a:gd name="connsiteY7" fmla="*/ 136989 h 448772"/>
                    <a:gd name="connsiteX8" fmla="*/ 513665 w 514980"/>
                    <a:gd name="connsiteY8" fmla="*/ 226522 h 448772"/>
                    <a:gd name="connsiteX9" fmla="*/ 510490 w 514980"/>
                    <a:gd name="connsiteY9" fmla="*/ 448772 h 448772"/>
                    <a:gd name="connsiteX10" fmla="*/ 8840 w 514980"/>
                    <a:gd name="connsiteY10" fmla="*/ 442422 h 448772"/>
                    <a:gd name="connsiteX0" fmla="*/ 8840 w 514980"/>
                    <a:gd name="connsiteY0" fmla="*/ 442422 h 448772"/>
                    <a:gd name="connsiteX1" fmla="*/ 5665 w 514980"/>
                    <a:gd name="connsiteY1" fmla="*/ 216997 h 448772"/>
                    <a:gd name="connsiteX2" fmla="*/ 62412 w 514980"/>
                    <a:gd name="connsiteY2" fmla="*/ 129441 h 448772"/>
                    <a:gd name="connsiteX3" fmla="*/ 168766 w 514980"/>
                    <a:gd name="connsiteY3" fmla="*/ 93528 h 448772"/>
                    <a:gd name="connsiteX4" fmla="*/ 179484 w 514980"/>
                    <a:gd name="connsiteY4" fmla="*/ 6248 h 448772"/>
                    <a:gd name="connsiteX5" fmla="*/ 351756 w 514980"/>
                    <a:gd name="connsiteY5" fmla="*/ 886 h 448772"/>
                    <a:gd name="connsiteX6" fmla="*/ 357905 w 514980"/>
                    <a:gd name="connsiteY6" fmla="*/ 98112 h 448772"/>
                    <a:gd name="connsiteX7" fmla="*/ 454533 w 514980"/>
                    <a:gd name="connsiteY7" fmla="*/ 136989 h 448772"/>
                    <a:gd name="connsiteX8" fmla="*/ 513665 w 514980"/>
                    <a:gd name="connsiteY8" fmla="*/ 226522 h 448772"/>
                    <a:gd name="connsiteX9" fmla="*/ 510490 w 514980"/>
                    <a:gd name="connsiteY9" fmla="*/ 448772 h 448772"/>
                    <a:gd name="connsiteX10" fmla="*/ 8840 w 514980"/>
                    <a:gd name="connsiteY10" fmla="*/ 442422 h 448772"/>
                    <a:gd name="connsiteX0" fmla="*/ 8840 w 514980"/>
                    <a:gd name="connsiteY0" fmla="*/ 442422 h 448772"/>
                    <a:gd name="connsiteX1" fmla="*/ 5665 w 514980"/>
                    <a:gd name="connsiteY1" fmla="*/ 216997 h 448772"/>
                    <a:gd name="connsiteX2" fmla="*/ 62412 w 514980"/>
                    <a:gd name="connsiteY2" fmla="*/ 129441 h 448772"/>
                    <a:gd name="connsiteX3" fmla="*/ 168766 w 514980"/>
                    <a:gd name="connsiteY3" fmla="*/ 93528 h 448772"/>
                    <a:gd name="connsiteX4" fmla="*/ 179484 w 514980"/>
                    <a:gd name="connsiteY4" fmla="*/ 6248 h 448772"/>
                    <a:gd name="connsiteX5" fmla="*/ 351756 w 514980"/>
                    <a:gd name="connsiteY5" fmla="*/ 886 h 448772"/>
                    <a:gd name="connsiteX6" fmla="*/ 357905 w 514980"/>
                    <a:gd name="connsiteY6" fmla="*/ 98112 h 448772"/>
                    <a:gd name="connsiteX7" fmla="*/ 454533 w 514980"/>
                    <a:gd name="connsiteY7" fmla="*/ 136989 h 448772"/>
                    <a:gd name="connsiteX8" fmla="*/ 513665 w 514980"/>
                    <a:gd name="connsiteY8" fmla="*/ 226522 h 448772"/>
                    <a:gd name="connsiteX9" fmla="*/ 510490 w 514980"/>
                    <a:gd name="connsiteY9" fmla="*/ 448772 h 448772"/>
                    <a:gd name="connsiteX10" fmla="*/ 8840 w 514980"/>
                    <a:gd name="connsiteY10" fmla="*/ 442422 h 448772"/>
                    <a:gd name="connsiteX0" fmla="*/ 8840 w 514980"/>
                    <a:gd name="connsiteY0" fmla="*/ 442422 h 448772"/>
                    <a:gd name="connsiteX1" fmla="*/ 5665 w 514980"/>
                    <a:gd name="connsiteY1" fmla="*/ 216997 h 448772"/>
                    <a:gd name="connsiteX2" fmla="*/ 62412 w 514980"/>
                    <a:gd name="connsiteY2" fmla="*/ 129441 h 448772"/>
                    <a:gd name="connsiteX3" fmla="*/ 168766 w 514980"/>
                    <a:gd name="connsiteY3" fmla="*/ 93528 h 448772"/>
                    <a:gd name="connsiteX4" fmla="*/ 179484 w 514980"/>
                    <a:gd name="connsiteY4" fmla="*/ 6248 h 448772"/>
                    <a:gd name="connsiteX5" fmla="*/ 351756 w 514980"/>
                    <a:gd name="connsiteY5" fmla="*/ 886 h 448772"/>
                    <a:gd name="connsiteX6" fmla="*/ 353538 w 514980"/>
                    <a:gd name="connsiteY6" fmla="*/ 98112 h 448772"/>
                    <a:gd name="connsiteX7" fmla="*/ 454533 w 514980"/>
                    <a:gd name="connsiteY7" fmla="*/ 136989 h 448772"/>
                    <a:gd name="connsiteX8" fmla="*/ 513665 w 514980"/>
                    <a:gd name="connsiteY8" fmla="*/ 226522 h 448772"/>
                    <a:gd name="connsiteX9" fmla="*/ 510490 w 514980"/>
                    <a:gd name="connsiteY9" fmla="*/ 448772 h 448772"/>
                    <a:gd name="connsiteX10" fmla="*/ 8840 w 514980"/>
                    <a:gd name="connsiteY10" fmla="*/ 442422 h 448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14980" h="448772">
                      <a:moveTo>
                        <a:pt x="8840" y="442422"/>
                      </a:moveTo>
                      <a:cubicBezTo>
                        <a:pt x="-1214" y="377864"/>
                        <a:pt x="-3264" y="269160"/>
                        <a:pt x="5665" y="216997"/>
                      </a:cubicBezTo>
                      <a:cubicBezTo>
                        <a:pt x="14594" y="164834"/>
                        <a:pt x="35229" y="150019"/>
                        <a:pt x="62412" y="129441"/>
                      </a:cubicBezTo>
                      <a:cubicBezTo>
                        <a:pt x="89595" y="108863"/>
                        <a:pt x="149254" y="114060"/>
                        <a:pt x="168766" y="93528"/>
                      </a:cubicBezTo>
                      <a:cubicBezTo>
                        <a:pt x="188278" y="72996"/>
                        <a:pt x="189023" y="43922"/>
                        <a:pt x="179484" y="6248"/>
                      </a:cubicBezTo>
                      <a:cubicBezTo>
                        <a:pt x="202703" y="-7370"/>
                        <a:pt x="323111" y="6352"/>
                        <a:pt x="351756" y="886"/>
                      </a:cubicBezTo>
                      <a:cubicBezTo>
                        <a:pt x="354195" y="39159"/>
                        <a:pt x="342961" y="75428"/>
                        <a:pt x="353538" y="98112"/>
                      </a:cubicBezTo>
                      <a:cubicBezTo>
                        <a:pt x="364115" y="120796"/>
                        <a:pt x="427845" y="115587"/>
                        <a:pt x="454533" y="136989"/>
                      </a:cubicBezTo>
                      <a:cubicBezTo>
                        <a:pt x="481221" y="158391"/>
                        <a:pt x="503611" y="177839"/>
                        <a:pt x="513665" y="226522"/>
                      </a:cubicBezTo>
                      <a:cubicBezTo>
                        <a:pt x="516840" y="276264"/>
                        <a:pt x="513665" y="323360"/>
                        <a:pt x="510490" y="448772"/>
                      </a:cubicBezTo>
                      <a:lnTo>
                        <a:pt x="8840" y="442422"/>
                      </a:lnTo>
                      <a:close/>
                    </a:path>
                  </a:pathLst>
                </a:custGeom>
                <a:grpFill/>
                <a:ln w="571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228" name="Oval 227">
                  <a:extLst>
                    <a:ext uri="{FF2B5EF4-FFF2-40B4-BE49-F238E27FC236}">
                      <a16:creationId xmlns:a16="http://schemas.microsoft.com/office/drawing/2014/main" id="{CC216107-D3F8-3F44-9A68-9C1FCDCCAD75}"/>
                    </a:ext>
                  </a:extLst>
                </p:cNvPr>
                <p:cNvSpPr/>
                <p:nvPr/>
              </p:nvSpPr>
              <p:spPr>
                <a:xfrm>
                  <a:off x="1971467" y="3508300"/>
                  <a:ext cx="282088" cy="336550"/>
                </a:xfrm>
                <a:prstGeom prst="ellipse">
                  <a:avLst/>
                </a:prstGeom>
                <a:grpFill/>
                <a:ln w="571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grpSp>
          <p:grpSp>
            <p:nvGrpSpPr>
              <p:cNvPr id="224" name="Group 223">
                <a:extLst>
                  <a:ext uri="{FF2B5EF4-FFF2-40B4-BE49-F238E27FC236}">
                    <a16:creationId xmlns:a16="http://schemas.microsoft.com/office/drawing/2014/main" id="{A363FA77-A380-654A-BBB6-056F3AD1656B}"/>
                  </a:ext>
                </a:extLst>
              </p:cNvPr>
              <p:cNvGrpSpPr/>
              <p:nvPr/>
            </p:nvGrpSpPr>
            <p:grpSpPr>
              <a:xfrm>
                <a:off x="1553120" y="3388644"/>
                <a:ext cx="633802" cy="938165"/>
                <a:chOff x="1806977" y="3500843"/>
                <a:chExt cx="539989" cy="738018"/>
              </a:xfrm>
            </p:grpSpPr>
            <p:sp>
              <p:nvSpPr>
                <p:cNvPr id="225" name="Freeform 224">
                  <a:extLst>
                    <a:ext uri="{FF2B5EF4-FFF2-40B4-BE49-F238E27FC236}">
                      <a16:creationId xmlns:a16="http://schemas.microsoft.com/office/drawing/2014/main" id="{843A9834-9C91-A642-A6D6-EAF80C610183}"/>
                    </a:ext>
                  </a:extLst>
                </p:cNvPr>
                <p:cNvSpPr/>
                <p:nvPr/>
              </p:nvSpPr>
              <p:spPr>
                <a:xfrm>
                  <a:off x="1806977" y="3782373"/>
                  <a:ext cx="539989" cy="456488"/>
                </a:xfrm>
                <a:custGeom>
                  <a:avLst/>
                  <a:gdLst>
                    <a:gd name="connsiteX0" fmla="*/ 36807 w 576731"/>
                    <a:gd name="connsiteY0" fmla="*/ 449906 h 505924"/>
                    <a:gd name="connsiteX1" fmla="*/ 39982 w 576731"/>
                    <a:gd name="connsiteY1" fmla="*/ 214956 h 505924"/>
                    <a:gd name="connsiteX2" fmla="*/ 55857 w 576731"/>
                    <a:gd name="connsiteY2" fmla="*/ 176856 h 505924"/>
                    <a:gd name="connsiteX3" fmla="*/ 103482 w 576731"/>
                    <a:gd name="connsiteY3" fmla="*/ 160981 h 505924"/>
                    <a:gd name="connsiteX4" fmla="*/ 205082 w 576731"/>
                    <a:gd name="connsiteY4" fmla="*/ 154631 h 505924"/>
                    <a:gd name="connsiteX5" fmla="*/ 230482 w 576731"/>
                    <a:gd name="connsiteY5" fmla="*/ 151456 h 505924"/>
                    <a:gd name="connsiteX6" fmla="*/ 233657 w 576731"/>
                    <a:gd name="connsiteY6" fmla="*/ 18106 h 505924"/>
                    <a:gd name="connsiteX7" fmla="*/ 344782 w 576731"/>
                    <a:gd name="connsiteY7" fmla="*/ 14931 h 505924"/>
                    <a:gd name="connsiteX8" fmla="*/ 344782 w 576731"/>
                    <a:gd name="connsiteY8" fmla="*/ 145106 h 505924"/>
                    <a:gd name="connsiteX9" fmla="*/ 386057 w 576731"/>
                    <a:gd name="connsiteY9" fmla="*/ 151456 h 505924"/>
                    <a:gd name="connsiteX10" fmla="*/ 478132 w 576731"/>
                    <a:gd name="connsiteY10" fmla="*/ 164156 h 505924"/>
                    <a:gd name="connsiteX11" fmla="*/ 519407 w 576731"/>
                    <a:gd name="connsiteY11" fmla="*/ 189556 h 505924"/>
                    <a:gd name="connsiteX12" fmla="*/ 541632 w 576731"/>
                    <a:gd name="connsiteY12" fmla="*/ 234006 h 505924"/>
                    <a:gd name="connsiteX13" fmla="*/ 538457 w 576731"/>
                    <a:gd name="connsiteY13" fmla="*/ 488006 h 505924"/>
                    <a:gd name="connsiteX14" fmla="*/ 36807 w 576731"/>
                    <a:gd name="connsiteY14" fmla="*/ 449906 h 505924"/>
                    <a:gd name="connsiteX0" fmla="*/ 5769 w 545693"/>
                    <a:gd name="connsiteY0" fmla="*/ 449906 h 505924"/>
                    <a:gd name="connsiteX1" fmla="*/ 8944 w 545693"/>
                    <a:gd name="connsiteY1" fmla="*/ 214956 h 505924"/>
                    <a:gd name="connsiteX2" fmla="*/ 24819 w 545693"/>
                    <a:gd name="connsiteY2" fmla="*/ 176856 h 505924"/>
                    <a:gd name="connsiteX3" fmla="*/ 72444 w 545693"/>
                    <a:gd name="connsiteY3" fmla="*/ 160981 h 505924"/>
                    <a:gd name="connsiteX4" fmla="*/ 174044 w 545693"/>
                    <a:gd name="connsiteY4" fmla="*/ 154631 h 505924"/>
                    <a:gd name="connsiteX5" fmla="*/ 199444 w 545693"/>
                    <a:gd name="connsiteY5" fmla="*/ 151456 h 505924"/>
                    <a:gd name="connsiteX6" fmla="*/ 202619 w 545693"/>
                    <a:gd name="connsiteY6" fmla="*/ 18106 h 505924"/>
                    <a:gd name="connsiteX7" fmla="*/ 313744 w 545693"/>
                    <a:gd name="connsiteY7" fmla="*/ 14931 h 505924"/>
                    <a:gd name="connsiteX8" fmla="*/ 313744 w 545693"/>
                    <a:gd name="connsiteY8" fmla="*/ 145106 h 505924"/>
                    <a:gd name="connsiteX9" fmla="*/ 355019 w 545693"/>
                    <a:gd name="connsiteY9" fmla="*/ 151456 h 505924"/>
                    <a:gd name="connsiteX10" fmla="*/ 447094 w 545693"/>
                    <a:gd name="connsiteY10" fmla="*/ 164156 h 505924"/>
                    <a:gd name="connsiteX11" fmla="*/ 488369 w 545693"/>
                    <a:gd name="connsiteY11" fmla="*/ 189556 h 505924"/>
                    <a:gd name="connsiteX12" fmla="*/ 510594 w 545693"/>
                    <a:gd name="connsiteY12" fmla="*/ 234006 h 505924"/>
                    <a:gd name="connsiteX13" fmla="*/ 507419 w 545693"/>
                    <a:gd name="connsiteY13" fmla="*/ 488006 h 505924"/>
                    <a:gd name="connsiteX14" fmla="*/ 5769 w 545693"/>
                    <a:gd name="connsiteY14" fmla="*/ 449906 h 505924"/>
                    <a:gd name="connsiteX0" fmla="*/ 21286 w 561210"/>
                    <a:gd name="connsiteY0" fmla="*/ 449906 h 508025"/>
                    <a:gd name="connsiteX1" fmla="*/ 24461 w 561210"/>
                    <a:gd name="connsiteY1" fmla="*/ 214956 h 508025"/>
                    <a:gd name="connsiteX2" fmla="*/ 40336 w 561210"/>
                    <a:gd name="connsiteY2" fmla="*/ 176856 h 508025"/>
                    <a:gd name="connsiteX3" fmla="*/ 87961 w 561210"/>
                    <a:gd name="connsiteY3" fmla="*/ 160981 h 508025"/>
                    <a:gd name="connsiteX4" fmla="*/ 189561 w 561210"/>
                    <a:gd name="connsiteY4" fmla="*/ 154631 h 508025"/>
                    <a:gd name="connsiteX5" fmla="*/ 214961 w 561210"/>
                    <a:gd name="connsiteY5" fmla="*/ 151456 h 508025"/>
                    <a:gd name="connsiteX6" fmla="*/ 218136 w 561210"/>
                    <a:gd name="connsiteY6" fmla="*/ 18106 h 508025"/>
                    <a:gd name="connsiteX7" fmla="*/ 329261 w 561210"/>
                    <a:gd name="connsiteY7" fmla="*/ 14931 h 508025"/>
                    <a:gd name="connsiteX8" fmla="*/ 329261 w 561210"/>
                    <a:gd name="connsiteY8" fmla="*/ 145106 h 508025"/>
                    <a:gd name="connsiteX9" fmla="*/ 370536 w 561210"/>
                    <a:gd name="connsiteY9" fmla="*/ 151456 h 508025"/>
                    <a:gd name="connsiteX10" fmla="*/ 462611 w 561210"/>
                    <a:gd name="connsiteY10" fmla="*/ 164156 h 508025"/>
                    <a:gd name="connsiteX11" fmla="*/ 503886 w 561210"/>
                    <a:gd name="connsiteY11" fmla="*/ 189556 h 508025"/>
                    <a:gd name="connsiteX12" fmla="*/ 526111 w 561210"/>
                    <a:gd name="connsiteY12" fmla="*/ 234006 h 508025"/>
                    <a:gd name="connsiteX13" fmla="*/ 522936 w 561210"/>
                    <a:gd name="connsiteY13" fmla="*/ 488006 h 508025"/>
                    <a:gd name="connsiteX14" fmla="*/ 21286 w 561210"/>
                    <a:gd name="connsiteY14" fmla="*/ 449906 h 508025"/>
                    <a:gd name="connsiteX0" fmla="*/ 21286 w 561210"/>
                    <a:gd name="connsiteY0" fmla="*/ 449906 h 508025"/>
                    <a:gd name="connsiteX1" fmla="*/ 24461 w 561210"/>
                    <a:gd name="connsiteY1" fmla="*/ 214956 h 508025"/>
                    <a:gd name="connsiteX2" fmla="*/ 40336 w 561210"/>
                    <a:gd name="connsiteY2" fmla="*/ 176856 h 508025"/>
                    <a:gd name="connsiteX3" fmla="*/ 87961 w 561210"/>
                    <a:gd name="connsiteY3" fmla="*/ 160981 h 508025"/>
                    <a:gd name="connsiteX4" fmla="*/ 189561 w 561210"/>
                    <a:gd name="connsiteY4" fmla="*/ 154631 h 508025"/>
                    <a:gd name="connsiteX5" fmla="*/ 214961 w 561210"/>
                    <a:gd name="connsiteY5" fmla="*/ 151456 h 508025"/>
                    <a:gd name="connsiteX6" fmla="*/ 218136 w 561210"/>
                    <a:gd name="connsiteY6" fmla="*/ 18106 h 508025"/>
                    <a:gd name="connsiteX7" fmla="*/ 329261 w 561210"/>
                    <a:gd name="connsiteY7" fmla="*/ 14931 h 508025"/>
                    <a:gd name="connsiteX8" fmla="*/ 329261 w 561210"/>
                    <a:gd name="connsiteY8" fmla="*/ 145106 h 508025"/>
                    <a:gd name="connsiteX9" fmla="*/ 370536 w 561210"/>
                    <a:gd name="connsiteY9" fmla="*/ 151456 h 508025"/>
                    <a:gd name="connsiteX10" fmla="*/ 462611 w 561210"/>
                    <a:gd name="connsiteY10" fmla="*/ 164156 h 508025"/>
                    <a:gd name="connsiteX11" fmla="*/ 503886 w 561210"/>
                    <a:gd name="connsiteY11" fmla="*/ 189556 h 508025"/>
                    <a:gd name="connsiteX12" fmla="*/ 526111 w 561210"/>
                    <a:gd name="connsiteY12" fmla="*/ 234006 h 508025"/>
                    <a:gd name="connsiteX13" fmla="*/ 522936 w 561210"/>
                    <a:gd name="connsiteY13" fmla="*/ 488006 h 508025"/>
                    <a:gd name="connsiteX14" fmla="*/ 21286 w 561210"/>
                    <a:gd name="connsiteY14" fmla="*/ 449906 h 508025"/>
                    <a:gd name="connsiteX0" fmla="*/ 4360 w 544284"/>
                    <a:gd name="connsiteY0" fmla="*/ 449906 h 508025"/>
                    <a:gd name="connsiteX1" fmla="*/ 7535 w 544284"/>
                    <a:gd name="connsiteY1" fmla="*/ 214956 h 508025"/>
                    <a:gd name="connsiteX2" fmla="*/ 23410 w 544284"/>
                    <a:gd name="connsiteY2" fmla="*/ 176856 h 508025"/>
                    <a:gd name="connsiteX3" fmla="*/ 71035 w 544284"/>
                    <a:gd name="connsiteY3" fmla="*/ 160981 h 508025"/>
                    <a:gd name="connsiteX4" fmla="*/ 172635 w 544284"/>
                    <a:gd name="connsiteY4" fmla="*/ 154631 h 508025"/>
                    <a:gd name="connsiteX5" fmla="*/ 198035 w 544284"/>
                    <a:gd name="connsiteY5" fmla="*/ 151456 h 508025"/>
                    <a:gd name="connsiteX6" fmla="*/ 201210 w 544284"/>
                    <a:gd name="connsiteY6" fmla="*/ 18106 h 508025"/>
                    <a:gd name="connsiteX7" fmla="*/ 312335 w 544284"/>
                    <a:gd name="connsiteY7" fmla="*/ 14931 h 508025"/>
                    <a:gd name="connsiteX8" fmla="*/ 312335 w 544284"/>
                    <a:gd name="connsiteY8" fmla="*/ 145106 h 508025"/>
                    <a:gd name="connsiteX9" fmla="*/ 353610 w 544284"/>
                    <a:gd name="connsiteY9" fmla="*/ 151456 h 508025"/>
                    <a:gd name="connsiteX10" fmla="*/ 445685 w 544284"/>
                    <a:gd name="connsiteY10" fmla="*/ 164156 h 508025"/>
                    <a:gd name="connsiteX11" fmla="*/ 486960 w 544284"/>
                    <a:gd name="connsiteY11" fmla="*/ 189556 h 508025"/>
                    <a:gd name="connsiteX12" fmla="*/ 509185 w 544284"/>
                    <a:gd name="connsiteY12" fmla="*/ 234006 h 508025"/>
                    <a:gd name="connsiteX13" fmla="*/ 506010 w 544284"/>
                    <a:gd name="connsiteY13" fmla="*/ 488006 h 508025"/>
                    <a:gd name="connsiteX14" fmla="*/ 4360 w 544284"/>
                    <a:gd name="connsiteY14" fmla="*/ 449906 h 508025"/>
                    <a:gd name="connsiteX0" fmla="*/ 4360 w 544284"/>
                    <a:gd name="connsiteY0" fmla="*/ 449906 h 500804"/>
                    <a:gd name="connsiteX1" fmla="*/ 7535 w 544284"/>
                    <a:gd name="connsiteY1" fmla="*/ 214956 h 500804"/>
                    <a:gd name="connsiteX2" fmla="*/ 23410 w 544284"/>
                    <a:gd name="connsiteY2" fmla="*/ 176856 h 500804"/>
                    <a:gd name="connsiteX3" fmla="*/ 71035 w 544284"/>
                    <a:gd name="connsiteY3" fmla="*/ 160981 h 500804"/>
                    <a:gd name="connsiteX4" fmla="*/ 172635 w 544284"/>
                    <a:gd name="connsiteY4" fmla="*/ 154631 h 500804"/>
                    <a:gd name="connsiteX5" fmla="*/ 198035 w 544284"/>
                    <a:gd name="connsiteY5" fmla="*/ 151456 h 500804"/>
                    <a:gd name="connsiteX6" fmla="*/ 201210 w 544284"/>
                    <a:gd name="connsiteY6" fmla="*/ 18106 h 500804"/>
                    <a:gd name="connsiteX7" fmla="*/ 312335 w 544284"/>
                    <a:gd name="connsiteY7" fmla="*/ 14931 h 500804"/>
                    <a:gd name="connsiteX8" fmla="*/ 312335 w 544284"/>
                    <a:gd name="connsiteY8" fmla="*/ 145106 h 500804"/>
                    <a:gd name="connsiteX9" fmla="*/ 353610 w 544284"/>
                    <a:gd name="connsiteY9" fmla="*/ 151456 h 500804"/>
                    <a:gd name="connsiteX10" fmla="*/ 445685 w 544284"/>
                    <a:gd name="connsiteY10" fmla="*/ 164156 h 500804"/>
                    <a:gd name="connsiteX11" fmla="*/ 486960 w 544284"/>
                    <a:gd name="connsiteY11" fmla="*/ 189556 h 500804"/>
                    <a:gd name="connsiteX12" fmla="*/ 509185 w 544284"/>
                    <a:gd name="connsiteY12" fmla="*/ 234006 h 500804"/>
                    <a:gd name="connsiteX13" fmla="*/ 506010 w 544284"/>
                    <a:gd name="connsiteY13" fmla="*/ 488006 h 500804"/>
                    <a:gd name="connsiteX14" fmla="*/ 4360 w 544284"/>
                    <a:gd name="connsiteY14" fmla="*/ 449906 h 500804"/>
                    <a:gd name="connsiteX0" fmla="*/ 4360 w 544284"/>
                    <a:gd name="connsiteY0" fmla="*/ 449906 h 500804"/>
                    <a:gd name="connsiteX1" fmla="*/ 7535 w 544284"/>
                    <a:gd name="connsiteY1" fmla="*/ 214956 h 500804"/>
                    <a:gd name="connsiteX2" fmla="*/ 23410 w 544284"/>
                    <a:gd name="connsiteY2" fmla="*/ 176856 h 500804"/>
                    <a:gd name="connsiteX3" fmla="*/ 71035 w 544284"/>
                    <a:gd name="connsiteY3" fmla="*/ 160981 h 500804"/>
                    <a:gd name="connsiteX4" fmla="*/ 172635 w 544284"/>
                    <a:gd name="connsiteY4" fmla="*/ 154631 h 500804"/>
                    <a:gd name="connsiteX5" fmla="*/ 198035 w 544284"/>
                    <a:gd name="connsiteY5" fmla="*/ 151456 h 500804"/>
                    <a:gd name="connsiteX6" fmla="*/ 201210 w 544284"/>
                    <a:gd name="connsiteY6" fmla="*/ 18106 h 500804"/>
                    <a:gd name="connsiteX7" fmla="*/ 312335 w 544284"/>
                    <a:gd name="connsiteY7" fmla="*/ 14931 h 500804"/>
                    <a:gd name="connsiteX8" fmla="*/ 312335 w 544284"/>
                    <a:gd name="connsiteY8" fmla="*/ 145106 h 500804"/>
                    <a:gd name="connsiteX9" fmla="*/ 353610 w 544284"/>
                    <a:gd name="connsiteY9" fmla="*/ 151456 h 500804"/>
                    <a:gd name="connsiteX10" fmla="*/ 445685 w 544284"/>
                    <a:gd name="connsiteY10" fmla="*/ 164156 h 500804"/>
                    <a:gd name="connsiteX11" fmla="*/ 486960 w 544284"/>
                    <a:gd name="connsiteY11" fmla="*/ 189556 h 500804"/>
                    <a:gd name="connsiteX12" fmla="*/ 509185 w 544284"/>
                    <a:gd name="connsiteY12" fmla="*/ 234006 h 500804"/>
                    <a:gd name="connsiteX13" fmla="*/ 506010 w 544284"/>
                    <a:gd name="connsiteY13" fmla="*/ 488006 h 500804"/>
                    <a:gd name="connsiteX14" fmla="*/ 4360 w 544284"/>
                    <a:gd name="connsiteY14" fmla="*/ 449906 h 500804"/>
                    <a:gd name="connsiteX0" fmla="*/ 4360 w 519024"/>
                    <a:gd name="connsiteY0" fmla="*/ 449906 h 500804"/>
                    <a:gd name="connsiteX1" fmla="*/ 7535 w 519024"/>
                    <a:gd name="connsiteY1" fmla="*/ 214956 h 500804"/>
                    <a:gd name="connsiteX2" fmla="*/ 23410 w 519024"/>
                    <a:gd name="connsiteY2" fmla="*/ 176856 h 500804"/>
                    <a:gd name="connsiteX3" fmla="*/ 71035 w 519024"/>
                    <a:gd name="connsiteY3" fmla="*/ 160981 h 500804"/>
                    <a:gd name="connsiteX4" fmla="*/ 172635 w 519024"/>
                    <a:gd name="connsiteY4" fmla="*/ 154631 h 500804"/>
                    <a:gd name="connsiteX5" fmla="*/ 198035 w 519024"/>
                    <a:gd name="connsiteY5" fmla="*/ 151456 h 500804"/>
                    <a:gd name="connsiteX6" fmla="*/ 201210 w 519024"/>
                    <a:gd name="connsiteY6" fmla="*/ 18106 h 500804"/>
                    <a:gd name="connsiteX7" fmla="*/ 312335 w 519024"/>
                    <a:gd name="connsiteY7" fmla="*/ 14931 h 500804"/>
                    <a:gd name="connsiteX8" fmla="*/ 312335 w 519024"/>
                    <a:gd name="connsiteY8" fmla="*/ 145106 h 500804"/>
                    <a:gd name="connsiteX9" fmla="*/ 353610 w 519024"/>
                    <a:gd name="connsiteY9" fmla="*/ 151456 h 500804"/>
                    <a:gd name="connsiteX10" fmla="*/ 445685 w 519024"/>
                    <a:gd name="connsiteY10" fmla="*/ 164156 h 500804"/>
                    <a:gd name="connsiteX11" fmla="*/ 486960 w 519024"/>
                    <a:gd name="connsiteY11" fmla="*/ 189556 h 500804"/>
                    <a:gd name="connsiteX12" fmla="*/ 509185 w 519024"/>
                    <a:gd name="connsiteY12" fmla="*/ 234006 h 500804"/>
                    <a:gd name="connsiteX13" fmla="*/ 506010 w 519024"/>
                    <a:gd name="connsiteY13" fmla="*/ 488006 h 500804"/>
                    <a:gd name="connsiteX14" fmla="*/ 4360 w 519024"/>
                    <a:gd name="connsiteY14" fmla="*/ 449906 h 500804"/>
                    <a:gd name="connsiteX0" fmla="*/ 4360 w 519024"/>
                    <a:gd name="connsiteY0" fmla="*/ 449906 h 488006"/>
                    <a:gd name="connsiteX1" fmla="*/ 7535 w 519024"/>
                    <a:gd name="connsiteY1" fmla="*/ 214956 h 488006"/>
                    <a:gd name="connsiteX2" fmla="*/ 23410 w 519024"/>
                    <a:gd name="connsiteY2" fmla="*/ 176856 h 488006"/>
                    <a:gd name="connsiteX3" fmla="*/ 71035 w 519024"/>
                    <a:gd name="connsiteY3" fmla="*/ 160981 h 488006"/>
                    <a:gd name="connsiteX4" fmla="*/ 172635 w 519024"/>
                    <a:gd name="connsiteY4" fmla="*/ 154631 h 488006"/>
                    <a:gd name="connsiteX5" fmla="*/ 198035 w 519024"/>
                    <a:gd name="connsiteY5" fmla="*/ 151456 h 488006"/>
                    <a:gd name="connsiteX6" fmla="*/ 201210 w 519024"/>
                    <a:gd name="connsiteY6" fmla="*/ 18106 h 488006"/>
                    <a:gd name="connsiteX7" fmla="*/ 312335 w 519024"/>
                    <a:gd name="connsiteY7" fmla="*/ 14931 h 488006"/>
                    <a:gd name="connsiteX8" fmla="*/ 312335 w 519024"/>
                    <a:gd name="connsiteY8" fmla="*/ 145106 h 488006"/>
                    <a:gd name="connsiteX9" fmla="*/ 353610 w 519024"/>
                    <a:gd name="connsiteY9" fmla="*/ 151456 h 488006"/>
                    <a:gd name="connsiteX10" fmla="*/ 445685 w 519024"/>
                    <a:gd name="connsiteY10" fmla="*/ 164156 h 488006"/>
                    <a:gd name="connsiteX11" fmla="*/ 486960 w 519024"/>
                    <a:gd name="connsiteY11" fmla="*/ 189556 h 488006"/>
                    <a:gd name="connsiteX12" fmla="*/ 509185 w 519024"/>
                    <a:gd name="connsiteY12" fmla="*/ 234006 h 488006"/>
                    <a:gd name="connsiteX13" fmla="*/ 506010 w 519024"/>
                    <a:gd name="connsiteY13" fmla="*/ 488006 h 488006"/>
                    <a:gd name="connsiteX14" fmla="*/ 4360 w 519024"/>
                    <a:gd name="connsiteY14" fmla="*/ 449906 h 488006"/>
                    <a:gd name="connsiteX0" fmla="*/ 4360 w 523534"/>
                    <a:gd name="connsiteY0" fmla="*/ 449906 h 472131"/>
                    <a:gd name="connsiteX1" fmla="*/ 7535 w 523534"/>
                    <a:gd name="connsiteY1" fmla="*/ 214956 h 472131"/>
                    <a:gd name="connsiteX2" fmla="*/ 23410 w 523534"/>
                    <a:gd name="connsiteY2" fmla="*/ 176856 h 472131"/>
                    <a:gd name="connsiteX3" fmla="*/ 71035 w 523534"/>
                    <a:gd name="connsiteY3" fmla="*/ 160981 h 472131"/>
                    <a:gd name="connsiteX4" fmla="*/ 172635 w 523534"/>
                    <a:gd name="connsiteY4" fmla="*/ 154631 h 472131"/>
                    <a:gd name="connsiteX5" fmla="*/ 198035 w 523534"/>
                    <a:gd name="connsiteY5" fmla="*/ 151456 h 472131"/>
                    <a:gd name="connsiteX6" fmla="*/ 201210 w 523534"/>
                    <a:gd name="connsiteY6" fmla="*/ 18106 h 472131"/>
                    <a:gd name="connsiteX7" fmla="*/ 312335 w 523534"/>
                    <a:gd name="connsiteY7" fmla="*/ 14931 h 472131"/>
                    <a:gd name="connsiteX8" fmla="*/ 312335 w 523534"/>
                    <a:gd name="connsiteY8" fmla="*/ 145106 h 472131"/>
                    <a:gd name="connsiteX9" fmla="*/ 353610 w 523534"/>
                    <a:gd name="connsiteY9" fmla="*/ 151456 h 472131"/>
                    <a:gd name="connsiteX10" fmla="*/ 445685 w 523534"/>
                    <a:gd name="connsiteY10" fmla="*/ 164156 h 472131"/>
                    <a:gd name="connsiteX11" fmla="*/ 486960 w 523534"/>
                    <a:gd name="connsiteY11" fmla="*/ 189556 h 472131"/>
                    <a:gd name="connsiteX12" fmla="*/ 509185 w 523534"/>
                    <a:gd name="connsiteY12" fmla="*/ 234006 h 472131"/>
                    <a:gd name="connsiteX13" fmla="*/ 512360 w 523534"/>
                    <a:gd name="connsiteY13" fmla="*/ 472131 h 472131"/>
                    <a:gd name="connsiteX14" fmla="*/ 4360 w 523534"/>
                    <a:gd name="connsiteY14" fmla="*/ 449906 h 472131"/>
                    <a:gd name="connsiteX0" fmla="*/ 4360 w 513675"/>
                    <a:gd name="connsiteY0" fmla="*/ 449906 h 472131"/>
                    <a:gd name="connsiteX1" fmla="*/ 7535 w 513675"/>
                    <a:gd name="connsiteY1" fmla="*/ 214956 h 472131"/>
                    <a:gd name="connsiteX2" fmla="*/ 23410 w 513675"/>
                    <a:gd name="connsiteY2" fmla="*/ 176856 h 472131"/>
                    <a:gd name="connsiteX3" fmla="*/ 71035 w 513675"/>
                    <a:gd name="connsiteY3" fmla="*/ 160981 h 472131"/>
                    <a:gd name="connsiteX4" fmla="*/ 172635 w 513675"/>
                    <a:gd name="connsiteY4" fmla="*/ 154631 h 472131"/>
                    <a:gd name="connsiteX5" fmla="*/ 198035 w 513675"/>
                    <a:gd name="connsiteY5" fmla="*/ 151456 h 472131"/>
                    <a:gd name="connsiteX6" fmla="*/ 201210 w 513675"/>
                    <a:gd name="connsiteY6" fmla="*/ 18106 h 472131"/>
                    <a:gd name="connsiteX7" fmla="*/ 312335 w 513675"/>
                    <a:gd name="connsiteY7" fmla="*/ 14931 h 472131"/>
                    <a:gd name="connsiteX8" fmla="*/ 312335 w 513675"/>
                    <a:gd name="connsiteY8" fmla="*/ 145106 h 472131"/>
                    <a:gd name="connsiteX9" fmla="*/ 353610 w 513675"/>
                    <a:gd name="connsiteY9" fmla="*/ 151456 h 472131"/>
                    <a:gd name="connsiteX10" fmla="*/ 445685 w 513675"/>
                    <a:gd name="connsiteY10" fmla="*/ 164156 h 472131"/>
                    <a:gd name="connsiteX11" fmla="*/ 486960 w 513675"/>
                    <a:gd name="connsiteY11" fmla="*/ 189556 h 472131"/>
                    <a:gd name="connsiteX12" fmla="*/ 509185 w 513675"/>
                    <a:gd name="connsiteY12" fmla="*/ 234006 h 472131"/>
                    <a:gd name="connsiteX13" fmla="*/ 512360 w 513675"/>
                    <a:gd name="connsiteY13" fmla="*/ 472131 h 472131"/>
                    <a:gd name="connsiteX14" fmla="*/ 4360 w 513675"/>
                    <a:gd name="connsiteY14" fmla="*/ 449906 h 472131"/>
                    <a:gd name="connsiteX0" fmla="*/ 4360 w 513675"/>
                    <a:gd name="connsiteY0" fmla="*/ 446969 h 469194"/>
                    <a:gd name="connsiteX1" fmla="*/ 7535 w 513675"/>
                    <a:gd name="connsiteY1" fmla="*/ 212019 h 469194"/>
                    <a:gd name="connsiteX2" fmla="*/ 23410 w 513675"/>
                    <a:gd name="connsiteY2" fmla="*/ 173919 h 469194"/>
                    <a:gd name="connsiteX3" fmla="*/ 71035 w 513675"/>
                    <a:gd name="connsiteY3" fmla="*/ 158044 h 469194"/>
                    <a:gd name="connsiteX4" fmla="*/ 172635 w 513675"/>
                    <a:gd name="connsiteY4" fmla="*/ 151694 h 469194"/>
                    <a:gd name="connsiteX5" fmla="*/ 188510 w 513675"/>
                    <a:gd name="connsiteY5" fmla="*/ 94544 h 469194"/>
                    <a:gd name="connsiteX6" fmla="*/ 201210 w 513675"/>
                    <a:gd name="connsiteY6" fmla="*/ 15169 h 469194"/>
                    <a:gd name="connsiteX7" fmla="*/ 312335 w 513675"/>
                    <a:gd name="connsiteY7" fmla="*/ 11994 h 469194"/>
                    <a:gd name="connsiteX8" fmla="*/ 312335 w 513675"/>
                    <a:gd name="connsiteY8" fmla="*/ 142169 h 469194"/>
                    <a:gd name="connsiteX9" fmla="*/ 353610 w 513675"/>
                    <a:gd name="connsiteY9" fmla="*/ 148519 h 469194"/>
                    <a:gd name="connsiteX10" fmla="*/ 445685 w 513675"/>
                    <a:gd name="connsiteY10" fmla="*/ 161219 h 469194"/>
                    <a:gd name="connsiteX11" fmla="*/ 486960 w 513675"/>
                    <a:gd name="connsiteY11" fmla="*/ 186619 h 469194"/>
                    <a:gd name="connsiteX12" fmla="*/ 509185 w 513675"/>
                    <a:gd name="connsiteY12" fmla="*/ 231069 h 469194"/>
                    <a:gd name="connsiteX13" fmla="*/ 512360 w 513675"/>
                    <a:gd name="connsiteY13" fmla="*/ 469194 h 469194"/>
                    <a:gd name="connsiteX14" fmla="*/ 4360 w 513675"/>
                    <a:gd name="connsiteY14" fmla="*/ 446969 h 469194"/>
                    <a:gd name="connsiteX0" fmla="*/ 4360 w 513675"/>
                    <a:gd name="connsiteY0" fmla="*/ 443409 h 465634"/>
                    <a:gd name="connsiteX1" fmla="*/ 7535 w 513675"/>
                    <a:gd name="connsiteY1" fmla="*/ 208459 h 465634"/>
                    <a:gd name="connsiteX2" fmla="*/ 23410 w 513675"/>
                    <a:gd name="connsiteY2" fmla="*/ 170359 h 465634"/>
                    <a:gd name="connsiteX3" fmla="*/ 71035 w 513675"/>
                    <a:gd name="connsiteY3" fmla="*/ 154484 h 465634"/>
                    <a:gd name="connsiteX4" fmla="*/ 172635 w 513675"/>
                    <a:gd name="connsiteY4" fmla="*/ 148134 h 465634"/>
                    <a:gd name="connsiteX5" fmla="*/ 188510 w 513675"/>
                    <a:gd name="connsiteY5" fmla="*/ 90984 h 465634"/>
                    <a:gd name="connsiteX6" fmla="*/ 201210 w 513675"/>
                    <a:gd name="connsiteY6" fmla="*/ 11609 h 465634"/>
                    <a:gd name="connsiteX7" fmla="*/ 312335 w 513675"/>
                    <a:gd name="connsiteY7" fmla="*/ 8434 h 465634"/>
                    <a:gd name="connsiteX8" fmla="*/ 312335 w 513675"/>
                    <a:gd name="connsiteY8" fmla="*/ 87809 h 465634"/>
                    <a:gd name="connsiteX9" fmla="*/ 353610 w 513675"/>
                    <a:gd name="connsiteY9" fmla="*/ 144959 h 465634"/>
                    <a:gd name="connsiteX10" fmla="*/ 445685 w 513675"/>
                    <a:gd name="connsiteY10" fmla="*/ 157659 h 465634"/>
                    <a:gd name="connsiteX11" fmla="*/ 486960 w 513675"/>
                    <a:gd name="connsiteY11" fmla="*/ 183059 h 465634"/>
                    <a:gd name="connsiteX12" fmla="*/ 509185 w 513675"/>
                    <a:gd name="connsiteY12" fmla="*/ 227509 h 465634"/>
                    <a:gd name="connsiteX13" fmla="*/ 512360 w 513675"/>
                    <a:gd name="connsiteY13" fmla="*/ 465634 h 465634"/>
                    <a:gd name="connsiteX14" fmla="*/ 4360 w 513675"/>
                    <a:gd name="connsiteY14" fmla="*/ 443409 h 465634"/>
                    <a:gd name="connsiteX0" fmla="*/ 4360 w 513675"/>
                    <a:gd name="connsiteY0" fmla="*/ 443409 h 465634"/>
                    <a:gd name="connsiteX1" fmla="*/ 7535 w 513675"/>
                    <a:gd name="connsiteY1" fmla="*/ 208459 h 465634"/>
                    <a:gd name="connsiteX2" fmla="*/ 23410 w 513675"/>
                    <a:gd name="connsiteY2" fmla="*/ 170359 h 465634"/>
                    <a:gd name="connsiteX3" fmla="*/ 71035 w 513675"/>
                    <a:gd name="connsiteY3" fmla="*/ 154484 h 465634"/>
                    <a:gd name="connsiteX4" fmla="*/ 172635 w 513675"/>
                    <a:gd name="connsiteY4" fmla="*/ 148134 h 465634"/>
                    <a:gd name="connsiteX5" fmla="*/ 188510 w 513675"/>
                    <a:gd name="connsiteY5" fmla="*/ 90984 h 465634"/>
                    <a:gd name="connsiteX6" fmla="*/ 201210 w 513675"/>
                    <a:gd name="connsiteY6" fmla="*/ 11609 h 465634"/>
                    <a:gd name="connsiteX7" fmla="*/ 312335 w 513675"/>
                    <a:gd name="connsiteY7" fmla="*/ 8434 h 465634"/>
                    <a:gd name="connsiteX8" fmla="*/ 312335 w 513675"/>
                    <a:gd name="connsiteY8" fmla="*/ 87809 h 465634"/>
                    <a:gd name="connsiteX9" fmla="*/ 334560 w 513675"/>
                    <a:gd name="connsiteY9" fmla="*/ 135434 h 465634"/>
                    <a:gd name="connsiteX10" fmla="*/ 445685 w 513675"/>
                    <a:gd name="connsiteY10" fmla="*/ 157659 h 465634"/>
                    <a:gd name="connsiteX11" fmla="*/ 486960 w 513675"/>
                    <a:gd name="connsiteY11" fmla="*/ 183059 h 465634"/>
                    <a:gd name="connsiteX12" fmla="*/ 509185 w 513675"/>
                    <a:gd name="connsiteY12" fmla="*/ 227509 h 465634"/>
                    <a:gd name="connsiteX13" fmla="*/ 512360 w 513675"/>
                    <a:gd name="connsiteY13" fmla="*/ 465634 h 465634"/>
                    <a:gd name="connsiteX14" fmla="*/ 4360 w 513675"/>
                    <a:gd name="connsiteY14" fmla="*/ 443409 h 465634"/>
                    <a:gd name="connsiteX0" fmla="*/ 4360 w 510500"/>
                    <a:gd name="connsiteY0" fmla="*/ 443409 h 449759"/>
                    <a:gd name="connsiteX1" fmla="*/ 7535 w 510500"/>
                    <a:gd name="connsiteY1" fmla="*/ 208459 h 449759"/>
                    <a:gd name="connsiteX2" fmla="*/ 23410 w 510500"/>
                    <a:gd name="connsiteY2" fmla="*/ 170359 h 449759"/>
                    <a:gd name="connsiteX3" fmla="*/ 71035 w 510500"/>
                    <a:gd name="connsiteY3" fmla="*/ 154484 h 449759"/>
                    <a:gd name="connsiteX4" fmla="*/ 172635 w 510500"/>
                    <a:gd name="connsiteY4" fmla="*/ 148134 h 449759"/>
                    <a:gd name="connsiteX5" fmla="*/ 188510 w 510500"/>
                    <a:gd name="connsiteY5" fmla="*/ 90984 h 449759"/>
                    <a:gd name="connsiteX6" fmla="*/ 201210 w 510500"/>
                    <a:gd name="connsiteY6" fmla="*/ 11609 h 449759"/>
                    <a:gd name="connsiteX7" fmla="*/ 312335 w 510500"/>
                    <a:gd name="connsiteY7" fmla="*/ 8434 h 449759"/>
                    <a:gd name="connsiteX8" fmla="*/ 312335 w 510500"/>
                    <a:gd name="connsiteY8" fmla="*/ 87809 h 449759"/>
                    <a:gd name="connsiteX9" fmla="*/ 334560 w 510500"/>
                    <a:gd name="connsiteY9" fmla="*/ 135434 h 449759"/>
                    <a:gd name="connsiteX10" fmla="*/ 445685 w 510500"/>
                    <a:gd name="connsiteY10" fmla="*/ 157659 h 449759"/>
                    <a:gd name="connsiteX11" fmla="*/ 486960 w 510500"/>
                    <a:gd name="connsiteY11" fmla="*/ 183059 h 449759"/>
                    <a:gd name="connsiteX12" fmla="*/ 509185 w 510500"/>
                    <a:gd name="connsiteY12" fmla="*/ 227509 h 449759"/>
                    <a:gd name="connsiteX13" fmla="*/ 506010 w 510500"/>
                    <a:gd name="connsiteY13" fmla="*/ 449759 h 449759"/>
                    <a:gd name="connsiteX14" fmla="*/ 4360 w 510500"/>
                    <a:gd name="connsiteY14" fmla="*/ 443409 h 449759"/>
                    <a:gd name="connsiteX0" fmla="*/ 4360 w 510500"/>
                    <a:gd name="connsiteY0" fmla="*/ 443409 h 454926"/>
                    <a:gd name="connsiteX1" fmla="*/ 7535 w 510500"/>
                    <a:gd name="connsiteY1" fmla="*/ 208459 h 454926"/>
                    <a:gd name="connsiteX2" fmla="*/ 23410 w 510500"/>
                    <a:gd name="connsiteY2" fmla="*/ 170359 h 454926"/>
                    <a:gd name="connsiteX3" fmla="*/ 71035 w 510500"/>
                    <a:gd name="connsiteY3" fmla="*/ 154484 h 454926"/>
                    <a:gd name="connsiteX4" fmla="*/ 172635 w 510500"/>
                    <a:gd name="connsiteY4" fmla="*/ 148134 h 454926"/>
                    <a:gd name="connsiteX5" fmla="*/ 188510 w 510500"/>
                    <a:gd name="connsiteY5" fmla="*/ 90984 h 454926"/>
                    <a:gd name="connsiteX6" fmla="*/ 201210 w 510500"/>
                    <a:gd name="connsiteY6" fmla="*/ 11609 h 454926"/>
                    <a:gd name="connsiteX7" fmla="*/ 312335 w 510500"/>
                    <a:gd name="connsiteY7" fmla="*/ 8434 h 454926"/>
                    <a:gd name="connsiteX8" fmla="*/ 312335 w 510500"/>
                    <a:gd name="connsiteY8" fmla="*/ 87809 h 454926"/>
                    <a:gd name="connsiteX9" fmla="*/ 334560 w 510500"/>
                    <a:gd name="connsiteY9" fmla="*/ 135434 h 454926"/>
                    <a:gd name="connsiteX10" fmla="*/ 445685 w 510500"/>
                    <a:gd name="connsiteY10" fmla="*/ 157659 h 454926"/>
                    <a:gd name="connsiteX11" fmla="*/ 486960 w 510500"/>
                    <a:gd name="connsiteY11" fmla="*/ 183059 h 454926"/>
                    <a:gd name="connsiteX12" fmla="*/ 509185 w 510500"/>
                    <a:gd name="connsiteY12" fmla="*/ 227509 h 454926"/>
                    <a:gd name="connsiteX13" fmla="*/ 506010 w 510500"/>
                    <a:gd name="connsiteY13" fmla="*/ 449759 h 454926"/>
                    <a:gd name="connsiteX14" fmla="*/ 4360 w 510500"/>
                    <a:gd name="connsiteY14" fmla="*/ 443409 h 454926"/>
                    <a:gd name="connsiteX0" fmla="*/ 6473 w 512613"/>
                    <a:gd name="connsiteY0" fmla="*/ 443409 h 454926"/>
                    <a:gd name="connsiteX1" fmla="*/ 9648 w 512613"/>
                    <a:gd name="connsiteY1" fmla="*/ 208459 h 454926"/>
                    <a:gd name="connsiteX2" fmla="*/ 73148 w 512613"/>
                    <a:gd name="connsiteY2" fmla="*/ 154484 h 454926"/>
                    <a:gd name="connsiteX3" fmla="*/ 174748 w 512613"/>
                    <a:gd name="connsiteY3" fmla="*/ 148134 h 454926"/>
                    <a:gd name="connsiteX4" fmla="*/ 190623 w 512613"/>
                    <a:gd name="connsiteY4" fmla="*/ 90984 h 454926"/>
                    <a:gd name="connsiteX5" fmla="*/ 203323 w 512613"/>
                    <a:gd name="connsiteY5" fmla="*/ 11609 h 454926"/>
                    <a:gd name="connsiteX6" fmla="*/ 314448 w 512613"/>
                    <a:gd name="connsiteY6" fmla="*/ 8434 h 454926"/>
                    <a:gd name="connsiteX7" fmla="*/ 314448 w 512613"/>
                    <a:gd name="connsiteY7" fmla="*/ 87809 h 454926"/>
                    <a:gd name="connsiteX8" fmla="*/ 336673 w 512613"/>
                    <a:gd name="connsiteY8" fmla="*/ 135434 h 454926"/>
                    <a:gd name="connsiteX9" fmla="*/ 447798 w 512613"/>
                    <a:gd name="connsiteY9" fmla="*/ 157659 h 454926"/>
                    <a:gd name="connsiteX10" fmla="*/ 489073 w 512613"/>
                    <a:gd name="connsiteY10" fmla="*/ 183059 h 454926"/>
                    <a:gd name="connsiteX11" fmla="*/ 511298 w 512613"/>
                    <a:gd name="connsiteY11" fmla="*/ 227509 h 454926"/>
                    <a:gd name="connsiteX12" fmla="*/ 508123 w 512613"/>
                    <a:gd name="connsiteY12" fmla="*/ 449759 h 454926"/>
                    <a:gd name="connsiteX13" fmla="*/ 6473 w 512613"/>
                    <a:gd name="connsiteY13" fmla="*/ 443409 h 454926"/>
                    <a:gd name="connsiteX0" fmla="*/ 4049 w 510189"/>
                    <a:gd name="connsiteY0" fmla="*/ 443409 h 454926"/>
                    <a:gd name="connsiteX1" fmla="*/ 7224 w 510189"/>
                    <a:gd name="connsiteY1" fmla="*/ 208459 h 454926"/>
                    <a:gd name="connsiteX2" fmla="*/ 70724 w 510189"/>
                    <a:gd name="connsiteY2" fmla="*/ 154484 h 454926"/>
                    <a:gd name="connsiteX3" fmla="*/ 172324 w 510189"/>
                    <a:gd name="connsiteY3" fmla="*/ 148134 h 454926"/>
                    <a:gd name="connsiteX4" fmla="*/ 188199 w 510189"/>
                    <a:gd name="connsiteY4" fmla="*/ 90984 h 454926"/>
                    <a:gd name="connsiteX5" fmla="*/ 200899 w 510189"/>
                    <a:gd name="connsiteY5" fmla="*/ 11609 h 454926"/>
                    <a:gd name="connsiteX6" fmla="*/ 312024 w 510189"/>
                    <a:gd name="connsiteY6" fmla="*/ 8434 h 454926"/>
                    <a:gd name="connsiteX7" fmla="*/ 312024 w 510189"/>
                    <a:gd name="connsiteY7" fmla="*/ 87809 h 454926"/>
                    <a:gd name="connsiteX8" fmla="*/ 334249 w 510189"/>
                    <a:gd name="connsiteY8" fmla="*/ 135434 h 454926"/>
                    <a:gd name="connsiteX9" fmla="*/ 445374 w 510189"/>
                    <a:gd name="connsiteY9" fmla="*/ 157659 h 454926"/>
                    <a:gd name="connsiteX10" fmla="*/ 486649 w 510189"/>
                    <a:gd name="connsiteY10" fmla="*/ 183059 h 454926"/>
                    <a:gd name="connsiteX11" fmla="*/ 508874 w 510189"/>
                    <a:gd name="connsiteY11" fmla="*/ 227509 h 454926"/>
                    <a:gd name="connsiteX12" fmla="*/ 505699 w 510189"/>
                    <a:gd name="connsiteY12" fmla="*/ 449759 h 454926"/>
                    <a:gd name="connsiteX13" fmla="*/ 4049 w 510189"/>
                    <a:gd name="connsiteY13" fmla="*/ 443409 h 454926"/>
                    <a:gd name="connsiteX0" fmla="*/ 4049 w 510189"/>
                    <a:gd name="connsiteY0" fmla="*/ 443409 h 454926"/>
                    <a:gd name="connsiteX1" fmla="*/ 7224 w 510189"/>
                    <a:gd name="connsiteY1" fmla="*/ 208459 h 454926"/>
                    <a:gd name="connsiteX2" fmla="*/ 70724 w 510189"/>
                    <a:gd name="connsiteY2" fmla="*/ 154484 h 454926"/>
                    <a:gd name="connsiteX3" fmla="*/ 172324 w 510189"/>
                    <a:gd name="connsiteY3" fmla="*/ 148134 h 454926"/>
                    <a:gd name="connsiteX4" fmla="*/ 188199 w 510189"/>
                    <a:gd name="connsiteY4" fmla="*/ 90984 h 454926"/>
                    <a:gd name="connsiteX5" fmla="*/ 200899 w 510189"/>
                    <a:gd name="connsiteY5" fmla="*/ 11609 h 454926"/>
                    <a:gd name="connsiteX6" fmla="*/ 312024 w 510189"/>
                    <a:gd name="connsiteY6" fmla="*/ 8434 h 454926"/>
                    <a:gd name="connsiteX7" fmla="*/ 312024 w 510189"/>
                    <a:gd name="connsiteY7" fmla="*/ 87809 h 454926"/>
                    <a:gd name="connsiteX8" fmla="*/ 334249 w 510189"/>
                    <a:gd name="connsiteY8" fmla="*/ 135434 h 454926"/>
                    <a:gd name="connsiteX9" fmla="*/ 445374 w 510189"/>
                    <a:gd name="connsiteY9" fmla="*/ 157659 h 454926"/>
                    <a:gd name="connsiteX10" fmla="*/ 508874 w 510189"/>
                    <a:gd name="connsiteY10" fmla="*/ 227509 h 454926"/>
                    <a:gd name="connsiteX11" fmla="*/ 505699 w 510189"/>
                    <a:gd name="connsiteY11" fmla="*/ 449759 h 454926"/>
                    <a:gd name="connsiteX12" fmla="*/ 4049 w 510189"/>
                    <a:gd name="connsiteY12" fmla="*/ 443409 h 454926"/>
                    <a:gd name="connsiteX0" fmla="*/ 4049 w 510189"/>
                    <a:gd name="connsiteY0" fmla="*/ 443409 h 454926"/>
                    <a:gd name="connsiteX1" fmla="*/ 7224 w 510189"/>
                    <a:gd name="connsiteY1" fmla="*/ 208459 h 454926"/>
                    <a:gd name="connsiteX2" fmla="*/ 70724 w 510189"/>
                    <a:gd name="connsiteY2" fmla="*/ 154484 h 454926"/>
                    <a:gd name="connsiteX3" fmla="*/ 172324 w 510189"/>
                    <a:gd name="connsiteY3" fmla="*/ 148134 h 454926"/>
                    <a:gd name="connsiteX4" fmla="*/ 188199 w 510189"/>
                    <a:gd name="connsiteY4" fmla="*/ 90984 h 454926"/>
                    <a:gd name="connsiteX5" fmla="*/ 200899 w 510189"/>
                    <a:gd name="connsiteY5" fmla="*/ 11609 h 454926"/>
                    <a:gd name="connsiteX6" fmla="*/ 312024 w 510189"/>
                    <a:gd name="connsiteY6" fmla="*/ 8434 h 454926"/>
                    <a:gd name="connsiteX7" fmla="*/ 312024 w 510189"/>
                    <a:gd name="connsiteY7" fmla="*/ 87809 h 454926"/>
                    <a:gd name="connsiteX8" fmla="*/ 334249 w 510189"/>
                    <a:gd name="connsiteY8" fmla="*/ 135434 h 454926"/>
                    <a:gd name="connsiteX9" fmla="*/ 445374 w 510189"/>
                    <a:gd name="connsiteY9" fmla="*/ 157659 h 454926"/>
                    <a:gd name="connsiteX10" fmla="*/ 508874 w 510189"/>
                    <a:gd name="connsiteY10" fmla="*/ 227509 h 454926"/>
                    <a:gd name="connsiteX11" fmla="*/ 505699 w 510189"/>
                    <a:gd name="connsiteY11" fmla="*/ 449759 h 454926"/>
                    <a:gd name="connsiteX12" fmla="*/ 4049 w 510189"/>
                    <a:gd name="connsiteY12" fmla="*/ 443409 h 454926"/>
                    <a:gd name="connsiteX0" fmla="*/ 5987 w 512127"/>
                    <a:gd name="connsiteY0" fmla="*/ 443409 h 454926"/>
                    <a:gd name="connsiteX1" fmla="*/ 2812 w 512127"/>
                    <a:gd name="connsiteY1" fmla="*/ 217984 h 454926"/>
                    <a:gd name="connsiteX2" fmla="*/ 72662 w 512127"/>
                    <a:gd name="connsiteY2" fmla="*/ 154484 h 454926"/>
                    <a:gd name="connsiteX3" fmla="*/ 174262 w 512127"/>
                    <a:gd name="connsiteY3" fmla="*/ 148134 h 454926"/>
                    <a:gd name="connsiteX4" fmla="*/ 190137 w 512127"/>
                    <a:gd name="connsiteY4" fmla="*/ 90984 h 454926"/>
                    <a:gd name="connsiteX5" fmla="*/ 202837 w 512127"/>
                    <a:gd name="connsiteY5" fmla="*/ 11609 h 454926"/>
                    <a:gd name="connsiteX6" fmla="*/ 313962 w 512127"/>
                    <a:gd name="connsiteY6" fmla="*/ 8434 h 454926"/>
                    <a:gd name="connsiteX7" fmla="*/ 313962 w 512127"/>
                    <a:gd name="connsiteY7" fmla="*/ 87809 h 454926"/>
                    <a:gd name="connsiteX8" fmla="*/ 336187 w 512127"/>
                    <a:gd name="connsiteY8" fmla="*/ 135434 h 454926"/>
                    <a:gd name="connsiteX9" fmla="*/ 447312 w 512127"/>
                    <a:gd name="connsiteY9" fmla="*/ 157659 h 454926"/>
                    <a:gd name="connsiteX10" fmla="*/ 510812 w 512127"/>
                    <a:gd name="connsiteY10" fmla="*/ 227509 h 454926"/>
                    <a:gd name="connsiteX11" fmla="*/ 507637 w 512127"/>
                    <a:gd name="connsiteY11" fmla="*/ 449759 h 454926"/>
                    <a:gd name="connsiteX12" fmla="*/ 5987 w 512127"/>
                    <a:gd name="connsiteY12" fmla="*/ 443409 h 454926"/>
                    <a:gd name="connsiteX0" fmla="*/ 9762 w 515902"/>
                    <a:gd name="connsiteY0" fmla="*/ 443409 h 454926"/>
                    <a:gd name="connsiteX1" fmla="*/ 6587 w 515902"/>
                    <a:gd name="connsiteY1" fmla="*/ 217984 h 454926"/>
                    <a:gd name="connsiteX2" fmla="*/ 76437 w 515902"/>
                    <a:gd name="connsiteY2" fmla="*/ 154484 h 454926"/>
                    <a:gd name="connsiteX3" fmla="*/ 178037 w 515902"/>
                    <a:gd name="connsiteY3" fmla="*/ 148134 h 454926"/>
                    <a:gd name="connsiteX4" fmla="*/ 193912 w 515902"/>
                    <a:gd name="connsiteY4" fmla="*/ 90984 h 454926"/>
                    <a:gd name="connsiteX5" fmla="*/ 206612 w 515902"/>
                    <a:gd name="connsiteY5" fmla="*/ 11609 h 454926"/>
                    <a:gd name="connsiteX6" fmla="*/ 317737 w 515902"/>
                    <a:gd name="connsiteY6" fmla="*/ 8434 h 454926"/>
                    <a:gd name="connsiteX7" fmla="*/ 317737 w 515902"/>
                    <a:gd name="connsiteY7" fmla="*/ 87809 h 454926"/>
                    <a:gd name="connsiteX8" fmla="*/ 339962 w 515902"/>
                    <a:gd name="connsiteY8" fmla="*/ 135434 h 454926"/>
                    <a:gd name="connsiteX9" fmla="*/ 451087 w 515902"/>
                    <a:gd name="connsiteY9" fmla="*/ 157659 h 454926"/>
                    <a:gd name="connsiteX10" fmla="*/ 514587 w 515902"/>
                    <a:gd name="connsiteY10" fmla="*/ 227509 h 454926"/>
                    <a:gd name="connsiteX11" fmla="*/ 511412 w 515902"/>
                    <a:gd name="connsiteY11" fmla="*/ 449759 h 454926"/>
                    <a:gd name="connsiteX12" fmla="*/ 9762 w 515902"/>
                    <a:gd name="connsiteY12" fmla="*/ 443409 h 454926"/>
                    <a:gd name="connsiteX0" fmla="*/ 9762 w 515902"/>
                    <a:gd name="connsiteY0" fmla="*/ 443409 h 454926"/>
                    <a:gd name="connsiteX1" fmla="*/ 6587 w 515902"/>
                    <a:gd name="connsiteY1" fmla="*/ 217984 h 454926"/>
                    <a:gd name="connsiteX2" fmla="*/ 76437 w 515902"/>
                    <a:gd name="connsiteY2" fmla="*/ 154484 h 454926"/>
                    <a:gd name="connsiteX3" fmla="*/ 178037 w 515902"/>
                    <a:gd name="connsiteY3" fmla="*/ 148134 h 454926"/>
                    <a:gd name="connsiteX4" fmla="*/ 193912 w 515902"/>
                    <a:gd name="connsiteY4" fmla="*/ 90984 h 454926"/>
                    <a:gd name="connsiteX5" fmla="*/ 206612 w 515902"/>
                    <a:gd name="connsiteY5" fmla="*/ 11609 h 454926"/>
                    <a:gd name="connsiteX6" fmla="*/ 317737 w 515902"/>
                    <a:gd name="connsiteY6" fmla="*/ 8434 h 454926"/>
                    <a:gd name="connsiteX7" fmla="*/ 317737 w 515902"/>
                    <a:gd name="connsiteY7" fmla="*/ 87809 h 454926"/>
                    <a:gd name="connsiteX8" fmla="*/ 339962 w 515902"/>
                    <a:gd name="connsiteY8" fmla="*/ 135434 h 454926"/>
                    <a:gd name="connsiteX9" fmla="*/ 451087 w 515902"/>
                    <a:gd name="connsiteY9" fmla="*/ 157659 h 454926"/>
                    <a:gd name="connsiteX10" fmla="*/ 514587 w 515902"/>
                    <a:gd name="connsiteY10" fmla="*/ 227509 h 454926"/>
                    <a:gd name="connsiteX11" fmla="*/ 511412 w 515902"/>
                    <a:gd name="connsiteY11" fmla="*/ 449759 h 454926"/>
                    <a:gd name="connsiteX12" fmla="*/ 9762 w 515902"/>
                    <a:gd name="connsiteY12" fmla="*/ 443409 h 454926"/>
                    <a:gd name="connsiteX0" fmla="*/ 9762 w 515902"/>
                    <a:gd name="connsiteY0" fmla="*/ 443409 h 454926"/>
                    <a:gd name="connsiteX1" fmla="*/ 6587 w 515902"/>
                    <a:gd name="connsiteY1" fmla="*/ 217984 h 454926"/>
                    <a:gd name="connsiteX2" fmla="*/ 76437 w 515902"/>
                    <a:gd name="connsiteY2" fmla="*/ 154484 h 454926"/>
                    <a:gd name="connsiteX3" fmla="*/ 193912 w 515902"/>
                    <a:gd name="connsiteY3" fmla="*/ 90984 h 454926"/>
                    <a:gd name="connsiteX4" fmla="*/ 206612 w 515902"/>
                    <a:gd name="connsiteY4" fmla="*/ 11609 h 454926"/>
                    <a:gd name="connsiteX5" fmla="*/ 317737 w 515902"/>
                    <a:gd name="connsiteY5" fmla="*/ 8434 h 454926"/>
                    <a:gd name="connsiteX6" fmla="*/ 317737 w 515902"/>
                    <a:gd name="connsiteY6" fmla="*/ 87809 h 454926"/>
                    <a:gd name="connsiteX7" fmla="*/ 339962 w 515902"/>
                    <a:gd name="connsiteY7" fmla="*/ 135434 h 454926"/>
                    <a:gd name="connsiteX8" fmla="*/ 451087 w 515902"/>
                    <a:gd name="connsiteY8" fmla="*/ 157659 h 454926"/>
                    <a:gd name="connsiteX9" fmla="*/ 514587 w 515902"/>
                    <a:gd name="connsiteY9" fmla="*/ 227509 h 454926"/>
                    <a:gd name="connsiteX10" fmla="*/ 511412 w 515902"/>
                    <a:gd name="connsiteY10" fmla="*/ 449759 h 454926"/>
                    <a:gd name="connsiteX11" fmla="*/ 9762 w 515902"/>
                    <a:gd name="connsiteY11" fmla="*/ 443409 h 454926"/>
                    <a:gd name="connsiteX0" fmla="*/ 9762 w 515902"/>
                    <a:gd name="connsiteY0" fmla="*/ 446099 h 457616"/>
                    <a:gd name="connsiteX1" fmla="*/ 6587 w 515902"/>
                    <a:gd name="connsiteY1" fmla="*/ 220674 h 457616"/>
                    <a:gd name="connsiteX2" fmla="*/ 76437 w 515902"/>
                    <a:gd name="connsiteY2" fmla="*/ 157174 h 457616"/>
                    <a:gd name="connsiteX3" fmla="*/ 190737 w 515902"/>
                    <a:gd name="connsiteY3" fmla="*/ 138124 h 457616"/>
                    <a:gd name="connsiteX4" fmla="*/ 206612 w 515902"/>
                    <a:gd name="connsiteY4" fmla="*/ 14299 h 457616"/>
                    <a:gd name="connsiteX5" fmla="*/ 317737 w 515902"/>
                    <a:gd name="connsiteY5" fmla="*/ 11124 h 457616"/>
                    <a:gd name="connsiteX6" fmla="*/ 317737 w 515902"/>
                    <a:gd name="connsiteY6" fmla="*/ 90499 h 457616"/>
                    <a:gd name="connsiteX7" fmla="*/ 339962 w 515902"/>
                    <a:gd name="connsiteY7" fmla="*/ 138124 h 457616"/>
                    <a:gd name="connsiteX8" fmla="*/ 451087 w 515902"/>
                    <a:gd name="connsiteY8" fmla="*/ 160349 h 457616"/>
                    <a:gd name="connsiteX9" fmla="*/ 514587 w 515902"/>
                    <a:gd name="connsiteY9" fmla="*/ 230199 h 457616"/>
                    <a:gd name="connsiteX10" fmla="*/ 511412 w 515902"/>
                    <a:gd name="connsiteY10" fmla="*/ 452449 h 457616"/>
                    <a:gd name="connsiteX11" fmla="*/ 9762 w 515902"/>
                    <a:gd name="connsiteY11" fmla="*/ 446099 h 457616"/>
                    <a:gd name="connsiteX0" fmla="*/ 9762 w 515902"/>
                    <a:gd name="connsiteY0" fmla="*/ 446099 h 457616"/>
                    <a:gd name="connsiteX1" fmla="*/ 6587 w 515902"/>
                    <a:gd name="connsiteY1" fmla="*/ 220674 h 457616"/>
                    <a:gd name="connsiteX2" fmla="*/ 76437 w 515902"/>
                    <a:gd name="connsiteY2" fmla="*/ 157174 h 457616"/>
                    <a:gd name="connsiteX3" fmla="*/ 190737 w 515902"/>
                    <a:gd name="connsiteY3" fmla="*/ 138124 h 457616"/>
                    <a:gd name="connsiteX4" fmla="*/ 206612 w 515902"/>
                    <a:gd name="connsiteY4" fmla="*/ 14299 h 457616"/>
                    <a:gd name="connsiteX5" fmla="*/ 317737 w 515902"/>
                    <a:gd name="connsiteY5" fmla="*/ 11124 h 457616"/>
                    <a:gd name="connsiteX6" fmla="*/ 317737 w 515902"/>
                    <a:gd name="connsiteY6" fmla="*/ 90499 h 457616"/>
                    <a:gd name="connsiteX7" fmla="*/ 451087 w 515902"/>
                    <a:gd name="connsiteY7" fmla="*/ 160349 h 457616"/>
                    <a:gd name="connsiteX8" fmla="*/ 514587 w 515902"/>
                    <a:gd name="connsiteY8" fmla="*/ 230199 h 457616"/>
                    <a:gd name="connsiteX9" fmla="*/ 511412 w 515902"/>
                    <a:gd name="connsiteY9" fmla="*/ 452449 h 457616"/>
                    <a:gd name="connsiteX10" fmla="*/ 9762 w 515902"/>
                    <a:gd name="connsiteY10" fmla="*/ 446099 h 457616"/>
                    <a:gd name="connsiteX0" fmla="*/ 9762 w 515902"/>
                    <a:gd name="connsiteY0" fmla="*/ 447482 h 458999"/>
                    <a:gd name="connsiteX1" fmla="*/ 6587 w 515902"/>
                    <a:gd name="connsiteY1" fmla="*/ 222057 h 458999"/>
                    <a:gd name="connsiteX2" fmla="*/ 76437 w 515902"/>
                    <a:gd name="connsiteY2" fmla="*/ 158557 h 458999"/>
                    <a:gd name="connsiteX3" fmla="*/ 190737 w 515902"/>
                    <a:gd name="connsiteY3" fmla="*/ 139507 h 458999"/>
                    <a:gd name="connsiteX4" fmla="*/ 206612 w 515902"/>
                    <a:gd name="connsiteY4" fmla="*/ 15682 h 458999"/>
                    <a:gd name="connsiteX5" fmla="*/ 317737 w 515902"/>
                    <a:gd name="connsiteY5" fmla="*/ 12507 h 458999"/>
                    <a:gd name="connsiteX6" fmla="*/ 330437 w 515902"/>
                    <a:gd name="connsiteY6" fmla="*/ 114107 h 458999"/>
                    <a:gd name="connsiteX7" fmla="*/ 451087 w 515902"/>
                    <a:gd name="connsiteY7" fmla="*/ 161732 h 458999"/>
                    <a:gd name="connsiteX8" fmla="*/ 514587 w 515902"/>
                    <a:gd name="connsiteY8" fmla="*/ 231582 h 458999"/>
                    <a:gd name="connsiteX9" fmla="*/ 511412 w 515902"/>
                    <a:gd name="connsiteY9" fmla="*/ 453832 h 458999"/>
                    <a:gd name="connsiteX10" fmla="*/ 9762 w 515902"/>
                    <a:gd name="connsiteY10" fmla="*/ 447482 h 458999"/>
                    <a:gd name="connsiteX0" fmla="*/ 9762 w 515902"/>
                    <a:gd name="connsiteY0" fmla="*/ 446348 h 457865"/>
                    <a:gd name="connsiteX1" fmla="*/ 6587 w 515902"/>
                    <a:gd name="connsiteY1" fmla="*/ 220923 h 457865"/>
                    <a:gd name="connsiteX2" fmla="*/ 76437 w 515902"/>
                    <a:gd name="connsiteY2" fmla="*/ 157423 h 457865"/>
                    <a:gd name="connsiteX3" fmla="*/ 200262 w 515902"/>
                    <a:gd name="connsiteY3" fmla="*/ 119323 h 457865"/>
                    <a:gd name="connsiteX4" fmla="*/ 206612 w 515902"/>
                    <a:gd name="connsiteY4" fmla="*/ 14548 h 457865"/>
                    <a:gd name="connsiteX5" fmla="*/ 317737 w 515902"/>
                    <a:gd name="connsiteY5" fmla="*/ 11373 h 457865"/>
                    <a:gd name="connsiteX6" fmla="*/ 330437 w 515902"/>
                    <a:gd name="connsiteY6" fmla="*/ 112973 h 457865"/>
                    <a:gd name="connsiteX7" fmla="*/ 451087 w 515902"/>
                    <a:gd name="connsiteY7" fmla="*/ 160598 h 457865"/>
                    <a:gd name="connsiteX8" fmla="*/ 514587 w 515902"/>
                    <a:gd name="connsiteY8" fmla="*/ 230448 h 457865"/>
                    <a:gd name="connsiteX9" fmla="*/ 511412 w 515902"/>
                    <a:gd name="connsiteY9" fmla="*/ 452698 h 457865"/>
                    <a:gd name="connsiteX10" fmla="*/ 9762 w 515902"/>
                    <a:gd name="connsiteY10" fmla="*/ 446348 h 457865"/>
                    <a:gd name="connsiteX0" fmla="*/ 9762 w 515902"/>
                    <a:gd name="connsiteY0" fmla="*/ 446681 h 458198"/>
                    <a:gd name="connsiteX1" fmla="*/ 6587 w 515902"/>
                    <a:gd name="connsiteY1" fmla="*/ 221256 h 458198"/>
                    <a:gd name="connsiteX2" fmla="*/ 76437 w 515902"/>
                    <a:gd name="connsiteY2" fmla="*/ 157756 h 458198"/>
                    <a:gd name="connsiteX3" fmla="*/ 200262 w 515902"/>
                    <a:gd name="connsiteY3" fmla="*/ 119656 h 458198"/>
                    <a:gd name="connsiteX4" fmla="*/ 206612 w 515902"/>
                    <a:gd name="connsiteY4" fmla="*/ 14881 h 458198"/>
                    <a:gd name="connsiteX5" fmla="*/ 317737 w 515902"/>
                    <a:gd name="connsiteY5" fmla="*/ 11706 h 458198"/>
                    <a:gd name="connsiteX6" fmla="*/ 311502 w 515902"/>
                    <a:gd name="connsiteY6" fmla="*/ 118302 h 458198"/>
                    <a:gd name="connsiteX7" fmla="*/ 451087 w 515902"/>
                    <a:gd name="connsiteY7" fmla="*/ 160931 h 458198"/>
                    <a:gd name="connsiteX8" fmla="*/ 514587 w 515902"/>
                    <a:gd name="connsiteY8" fmla="*/ 230781 h 458198"/>
                    <a:gd name="connsiteX9" fmla="*/ 511412 w 515902"/>
                    <a:gd name="connsiteY9" fmla="*/ 453031 h 458198"/>
                    <a:gd name="connsiteX10" fmla="*/ 9762 w 515902"/>
                    <a:gd name="connsiteY10" fmla="*/ 446681 h 458198"/>
                    <a:gd name="connsiteX0" fmla="*/ 9762 w 515902"/>
                    <a:gd name="connsiteY0" fmla="*/ 446681 h 458198"/>
                    <a:gd name="connsiteX1" fmla="*/ 6587 w 515902"/>
                    <a:gd name="connsiteY1" fmla="*/ 221256 h 458198"/>
                    <a:gd name="connsiteX2" fmla="*/ 76437 w 515902"/>
                    <a:gd name="connsiteY2" fmla="*/ 157756 h 458198"/>
                    <a:gd name="connsiteX3" fmla="*/ 200262 w 515902"/>
                    <a:gd name="connsiteY3" fmla="*/ 119656 h 458198"/>
                    <a:gd name="connsiteX4" fmla="*/ 206612 w 515902"/>
                    <a:gd name="connsiteY4" fmla="*/ 14881 h 458198"/>
                    <a:gd name="connsiteX5" fmla="*/ 301506 w 515902"/>
                    <a:gd name="connsiteY5" fmla="*/ 11706 h 458198"/>
                    <a:gd name="connsiteX6" fmla="*/ 311502 w 515902"/>
                    <a:gd name="connsiteY6" fmla="*/ 118302 h 458198"/>
                    <a:gd name="connsiteX7" fmla="*/ 451087 w 515902"/>
                    <a:gd name="connsiteY7" fmla="*/ 160931 h 458198"/>
                    <a:gd name="connsiteX8" fmla="*/ 514587 w 515902"/>
                    <a:gd name="connsiteY8" fmla="*/ 230781 h 458198"/>
                    <a:gd name="connsiteX9" fmla="*/ 511412 w 515902"/>
                    <a:gd name="connsiteY9" fmla="*/ 453031 h 458198"/>
                    <a:gd name="connsiteX10" fmla="*/ 9762 w 515902"/>
                    <a:gd name="connsiteY10" fmla="*/ 446681 h 458198"/>
                    <a:gd name="connsiteX0" fmla="*/ 9762 w 515902"/>
                    <a:gd name="connsiteY0" fmla="*/ 446681 h 458198"/>
                    <a:gd name="connsiteX1" fmla="*/ 6587 w 515902"/>
                    <a:gd name="connsiteY1" fmla="*/ 221256 h 458198"/>
                    <a:gd name="connsiteX2" fmla="*/ 76437 w 515902"/>
                    <a:gd name="connsiteY2" fmla="*/ 157756 h 458198"/>
                    <a:gd name="connsiteX3" fmla="*/ 200262 w 515902"/>
                    <a:gd name="connsiteY3" fmla="*/ 119656 h 458198"/>
                    <a:gd name="connsiteX4" fmla="*/ 206612 w 515902"/>
                    <a:gd name="connsiteY4" fmla="*/ 14881 h 458198"/>
                    <a:gd name="connsiteX5" fmla="*/ 301506 w 515902"/>
                    <a:gd name="connsiteY5" fmla="*/ 11706 h 458198"/>
                    <a:gd name="connsiteX6" fmla="*/ 311502 w 515902"/>
                    <a:gd name="connsiteY6" fmla="*/ 118302 h 458198"/>
                    <a:gd name="connsiteX7" fmla="*/ 442972 w 515902"/>
                    <a:gd name="connsiteY7" fmla="*/ 180912 h 458198"/>
                    <a:gd name="connsiteX8" fmla="*/ 514587 w 515902"/>
                    <a:gd name="connsiteY8" fmla="*/ 230781 h 458198"/>
                    <a:gd name="connsiteX9" fmla="*/ 511412 w 515902"/>
                    <a:gd name="connsiteY9" fmla="*/ 453031 h 458198"/>
                    <a:gd name="connsiteX10" fmla="*/ 9762 w 515902"/>
                    <a:gd name="connsiteY10" fmla="*/ 446681 h 458198"/>
                    <a:gd name="connsiteX0" fmla="*/ 9762 w 511905"/>
                    <a:gd name="connsiteY0" fmla="*/ 446681 h 458198"/>
                    <a:gd name="connsiteX1" fmla="*/ 6587 w 511905"/>
                    <a:gd name="connsiteY1" fmla="*/ 221256 h 458198"/>
                    <a:gd name="connsiteX2" fmla="*/ 76437 w 511905"/>
                    <a:gd name="connsiteY2" fmla="*/ 157756 h 458198"/>
                    <a:gd name="connsiteX3" fmla="*/ 200262 w 511905"/>
                    <a:gd name="connsiteY3" fmla="*/ 119656 h 458198"/>
                    <a:gd name="connsiteX4" fmla="*/ 206612 w 511905"/>
                    <a:gd name="connsiteY4" fmla="*/ 14881 h 458198"/>
                    <a:gd name="connsiteX5" fmla="*/ 301506 w 511905"/>
                    <a:gd name="connsiteY5" fmla="*/ 11706 h 458198"/>
                    <a:gd name="connsiteX6" fmla="*/ 311502 w 511905"/>
                    <a:gd name="connsiteY6" fmla="*/ 118302 h 458198"/>
                    <a:gd name="connsiteX7" fmla="*/ 442972 w 511905"/>
                    <a:gd name="connsiteY7" fmla="*/ 180912 h 458198"/>
                    <a:gd name="connsiteX8" fmla="*/ 498357 w 511905"/>
                    <a:gd name="connsiteY8" fmla="*/ 250762 h 458198"/>
                    <a:gd name="connsiteX9" fmla="*/ 511412 w 511905"/>
                    <a:gd name="connsiteY9" fmla="*/ 453031 h 458198"/>
                    <a:gd name="connsiteX10" fmla="*/ 9762 w 511905"/>
                    <a:gd name="connsiteY10" fmla="*/ 446681 h 458198"/>
                    <a:gd name="connsiteX0" fmla="*/ 9762 w 511905"/>
                    <a:gd name="connsiteY0" fmla="*/ 446681 h 458198"/>
                    <a:gd name="connsiteX1" fmla="*/ 6587 w 511905"/>
                    <a:gd name="connsiteY1" fmla="*/ 221256 h 458198"/>
                    <a:gd name="connsiteX2" fmla="*/ 76437 w 511905"/>
                    <a:gd name="connsiteY2" fmla="*/ 157756 h 458198"/>
                    <a:gd name="connsiteX3" fmla="*/ 200262 w 511905"/>
                    <a:gd name="connsiteY3" fmla="*/ 119656 h 458198"/>
                    <a:gd name="connsiteX4" fmla="*/ 206612 w 511905"/>
                    <a:gd name="connsiteY4" fmla="*/ 14881 h 458198"/>
                    <a:gd name="connsiteX5" fmla="*/ 301506 w 511905"/>
                    <a:gd name="connsiteY5" fmla="*/ 11706 h 458198"/>
                    <a:gd name="connsiteX6" fmla="*/ 311502 w 511905"/>
                    <a:gd name="connsiteY6" fmla="*/ 118302 h 458198"/>
                    <a:gd name="connsiteX7" fmla="*/ 437562 w 511905"/>
                    <a:gd name="connsiteY7" fmla="*/ 198396 h 458198"/>
                    <a:gd name="connsiteX8" fmla="*/ 498357 w 511905"/>
                    <a:gd name="connsiteY8" fmla="*/ 250762 h 458198"/>
                    <a:gd name="connsiteX9" fmla="*/ 511412 w 511905"/>
                    <a:gd name="connsiteY9" fmla="*/ 453031 h 458198"/>
                    <a:gd name="connsiteX10" fmla="*/ 9762 w 511905"/>
                    <a:gd name="connsiteY10" fmla="*/ 446681 h 458198"/>
                    <a:gd name="connsiteX0" fmla="*/ 9762 w 511905"/>
                    <a:gd name="connsiteY0" fmla="*/ 446681 h 458198"/>
                    <a:gd name="connsiteX1" fmla="*/ 6587 w 511905"/>
                    <a:gd name="connsiteY1" fmla="*/ 221256 h 458198"/>
                    <a:gd name="connsiteX2" fmla="*/ 76437 w 511905"/>
                    <a:gd name="connsiteY2" fmla="*/ 157756 h 458198"/>
                    <a:gd name="connsiteX3" fmla="*/ 200262 w 511905"/>
                    <a:gd name="connsiteY3" fmla="*/ 119656 h 458198"/>
                    <a:gd name="connsiteX4" fmla="*/ 206612 w 511905"/>
                    <a:gd name="connsiteY4" fmla="*/ 14881 h 458198"/>
                    <a:gd name="connsiteX5" fmla="*/ 301506 w 511905"/>
                    <a:gd name="connsiteY5" fmla="*/ 11706 h 458198"/>
                    <a:gd name="connsiteX6" fmla="*/ 311502 w 511905"/>
                    <a:gd name="connsiteY6" fmla="*/ 118302 h 458198"/>
                    <a:gd name="connsiteX7" fmla="*/ 451087 w 511905"/>
                    <a:gd name="connsiteY7" fmla="*/ 188406 h 458198"/>
                    <a:gd name="connsiteX8" fmla="*/ 498357 w 511905"/>
                    <a:gd name="connsiteY8" fmla="*/ 250762 h 458198"/>
                    <a:gd name="connsiteX9" fmla="*/ 511412 w 511905"/>
                    <a:gd name="connsiteY9" fmla="*/ 453031 h 458198"/>
                    <a:gd name="connsiteX10" fmla="*/ 9762 w 511905"/>
                    <a:gd name="connsiteY10" fmla="*/ 446681 h 458198"/>
                    <a:gd name="connsiteX0" fmla="*/ 9762 w 511905"/>
                    <a:gd name="connsiteY0" fmla="*/ 447695 h 459212"/>
                    <a:gd name="connsiteX1" fmla="*/ 6587 w 511905"/>
                    <a:gd name="connsiteY1" fmla="*/ 222270 h 459212"/>
                    <a:gd name="connsiteX2" fmla="*/ 76437 w 511905"/>
                    <a:gd name="connsiteY2" fmla="*/ 158770 h 459212"/>
                    <a:gd name="connsiteX3" fmla="*/ 200262 w 511905"/>
                    <a:gd name="connsiteY3" fmla="*/ 120670 h 459212"/>
                    <a:gd name="connsiteX4" fmla="*/ 206612 w 511905"/>
                    <a:gd name="connsiteY4" fmla="*/ 15895 h 459212"/>
                    <a:gd name="connsiteX5" fmla="*/ 301506 w 511905"/>
                    <a:gd name="connsiteY5" fmla="*/ 12720 h 459212"/>
                    <a:gd name="connsiteX6" fmla="*/ 311502 w 511905"/>
                    <a:gd name="connsiteY6" fmla="*/ 134302 h 459212"/>
                    <a:gd name="connsiteX7" fmla="*/ 451087 w 511905"/>
                    <a:gd name="connsiteY7" fmla="*/ 189420 h 459212"/>
                    <a:gd name="connsiteX8" fmla="*/ 498357 w 511905"/>
                    <a:gd name="connsiteY8" fmla="*/ 251776 h 459212"/>
                    <a:gd name="connsiteX9" fmla="*/ 511412 w 511905"/>
                    <a:gd name="connsiteY9" fmla="*/ 454045 h 459212"/>
                    <a:gd name="connsiteX10" fmla="*/ 9762 w 511905"/>
                    <a:gd name="connsiteY10" fmla="*/ 447695 h 459212"/>
                    <a:gd name="connsiteX0" fmla="*/ 4227 w 522600"/>
                    <a:gd name="connsiteY0" fmla="*/ 455188 h 463021"/>
                    <a:gd name="connsiteX1" fmla="*/ 17282 w 522600"/>
                    <a:gd name="connsiteY1" fmla="*/ 222270 h 463021"/>
                    <a:gd name="connsiteX2" fmla="*/ 87132 w 522600"/>
                    <a:gd name="connsiteY2" fmla="*/ 158770 h 463021"/>
                    <a:gd name="connsiteX3" fmla="*/ 210957 w 522600"/>
                    <a:gd name="connsiteY3" fmla="*/ 120670 h 463021"/>
                    <a:gd name="connsiteX4" fmla="*/ 217307 w 522600"/>
                    <a:gd name="connsiteY4" fmla="*/ 15895 h 463021"/>
                    <a:gd name="connsiteX5" fmla="*/ 312201 w 522600"/>
                    <a:gd name="connsiteY5" fmla="*/ 12720 h 463021"/>
                    <a:gd name="connsiteX6" fmla="*/ 322197 w 522600"/>
                    <a:gd name="connsiteY6" fmla="*/ 134302 h 463021"/>
                    <a:gd name="connsiteX7" fmla="*/ 461782 w 522600"/>
                    <a:gd name="connsiteY7" fmla="*/ 189420 h 463021"/>
                    <a:gd name="connsiteX8" fmla="*/ 509052 w 522600"/>
                    <a:gd name="connsiteY8" fmla="*/ 251776 h 463021"/>
                    <a:gd name="connsiteX9" fmla="*/ 522107 w 522600"/>
                    <a:gd name="connsiteY9" fmla="*/ 454045 h 463021"/>
                    <a:gd name="connsiteX10" fmla="*/ 4227 w 522600"/>
                    <a:gd name="connsiteY10" fmla="*/ 455188 h 463021"/>
                    <a:gd name="connsiteX0" fmla="*/ 4227 w 522600"/>
                    <a:gd name="connsiteY0" fmla="*/ 455188 h 457596"/>
                    <a:gd name="connsiteX1" fmla="*/ 17282 w 522600"/>
                    <a:gd name="connsiteY1" fmla="*/ 222270 h 457596"/>
                    <a:gd name="connsiteX2" fmla="*/ 87132 w 522600"/>
                    <a:gd name="connsiteY2" fmla="*/ 158770 h 457596"/>
                    <a:gd name="connsiteX3" fmla="*/ 210957 w 522600"/>
                    <a:gd name="connsiteY3" fmla="*/ 120670 h 457596"/>
                    <a:gd name="connsiteX4" fmla="*/ 217307 w 522600"/>
                    <a:gd name="connsiteY4" fmla="*/ 15895 h 457596"/>
                    <a:gd name="connsiteX5" fmla="*/ 312201 w 522600"/>
                    <a:gd name="connsiteY5" fmla="*/ 12720 h 457596"/>
                    <a:gd name="connsiteX6" fmla="*/ 322197 w 522600"/>
                    <a:gd name="connsiteY6" fmla="*/ 134302 h 457596"/>
                    <a:gd name="connsiteX7" fmla="*/ 461782 w 522600"/>
                    <a:gd name="connsiteY7" fmla="*/ 189420 h 457596"/>
                    <a:gd name="connsiteX8" fmla="*/ 509052 w 522600"/>
                    <a:gd name="connsiteY8" fmla="*/ 251776 h 457596"/>
                    <a:gd name="connsiteX9" fmla="*/ 522107 w 522600"/>
                    <a:gd name="connsiteY9" fmla="*/ 454045 h 457596"/>
                    <a:gd name="connsiteX10" fmla="*/ 4227 w 522600"/>
                    <a:gd name="connsiteY10" fmla="*/ 455188 h 457596"/>
                    <a:gd name="connsiteX0" fmla="*/ 12757 w 531130"/>
                    <a:gd name="connsiteY0" fmla="*/ 455188 h 457596"/>
                    <a:gd name="connsiteX1" fmla="*/ 6876 w 531130"/>
                    <a:gd name="connsiteY1" fmla="*/ 237256 h 457596"/>
                    <a:gd name="connsiteX2" fmla="*/ 95662 w 531130"/>
                    <a:gd name="connsiteY2" fmla="*/ 158770 h 457596"/>
                    <a:gd name="connsiteX3" fmla="*/ 219487 w 531130"/>
                    <a:gd name="connsiteY3" fmla="*/ 120670 h 457596"/>
                    <a:gd name="connsiteX4" fmla="*/ 225837 w 531130"/>
                    <a:gd name="connsiteY4" fmla="*/ 15895 h 457596"/>
                    <a:gd name="connsiteX5" fmla="*/ 320731 w 531130"/>
                    <a:gd name="connsiteY5" fmla="*/ 12720 h 457596"/>
                    <a:gd name="connsiteX6" fmla="*/ 330727 w 531130"/>
                    <a:gd name="connsiteY6" fmla="*/ 134302 h 457596"/>
                    <a:gd name="connsiteX7" fmla="*/ 470312 w 531130"/>
                    <a:gd name="connsiteY7" fmla="*/ 189420 h 457596"/>
                    <a:gd name="connsiteX8" fmla="*/ 517582 w 531130"/>
                    <a:gd name="connsiteY8" fmla="*/ 251776 h 457596"/>
                    <a:gd name="connsiteX9" fmla="*/ 530637 w 531130"/>
                    <a:gd name="connsiteY9" fmla="*/ 454045 h 457596"/>
                    <a:gd name="connsiteX10" fmla="*/ 12757 w 531130"/>
                    <a:gd name="connsiteY10" fmla="*/ 455188 h 457596"/>
                    <a:gd name="connsiteX0" fmla="*/ 7226 w 536419"/>
                    <a:gd name="connsiteY0" fmla="*/ 447695 h 456315"/>
                    <a:gd name="connsiteX1" fmla="*/ 12165 w 536419"/>
                    <a:gd name="connsiteY1" fmla="*/ 237256 h 456315"/>
                    <a:gd name="connsiteX2" fmla="*/ 100951 w 536419"/>
                    <a:gd name="connsiteY2" fmla="*/ 158770 h 456315"/>
                    <a:gd name="connsiteX3" fmla="*/ 224776 w 536419"/>
                    <a:gd name="connsiteY3" fmla="*/ 120670 h 456315"/>
                    <a:gd name="connsiteX4" fmla="*/ 231126 w 536419"/>
                    <a:gd name="connsiteY4" fmla="*/ 15895 h 456315"/>
                    <a:gd name="connsiteX5" fmla="*/ 326020 w 536419"/>
                    <a:gd name="connsiteY5" fmla="*/ 12720 h 456315"/>
                    <a:gd name="connsiteX6" fmla="*/ 336016 w 536419"/>
                    <a:gd name="connsiteY6" fmla="*/ 134302 h 456315"/>
                    <a:gd name="connsiteX7" fmla="*/ 475601 w 536419"/>
                    <a:gd name="connsiteY7" fmla="*/ 189420 h 456315"/>
                    <a:gd name="connsiteX8" fmla="*/ 522871 w 536419"/>
                    <a:gd name="connsiteY8" fmla="*/ 251776 h 456315"/>
                    <a:gd name="connsiteX9" fmla="*/ 535926 w 536419"/>
                    <a:gd name="connsiteY9" fmla="*/ 454045 h 456315"/>
                    <a:gd name="connsiteX10" fmla="*/ 7226 w 536419"/>
                    <a:gd name="connsiteY10" fmla="*/ 447695 h 456315"/>
                    <a:gd name="connsiteX0" fmla="*/ 7226 w 528834"/>
                    <a:gd name="connsiteY0" fmla="*/ 447695 h 456315"/>
                    <a:gd name="connsiteX1" fmla="*/ 12165 w 528834"/>
                    <a:gd name="connsiteY1" fmla="*/ 237256 h 456315"/>
                    <a:gd name="connsiteX2" fmla="*/ 100951 w 528834"/>
                    <a:gd name="connsiteY2" fmla="*/ 158770 h 456315"/>
                    <a:gd name="connsiteX3" fmla="*/ 224776 w 528834"/>
                    <a:gd name="connsiteY3" fmla="*/ 120670 h 456315"/>
                    <a:gd name="connsiteX4" fmla="*/ 231126 w 528834"/>
                    <a:gd name="connsiteY4" fmla="*/ 15895 h 456315"/>
                    <a:gd name="connsiteX5" fmla="*/ 326020 w 528834"/>
                    <a:gd name="connsiteY5" fmla="*/ 12720 h 456315"/>
                    <a:gd name="connsiteX6" fmla="*/ 336016 w 528834"/>
                    <a:gd name="connsiteY6" fmla="*/ 134302 h 456315"/>
                    <a:gd name="connsiteX7" fmla="*/ 475601 w 528834"/>
                    <a:gd name="connsiteY7" fmla="*/ 189420 h 456315"/>
                    <a:gd name="connsiteX8" fmla="*/ 522871 w 528834"/>
                    <a:gd name="connsiteY8" fmla="*/ 251776 h 456315"/>
                    <a:gd name="connsiteX9" fmla="*/ 527811 w 528834"/>
                    <a:gd name="connsiteY9" fmla="*/ 454045 h 456315"/>
                    <a:gd name="connsiteX10" fmla="*/ 7226 w 528834"/>
                    <a:gd name="connsiteY10" fmla="*/ 447695 h 456315"/>
                    <a:gd name="connsiteX0" fmla="*/ 7226 w 528834"/>
                    <a:gd name="connsiteY0" fmla="*/ 447695 h 456315"/>
                    <a:gd name="connsiteX1" fmla="*/ 12165 w 528834"/>
                    <a:gd name="connsiteY1" fmla="*/ 237256 h 456315"/>
                    <a:gd name="connsiteX2" fmla="*/ 100951 w 528834"/>
                    <a:gd name="connsiteY2" fmla="*/ 158770 h 456315"/>
                    <a:gd name="connsiteX3" fmla="*/ 224776 w 528834"/>
                    <a:gd name="connsiteY3" fmla="*/ 120670 h 456315"/>
                    <a:gd name="connsiteX4" fmla="*/ 231126 w 528834"/>
                    <a:gd name="connsiteY4" fmla="*/ 15895 h 456315"/>
                    <a:gd name="connsiteX5" fmla="*/ 326020 w 528834"/>
                    <a:gd name="connsiteY5" fmla="*/ 12720 h 456315"/>
                    <a:gd name="connsiteX6" fmla="*/ 336016 w 528834"/>
                    <a:gd name="connsiteY6" fmla="*/ 134302 h 456315"/>
                    <a:gd name="connsiteX7" fmla="*/ 462076 w 528834"/>
                    <a:gd name="connsiteY7" fmla="*/ 184425 h 456315"/>
                    <a:gd name="connsiteX8" fmla="*/ 522871 w 528834"/>
                    <a:gd name="connsiteY8" fmla="*/ 251776 h 456315"/>
                    <a:gd name="connsiteX9" fmla="*/ 527811 w 528834"/>
                    <a:gd name="connsiteY9" fmla="*/ 454045 h 456315"/>
                    <a:gd name="connsiteX10" fmla="*/ 7226 w 528834"/>
                    <a:gd name="connsiteY10" fmla="*/ 447695 h 456315"/>
                    <a:gd name="connsiteX0" fmla="*/ 8515 w 530123"/>
                    <a:gd name="connsiteY0" fmla="*/ 447695 h 456315"/>
                    <a:gd name="connsiteX1" fmla="*/ 10749 w 530123"/>
                    <a:gd name="connsiteY1" fmla="*/ 244749 h 456315"/>
                    <a:gd name="connsiteX2" fmla="*/ 102240 w 530123"/>
                    <a:gd name="connsiteY2" fmla="*/ 158770 h 456315"/>
                    <a:gd name="connsiteX3" fmla="*/ 226065 w 530123"/>
                    <a:gd name="connsiteY3" fmla="*/ 120670 h 456315"/>
                    <a:gd name="connsiteX4" fmla="*/ 232415 w 530123"/>
                    <a:gd name="connsiteY4" fmla="*/ 15895 h 456315"/>
                    <a:gd name="connsiteX5" fmla="*/ 327309 w 530123"/>
                    <a:gd name="connsiteY5" fmla="*/ 12720 h 456315"/>
                    <a:gd name="connsiteX6" fmla="*/ 337305 w 530123"/>
                    <a:gd name="connsiteY6" fmla="*/ 134302 h 456315"/>
                    <a:gd name="connsiteX7" fmla="*/ 463365 w 530123"/>
                    <a:gd name="connsiteY7" fmla="*/ 184425 h 456315"/>
                    <a:gd name="connsiteX8" fmla="*/ 524160 w 530123"/>
                    <a:gd name="connsiteY8" fmla="*/ 251776 h 456315"/>
                    <a:gd name="connsiteX9" fmla="*/ 529100 w 530123"/>
                    <a:gd name="connsiteY9" fmla="*/ 454045 h 456315"/>
                    <a:gd name="connsiteX10" fmla="*/ 8515 w 530123"/>
                    <a:gd name="connsiteY10" fmla="*/ 447695 h 456315"/>
                    <a:gd name="connsiteX0" fmla="*/ 7671 w 529279"/>
                    <a:gd name="connsiteY0" fmla="*/ 447695 h 456315"/>
                    <a:gd name="connsiteX1" fmla="*/ 9905 w 529279"/>
                    <a:gd name="connsiteY1" fmla="*/ 244749 h 456315"/>
                    <a:gd name="connsiteX2" fmla="*/ 87870 w 529279"/>
                    <a:gd name="connsiteY2" fmla="*/ 166263 h 456315"/>
                    <a:gd name="connsiteX3" fmla="*/ 225221 w 529279"/>
                    <a:gd name="connsiteY3" fmla="*/ 120670 h 456315"/>
                    <a:gd name="connsiteX4" fmla="*/ 231571 w 529279"/>
                    <a:gd name="connsiteY4" fmla="*/ 15895 h 456315"/>
                    <a:gd name="connsiteX5" fmla="*/ 326465 w 529279"/>
                    <a:gd name="connsiteY5" fmla="*/ 12720 h 456315"/>
                    <a:gd name="connsiteX6" fmla="*/ 336461 w 529279"/>
                    <a:gd name="connsiteY6" fmla="*/ 134302 h 456315"/>
                    <a:gd name="connsiteX7" fmla="*/ 462521 w 529279"/>
                    <a:gd name="connsiteY7" fmla="*/ 184425 h 456315"/>
                    <a:gd name="connsiteX8" fmla="*/ 523316 w 529279"/>
                    <a:gd name="connsiteY8" fmla="*/ 251776 h 456315"/>
                    <a:gd name="connsiteX9" fmla="*/ 528256 w 529279"/>
                    <a:gd name="connsiteY9" fmla="*/ 454045 h 456315"/>
                    <a:gd name="connsiteX10" fmla="*/ 7671 w 529279"/>
                    <a:gd name="connsiteY10" fmla="*/ 447695 h 456315"/>
                    <a:gd name="connsiteX0" fmla="*/ 7671 w 529279"/>
                    <a:gd name="connsiteY0" fmla="*/ 447558 h 456178"/>
                    <a:gd name="connsiteX1" fmla="*/ 9905 w 529279"/>
                    <a:gd name="connsiteY1" fmla="*/ 244612 h 456178"/>
                    <a:gd name="connsiteX2" fmla="*/ 87870 w 529279"/>
                    <a:gd name="connsiteY2" fmla="*/ 166126 h 456178"/>
                    <a:gd name="connsiteX3" fmla="*/ 206285 w 529279"/>
                    <a:gd name="connsiteY3" fmla="*/ 118035 h 456178"/>
                    <a:gd name="connsiteX4" fmla="*/ 231571 w 529279"/>
                    <a:gd name="connsiteY4" fmla="*/ 15758 h 456178"/>
                    <a:gd name="connsiteX5" fmla="*/ 326465 w 529279"/>
                    <a:gd name="connsiteY5" fmla="*/ 12583 h 456178"/>
                    <a:gd name="connsiteX6" fmla="*/ 336461 w 529279"/>
                    <a:gd name="connsiteY6" fmla="*/ 134165 h 456178"/>
                    <a:gd name="connsiteX7" fmla="*/ 462521 w 529279"/>
                    <a:gd name="connsiteY7" fmla="*/ 184288 h 456178"/>
                    <a:gd name="connsiteX8" fmla="*/ 523316 w 529279"/>
                    <a:gd name="connsiteY8" fmla="*/ 251639 h 456178"/>
                    <a:gd name="connsiteX9" fmla="*/ 528256 w 529279"/>
                    <a:gd name="connsiteY9" fmla="*/ 453908 h 456178"/>
                    <a:gd name="connsiteX10" fmla="*/ 7671 w 529279"/>
                    <a:gd name="connsiteY10" fmla="*/ 447558 h 456178"/>
                    <a:gd name="connsiteX0" fmla="*/ 14544 w 536152"/>
                    <a:gd name="connsiteY0" fmla="*/ 447558 h 456178"/>
                    <a:gd name="connsiteX1" fmla="*/ 5958 w 536152"/>
                    <a:gd name="connsiteY1" fmla="*/ 247109 h 456178"/>
                    <a:gd name="connsiteX2" fmla="*/ 94743 w 536152"/>
                    <a:gd name="connsiteY2" fmla="*/ 166126 h 456178"/>
                    <a:gd name="connsiteX3" fmla="*/ 213158 w 536152"/>
                    <a:gd name="connsiteY3" fmla="*/ 118035 h 456178"/>
                    <a:gd name="connsiteX4" fmla="*/ 238444 w 536152"/>
                    <a:gd name="connsiteY4" fmla="*/ 15758 h 456178"/>
                    <a:gd name="connsiteX5" fmla="*/ 333338 w 536152"/>
                    <a:gd name="connsiteY5" fmla="*/ 12583 h 456178"/>
                    <a:gd name="connsiteX6" fmla="*/ 343334 w 536152"/>
                    <a:gd name="connsiteY6" fmla="*/ 134165 h 456178"/>
                    <a:gd name="connsiteX7" fmla="*/ 469394 w 536152"/>
                    <a:gd name="connsiteY7" fmla="*/ 184288 h 456178"/>
                    <a:gd name="connsiteX8" fmla="*/ 530189 w 536152"/>
                    <a:gd name="connsiteY8" fmla="*/ 251639 h 456178"/>
                    <a:gd name="connsiteX9" fmla="*/ 535129 w 536152"/>
                    <a:gd name="connsiteY9" fmla="*/ 453908 h 456178"/>
                    <a:gd name="connsiteX10" fmla="*/ 14544 w 536152"/>
                    <a:gd name="connsiteY10" fmla="*/ 447558 h 456178"/>
                    <a:gd name="connsiteX0" fmla="*/ 7226 w 542359"/>
                    <a:gd name="connsiteY0" fmla="*/ 450055 h 456488"/>
                    <a:gd name="connsiteX1" fmla="*/ 12165 w 542359"/>
                    <a:gd name="connsiteY1" fmla="*/ 247109 h 456488"/>
                    <a:gd name="connsiteX2" fmla="*/ 100950 w 542359"/>
                    <a:gd name="connsiteY2" fmla="*/ 166126 h 456488"/>
                    <a:gd name="connsiteX3" fmla="*/ 219365 w 542359"/>
                    <a:gd name="connsiteY3" fmla="*/ 118035 h 456488"/>
                    <a:gd name="connsiteX4" fmla="*/ 244651 w 542359"/>
                    <a:gd name="connsiteY4" fmla="*/ 15758 h 456488"/>
                    <a:gd name="connsiteX5" fmla="*/ 339545 w 542359"/>
                    <a:gd name="connsiteY5" fmla="*/ 12583 h 456488"/>
                    <a:gd name="connsiteX6" fmla="*/ 349541 w 542359"/>
                    <a:gd name="connsiteY6" fmla="*/ 134165 h 456488"/>
                    <a:gd name="connsiteX7" fmla="*/ 475601 w 542359"/>
                    <a:gd name="connsiteY7" fmla="*/ 184288 h 456488"/>
                    <a:gd name="connsiteX8" fmla="*/ 536396 w 542359"/>
                    <a:gd name="connsiteY8" fmla="*/ 251639 h 456488"/>
                    <a:gd name="connsiteX9" fmla="*/ 541336 w 542359"/>
                    <a:gd name="connsiteY9" fmla="*/ 453908 h 456488"/>
                    <a:gd name="connsiteX10" fmla="*/ 7226 w 542359"/>
                    <a:gd name="connsiteY10" fmla="*/ 450055 h 456488"/>
                    <a:gd name="connsiteX0" fmla="*/ 7226 w 542359"/>
                    <a:gd name="connsiteY0" fmla="*/ 450055 h 456488"/>
                    <a:gd name="connsiteX1" fmla="*/ 12165 w 542359"/>
                    <a:gd name="connsiteY1" fmla="*/ 247109 h 456488"/>
                    <a:gd name="connsiteX2" fmla="*/ 100950 w 542359"/>
                    <a:gd name="connsiteY2" fmla="*/ 166126 h 456488"/>
                    <a:gd name="connsiteX3" fmla="*/ 219365 w 542359"/>
                    <a:gd name="connsiteY3" fmla="*/ 118035 h 456488"/>
                    <a:gd name="connsiteX4" fmla="*/ 244651 w 542359"/>
                    <a:gd name="connsiteY4" fmla="*/ 15758 h 456488"/>
                    <a:gd name="connsiteX5" fmla="*/ 331430 w 542359"/>
                    <a:gd name="connsiteY5" fmla="*/ 12583 h 456488"/>
                    <a:gd name="connsiteX6" fmla="*/ 349541 w 542359"/>
                    <a:gd name="connsiteY6" fmla="*/ 134165 h 456488"/>
                    <a:gd name="connsiteX7" fmla="*/ 475601 w 542359"/>
                    <a:gd name="connsiteY7" fmla="*/ 184288 h 456488"/>
                    <a:gd name="connsiteX8" fmla="*/ 536396 w 542359"/>
                    <a:gd name="connsiteY8" fmla="*/ 251639 h 456488"/>
                    <a:gd name="connsiteX9" fmla="*/ 541336 w 542359"/>
                    <a:gd name="connsiteY9" fmla="*/ 453908 h 456488"/>
                    <a:gd name="connsiteX10" fmla="*/ 7226 w 542359"/>
                    <a:gd name="connsiteY10" fmla="*/ 450055 h 456488"/>
                    <a:gd name="connsiteX0" fmla="*/ 7226 w 542359"/>
                    <a:gd name="connsiteY0" fmla="*/ 450055 h 456488"/>
                    <a:gd name="connsiteX1" fmla="*/ 12165 w 542359"/>
                    <a:gd name="connsiteY1" fmla="*/ 247109 h 456488"/>
                    <a:gd name="connsiteX2" fmla="*/ 100950 w 542359"/>
                    <a:gd name="connsiteY2" fmla="*/ 166126 h 456488"/>
                    <a:gd name="connsiteX3" fmla="*/ 219365 w 542359"/>
                    <a:gd name="connsiteY3" fmla="*/ 118035 h 456488"/>
                    <a:gd name="connsiteX4" fmla="*/ 244651 w 542359"/>
                    <a:gd name="connsiteY4" fmla="*/ 15758 h 456488"/>
                    <a:gd name="connsiteX5" fmla="*/ 331430 w 542359"/>
                    <a:gd name="connsiteY5" fmla="*/ 12583 h 456488"/>
                    <a:gd name="connsiteX6" fmla="*/ 349541 w 542359"/>
                    <a:gd name="connsiteY6" fmla="*/ 134165 h 456488"/>
                    <a:gd name="connsiteX7" fmla="*/ 483716 w 542359"/>
                    <a:gd name="connsiteY7" fmla="*/ 179293 h 456488"/>
                    <a:gd name="connsiteX8" fmla="*/ 536396 w 542359"/>
                    <a:gd name="connsiteY8" fmla="*/ 251639 h 456488"/>
                    <a:gd name="connsiteX9" fmla="*/ 541336 w 542359"/>
                    <a:gd name="connsiteY9" fmla="*/ 453908 h 456488"/>
                    <a:gd name="connsiteX10" fmla="*/ 7226 w 542359"/>
                    <a:gd name="connsiteY10" fmla="*/ 450055 h 456488"/>
                    <a:gd name="connsiteX0" fmla="*/ 6630 w 541763"/>
                    <a:gd name="connsiteY0" fmla="*/ 450055 h 456488"/>
                    <a:gd name="connsiteX1" fmla="*/ 11569 w 541763"/>
                    <a:gd name="connsiteY1" fmla="*/ 247109 h 456488"/>
                    <a:gd name="connsiteX2" fmla="*/ 89534 w 541763"/>
                    <a:gd name="connsiteY2" fmla="*/ 166126 h 456488"/>
                    <a:gd name="connsiteX3" fmla="*/ 218769 w 541763"/>
                    <a:gd name="connsiteY3" fmla="*/ 118035 h 456488"/>
                    <a:gd name="connsiteX4" fmla="*/ 244055 w 541763"/>
                    <a:gd name="connsiteY4" fmla="*/ 15758 h 456488"/>
                    <a:gd name="connsiteX5" fmla="*/ 330834 w 541763"/>
                    <a:gd name="connsiteY5" fmla="*/ 12583 h 456488"/>
                    <a:gd name="connsiteX6" fmla="*/ 348945 w 541763"/>
                    <a:gd name="connsiteY6" fmla="*/ 134165 h 456488"/>
                    <a:gd name="connsiteX7" fmla="*/ 483120 w 541763"/>
                    <a:gd name="connsiteY7" fmla="*/ 179293 h 456488"/>
                    <a:gd name="connsiteX8" fmla="*/ 535800 w 541763"/>
                    <a:gd name="connsiteY8" fmla="*/ 251639 h 456488"/>
                    <a:gd name="connsiteX9" fmla="*/ 540740 w 541763"/>
                    <a:gd name="connsiteY9" fmla="*/ 453908 h 456488"/>
                    <a:gd name="connsiteX10" fmla="*/ 6630 w 541763"/>
                    <a:gd name="connsiteY10" fmla="*/ 450055 h 456488"/>
                    <a:gd name="connsiteX0" fmla="*/ 4856 w 539989"/>
                    <a:gd name="connsiteY0" fmla="*/ 450055 h 456488"/>
                    <a:gd name="connsiteX1" fmla="*/ 15205 w 539989"/>
                    <a:gd name="connsiteY1" fmla="*/ 227128 h 456488"/>
                    <a:gd name="connsiteX2" fmla="*/ 87760 w 539989"/>
                    <a:gd name="connsiteY2" fmla="*/ 166126 h 456488"/>
                    <a:gd name="connsiteX3" fmla="*/ 216995 w 539989"/>
                    <a:gd name="connsiteY3" fmla="*/ 118035 h 456488"/>
                    <a:gd name="connsiteX4" fmla="*/ 242281 w 539989"/>
                    <a:gd name="connsiteY4" fmla="*/ 15758 h 456488"/>
                    <a:gd name="connsiteX5" fmla="*/ 329060 w 539989"/>
                    <a:gd name="connsiteY5" fmla="*/ 12583 h 456488"/>
                    <a:gd name="connsiteX6" fmla="*/ 347171 w 539989"/>
                    <a:gd name="connsiteY6" fmla="*/ 134165 h 456488"/>
                    <a:gd name="connsiteX7" fmla="*/ 481346 w 539989"/>
                    <a:gd name="connsiteY7" fmla="*/ 179293 h 456488"/>
                    <a:gd name="connsiteX8" fmla="*/ 534026 w 539989"/>
                    <a:gd name="connsiteY8" fmla="*/ 251639 h 456488"/>
                    <a:gd name="connsiteX9" fmla="*/ 538966 w 539989"/>
                    <a:gd name="connsiteY9" fmla="*/ 453908 h 456488"/>
                    <a:gd name="connsiteX10" fmla="*/ 4856 w 539989"/>
                    <a:gd name="connsiteY10" fmla="*/ 450055 h 4564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39989" h="456488">
                      <a:moveTo>
                        <a:pt x="4856" y="450055"/>
                      </a:moveTo>
                      <a:cubicBezTo>
                        <a:pt x="-5198" y="385497"/>
                        <a:pt x="1388" y="274449"/>
                        <a:pt x="15205" y="227128"/>
                      </a:cubicBezTo>
                      <a:cubicBezTo>
                        <a:pt x="29022" y="179807"/>
                        <a:pt x="54128" y="184308"/>
                        <a:pt x="87760" y="166126"/>
                      </a:cubicBezTo>
                      <a:cubicBezTo>
                        <a:pt x="121392" y="147944"/>
                        <a:pt x="191242" y="143096"/>
                        <a:pt x="216995" y="118035"/>
                      </a:cubicBezTo>
                      <a:cubicBezTo>
                        <a:pt x="242748" y="92974"/>
                        <a:pt x="223604" y="33333"/>
                        <a:pt x="242281" y="15758"/>
                      </a:cubicBezTo>
                      <a:cubicBezTo>
                        <a:pt x="260958" y="-1817"/>
                        <a:pt x="311578" y="-7151"/>
                        <a:pt x="329060" y="12583"/>
                      </a:cubicBezTo>
                      <a:cubicBezTo>
                        <a:pt x="346542" y="32317"/>
                        <a:pt x="321790" y="106380"/>
                        <a:pt x="347171" y="134165"/>
                      </a:cubicBezTo>
                      <a:cubicBezTo>
                        <a:pt x="372552" y="161950"/>
                        <a:pt x="450204" y="159714"/>
                        <a:pt x="481346" y="179293"/>
                      </a:cubicBezTo>
                      <a:cubicBezTo>
                        <a:pt x="512489" y="198872"/>
                        <a:pt x="523972" y="202956"/>
                        <a:pt x="534026" y="251639"/>
                      </a:cubicBezTo>
                      <a:cubicBezTo>
                        <a:pt x="537201" y="301381"/>
                        <a:pt x="542141" y="328496"/>
                        <a:pt x="538966" y="453908"/>
                      </a:cubicBezTo>
                      <a:cubicBezTo>
                        <a:pt x="307191" y="461845"/>
                        <a:pt x="250800" y="448827"/>
                        <a:pt x="4856" y="450055"/>
                      </a:cubicBezTo>
                      <a:close/>
                    </a:path>
                  </a:pathLst>
                </a:custGeom>
                <a:solidFill>
                  <a:schemeClr val="bg1"/>
                </a:solidFill>
                <a:ln w="57150">
                  <a:solidFill>
                    <a:schemeClr val="tx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226" name="Oval 225">
                  <a:extLst>
                    <a:ext uri="{FF2B5EF4-FFF2-40B4-BE49-F238E27FC236}">
                      <a16:creationId xmlns:a16="http://schemas.microsoft.com/office/drawing/2014/main" id="{94E41FBB-7A7B-4E44-BA8D-4303AE76E990}"/>
                    </a:ext>
                  </a:extLst>
                </p:cNvPr>
                <p:cNvSpPr/>
                <p:nvPr/>
              </p:nvSpPr>
              <p:spPr>
                <a:xfrm>
                  <a:off x="1964431" y="3500843"/>
                  <a:ext cx="259337" cy="299858"/>
                </a:xfrm>
                <a:prstGeom prst="ellipse">
                  <a:avLst/>
                </a:prstGeom>
                <a:solidFill>
                  <a:schemeClr val="bg1"/>
                </a:solidFill>
                <a:ln w="57150">
                  <a:solidFill>
                    <a:schemeClr val="tx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grpSp>
        </p:grpSp>
        <p:grpSp>
          <p:nvGrpSpPr>
            <p:cNvPr id="217" name="Group 216">
              <a:extLst>
                <a:ext uri="{FF2B5EF4-FFF2-40B4-BE49-F238E27FC236}">
                  <a16:creationId xmlns:a16="http://schemas.microsoft.com/office/drawing/2014/main" id="{9AA03F1A-AE9E-5149-B701-939FA4DFAA10}"/>
                </a:ext>
              </a:extLst>
            </p:cNvPr>
            <p:cNvGrpSpPr/>
            <p:nvPr/>
          </p:nvGrpSpPr>
          <p:grpSpPr>
            <a:xfrm>
              <a:off x="2495712" y="4589934"/>
              <a:ext cx="1256698" cy="510604"/>
              <a:chOff x="2495712" y="4589934"/>
              <a:chExt cx="1256698" cy="510604"/>
            </a:xfrm>
            <a:solidFill>
              <a:schemeClr val="tx1">
                <a:lumMod val="50000"/>
              </a:schemeClr>
            </a:solidFill>
          </p:grpSpPr>
          <p:sp>
            <p:nvSpPr>
              <p:cNvPr id="219" name="Rounded Rectangle 218">
                <a:extLst>
                  <a:ext uri="{FF2B5EF4-FFF2-40B4-BE49-F238E27FC236}">
                    <a16:creationId xmlns:a16="http://schemas.microsoft.com/office/drawing/2014/main" id="{106779F9-FE84-5A41-BD41-FCECC54A3076}"/>
                  </a:ext>
                </a:extLst>
              </p:cNvPr>
              <p:cNvSpPr/>
              <p:nvPr/>
            </p:nvSpPr>
            <p:spPr>
              <a:xfrm>
                <a:off x="2495712" y="4589934"/>
                <a:ext cx="1256697" cy="251941"/>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220" name="Rectangle 219">
                <a:extLst>
                  <a:ext uri="{FF2B5EF4-FFF2-40B4-BE49-F238E27FC236}">
                    <a16:creationId xmlns:a16="http://schemas.microsoft.com/office/drawing/2014/main" id="{CD2471E2-ABA0-114D-A198-AA59A5B6C0EC}"/>
                  </a:ext>
                </a:extLst>
              </p:cNvPr>
              <p:cNvSpPr/>
              <p:nvPr/>
            </p:nvSpPr>
            <p:spPr>
              <a:xfrm>
                <a:off x="2498725" y="4797790"/>
                <a:ext cx="1253685" cy="13315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221" name="Rectangle 220">
                <a:extLst>
                  <a:ext uri="{FF2B5EF4-FFF2-40B4-BE49-F238E27FC236}">
                    <a16:creationId xmlns:a16="http://schemas.microsoft.com/office/drawing/2014/main" id="{6995BE90-8BD1-4848-B69A-970B52E24F67}"/>
                  </a:ext>
                </a:extLst>
              </p:cNvPr>
              <p:cNvSpPr/>
              <p:nvPr/>
            </p:nvSpPr>
            <p:spPr>
              <a:xfrm>
                <a:off x="2546350" y="4923041"/>
                <a:ext cx="109152" cy="17749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222" name="Rectangle 221">
                <a:extLst>
                  <a:ext uri="{FF2B5EF4-FFF2-40B4-BE49-F238E27FC236}">
                    <a16:creationId xmlns:a16="http://schemas.microsoft.com/office/drawing/2014/main" id="{91748818-990B-9F4D-91CB-178CB0B89CA2}"/>
                  </a:ext>
                </a:extLst>
              </p:cNvPr>
              <p:cNvSpPr/>
              <p:nvPr/>
            </p:nvSpPr>
            <p:spPr>
              <a:xfrm>
                <a:off x="3610945" y="4923041"/>
                <a:ext cx="109152" cy="17749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grpSp>
        <p:sp>
          <p:nvSpPr>
            <p:cNvPr id="218" name="Trapezoid 217">
              <a:extLst>
                <a:ext uri="{FF2B5EF4-FFF2-40B4-BE49-F238E27FC236}">
                  <a16:creationId xmlns:a16="http://schemas.microsoft.com/office/drawing/2014/main" id="{62735D84-BC88-9948-9248-CEA283FC7561}"/>
                </a:ext>
              </a:extLst>
            </p:cNvPr>
            <p:cNvSpPr/>
            <p:nvPr/>
          </p:nvSpPr>
          <p:spPr>
            <a:xfrm>
              <a:off x="2655502" y="4181475"/>
              <a:ext cx="958850" cy="363303"/>
            </a:xfrm>
            <a:prstGeom prst="trapezoid">
              <a:avLst/>
            </a:prstGeom>
            <a:solidFill>
              <a:schemeClr val="tx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grpSp>
      <p:grpSp>
        <p:nvGrpSpPr>
          <p:cNvPr id="229" name="Group 228">
            <a:extLst>
              <a:ext uri="{FF2B5EF4-FFF2-40B4-BE49-F238E27FC236}">
                <a16:creationId xmlns:a16="http://schemas.microsoft.com/office/drawing/2014/main" id="{210AEB52-DCE0-6C49-BC44-9DE2F92EC601}"/>
              </a:ext>
            </a:extLst>
          </p:cNvPr>
          <p:cNvGrpSpPr/>
          <p:nvPr/>
        </p:nvGrpSpPr>
        <p:grpSpPr>
          <a:xfrm>
            <a:off x="10645747" y="5442820"/>
            <a:ext cx="1025213" cy="1261037"/>
            <a:chOff x="2441771" y="3385414"/>
            <a:chExt cx="1325481" cy="1781019"/>
          </a:xfrm>
        </p:grpSpPr>
        <p:pic>
          <p:nvPicPr>
            <p:cNvPr id="230" name="Picture 229">
              <a:extLst>
                <a:ext uri="{FF2B5EF4-FFF2-40B4-BE49-F238E27FC236}">
                  <a16:creationId xmlns:a16="http://schemas.microsoft.com/office/drawing/2014/main" id="{55DFB45F-B123-4B4A-A185-DFC76CDD6980}"/>
                </a:ext>
              </a:extLst>
            </p:cNvPr>
            <p:cNvPicPr>
              <a:picLocks noChangeAspect="1"/>
            </p:cNvPicPr>
            <p:nvPr/>
          </p:nvPicPr>
          <p:blipFill rotWithShape="1">
            <a:blip r:embed="rId2"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a:xfrm>
              <a:off x="2441771" y="3385414"/>
              <a:ext cx="1325481" cy="1781019"/>
            </a:xfrm>
            <a:prstGeom prst="rect">
              <a:avLst/>
            </a:prstGeom>
          </p:spPr>
        </p:pic>
        <p:sp>
          <p:nvSpPr>
            <p:cNvPr id="231" name="Rounded Rectangle 230">
              <a:extLst>
                <a:ext uri="{FF2B5EF4-FFF2-40B4-BE49-F238E27FC236}">
                  <a16:creationId xmlns:a16="http://schemas.microsoft.com/office/drawing/2014/main" id="{FBD117C0-6A10-7346-B019-3FF394F407C2}"/>
                </a:ext>
              </a:extLst>
            </p:cNvPr>
            <p:cNvSpPr/>
            <p:nvPr/>
          </p:nvSpPr>
          <p:spPr>
            <a:xfrm>
              <a:off x="2655502" y="3670300"/>
              <a:ext cx="958850" cy="436656"/>
            </a:xfrm>
            <a:prstGeom prst="roundRect">
              <a:avLst/>
            </a:prstGeom>
            <a:solidFill>
              <a:schemeClr val="tx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grpSp>
          <p:nvGrpSpPr>
            <p:cNvPr id="232" name="Group 231">
              <a:extLst>
                <a:ext uri="{FF2B5EF4-FFF2-40B4-BE49-F238E27FC236}">
                  <a16:creationId xmlns:a16="http://schemas.microsoft.com/office/drawing/2014/main" id="{6DB21FB1-E71A-2249-8EE9-918C9196AA09}"/>
                </a:ext>
              </a:extLst>
            </p:cNvPr>
            <p:cNvGrpSpPr/>
            <p:nvPr/>
          </p:nvGrpSpPr>
          <p:grpSpPr>
            <a:xfrm>
              <a:off x="2776471" y="3456093"/>
              <a:ext cx="748710" cy="1056883"/>
              <a:chOff x="1496718" y="3334932"/>
              <a:chExt cx="748710" cy="1056883"/>
            </a:xfrm>
          </p:grpSpPr>
          <p:grpSp>
            <p:nvGrpSpPr>
              <p:cNvPr id="239" name="Group 238">
                <a:extLst>
                  <a:ext uri="{FF2B5EF4-FFF2-40B4-BE49-F238E27FC236}">
                    <a16:creationId xmlns:a16="http://schemas.microsoft.com/office/drawing/2014/main" id="{ECE0050E-14D2-C640-916A-E91498ED0640}"/>
                  </a:ext>
                </a:extLst>
              </p:cNvPr>
              <p:cNvGrpSpPr/>
              <p:nvPr/>
            </p:nvGrpSpPr>
            <p:grpSpPr>
              <a:xfrm>
                <a:off x="1496718" y="3334932"/>
                <a:ext cx="748710" cy="1056883"/>
                <a:chOff x="1843570" y="3508300"/>
                <a:chExt cx="514980" cy="727982"/>
              </a:xfrm>
              <a:solidFill>
                <a:schemeClr val="bg1"/>
              </a:solidFill>
            </p:grpSpPr>
            <p:sp>
              <p:nvSpPr>
                <p:cNvPr id="243" name="Freeform 242">
                  <a:extLst>
                    <a:ext uri="{FF2B5EF4-FFF2-40B4-BE49-F238E27FC236}">
                      <a16:creationId xmlns:a16="http://schemas.microsoft.com/office/drawing/2014/main" id="{E2405583-FB89-CF4D-9CD9-B1B12643A480}"/>
                    </a:ext>
                  </a:extLst>
                </p:cNvPr>
                <p:cNvSpPr/>
                <p:nvPr/>
              </p:nvSpPr>
              <p:spPr>
                <a:xfrm>
                  <a:off x="1843570" y="3787509"/>
                  <a:ext cx="514980" cy="448773"/>
                </a:xfrm>
                <a:custGeom>
                  <a:avLst/>
                  <a:gdLst>
                    <a:gd name="connsiteX0" fmla="*/ 36807 w 576731"/>
                    <a:gd name="connsiteY0" fmla="*/ 449906 h 505924"/>
                    <a:gd name="connsiteX1" fmla="*/ 39982 w 576731"/>
                    <a:gd name="connsiteY1" fmla="*/ 214956 h 505924"/>
                    <a:gd name="connsiteX2" fmla="*/ 55857 w 576731"/>
                    <a:gd name="connsiteY2" fmla="*/ 176856 h 505924"/>
                    <a:gd name="connsiteX3" fmla="*/ 103482 w 576731"/>
                    <a:gd name="connsiteY3" fmla="*/ 160981 h 505924"/>
                    <a:gd name="connsiteX4" fmla="*/ 205082 w 576731"/>
                    <a:gd name="connsiteY4" fmla="*/ 154631 h 505924"/>
                    <a:gd name="connsiteX5" fmla="*/ 230482 w 576731"/>
                    <a:gd name="connsiteY5" fmla="*/ 151456 h 505924"/>
                    <a:gd name="connsiteX6" fmla="*/ 233657 w 576731"/>
                    <a:gd name="connsiteY6" fmla="*/ 18106 h 505924"/>
                    <a:gd name="connsiteX7" fmla="*/ 344782 w 576731"/>
                    <a:gd name="connsiteY7" fmla="*/ 14931 h 505924"/>
                    <a:gd name="connsiteX8" fmla="*/ 344782 w 576731"/>
                    <a:gd name="connsiteY8" fmla="*/ 145106 h 505924"/>
                    <a:gd name="connsiteX9" fmla="*/ 386057 w 576731"/>
                    <a:gd name="connsiteY9" fmla="*/ 151456 h 505924"/>
                    <a:gd name="connsiteX10" fmla="*/ 478132 w 576731"/>
                    <a:gd name="connsiteY10" fmla="*/ 164156 h 505924"/>
                    <a:gd name="connsiteX11" fmla="*/ 519407 w 576731"/>
                    <a:gd name="connsiteY11" fmla="*/ 189556 h 505924"/>
                    <a:gd name="connsiteX12" fmla="*/ 541632 w 576731"/>
                    <a:gd name="connsiteY12" fmla="*/ 234006 h 505924"/>
                    <a:gd name="connsiteX13" fmla="*/ 538457 w 576731"/>
                    <a:gd name="connsiteY13" fmla="*/ 488006 h 505924"/>
                    <a:gd name="connsiteX14" fmla="*/ 36807 w 576731"/>
                    <a:gd name="connsiteY14" fmla="*/ 449906 h 505924"/>
                    <a:gd name="connsiteX0" fmla="*/ 5769 w 545693"/>
                    <a:gd name="connsiteY0" fmla="*/ 449906 h 505924"/>
                    <a:gd name="connsiteX1" fmla="*/ 8944 w 545693"/>
                    <a:gd name="connsiteY1" fmla="*/ 214956 h 505924"/>
                    <a:gd name="connsiteX2" fmla="*/ 24819 w 545693"/>
                    <a:gd name="connsiteY2" fmla="*/ 176856 h 505924"/>
                    <a:gd name="connsiteX3" fmla="*/ 72444 w 545693"/>
                    <a:gd name="connsiteY3" fmla="*/ 160981 h 505924"/>
                    <a:gd name="connsiteX4" fmla="*/ 174044 w 545693"/>
                    <a:gd name="connsiteY4" fmla="*/ 154631 h 505924"/>
                    <a:gd name="connsiteX5" fmla="*/ 199444 w 545693"/>
                    <a:gd name="connsiteY5" fmla="*/ 151456 h 505924"/>
                    <a:gd name="connsiteX6" fmla="*/ 202619 w 545693"/>
                    <a:gd name="connsiteY6" fmla="*/ 18106 h 505924"/>
                    <a:gd name="connsiteX7" fmla="*/ 313744 w 545693"/>
                    <a:gd name="connsiteY7" fmla="*/ 14931 h 505924"/>
                    <a:gd name="connsiteX8" fmla="*/ 313744 w 545693"/>
                    <a:gd name="connsiteY8" fmla="*/ 145106 h 505924"/>
                    <a:gd name="connsiteX9" fmla="*/ 355019 w 545693"/>
                    <a:gd name="connsiteY9" fmla="*/ 151456 h 505924"/>
                    <a:gd name="connsiteX10" fmla="*/ 447094 w 545693"/>
                    <a:gd name="connsiteY10" fmla="*/ 164156 h 505924"/>
                    <a:gd name="connsiteX11" fmla="*/ 488369 w 545693"/>
                    <a:gd name="connsiteY11" fmla="*/ 189556 h 505924"/>
                    <a:gd name="connsiteX12" fmla="*/ 510594 w 545693"/>
                    <a:gd name="connsiteY12" fmla="*/ 234006 h 505924"/>
                    <a:gd name="connsiteX13" fmla="*/ 507419 w 545693"/>
                    <a:gd name="connsiteY13" fmla="*/ 488006 h 505924"/>
                    <a:gd name="connsiteX14" fmla="*/ 5769 w 545693"/>
                    <a:gd name="connsiteY14" fmla="*/ 449906 h 505924"/>
                    <a:gd name="connsiteX0" fmla="*/ 21286 w 561210"/>
                    <a:gd name="connsiteY0" fmla="*/ 449906 h 508025"/>
                    <a:gd name="connsiteX1" fmla="*/ 24461 w 561210"/>
                    <a:gd name="connsiteY1" fmla="*/ 214956 h 508025"/>
                    <a:gd name="connsiteX2" fmla="*/ 40336 w 561210"/>
                    <a:gd name="connsiteY2" fmla="*/ 176856 h 508025"/>
                    <a:gd name="connsiteX3" fmla="*/ 87961 w 561210"/>
                    <a:gd name="connsiteY3" fmla="*/ 160981 h 508025"/>
                    <a:gd name="connsiteX4" fmla="*/ 189561 w 561210"/>
                    <a:gd name="connsiteY4" fmla="*/ 154631 h 508025"/>
                    <a:gd name="connsiteX5" fmla="*/ 214961 w 561210"/>
                    <a:gd name="connsiteY5" fmla="*/ 151456 h 508025"/>
                    <a:gd name="connsiteX6" fmla="*/ 218136 w 561210"/>
                    <a:gd name="connsiteY6" fmla="*/ 18106 h 508025"/>
                    <a:gd name="connsiteX7" fmla="*/ 329261 w 561210"/>
                    <a:gd name="connsiteY7" fmla="*/ 14931 h 508025"/>
                    <a:gd name="connsiteX8" fmla="*/ 329261 w 561210"/>
                    <a:gd name="connsiteY8" fmla="*/ 145106 h 508025"/>
                    <a:gd name="connsiteX9" fmla="*/ 370536 w 561210"/>
                    <a:gd name="connsiteY9" fmla="*/ 151456 h 508025"/>
                    <a:gd name="connsiteX10" fmla="*/ 462611 w 561210"/>
                    <a:gd name="connsiteY10" fmla="*/ 164156 h 508025"/>
                    <a:gd name="connsiteX11" fmla="*/ 503886 w 561210"/>
                    <a:gd name="connsiteY11" fmla="*/ 189556 h 508025"/>
                    <a:gd name="connsiteX12" fmla="*/ 526111 w 561210"/>
                    <a:gd name="connsiteY12" fmla="*/ 234006 h 508025"/>
                    <a:gd name="connsiteX13" fmla="*/ 522936 w 561210"/>
                    <a:gd name="connsiteY13" fmla="*/ 488006 h 508025"/>
                    <a:gd name="connsiteX14" fmla="*/ 21286 w 561210"/>
                    <a:gd name="connsiteY14" fmla="*/ 449906 h 508025"/>
                    <a:gd name="connsiteX0" fmla="*/ 21286 w 561210"/>
                    <a:gd name="connsiteY0" fmla="*/ 449906 h 508025"/>
                    <a:gd name="connsiteX1" fmla="*/ 24461 w 561210"/>
                    <a:gd name="connsiteY1" fmla="*/ 214956 h 508025"/>
                    <a:gd name="connsiteX2" fmla="*/ 40336 w 561210"/>
                    <a:gd name="connsiteY2" fmla="*/ 176856 h 508025"/>
                    <a:gd name="connsiteX3" fmla="*/ 87961 w 561210"/>
                    <a:gd name="connsiteY3" fmla="*/ 160981 h 508025"/>
                    <a:gd name="connsiteX4" fmla="*/ 189561 w 561210"/>
                    <a:gd name="connsiteY4" fmla="*/ 154631 h 508025"/>
                    <a:gd name="connsiteX5" fmla="*/ 214961 w 561210"/>
                    <a:gd name="connsiteY5" fmla="*/ 151456 h 508025"/>
                    <a:gd name="connsiteX6" fmla="*/ 218136 w 561210"/>
                    <a:gd name="connsiteY6" fmla="*/ 18106 h 508025"/>
                    <a:gd name="connsiteX7" fmla="*/ 329261 w 561210"/>
                    <a:gd name="connsiteY7" fmla="*/ 14931 h 508025"/>
                    <a:gd name="connsiteX8" fmla="*/ 329261 w 561210"/>
                    <a:gd name="connsiteY8" fmla="*/ 145106 h 508025"/>
                    <a:gd name="connsiteX9" fmla="*/ 370536 w 561210"/>
                    <a:gd name="connsiteY9" fmla="*/ 151456 h 508025"/>
                    <a:gd name="connsiteX10" fmla="*/ 462611 w 561210"/>
                    <a:gd name="connsiteY10" fmla="*/ 164156 h 508025"/>
                    <a:gd name="connsiteX11" fmla="*/ 503886 w 561210"/>
                    <a:gd name="connsiteY11" fmla="*/ 189556 h 508025"/>
                    <a:gd name="connsiteX12" fmla="*/ 526111 w 561210"/>
                    <a:gd name="connsiteY12" fmla="*/ 234006 h 508025"/>
                    <a:gd name="connsiteX13" fmla="*/ 522936 w 561210"/>
                    <a:gd name="connsiteY13" fmla="*/ 488006 h 508025"/>
                    <a:gd name="connsiteX14" fmla="*/ 21286 w 561210"/>
                    <a:gd name="connsiteY14" fmla="*/ 449906 h 508025"/>
                    <a:gd name="connsiteX0" fmla="*/ 4360 w 544284"/>
                    <a:gd name="connsiteY0" fmla="*/ 449906 h 508025"/>
                    <a:gd name="connsiteX1" fmla="*/ 7535 w 544284"/>
                    <a:gd name="connsiteY1" fmla="*/ 214956 h 508025"/>
                    <a:gd name="connsiteX2" fmla="*/ 23410 w 544284"/>
                    <a:gd name="connsiteY2" fmla="*/ 176856 h 508025"/>
                    <a:gd name="connsiteX3" fmla="*/ 71035 w 544284"/>
                    <a:gd name="connsiteY3" fmla="*/ 160981 h 508025"/>
                    <a:gd name="connsiteX4" fmla="*/ 172635 w 544284"/>
                    <a:gd name="connsiteY4" fmla="*/ 154631 h 508025"/>
                    <a:gd name="connsiteX5" fmla="*/ 198035 w 544284"/>
                    <a:gd name="connsiteY5" fmla="*/ 151456 h 508025"/>
                    <a:gd name="connsiteX6" fmla="*/ 201210 w 544284"/>
                    <a:gd name="connsiteY6" fmla="*/ 18106 h 508025"/>
                    <a:gd name="connsiteX7" fmla="*/ 312335 w 544284"/>
                    <a:gd name="connsiteY7" fmla="*/ 14931 h 508025"/>
                    <a:gd name="connsiteX8" fmla="*/ 312335 w 544284"/>
                    <a:gd name="connsiteY8" fmla="*/ 145106 h 508025"/>
                    <a:gd name="connsiteX9" fmla="*/ 353610 w 544284"/>
                    <a:gd name="connsiteY9" fmla="*/ 151456 h 508025"/>
                    <a:gd name="connsiteX10" fmla="*/ 445685 w 544284"/>
                    <a:gd name="connsiteY10" fmla="*/ 164156 h 508025"/>
                    <a:gd name="connsiteX11" fmla="*/ 486960 w 544284"/>
                    <a:gd name="connsiteY11" fmla="*/ 189556 h 508025"/>
                    <a:gd name="connsiteX12" fmla="*/ 509185 w 544284"/>
                    <a:gd name="connsiteY12" fmla="*/ 234006 h 508025"/>
                    <a:gd name="connsiteX13" fmla="*/ 506010 w 544284"/>
                    <a:gd name="connsiteY13" fmla="*/ 488006 h 508025"/>
                    <a:gd name="connsiteX14" fmla="*/ 4360 w 544284"/>
                    <a:gd name="connsiteY14" fmla="*/ 449906 h 508025"/>
                    <a:gd name="connsiteX0" fmla="*/ 4360 w 544284"/>
                    <a:gd name="connsiteY0" fmla="*/ 449906 h 500804"/>
                    <a:gd name="connsiteX1" fmla="*/ 7535 w 544284"/>
                    <a:gd name="connsiteY1" fmla="*/ 214956 h 500804"/>
                    <a:gd name="connsiteX2" fmla="*/ 23410 w 544284"/>
                    <a:gd name="connsiteY2" fmla="*/ 176856 h 500804"/>
                    <a:gd name="connsiteX3" fmla="*/ 71035 w 544284"/>
                    <a:gd name="connsiteY3" fmla="*/ 160981 h 500804"/>
                    <a:gd name="connsiteX4" fmla="*/ 172635 w 544284"/>
                    <a:gd name="connsiteY4" fmla="*/ 154631 h 500804"/>
                    <a:gd name="connsiteX5" fmla="*/ 198035 w 544284"/>
                    <a:gd name="connsiteY5" fmla="*/ 151456 h 500804"/>
                    <a:gd name="connsiteX6" fmla="*/ 201210 w 544284"/>
                    <a:gd name="connsiteY6" fmla="*/ 18106 h 500804"/>
                    <a:gd name="connsiteX7" fmla="*/ 312335 w 544284"/>
                    <a:gd name="connsiteY7" fmla="*/ 14931 h 500804"/>
                    <a:gd name="connsiteX8" fmla="*/ 312335 w 544284"/>
                    <a:gd name="connsiteY8" fmla="*/ 145106 h 500804"/>
                    <a:gd name="connsiteX9" fmla="*/ 353610 w 544284"/>
                    <a:gd name="connsiteY9" fmla="*/ 151456 h 500804"/>
                    <a:gd name="connsiteX10" fmla="*/ 445685 w 544284"/>
                    <a:gd name="connsiteY10" fmla="*/ 164156 h 500804"/>
                    <a:gd name="connsiteX11" fmla="*/ 486960 w 544284"/>
                    <a:gd name="connsiteY11" fmla="*/ 189556 h 500804"/>
                    <a:gd name="connsiteX12" fmla="*/ 509185 w 544284"/>
                    <a:gd name="connsiteY12" fmla="*/ 234006 h 500804"/>
                    <a:gd name="connsiteX13" fmla="*/ 506010 w 544284"/>
                    <a:gd name="connsiteY13" fmla="*/ 488006 h 500804"/>
                    <a:gd name="connsiteX14" fmla="*/ 4360 w 544284"/>
                    <a:gd name="connsiteY14" fmla="*/ 449906 h 500804"/>
                    <a:gd name="connsiteX0" fmla="*/ 4360 w 544284"/>
                    <a:gd name="connsiteY0" fmla="*/ 449906 h 500804"/>
                    <a:gd name="connsiteX1" fmla="*/ 7535 w 544284"/>
                    <a:gd name="connsiteY1" fmla="*/ 214956 h 500804"/>
                    <a:gd name="connsiteX2" fmla="*/ 23410 w 544284"/>
                    <a:gd name="connsiteY2" fmla="*/ 176856 h 500804"/>
                    <a:gd name="connsiteX3" fmla="*/ 71035 w 544284"/>
                    <a:gd name="connsiteY3" fmla="*/ 160981 h 500804"/>
                    <a:gd name="connsiteX4" fmla="*/ 172635 w 544284"/>
                    <a:gd name="connsiteY4" fmla="*/ 154631 h 500804"/>
                    <a:gd name="connsiteX5" fmla="*/ 198035 w 544284"/>
                    <a:gd name="connsiteY5" fmla="*/ 151456 h 500804"/>
                    <a:gd name="connsiteX6" fmla="*/ 201210 w 544284"/>
                    <a:gd name="connsiteY6" fmla="*/ 18106 h 500804"/>
                    <a:gd name="connsiteX7" fmla="*/ 312335 w 544284"/>
                    <a:gd name="connsiteY7" fmla="*/ 14931 h 500804"/>
                    <a:gd name="connsiteX8" fmla="*/ 312335 w 544284"/>
                    <a:gd name="connsiteY8" fmla="*/ 145106 h 500804"/>
                    <a:gd name="connsiteX9" fmla="*/ 353610 w 544284"/>
                    <a:gd name="connsiteY9" fmla="*/ 151456 h 500804"/>
                    <a:gd name="connsiteX10" fmla="*/ 445685 w 544284"/>
                    <a:gd name="connsiteY10" fmla="*/ 164156 h 500804"/>
                    <a:gd name="connsiteX11" fmla="*/ 486960 w 544284"/>
                    <a:gd name="connsiteY11" fmla="*/ 189556 h 500804"/>
                    <a:gd name="connsiteX12" fmla="*/ 509185 w 544284"/>
                    <a:gd name="connsiteY12" fmla="*/ 234006 h 500804"/>
                    <a:gd name="connsiteX13" fmla="*/ 506010 w 544284"/>
                    <a:gd name="connsiteY13" fmla="*/ 488006 h 500804"/>
                    <a:gd name="connsiteX14" fmla="*/ 4360 w 544284"/>
                    <a:gd name="connsiteY14" fmla="*/ 449906 h 500804"/>
                    <a:gd name="connsiteX0" fmla="*/ 4360 w 519024"/>
                    <a:gd name="connsiteY0" fmla="*/ 449906 h 500804"/>
                    <a:gd name="connsiteX1" fmla="*/ 7535 w 519024"/>
                    <a:gd name="connsiteY1" fmla="*/ 214956 h 500804"/>
                    <a:gd name="connsiteX2" fmla="*/ 23410 w 519024"/>
                    <a:gd name="connsiteY2" fmla="*/ 176856 h 500804"/>
                    <a:gd name="connsiteX3" fmla="*/ 71035 w 519024"/>
                    <a:gd name="connsiteY3" fmla="*/ 160981 h 500804"/>
                    <a:gd name="connsiteX4" fmla="*/ 172635 w 519024"/>
                    <a:gd name="connsiteY4" fmla="*/ 154631 h 500804"/>
                    <a:gd name="connsiteX5" fmla="*/ 198035 w 519024"/>
                    <a:gd name="connsiteY5" fmla="*/ 151456 h 500804"/>
                    <a:gd name="connsiteX6" fmla="*/ 201210 w 519024"/>
                    <a:gd name="connsiteY6" fmla="*/ 18106 h 500804"/>
                    <a:gd name="connsiteX7" fmla="*/ 312335 w 519024"/>
                    <a:gd name="connsiteY7" fmla="*/ 14931 h 500804"/>
                    <a:gd name="connsiteX8" fmla="*/ 312335 w 519024"/>
                    <a:gd name="connsiteY8" fmla="*/ 145106 h 500804"/>
                    <a:gd name="connsiteX9" fmla="*/ 353610 w 519024"/>
                    <a:gd name="connsiteY9" fmla="*/ 151456 h 500804"/>
                    <a:gd name="connsiteX10" fmla="*/ 445685 w 519024"/>
                    <a:gd name="connsiteY10" fmla="*/ 164156 h 500804"/>
                    <a:gd name="connsiteX11" fmla="*/ 486960 w 519024"/>
                    <a:gd name="connsiteY11" fmla="*/ 189556 h 500804"/>
                    <a:gd name="connsiteX12" fmla="*/ 509185 w 519024"/>
                    <a:gd name="connsiteY12" fmla="*/ 234006 h 500804"/>
                    <a:gd name="connsiteX13" fmla="*/ 506010 w 519024"/>
                    <a:gd name="connsiteY13" fmla="*/ 488006 h 500804"/>
                    <a:gd name="connsiteX14" fmla="*/ 4360 w 519024"/>
                    <a:gd name="connsiteY14" fmla="*/ 449906 h 500804"/>
                    <a:gd name="connsiteX0" fmla="*/ 4360 w 519024"/>
                    <a:gd name="connsiteY0" fmla="*/ 449906 h 488006"/>
                    <a:gd name="connsiteX1" fmla="*/ 7535 w 519024"/>
                    <a:gd name="connsiteY1" fmla="*/ 214956 h 488006"/>
                    <a:gd name="connsiteX2" fmla="*/ 23410 w 519024"/>
                    <a:gd name="connsiteY2" fmla="*/ 176856 h 488006"/>
                    <a:gd name="connsiteX3" fmla="*/ 71035 w 519024"/>
                    <a:gd name="connsiteY3" fmla="*/ 160981 h 488006"/>
                    <a:gd name="connsiteX4" fmla="*/ 172635 w 519024"/>
                    <a:gd name="connsiteY4" fmla="*/ 154631 h 488006"/>
                    <a:gd name="connsiteX5" fmla="*/ 198035 w 519024"/>
                    <a:gd name="connsiteY5" fmla="*/ 151456 h 488006"/>
                    <a:gd name="connsiteX6" fmla="*/ 201210 w 519024"/>
                    <a:gd name="connsiteY6" fmla="*/ 18106 h 488006"/>
                    <a:gd name="connsiteX7" fmla="*/ 312335 w 519024"/>
                    <a:gd name="connsiteY7" fmla="*/ 14931 h 488006"/>
                    <a:gd name="connsiteX8" fmla="*/ 312335 w 519024"/>
                    <a:gd name="connsiteY8" fmla="*/ 145106 h 488006"/>
                    <a:gd name="connsiteX9" fmla="*/ 353610 w 519024"/>
                    <a:gd name="connsiteY9" fmla="*/ 151456 h 488006"/>
                    <a:gd name="connsiteX10" fmla="*/ 445685 w 519024"/>
                    <a:gd name="connsiteY10" fmla="*/ 164156 h 488006"/>
                    <a:gd name="connsiteX11" fmla="*/ 486960 w 519024"/>
                    <a:gd name="connsiteY11" fmla="*/ 189556 h 488006"/>
                    <a:gd name="connsiteX12" fmla="*/ 509185 w 519024"/>
                    <a:gd name="connsiteY12" fmla="*/ 234006 h 488006"/>
                    <a:gd name="connsiteX13" fmla="*/ 506010 w 519024"/>
                    <a:gd name="connsiteY13" fmla="*/ 488006 h 488006"/>
                    <a:gd name="connsiteX14" fmla="*/ 4360 w 519024"/>
                    <a:gd name="connsiteY14" fmla="*/ 449906 h 488006"/>
                    <a:gd name="connsiteX0" fmla="*/ 4360 w 523534"/>
                    <a:gd name="connsiteY0" fmla="*/ 449906 h 472131"/>
                    <a:gd name="connsiteX1" fmla="*/ 7535 w 523534"/>
                    <a:gd name="connsiteY1" fmla="*/ 214956 h 472131"/>
                    <a:gd name="connsiteX2" fmla="*/ 23410 w 523534"/>
                    <a:gd name="connsiteY2" fmla="*/ 176856 h 472131"/>
                    <a:gd name="connsiteX3" fmla="*/ 71035 w 523534"/>
                    <a:gd name="connsiteY3" fmla="*/ 160981 h 472131"/>
                    <a:gd name="connsiteX4" fmla="*/ 172635 w 523534"/>
                    <a:gd name="connsiteY4" fmla="*/ 154631 h 472131"/>
                    <a:gd name="connsiteX5" fmla="*/ 198035 w 523534"/>
                    <a:gd name="connsiteY5" fmla="*/ 151456 h 472131"/>
                    <a:gd name="connsiteX6" fmla="*/ 201210 w 523534"/>
                    <a:gd name="connsiteY6" fmla="*/ 18106 h 472131"/>
                    <a:gd name="connsiteX7" fmla="*/ 312335 w 523534"/>
                    <a:gd name="connsiteY7" fmla="*/ 14931 h 472131"/>
                    <a:gd name="connsiteX8" fmla="*/ 312335 w 523534"/>
                    <a:gd name="connsiteY8" fmla="*/ 145106 h 472131"/>
                    <a:gd name="connsiteX9" fmla="*/ 353610 w 523534"/>
                    <a:gd name="connsiteY9" fmla="*/ 151456 h 472131"/>
                    <a:gd name="connsiteX10" fmla="*/ 445685 w 523534"/>
                    <a:gd name="connsiteY10" fmla="*/ 164156 h 472131"/>
                    <a:gd name="connsiteX11" fmla="*/ 486960 w 523534"/>
                    <a:gd name="connsiteY11" fmla="*/ 189556 h 472131"/>
                    <a:gd name="connsiteX12" fmla="*/ 509185 w 523534"/>
                    <a:gd name="connsiteY12" fmla="*/ 234006 h 472131"/>
                    <a:gd name="connsiteX13" fmla="*/ 512360 w 523534"/>
                    <a:gd name="connsiteY13" fmla="*/ 472131 h 472131"/>
                    <a:gd name="connsiteX14" fmla="*/ 4360 w 523534"/>
                    <a:gd name="connsiteY14" fmla="*/ 449906 h 472131"/>
                    <a:gd name="connsiteX0" fmla="*/ 4360 w 513675"/>
                    <a:gd name="connsiteY0" fmla="*/ 449906 h 472131"/>
                    <a:gd name="connsiteX1" fmla="*/ 7535 w 513675"/>
                    <a:gd name="connsiteY1" fmla="*/ 214956 h 472131"/>
                    <a:gd name="connsiteX2" fmla="*/ 23410 w 513675"/>
                    <a:gd name="connsiteY2" fmla="*/ 176856 h 472131"/>
                    <a:gd name="connsiteX3" fmla="*/ 71035 w 513675"/>
                    <a:gd name="connsiteY3" fmla="*/ 160981 h 472131"/>
                    <a:gd name="connsiteX4" fmla="*/ 172635 w 513675"/>
                    <a:gd name="connsiteY4" fmla="*/ 154631 h 472131"/>
                    <a:gd name="connsiteX5" fmla="*/ 198035 w 513675"/>
                    <a:gd name="connsiteY5" fmla="*/ 151456 h 472131"/>
                    <a:gd name="connsiteX6" fmla="*/ 201210 w 513675"/>
                    <a:gd name="connsiteY6" fmla="*/ 18106 h 472131"/>
                    <a:gd name="connsiteX7" fmla="*/ 312335 w 513675"/>
                    <a:gd name="connsiteY7" fmla="*/ 14931 h 472131"/>
                    <a:gd name="connsiteX8" fmla="*/ 312335 w 513675"/>
                    <a:gd name="connsiteY8" fmla="*/ 145106 h 472131"/>
                    <a:gd name="connsiteX9" fmla="*/ 353610 w 513675"/>
                    <a:gd name="connsiteY9" fmla="*/ 151456 h 472131"/>
                    <a:gd name="connsiteX10" fmla="*/ 445685 w 513675"/>
                    <a:gd name="connsiteY10" fmla="*/ 164156 h 472131"/>
                    <a:gd name="connsiteX11" fmla="*/ 486960 w 513675"/>
                    <a:gd name="connsiteY11" fmla="*/ 189556 h 472131"/>
                    <a:gd name="connsiteX12" fmla="*/ 509185 w 513675"/>
                    <a:gd name="connsiteY12" fmla="*/ 234006 h 472131"/>
                    <a:gd name="connsiteX13" fmla="*/ 512360 w 513675"/>
                    <a:gd name="connsiteY13" fmla="*/ 472131 h 472131"/>
                    <a:gd name="connsiteX14" fmla="*/ 4360 w 513675"/>
                    <a:gd name="connsiteY14" fmla="*/ 449906 h 472131"/>
                    <a:gd name="connsiteX0" fmla="*/ 4360 w 513675"/>
                    <a:gd name="connsiteY0" fmla="*/ 446969 h 469194"/>
                    <a:gd name="connsiteX1" fmla="*/ 7535 w 513675"/>
                    <a:gd name="connsiteY1" fmla="*/ 212019 h 469194"/>
                    <a:gd name="connsiteX2" fmla="*/ 23410 w 513675"/>
                    <a:gd name="connsiteY2" fmla="*/ 173919 h 469194"/>
                    <a:gd name="connsiteX3" fmla="*/ 71035 w 513675"/>
                    <a:gd name="connsiteY3" fmla="*/ 158044 h 469194"/>
                    <a:gd name="connsiteX4" fmla="*/ 172635 w 513675"/>
                    <a:gd name="connsiteY4" fmla="*/ 151694 h 469194"/>
                    <a:gd name="connsiteX5" fmla="*/ 188510 w 513675"/>
                    <a:gd name="connsiteY5" fmla="*/ 94544 h 469194"/>
                    <a:gd name="connsiteX6" fmla="*/ 201210 w 513675"/>
                    <a:gd name="connsiteY6" fmla="*/ 15169 h 469194"/>
                    <a:gd name="connsiteX7" fmla="*/ 312335 w 513675"/>
                    <a:gd name="connsiteY7" fmla="*/ 11994 h 469194"/>
                    <a:gd name="connsiteX8" fmla="*/ 312335 w 513675"/>
                    <a:gd name="connsiteY8" fmla="*/ 142169 h 469194"/>
                    <a:gd name="connsiteX9" fmla="*/ 353610 w 513675"/>
                    <a:gd name="connsiteY9" fmla="*/ 148519 h 469194"/>
                    <a:gd name="connsiteX10" fmla="*/ 445685 w 513675"/>
                    <a:gd name="connsiteY10" fmla="*/ 161219 h 469194"/>
                    <a:gd name="connsiteX11" fmla="*/ 486960 w 513675"/>
                    <a:gd name="connsiteY11" fmla="*/ 186619 h 469194"/>
                    <a:gd name="connsiteX12" fmla="*/ 509185 w 513675"/>
                    <a:gd name="connsiteY12" fmla="*/ 231069 h 469194"/>
                    <a:gd name="connsiteX13" fmla="*/ 512360 w 513675"/>
                    <a:gd name="connsiteY13" fmla="*/ 469194 h 469194"/>
                    <a:gd name="connsiteX14" fmla="*/ 4360 w 513675"/>
                    <a:gd name="connsiteY14" fmla="*/ 446969 h 469194"/>
                    <a:gd name="connsiteX0" fmla="*/ 4360 w 513675"/>
                    <a:gd name="connsiteY0" fmla="*/ 443409 h 465634"/>
                    <a:gd name="connsiteX1" fmla="*/ 7535 w 513675"/>
                    <a:gd name="connsiteY1" fmla="*/ 208459 h 465634"/>
                    <a:gd name="connsiteX2" fmla="*/ 23410 w 513675"/>
                    <a:gd name="connsiteY2" fmla="*/ 170359 h 465634"/>
                    <a:gd name="connsiteX3" fmla="*/ 71035 w 513675"/>
                    <a:gd name="connsiteY3" fmla="*/ 154484 h 465634"/>
                    <a:gd name="connsiteX4" fmla="*/ 172635 w 513675"/>
                    <a:gd name="connsiteY4" fmla="*/ 148134 h 465634"/>
                    <a:gd name="connsiteX5" fmla="*/ 188510 w 513675"/>
                    <a:gd name="connsiteY5" fmla="*/ 90984 h 465634"/>
                    <a:gd name="connsiteX6" fmla="*/ 201210 w 513675"/>
                    <a:gd name="connsiteY6" fmla="*/ 11609 h 465634"/>
                    <a:gd name="connsiteX7" fmla="*/ 312335 w 513675"/>
                    <a:gd name="connsiteY7" fmla="*/ 8434 h 465634"/>
                    <a:gd name="connsiteX8" fmla="*/ 312335 w 513675"/>
                    <a:gd name="connsiteY8" fmla="*/ 87809 h 465634"/>
                    <a:gd name="connsiteX9" fmla="*/ 353610 w 513675"/>
                    <a:gd name="connsiteY9" fmla="*/ 144959 h 465634"/>
                    <a:gd name="connsiteX10" fmla="*/ 445685 w 513675"/>
                    <a:gd name="connsiteY10" fmla="*/ 157659 h 465634"/>
                    <a:gd name="connsiteX11" fmla="*/ 486960 w 513675"/>
                    <a:gd name="connsiteY11" fmla="*/ 183059 h 465634"/>
                    <a:gd name="connsiteX12" fmla="*/ 509185 w 513675"/>
                    <a:gd name="connsiteY12" fmla="*/ 227509 h 465634"/>
                    <a:gd name="connsiteX13" fmla="*/ 512360 w 513675"/>
                    <a:gd name="connsiteY13" fmla="*/ 465634 h 465634"/>
                    <a:gd name="connsiteX14" fmla="*/ 4360 w 513675"/>
                    <a:gd name="connsiteY14" fmla="*/ 443409 h 465634"/>
                    <a:gd name="connsiteX0" fmla="*/ 4360 w 513675"/>
                    <a:gd name="connsiteY0" fmla="*/ 443409 h 465634"/>
                    <a:gd name="connsiteX1" fmla="*/ 7535 w 513675"/>
                    <a:gd name="connsiteY1" fmla="*/ 208459 h 465634"/>
                    <a:gd name="connsiteX2" fmla="*/ 23410 w 513675"/>
                    <a:gd name="connsiteY2" fmla="*/ 170359 h 465634"/>
                    <a:gd name="connsiteX3" fmla="*/ 71035 w 513675"/>
                    <a:gd name="connsiteY3" fmla="*/ 154484 h 465634"/>
                    <a:gd name="connsiteX4" fmla="*/ 172635 w 513675"/>
                    <a:gd name="connsiteY4" fmla="*/ 148134 h 465634"/>
                    <a:gd name="connsiteX5" fmla="*/ 188510 w 513675"/>
                    <a:gd name="connsiteY5" fmla="*/ 90984 h 465634"/>
                    <a:gd name="connsiteX6" fmla="*/ 201210 w 513675"/>
                    <a:gd name="connsiteY6" fmla="*/ 11609 h 465634"/>
                    <a:gd name="connsiteX7" fmla="*/ 312335 w 513675"/>
                    <a:gd name="connsiteY7" fmla="*/ 8434 h 465634"/>
                    <a:gd name="connsiteX8" fmla="*/ 312335 w 513675"/>
                    <a:gd name="connsiteY8" fmla="*/ 87809 h 465634"/>
                    <a:gd name="connsiteX9" fmla="*/ 334560 w 513675"/>
                    <a:gd name="connsiteY9" fmla="*/ 135434 h 465634"/>
                    <a:gd name="connsiteX10" fmla="*/ 445685 w 513675"/>
                    <a:gd name="connsiteY10" fmla="*/ 157659 h 465634"/>
                    <a:gd name="connsiteX11" fmla="*/ 486960 w 513675"/>
                    <a:gd name="connsiteY11" fmla="*/ 183059 h 465634"/>
                    <a:gd name="connsiteX12" fmla="*/ 509185 w 513675"/>
                    <a:gd name="connsiteY12" fmla="*/ 227509 h 465634"/>
                    <a:gd name="connsiteX13" fmla="*/ 512360 w 513675"/>
                    <a:gd name="connsiteY13" fmla="*/ 465634 h 465634"/>
                    <a:gd name="connsiteX14" fmla="*/ 4360 w 513675"/>
                    <a:gd name="connsiteY14" fmla="*/ 443409 h 465634"/>
                    <a:gd name="connsiteX0" fmla="*/ 4360 w 510500"/>
                    <a:gd name="connsiteY0" fmla="*/ 443409 h 449759"/>
                    <a:gd name="connsiteX1" fmla="*/ 7535 w 510500"/>
                    <a:gd name="connsiteY1" fmla="*/ 208459 h 449759"/>
                    <a:gd name="connsiteX2" fmla="*/ 23410 w 510500"/>
                    <a:gd name="connsiteY2" fmla="*/ 170359 h 449759"/>
                    <a:gd name="connsiteX3" fmla="*/ 71035 w 510500"/>
                    <a:gd name="connsiteY3" fmla="*/ 154484 h 449759"/>
                    <a:gd name="connsiteX4" fmla="*/ 172635 w 510500"/>
                    <a:gd name="connsiteY4" fmla="*/ 148134 h 449759"/>
                    <a:gd name="connsiteX5" fmla="*/ 188510 w 510500"/>
                    <a:gd name="connsiteY5" fmla="*/ 90984 h 449759"/>
                    <a:gd name="connsiteX6" fmla="*/ 201210 w 510500"/>
                    <a:gd name="connsiteY6" fmla="*/ 11609 h 449759"/>
                    <a:gd name="connsiteX7" fmla="*/ 312335 w 510500"/>
                    <a:gd name="connsiteY7" fmla="*/ 8434 h 449759"/>
                    <a:gd name="connsiteX8" fmla="*/ 312335 w 510500"/>
                    <a:gd name="connsiteY8" fmla="*/ 87809 h 449759"/>
                    <a:gd name="connsiteX9" fmla="*/ 334560 w 510500"/>
                    <a:gd name="connsiteY9" fmla="*/ 135434 h 449759"/>
                    <a:gd name="connsiteX10" fmla="*/ 445685 w 510500"/>
                    <a:gd name="connsiteY10" fmla="*/ 157659 h 449759"/>
                    <a:gd name="connsiteX11" fmla="*/ 486960 w 510500"/>
                    <a:gd name="connsiteY11" fmla="*/ 183059 h 449759"/>
                    <a:gd name="connsiteX12" fmla="*/ 509185 w 510500"/>
                    <a:gd name="connsiteY12" fmla="*/ 227509 h 449759"/>
                    <a:gd name="connsiteX13" fmla="*/ 506010 w 510500"/>
                    <a:gd name="connsiteY13" fmla="*/ 449759 h 449759"/>
                    <a:gd name="connsiteX14" fmla="*/ 4360 w 510500"/>
                    <a:gd name="connsiteY14" fmla="*/ 443409 h 449759"/>
                    <a:gd name="connsiteX0" fmla="*/ 4360 w 510500"/>
                    <a:gd name="connsiteY0" fmla="*/ 443409 h 454926"/>
                    <a:gd name="connsiteX1" fmla="*/ 7535 w 510500"/>
                    <a:gd name="connsiteY1" fmla="*/ 208459 h 454926"/>
                    <a:gd name="connsiteX2" fmla="*/ 23410 w 510500"/>
                    <a:gd name="connsiteY2" fmla="*/ 170359 h 454926"/>
                    <a:gd name="connsiteX3" fmla="*/ 71035 w 510500"/>
                    <a:gd name="connsiteY3" fmla="*/ 154484 h 454926"/>
                    <a:gd name="connsiteX4" fmla="*/ 172635 w 510500"/>
                    <a:gd name="connsiteY4" fmla="*/ 148134 h 454926"/>
                    <a:gd name="connsiteX5" fmla="*/ 188510 w 510500"/>
                    <a:gd name="connsiteY5" fmla="*/ 90984 h 454926"/>
                    <a:gd name="connsiteX6" fmla="*/ 201210 w 510500"/>
                    <a:gd name="connsiteY6" fmla="*/ 11609 h 454926"/>
                    <a:gd name="connsiteX7" fmla="*/ 312335 w 510500"/>
                    <a:gd name="connsiteY7" fmla="*/ 8434 h 454926"/>
                    <a:gd name="connsiteX8" fmla="*/ 312335 w 510500"/>
                    <a:gd name="connsiteY8" fmla="*/ 87809 h 454926"/>
                    <a:gd name="connsiteX9" fmla="*/ 334560 w 510500"/>
                    <a:gd name="connsiteY9" fmla="*/ 135434 h 454926"/>
                    <a:gd name="connsiteX10" fmla="*/ 445685 w 510500"/>
                    <a:gd name="connsiteY10" fmla="*/ 157659 h 454926"/>
                    <a:gd name="connsiteX11" fmla="*/ 486960 w 510500"/>
                    <a:gd name="connsiteY11" fmla="*/ 183059 h 454926"/>
                    <a:gd name="connsiteX12" fmla="*/ 509185 w 510500"/>
                    <a:gd name="connsiteY12" fmla="*/ 227509 h 454926"/>
                    <a:gd name="connsiteX13" fmla="*/ 506010 w 510500"/>
                    <a:gd name="connsiteY13" fmla="*/ 449759 h 454926"/>
                    <a:gd name="connsiteX14" fmla="*/ 4360 w 510500"/>
                    <a:gd name="connsiteY14" fmla="*/ 443409 h 454926"/>
                    <a:gd name="connsiteX0" fmla="*/ 6473 w 512613"/>
                    <a:gd name="connsiteY0" fmla="*/ 443409 h 454926"/>
                    <a:gd name="connsiteX1" fmla="*/ 9648 w 512613"/>
                    <a:gd name="connsiteY1" fmla="*/ 208459 h 454926"/>
                    <a:gd name="connsiteX2" fmla="*/ 73148 w 512613"/>
                    <a:gd name="connsiteY2" fmla="*/ 154484 h 454926"/>
                    <a:gd name="connsiteX3" fmla="*/ 174748 w 512613"/>
                    <a:gd name="connsiteY3" fmla="*/ 148134 h 454926"/>
                    <a:gd name="connsiteX4" fmla="*/ 190623 w 512613"/>
                    <a:gd name="connsiteY4" fmla="*/ 90984 h 454926"/>
                    <a:gd name="connsiteX5" fmla="*/ 203323 w 512613"/>
                    <a:gd name="connsiteY5" fmla="*/ 11609 h 454926"/>
                    <a:gd name="connsiteX6" fmla="*/ 314448 w 512613"/>
                    <a:gd name="connsiteY6" fmla="*/ 8434 h 454926"/>
                    <a:gd name="connsiteX7" fmla="*/ 314448 w 512613"/>
                    <a:gd name="connsiteY7" fmla="*/ 87809 h 454926"/>
                    <a:gd name="connsiteX8" fmla="*/ 336673 w 512613"/>
                    <a:gd name="connsiteY8" fmla="*/ 135434 h 454926"/>
                    <a:gd name="connsiteX9" fmla="*/ 447798 w 512613"/>
                    <a:gd name="connsiteY9" fmla="*/ 157659 h 454926"/>
                    <a:gd name="connsiteX10" fmla="*/ 489073 w 512613"/>
                    <a:gd name="connsiteY10" fmla="*/ 183059 h 454926"/>
                    <a:gd name="connsiteX11" fmla="*/ 511298 w 512613"/>
                    <a:gd name="connsiteY11" fmla="*/ 227509 h 454926"/>
                    <a:gd name="connsiteX12" fmla="*/ 508123 w 512613"/>
                    <a:gd name="connsiteY12" fmla="*/ 449759 h 454926"/>
                    <a:gd name="connsiteX13" fmla="*/ 6473 w 512613"/>
                    <a:gd name="connsiteY13" fmla="*/ 443409 h 454926"/>
                    <a:gd name="connsiteX0" fmla="*/ 4049 w 510189"/>
                    <a:gd name="connsiteY0" fmla="*/ 443409 h 454926"/>
                    <a:gd name="connsiteX1" fmla="*/ 7224 w 510189"/>
                    <a:gd name="connsiteY1" fmla="*/ 208459 h 454926"/>
                    <a:gd name="connsiteX2" fmla="*/ 70724 w 510189"/>
                    <a:gd name="connsiteY2" fmla="*/ 154484 h 454926"/>
                    <a:gd name="connsiteX3" fmla="*/ 172324 w 510189"/>
                    <a:gd name="connsiteY3" fmla="*/ 148134 h 454926"/>
                    <a:gd name="connsiteX4" fmla="*/ 188199 w 510189"/>
                    <a:gd name="connsiteY4" fmla="*/ 90984 h 454926"/>
                    <a:gd name="connsiteX5" fmla="*/ 200899 w 510189"/>
                    <a:gd name="connsiteY5" fmla="*/ 11609 h 454926"/>
                    <a:gd name="connsiteX6" fmla="*/ 312024 w 510189"/>
                    <a:gd name="connsiteY6" fmla="*/ 8434 h 454926"/>
                    <a:gd name="connsiteX7" fmla="*/ 312024 w 510189"/>
                    <a:gd name="connsiteY7" fmla="*/ 87809 h 454926"/>
                    <a:gd name="connsiteX8" fmla="*/ 334249 w 510189"/>
                    <a:gd name="connsiteY8" fmla="*/ 135434 h 454926"/>
                    <a:gd name="connsiteX9" fmla="*/ 445374 w 510189"/>
                    <a:gd name="connsiteY9" fmla="*/ 157659 h 454926"/>
                    <a:gd name="connsiteX10" fmla="*/ 486649 w 510189"/>
                    <a:gd name="connsiteY10" fmla="*/ 183059 h 454926"/>
                    <a:gd name="connsiteX11" fmla="*/ 508874 w 510189"/>
                    <a:gd name="connsiteY11" fmla="*/ 227509 h 454926"/>
                    <a:gd name="connsiteX12" fmla="*/ 505699 w 510189"/>
                    <a:gd name="connsiteY12" fmla="*/ 449759 h 454926"/>
                    <a:gd name="connsiteX13" fmla="*/ 4049 w 510189"/>
                    <a:gd name="connsiteY13" fmla="*/ 443409 h 454926"/>
                    <a:gd name="connsiteX0" fmla="*/ 4049 w 510189"/>
                    <a:gd name="connsiteY0" fmla="*/ 443409 h 454926"/>
                    <a:gd name="connsiteX1" fmla="*/ 7224 w 510189"/>
                    <a:gd name="connsiteY1" fmla="*/ 208459 h 454926"/>
                    <a:gd name="connsiteX2" fmla="*/ 70724 w 510189"/>
                    <a:gd name="connsiteY2" fmla="*/ 154484 h 454926"/>
                    <a:gd name="connsiteX3" fmla="*/ 172324 w 510189"/>
                    <a:gd name="connsiteY3" fmla="*/ 148134 h 454926"/>
                    <a:gd name="connsiteX4" fmla="*/ 188199 w 510189"/>
                    <a:gd name="connsiteY4" fmla="*/ 90984 h 454926"/>
                    <a:gd name="connsiteX5" fmla="*/ 200899 w 510189"/>
                    <a:gd name="connsiteY5" fmla="*/ 11609 h 454926"/>
                    <a:gd name="connsiteX6" fmla="*/ 312024 w 510189"/>
                    <a:gd name="connsiteY6" fmla="*/ 8434 h 454926"/>
                    <a:gd name="connsiteX7" fmla="*/ 312024 w 510189"/>
                    <a:gd name="connsiteY7" fmla="*/ 87809 h 454926"/>
                    <a:gd name="connsiteX8" fmla="*/ 334249 w 510189"/>
                    <a:gd name="connsiteY8" fmla="*/ 135434 h 454926"/>
                    <a:gd name="connsiteX9" fmla="*/ 445374 w 510189"/>
                    <a:gd name="connsiteY9" fmla="*/ 157659 h 454926"/>
                    <a:gd name="connsiteX10" fmla="*/ 508874 w 510189"/>
                    <a:gd name="connsiteY10" fmla="*/ 227509 h 454926"/>
                    <a:gd name="connsiteX11" fmla="*/ 505699 w 510189"/>
                    <a:gd name="connsiteY11" fmla="*/ 449759 h 454926"/>
                    <a:gd name="connsiteX12" fmla="*/ 4049 w 510189"/>
                    <a:gd name="connsiteY12" fmla="*/ 443409 h 454926"/>
                    <a:gd name="connsiteX0" fmla="*/ 4049 w 510189"/>
                    <a:gd name="connsiteY0" fmla="*/ 443409 h 454926"/>
                    <a:gd name="connsiteX1" fmla="*/ 7224 w 510189"/>
                    <a:gd name="connsiteY1" fmla="*/ 208459 h 454926"/>
                    <a:gd name="connsiteX2" fmla="*/ 70724 w 510189"/>
                    <a:gd name="connsiteY2" fmla="*/ 154484 h 454926"/>
                    <a:gd name="connsiteX3" fmla="*/ 172324 w 510189"/>
                    <a:gd name="connsiteY3" fmla="*/ 148134 h 454926"/>
                    <a:gd name="connsiteX4" fmla="*/ 188199 w 510189"/>
                    <a:gd name="connsiteY4" fmla="*/ 90984 h 454926"/>
                    <a:gd name="connsiteX5" fmla="*/ 200899 w 510189"/>
                    <a:gd name="connsiteY5" fmla="*/ 11609 h 454926"/>
                    <a:gd name="connsiteX6" fmla="*/ 312024 w 510189"/>
                    <a:gd name="connsiteY6" fmla="*/ 8434 h 454926"/>
                    <a:gd name="connsiteX7" fmla="*/ 312024 w 510189"/>
                    <a:gd name="connsiteY7" fmla="*/ 87809 h 454926"/>
                    <a:gd name="connsiteX8" fmla="*/ 334249 w 510189"/>
                    <a:gd name="connsiteY8" fmla="*/ 135434 h 454926"/>
                    <a:gd name="connsiteX9" fmla="*/ 445374 w 510189"/>
                    <a:gd name="connsiteY9" fmla="*/ 157659 h 454926"/>
                    <a:gd name="connsiteX10" fmla="*/ 508874 w 510189"/>
                    <a:gd name="connsiteY10" fmla="*/ 227509 h 454926"/>
                    <a:gd name="connsiteX11" fmla="*/ 505699 w 510189"/>
                    <a:gd name="connsiteY11" fmla="*/ 449759 h 454926"/>
                    <a:gd name="connsiteX12" fmla="*/ 4049 w 510189"/>
                    <a:gd name="connsiteY12" fmla="*/ 443409 h 454926"/>
                    <a:gd name="connsiteX0" fmla="*/ 5987 w 512127"/>
                    <a:gd name="connsiteY0" fmla="*/ 443409 h 454926"/>
                    <a:gd name="connsiteX1" fmla="*/ 2812 w 512127"/>
                    <a:gd name="connsiteY1" fmla="*/ 217984 h 454926"/>
                    <a:gd name="connsiteX2" fmla="*/ 72662 w 512127"/>
                    <a:gd name="connsiteY2" fmla="*/ 154484 h 454926"/>
                    <a:gd name="connsiteX3" fmla="*/ 174262 w 512127"/>
                    <a:gd name="connsiteY3" fmla="*/ 148134 h 454926"/>
                    <a:gd name="connsiteX4" fmla="*/ 190137 w 512127"/>
                    <a:gd name="connsiteY4" fmla="*/ 90984 h 454926"/>
                    <a:gd name="connsiteX5" fmla="*/ 202837 w 512127"/>
                    <a:gd name="connsiteY5" fmla="*/ 11609 h 454926"/>
                    <a:gd name="connsiteX6" fmla="*/ 313962 w 512127"/>
                    <a:gd name="connsiteY6" fmla="*/ 8434 h 454926"/>
                    <a:gd name="connsiteX7" fmla="*/ 313962 w 512127"/>
                    <a:gd name="connsiteY7" fmla="*/ 87809 h 454926"/>
                    <a:gd name="connsiteX8" fmla="*/ 336187 w 512127"/>
                    <a:gd name="connsiteY8" fmla="*/ 135434 h 454926"/>
                    <a:gd name="connsiteX9" fmla="*/ 447312 w 512127"/>
                    <a:gd name="connsiteY9" fmla="*/ 157659 h 454926"/>
                    <a:gd name="connsiteX10" fmla="*/ 510812 w 512127"/>
                    <a:gd name="connsiteY10" fmla="*/ 227509 h 454926"/>
                    <a:gd name="connsiteX11" fmla="*/ 507637 w 512127"/>
                    <a:gd name="connsiteY11" fmla="*/ 449759 h 454926"/>
                    <a:gd name="connsiteX12" fmla="*/ 5987 w 512127"/>
                    <a:gd name="connsiteY12" fmla="*/ 443409 h 454926"/>
                    <a:gd name="connsiteX0" fmla="*/ 9762 w 515902"/>
                    <a:gd name="connsiteY0" fmla="*/ 443409 h 454926"/>
                    <a:gd name="connsiteX1" fmla="*/ 6587 w 515902"/>
                    <a:gd name="connsiteY1" fmla="*/ 217984 h 454926"/>
                    <a:gd name="connsiteX2" fmla="*/ 76437 w 515902"/>
                    <a:gd name="connsiteY2" fmla="*/ 154484 h 454926"/>
                    <a:gd name="connsiteX3" fmla="*/ 178037 w 515902"/>
                    <a:gd name="connsiteY3" fmla="*/ 148134 h 454926"/>
                    <a:gd name="connsiteX4" fmla="*/ 193912 w 515902"/>
                    <a:gd name="connsiteY4" fmla="*/ 90984 h 454926"/>
                    <a:gd name="connsiteX5" fmla="*/ 206612 w 515902"/>
                    <a:gd name="connsiteY5" fmla="*/ 11609 h 454926"/>
                    <a:gd name="connsiteX6" fmla="*/ 317737 w 515902"/>
                    <a:gd name="connsiteY6" fmla="*/ 8434 h 454926"/>
                    <a:gd name="connsiteX7" fmla="*/ 317737 w 515902"/>
                    <a:gd name="connsiteY7" fmla="*/ 87809 h 454926"/>
                    <a:gd name="connsiteX8" fmla="*/ 339962 w 515902"/>
                    <a:gd name="connsiteY8" fmla="*/ 135434 h 454926"/>
                    <a:gd name="connsiteX9" fmla="*/ 451087 w 515902"/>
                    <a:gd name="connsiteY9" fmla="*/ 157659 h 454926"/>
                    <a:gd name="connsiteX10" fmla="*/ 514587 w 515902"/>
                    <a:gd name="connsiteY10" fmla="*/ 227509 h 454926"/>
                    <a:gd name="connsiteX11" fmla="*/ 511412 w 515902"/>
                    <a:gd name="connsiteY11" fmla="*/ 449759 h 454926"/>
                    <a:gd name="connsiteX12" fmla="*/ 9762 w 515902"/>
                    <a:gd name="connsiteY12" fmla="*/ 443409 h 454926"/>
                    <a:gd name="connsiteX0" fmla="*/ 9762 w 515902"/>
                    <a:gd name="connsiteY0" fmla="*/ 443409 h 454926"/>
                    <a:gd name="connsiteX1" fmla="*/ 6587 w 515902"/>
                    <a:gd name="connsiteY1" fmla="*/ 217984 h 454926"/>
                    <a:gd name="connsiteX2" fmla="*/ 76437 w 515902"/>
                    <a:gd name="connsiteY2" fmla="*/ 154484 h 454926"/>
                    <a:gd name="connsiteX3" fmla="*/ 178037 w 515902"/>
                    <a:gd name="connsiteY3" fmla="*/ 148134 h 454926"/>
                    <a:gd name="connsiteX4" fmla="*/ 193912 w 515902"/>
                    <a:gd name="connsiteY4" fmla="*/ 90984 h 454926"/>
                    <a:gd name="connsiteX5" fmla="*/ 206612 w 515902"/>
                    <a:gd name="connsiteY5" fmla="*/ 11609 h 454926"/>
                    <a:gd name="connsiteX6" fmla="*/ 317737 w 515902"/>
                    <a:gd name="connsiteY6" fmla="*/ 8434 h 454926"/>
                    <a:gd name="connsiteX7" fmla="*/ 317737 w 515902"/>
                    <a:gd name="connsiteY7" fmla="*/ 87809 h 454926"/>
                    <a:gd name="connsiteX8" fmla="*/ 339962 w 515902"/>
                    <a:gd name="connsiteY8" fmla="*/ 135434 h 454926"/>
                    <a:gd name="connsiteX9" fmla="*/ 451087 w 515902"/>
                    <a:gd name="connsiteY9" fmla="*/ 157659 h 454926"/>
                    <a:gd name="connsiteX10" fmla="*/ 514587 w 515902"/>
                    <a:gd name="connsiteY10" fmla="*/ 227509 h 454926"/>
                    <a:gd name="connsiteX11" fmla="*/ 511412 w 515902"/>
                    <a:gd name="connsiteY11" fmla="*/ 449759 h 454926"/>
                    <a:gd name="connsiteX12" fmla="*/ 9762 w 515902"/>
                    <a:gd name="connsiteY12" fmla="*/ 443409 h 454926"/>
                    <a:gd name="connsiteX0" fmla="*/ 9762 w 515902"/>
                    <a:gd name="connsiteY0" fmla="*/ 443409 h 454926"/>
                    <a:gd name="connsiteX1" fmla="*/ 6587 w 515902"/>
                    <a:gd name="connsiteY1" fmla="*/ 217984 h 454926"/>
                    <a:gd name="connsiteX2" fmla="*/ 76437 w 515902"/>
                    <a:gd name="connsiteY2" fmla="*/ 154484 h 454926"/>
                    <a:gd name="connsiteX3" fmla="*/ 193912 w 515902"/>
                    <a:gd name="connsiteY3" fmla="*/ 90984 h 454926"/>
                    <a:gd name="connsiteX4" fmla="*/ 206612 w 515902"/>
                    <a:gd name="connsiteY4" fmla="*/ 11609 h 454926"/>
                    <a:gd name="connsiteX5" fmla="*/ 317737 w 515902"/>
                    <a:gd name="connsiteY5" fmla="*/ 8434 h 454926"/>
                    <a:gd name="connsiteX6" fmla="*/ 317737 w 515902"/>
                    <a:gd name="connsiteY6" fmla="*/ 87809 h 454926"/>
                    <a:gd name="connsiteX7" fmla="*/ 339962 w 515902"/>
                    <a:gd name="connsiteY7" fmla="*/ 135434 h 454926"/>
                    <a:gd name="connsiteX8" fmla="*/ 451087 w 515902"/>
                    <a:gd name="connsiteY8" fmla="*/ 157659 h 454926"/>
                    <a:gd name="connsiteX9" fmla="*/ 514587 w 515902"/>
                    <a:gd name="connsiteY9" fmla="*/ 227509 h 454926"/>
                    <a:gd name="connsiteX10" fmla="*/ 511412 w 515902"/>
                    <a:gd name="connsiteY10" fmla="*/ 449759 h 454926"/>
                    <a:gd name="connsiteX11" fmla="*/ 9762 w 515902"/>
                    <a:gd name="connsiteY11" fmla="*/ 443409 h 454926"/>
                    <a:gd name="connsiteX0" fmla="*/ 9762 w 515902"/>
                    <a:gd name="connsiteY0" fmla="*/ 446099 h 457616"/>
                    <a:gd name="connsiteX1" fmla="*/ 6587 w 515902"/>
                    <a:gd name="connsiteY1" fmla="*/ 220674 h 457616"/>
                    <a:gd name="connsiteX2" fmla="*/ 76437 w 515902"/>
                    <a:gd name="connsiteY2" fmla="*/ 157174 h 457616"/>
                    <a:gd name="connsiteX3" fmla="*/ 190737 w 515902"/>
                    <a:gd name="connsiteY3" fmla="*/ 138124 h 457616"/>
                    <a:gd name="connsiteX4" fmla="*/ 206612 w 515902"/>
                    <a:gd name="connsiteY4" fmla="*/ 14299 h 457616"/>
                    <a:gd name="connsiteX5" fmla="*/ 317737 w 515902"/>
                    <a:gd name="connsiteY5" fmla="*/ 11124 h 457616"/>
                    <a:gd name="connsiteX6" fmla="*/ 317737 w 515902"/>
                    <a:gd name="connsiteY6" fmla="*/ 90499 h 457616"/>
                    <a:gd name="connsiteX7" fmla="*/ 339962 w 515902"/>
                    <a:gd name="connsiteY7" fmla="*/ 138124 h 457616"/>
                    <a:gd name="connsiteX8" fmla="*/ 451087 w 515902"/>
                    <a:gd name="connsiteY8" fmla="*/ 160349 h 457616"/>
                    <a:gd name="connsiteX9" fmla="*/ 514587 w 515902"/>
                    <a:gd name="connsiteY9" fmla="*/ 230199 h 457616"/>
                    <a:gd name="connsiteX10" fmla="*/ 511412 w 515902"/>
                    <a:gd name="connsiteY10" fmla="*/ 452449 h 457616"/>
                    <a:gd name="connsiteX11" fmla="*/ 9762 w 515902"/>
                    <a:gd name="connsiteY11" fmla="*/ 446099 h 457616"/>
                    <a:gd name="connsiteX0" fmla="*/ 9762 w 515902"/>
                    <a:gd name="connsiteY0" fmla="*/ 446099 h 457616"/>
                    <a:gd name="connsiteX1" fmla="*/ 6587 w 515902"/>
                    <a:gd name="connsiteY1" fmla="*/ 220674 h 457616"/>
                    <a:gd name="connsiteX2" fmla="*/ 76437 w 515902"/>
                    <a:gd name="connsiteY2" fmla="*/ 157174 h 457616"/>
                    <a:gd name="connsiteX3" fmla="*/ 190737 w 515902"/>
                    <a:gd name="connsiteY3" fmla="*/ 138124 h 457616"/>
                    <a:gd name="connsiteX4" fmla="*/ 206612 w 515902"/>
                    <a:gd name="connsiteY4" fmla="*/ 14299 h 457616"/>
                    <a:gd name="connsiteX5" fmla="*/ 317737 w 515902"/>
                    <a:gd name="connsiteY5" fmla="*/ 11124 h 457616"/>
                    <a:gd name="connsiteX6" fmla="*/ 317737 w 515902"/>
                    <a:gd name="connsiteY6" fmla="*/ 90499 h 457616"/>
                    <a:gd name="connsiteX7" fmla="*/ 451087 w 515902"/>
                    <a:gd name="connsiteY7" fmla="*/ 160349 h 457616"/>
                    <a:gd name="connsiteX8" fmla="*/ 514587 w 515902"/>
                    <a:gd name="connsiteY8" fmla="*/ 230199 h 457616"/>
                    <a:gd name="connsiteX9" fmla="*/ 511412 w 515902"/>
                    <a:gd name="connsiteY9" fmla="*/ 452449 h 457616"/>
                    <a:gd name="connsiteX10" fmla="*/ 9762 w 515902"/>
                    <a:gd name="connsiteY10" fmla="*/ 446099 h 457616"/>
                    <a:gd name="connsiteX0" fmla="*/ 9762 w 515902"/>
                    <a:gd name="connsiteY0" fmla="*/ 447482 h 458999"/>
                    <a:gd name="connsiteX1" fmla="*/ 6587 w 515902"/>
                    <a:gd name="connsiteY1" fmla="*/ 222057 h 458999"/>
                    <a:gd name="connsiteX2" fmla="*/ 76437 w 515902"/>
                    <a:gd name="connsiteY2" fmla="*/ 158557 h 458999"/>
                    <a:gd name="connsiteX3" fmla="*/ 190737 w 515902"/>
                    <a:gd name="connsiteY3" fmla="*/ 139507 h 458999"/>
                    <a:gd name="connsiteX4" fmla="*/ 206612 w 515902"/>
                    <a:gd name="connsiteY4" fmla="*/ 15682 h 458999"/>
                    <a:gd name="connsiteX5" fmla="*/ 317737 w 515902"/>
                    <a:gd name="connsiteY5" fmla="*/ 12507 h 458999"/>
                    <a:gd name="connsiteX6" fmla="*/ 330437 w 515902"/>
                    <a:gd name="connsiteY6" fmla="*/ 114107 h 458999"/>
                    <a:gd name="connsiteX7" fmla="*/ 451087 w 515902"/>
                    <a:gd name="connsiteY7" fmla="*/ 161732 h 458999"/>
                    <a:gd name="connsiteX8" fmla="*/ 514587 w 515902"/>
                    <a:gd name="connsiteY8" fmla="*/ 231582 h 458999"/>
                    <a:gd name="connsiteX9" fmla="*/ 511412 w 515902"/>
                    <a:gd name="connsiteY9" fmla="*/ 453832 h 458999"/>
                    <a:gd name="connsiteX10" fmla="*/ 9762 w 515902"/>
                    <a:gd name="connsiteY10" fmla="*/ 447482 h 458999"/>
                    <a:gd name="connsiteX0" fmla="*/ 9762 w 515902"/>
                    <a:gd name="connsiteY0" fmla="*/ 446348 h 457865"/>
                    <a:gd name="connsiteX1" fmla="*/ 6587 w 515902"/>
                    <a:gd name="connsiteY1" fmla="*/ 220923 h 457865"/>
                    <a:gd name="connsiteX2" fmla="*/ 76437 w 515902"/>
                    <a:gd name="connsiteY2" fmla="*/ 157423 h 457865"/>
                    <a:gd name="connsiteX3" fmla="*/ 200262 w 515902"/>
                    <a:gd name="connsiteY3" fmla="*/ 119323 h 457865"/>
                    <a:gd name="connsiteX4" fmla="*/ 206612 w 515902"/>
                    <a:gd name="connsiteY4" fmla="*/ 14548 h 457865"/>
                    <a:gd name="connsiteX5" fmla="*/ 317737 w 515902"/>
                    <a:gd name="connsiteY5" fmla="*/ 11373 h 457865"/>
                    <a:gd name="connsiteX6" fmla="*/ 330437 w 515902"/>
                    <a:gd name="connsiteY6" fmla="*/ 112973 h 457865"/>
                    <a:gd name="connsiteX7" fmla="*/ 451087 w 515902"/>
                    <a:gd name="connsiteY7" fmla="*/ 160598 h 457865"/>
                    <a:gd name="connsiteX8" fmla="*/ 514587 w 515902"/>
                    <a:gd name="connsiteY8" fmla="*/ 230448 h 457865"/>
                    <a:gd name="connsiteX9" fmla="*/ 511412 w 515902"/>
                    <a:gd name="connsiteY9" fmla="*/ 452698 h 457865"/>
                    <a:gd name="connsiteX10" fmla="*/ 9762 w 515902"/>
                    <a:gd name="connsiteY10" fmla="*/ 446348 h 457865"/>
                    <a:gd name="connsiteX0" fmla="*/ 8840 w 514980"/>
                    <a:gd name="connsiteY0" fmla="*/ 446348 h 457865"/>
                    <a:gd name="connsiteX1" fmla="*/ 5665 w 514980"/>
                    <a:gd name="connsiteY1" fmla="*/ 220923 h 457865"/>
                    <a:gd name="connsiteX2" fmla="*/ 62412 w 514980"/>
                    <a:gd name="connsiteY2" fmla="*/ 133367 h 457865"/>
                    <a:gd name="connsiteX3" fmla="*/ 199340 w 514980"/>
                    <a:gd name="connsiteY3" fmla="*/ 119323 h 457865"/>
                    <a:gd name="connsiteX4" fmla="*/ 205690 w 514980"/>
                    <a:gd name="connsiteY4" fmla="*/ 14548 h 457865"/>
                    <a:gd name="connsiteX5" fmla="*/ 316815 w 514980"/>
                    <a:gd name="connsiteY5" fmla="*/ 11373 h 457865"/>
                    <a:gd name="connsiteX6" fmla="*/ 329515 w 514980"/>
                    <a:gd name="connsiteY6" fmla="*/ 112973 h 457865"/>
                    <a:gd name="connsiteX7" fmla="*/ 450165 w 514980"/>
                    <a:gd name="connsiteY7" fmla="*/ 160598 h 457865"/>
                    <a:gd name="connsiteX8" fmla="*/ 513665 w 514980"/>
                    <a:gd name="connsiteY8" fmla="*/ 230448 h 457865"/>
                    <a:gd name="connsiteX9" fmla="*/ 510490 w 514980"/>
                    <a:gd name="connsiteY9" fmla="*/ 452698 h 457865"/>
                    <a:gd name="connsiteX10" fmla="*/ 8840 w 514980"/>
                    <a:gd name="connsiteY10" fmla="*/ 446348 h 457865"/>
                    <a:gd name="connsiteX0" fmla="*/ 8840 w 514980"/>
                    <a:gd name="connsiteY0" fmla="*/ 445015 h 456532"/>
                    <a:gd name="connsiteX1" fmla="*/ 5665 w 514980"/>
                    <a:gd name="connsiteY1" fmla="*/ 219590 h 456532"/>
                    <a:gd name="connsiteX2" fmla="*/ 62412 w 514980"/>
                    <a:gd name="connsiteY2" fmla="*/ 132034 h 456532"/>
                    <a:gd name="connsiteX3" fmla="*/ 186237 w 514980"/>
                    <a:gd name="connsiteY3" fmla="*/ 93934 h 456532"/>
                    <a:gd name="connsiteX4" fmla="*/ 205690 w 514980"/>
                    <a:gd name="connsiteY4" fmla="*/ 13215 h 456532"/>
                    <a:gd name="connsiteX5" fmla="*/ 316815 w 514980"/>
                    <a:gd name="connsiteY5" fmla="*/ 10040 h 456532"/>
                    <a:gd name="connsiteX6" fmla="*/ 329515 w 514980"/>
                    <a:gd name="connsiteY6" fmla="*/ 111640 h 456532"/>
                    <a:gd name="connsiteX7" fmla="*/ 450165 w 514980"/>
                    <a:gd name="connsiteY7" fmla="*/ 159265 h 456532"/>
                    <a:gd name="connsiteX8" fmla="*/ 513665 w 514980"/>
                    <a:gd name="connsiteY8" fmla="*/ 229115 h 456532"/>
                    <a:gd name="connsiteX9" fmla="*/ 510490 w 514980"/>
                    <a:gd name="connsiteY9" fmla="*/ 451365 h 456532"/>
                    <a:gd name="connsiteX10" fmla="*/ 8840 w 514980"/>
                    <a:gd name="connsiteY10" fmla="*/ 445015 h 456532"/>
                    <a:gd name="connsiteX0" fmla="*/ 8840 w 514980"/>
                    <a:gd name="connsiteY0" fmla="*/ 445015 h 456532"/>
                    <a:gd name="connsiteX1" fmla="*/ 5665 w 514980"/>
                    <a:gd name="connsiteY1" fmla="*/ 219590 h 456532"/>
                    <a:gd name="connsiteX2" fmla="*/ 62412 w 514980"/>
                    <a:gd name="connsiteY2" fmla="*/ 132034 h 456532"/>
                    <a:gd name="connsiteX3" fmla="*/ 186237 w 514980"/>
                    <a:gd name="connsiteY3" fmla="*/ 93934 h 456532"/>
                    <a:gd name="connsiteX4" fmla="*/ 205690 w 514980"/>
                    <a:gd name="connsiteY4" fmla="*/ 13215 h 456532"/>
                    <a:gd name="connsiteX5" fmla="*/ 316815 w 514980"/>
                    <a:gd name="connsiteY5" fmla="*/ 10040 h 456532"/>
                    <a:gd name="connsiteX6" fmla="*/ 329515 w 514980"/>
                    <a:gd name="connsiteY6" fmla="*/ 111640 h 456532"/>
                    <a:gd name="connsiteX7" fmla="*/ 461084 w 514980"/>
                    <a:gd name="connsiteY7" fmla="*/ 146143 h 456532"/>
                    <a:gd name="connsiteX8" fmla="*/ 513665 w 514980"/>
                    <a:gd name="connsiteY8" fmla="*/ 229115 h 456532"/>
                    <a:gd name="connsiteX9" fmla="*/ 510490 w 514980"/>
                    <a:gd name="connsiteY9" fmla="*/ 451365 h 456532"/>
                    <a:gd name="connsiteX10" fmla="*/ 8840 w 514980"/>
                    <a:gd name="connsiteY10" fmla="*/ 445015 h 456532"/>
                    <a:gd name="connsiteX0" fmla="*/ 8840 w 514980"/>
                    <a:gd name="connsiteY0" fmla="*/ 444105 h 455622"/>
                    <a:gd name="connsiteX1" fmla="*/ 5665 w 514980"/>
                    <a:gd name="connsiteY1" fmla="*/ 218680 h 455622"/>
                    <a:gd name="connsiteX2" fmla="*/ 62412 w 514980"/>
                    <a:gd name="connsiteY2" fmla="*/ 131124 h 455622"/>
                    <a:gd name="connsiteX3" fmla="*/ 186237 w 514980"/>
                    <a:gd name="connsiteY3" fmla="*/ 93024 h 455622"/>
                    <a:gd name="connsiteX4" fmla="*/ 205690 w 514980"/>
                    <a:gd name="connsiteY4" fmla="*/ 12305 h 455622"/>
                    <a:gd name="connsiteX5" fmla="*/ 316815 w 514980"/>
                    <a:gd name="connsiteY5" fmla="*/ 9130 h 455622"/>
                    <a:gd name="connsiteX6" fmla="*/ 351353 w 514980"/>
                    <a:gd name="connsiteY6" fmla="*/ 97608 h 455622"/>
                    <a:gd name="connsiteX7" fmla="*/ 461084 w 514980"/>
                    <a:gd name="connsiteY7" fmla="*/ 145233 h 455622"/>
                    <a:gd name="connsiteX8" fmla="*/ 513665 w 514980"/>
                    <a:gd name="connsiteY8" fmla="*/ 228205 h 455622"/>
                    <a:gd name="connsiteX9" fmla="*/ 510490 w 514980"/>
                    <a:gd name="connsiteY9" fmla="*/ 450455 h 455622"/>
                    <a:gd name="connsiteX10" fmla="*/ 8840 w 514980"/>
                    <a:gd name="connsiteY10" fmla="*/ 444105 h 455622"/>
                    <a:gd name="connsiteX0" fmla="*/ 8840 w 514980"/>
                    <a:gd name="connsiteY0" fmla="*/ 442755 h 454272"/>
                    <a:gd name="connsiteX1" fmla="*/ 5665 w 514980"/>
                    <a:gd name="connsiteY1" fmla="*/ 217330 h 454272"/>
                    <a:gd name="connsiteX2" fmla="*/ 62412 w 514980"/>
                    <a:gd name="connsiteY2" fmla="*/ 129774 h 454272"/>
                    <a:gd name="connsiteX3" fmla="*/ 186237 w 514980"/>
                    <a:gd name="connsiteY3" fmla="*/ 91674 h 454272"/>
                    <a:gd name="connsiteX4" fmla="*/ 205690 w 514980"/>
                    <a:gd name="connsiteY4" fmla="*/ 10955 h 454272"/>
                    <a:gd name="connsiteX5" fmla="*/ 325550 w 514980"/>
                    <a:gd name="connsiteY5" fmla="*/ 9967 h 454272"/>
                    <a:gd name="connsiteX6" fmla="*/ 351353 w 514980"/>
                    <a:gd name="connsiteY6" fmla="*/ 96258 h 454272"/>
                    <a:gd name="connsiteX7" fmla="*/ 461084 w 514980"/>
                    <a:gd name="connsiteY7" fmla="*/ 143883 h 454272"/>
                    <a:gd name="connsiteX8" fmla="*/ 513665 w 514980"/>
                    <a:gd name="connsiteY8" fmla="*/ 226855 h 454272"/>
                    <a:gd name="connsiteX9" fmla="*/ 510490 w 514980"/>
                    <a:gd name="connsiteY9" fmla="*/ 449105 h 454272"/>
                    <a:gd name="connsiteX10" fmla="*/ 8840 w 514980"/>
                    <a:gd name="connsiteY10" fmla="*/ 442755 h 454272"/>
                    <a:gd name="connsiteX0" fmla="*/ 8840 w 514980"/>
                    <a:gd name="connsiteY0" fmla="*/ 442755 h 454272"/>
                    <a:gd name="connsiteX1" fmla="*/ 5665 w 514980"/>
                    <a:gd name="connsiteY1" fmla="*/ 217330 h 454272"/>
                    <a:gd name="connsiteX2" fmla="*/ 62412 w 514980"/>
                    <a:gd name="connsiteY2" fmla="*/ 129774 h 454272"/>
                    <a:gd name="connsiteX3" fmla="*/ 186237 w 514980"/>
                    <a:gd name="connsiteY3" fmla="*/ 91674 h 454272"/>
                    <a:gd name="connsiteX4" fmla="*/ 205690 w 514980"/>
                    <a:gd name="connsiteY4" fmla="*/ 10955 h 454272"/>
                    <a:gd name="connsiteX5" fmla="*/ 325550 w 514980"/>
                    <a:gd name="connsiteY5" fmla="*/ 9967 h 454272"/>
                    <a:gd name="connsiteX6" fmla="*/ 351353 w 514980"/>
                    <a:gd name="connsiteY6" fmla="*/ 96258 h 454272"/>
                    <a:gd name="connsiteX7" fmla="*/ 461084 w 514980"/>
                    <a:gd name="connsiteY7" fmla="*/ 143883 h 454272"/>
                    <a:gd name="connsiteX8" fmla="*/ 513665 w 514980"/>
                    <a:gd name="connsiteY8" fmla="*/ 226855 h 454272"/>
                    <a:gd name="connsiteX9" fmla="*/ 510490 w 514980"/>
                    <a:gd name="connsiteY9" fmla="*/ 449105 h 454272"/>
                    <a:gd name="connsiteX10" fmla="*/ 8840 w 514980"/>
                    <a:gd name="connsiteY10" fmla="*/ 442755 h 454272"/>
                    <a:gd name="connsiteX0" fmla="*/ 8840 w 514980"/>
                    <a:gd name="connsiteY0" fmla="*/ 442755 h 454272"/>
                    <a:gd name="connsiteX1" fmla="*/ 5665 w 514980"/>
                    <a:gd name="connsiteY1" fmla="*/ 217330 h 454272"/>
                    <a:gd name="connsiteX2" fmla="*/ 62412 w 514980"/>
                    <a:gd name="connsiteY2" fmla="*/ 129774 h 454272"/>
                    <a:gd name="connsiteX3" fmla="*/ 186237 w 514980"/>
                    <a:gd name="connsiteY3" fmla="*/ 91674 h 454272"/>
                    <a:gd name="connsiteX4" fmla="*/ 205690 w 514980"/>
                    <a:gd name="connsiteY4" fmla="*/ 10955 h 454272"/>
                    <a:gd name="connsiteX5" fmla="*/ 325550 w 514980"/>
                    <a:gd name="connsiteY5" fmla="*/ 9967 h 454272"/>
                    <a:gd name="connsiteX6" fmla="*/ 351353 w 514980"/>
                    <a:gd name="connsiteY6" fmla="*/ 96258 h 454272"/>
                    <a:gd name="connsiteX7" fmla="*/ 461084 w 514980"/>
                    <a:gd name="connsiteY7" fmla="*/ 143883 h 454272"/>
                    <a:gd name="connsiteX8" fmla="*/ 513665 w 514980"/>
                    <a:gd name="connsiteY8" fmla="*/ 226855 h 454272"/>
                    <a:gd name="connsiteX9" fmla="*/ 510490 w 514980"/>
                    <a:gd name="connsiteY9" fmla="*/ 449105 h 454272"/>
                    <a:gd name="connsiteX10" fmla="*/ 8840 w 514980"/>
                    <a:gd name="connsiteY10" fmla="*/ 442755 h 454272"/>
                    <a:gd name="connsiteX0" fmla="*/ 8840 w 514980"/>
                    <a:gd name="connsiteY0" fmla="*/ 442755 h 454272"/>
                    <a:gd name="connsiteX1" fmla="*/ 5665 w 514980"/>
                    <a:gd name="connsiteY1" fmla="*/ 217330 h 454272"/>
                    <a:gd name="connsiteX2" fmla="*/ 62412 w 514980"/>
                    <a:gd name="connsiteY2" fmla="*/ 129774 h 454272"/>
                    <a:gd name="connsiteX3" fmla="*/ 186237 w 514980"/>
                    <a:gd name="connsiteY3" fmla="*/ 91674 h 454272"/>
                    <a:gd name="connsiteX4" fmla="*/ 205690 w 514980"/>
                    <a:gd name="connsiteY4" fmla="*/ 10955 h 454272"/>
                    <a:gd name="connsiteX5" fmla="*/ 325550 w 514980"/>
                    <a:gd name="connsiteY5" fmla="*/ 9967 h 454272"/>
                    <a:gd name="connsiteX6" fmla="*/ 351353 w 514980"/>
                    <a:gd name="connsiteY6" fmla="*/ 96258 h 454272"/>
                    <a:gd name="connsiteX7" fmla="*/ 461084 w 514980"/>
                    <a:gd name="connsiteY7" fmla="*/ 143883 h 454272"/>
                    <a:gd name="connsiteX8" fmla="*/ 513665 w 514980"/>
                    <a:gd name="connsiteY8" fmla="*/ 226855 h 454272"/>
                    <a:gd name="connsiteX9" fmla="*/ 510490 w 514980"/>
                    <a:gd name="connsiteY9" fmla="*/ 449105 h 454272"/>
                    <a:gd name="connsiteX10" fmla="*/ 8840 w 514980"/>
                    <a:gd name="connsiteY10" fmla="*/ 442755 h 454272"/>
                    <a:gd name="connsiteX0" fmla="*/ 8840 w 514980"/>
                    <a:gd name="connsiteY0" fmla="*/ 436996 h 448513"/>
                    <a:gd name="connsiteX1" fmla="*/ 5665 w 514980"/>
                    <a:gd name="connsiteY1" fmla="*/ 211571 h 448513"/>
                    <a:gd name="connsiteX2" fmla="*/ 62412 w 514980"/>
                    <a:gd name="connsiteY2" fmla="*/ 124015 h 448513"/>
                    <a:gd name="connsiteX3" fmla="*/ 186237 w 514980"/>
                    <a:gd name="connsiteY3" fmla="*/ 85915 h 448513"/>
                    <a:gd name="connsiteX4" fmla="*/ 205690 w 514980"/>
                    <a:gd name="connsiteY4" fmla="*/ 5196 h 448513"/>
                    <a:gd name="connsiteX5" fmla="*/ 325550 w 514980"/>
                    <a:gd name="connsiteY5" fmla="*/ 4208 h 448513"/>
                    <a:gd name="connsiteX6" fmla="*/ 351353 w 514980"/>
                    <a:gd name="connsiteY6" fmla="*/ 90499 h 448513"/>
                    <a:gd name="connsiteX7" fmla="*/ 461084 w 514980"/>
                    <a:gd name="connsiteY7" fmla="*/ 138124 h 448513"/>
                    <a:gd name="connsiteX8" fmla="*/ 513665 w 514980"/>
                    <a:gd name="connsiteY8" fmla="*/ 221096 h 448513"/>
                    <a:gd name="connsiteX9" fmla="*/ 510490 w 514980"/>
                    <a:gd name="connsiteY9" fmla="*/ 443346 h 448513"/>
                    <a:gd name="connsiteX10" fmla="*/ 8840 w 514980"/>
                    <a:gd name="connsiteY10" fmla="*/ 436996 h 448513"/>
                    <a:gd name="connsiteX0" fmla="*/ 8840 w 514980"/>
                    <a:gd name="connsiteY0" fmla="*/ 436996 h 448513"/>
                    <a:gd name="connsiteX1" fmla="*/ 5665 w 514980"/>
                    <a:gd name="connsiteY1" fmla="*/ 211571 h 448513"/>
                    <a:gd name="connsiteX2" fmla="*/ 62412 w 514980"/>
                    <a:gd name="connsiteY2" fmla="*/ 124015 h 448513"/>
                    <a:gd name="connsiteX3" fmla="*/ 186237 w 514980"/>
                    <a:gd name="connsiteY3" fmla="*/ 85915 h 448513"/>
                    <a:gd name="connsiteX4" fmla="*/ 205690 w 514980"/>
                    <a:gd name="connsiteY4" fmla="*/ 5196 h 448513"/>
                    <a:gd name="connsiteX5" fmla="*/ 325550 w 514980"/>
                    <a:gd name="connsiteY5" fmla="*/ 4208 h 448513"/>
                    <a:gd name="connsiteX6" fmla="*/ 351353 w 514980"/>
                    <a:gd name="connsiteY6" fmla="*/ 90499 h 448513"/>
                    <a:gd name="connsiteX7" fmla="*/ 461084 w 514980"/>
                    <a:gd name="connsiteY7" fmla="*/ 138124 h 448513"/>
                    <a:gd name="connsiteX8" fmla="*/ 513665 w 514980"/>
                    <a:gd name="connsiteY8" fmla="*/ 221096 h 448513"/>
                    <a:gd name="connsiteX9" fmla="*/ 510490 w 514980"/>
                    <a:gd name="connsiteY9" fmla="*/ 443346 h 448513"/>
                    <a:gd name="connsiteX10" fmla="*/ 8840 w 514980"/>
                    <a:gd name="connsiteY10" fmla="*/ 436996 h 448513"/>
                    <a:gd name="connsiteX0" fmla="*/ 8840 w 514980"/>
                    <a:gd name="connsiteY0" fmla="*/ 436996 h 448513"/>
                    <a:gd name="connsiteX1" fmla="*/ 5665 w 514980"/>
                    <a:gd name="connsiteY1" fmla="*/ 211571 h 448513"/>
                    <a:gd name="connsiteX2" fmla="*/ 62412 w 514980"/>
                    <a:gd name="connsiteY2" fmla="*/ 124015 h 448513"/>
                    <a:gd name="connsiteX3" fmla="*/ 186237 w 514980"/>
                    <a:gd name="connsiteY3" fmla="*/ 85915 h 448513"/>
                    <a:gd name="connsiteX4" fmla="*/ 205690 w 514980"/>
                    <a:gd name="connsiteY4" fmla="*/ 5196 h 448513"/>
                    <a:gd name="connsiteX5" fmla="*/ 325550 w 514980"/>
                    <a:gd name="connsiteY5" fmla="*/ 4208 h 448513"/>
                    <a:gd name="connsiteX6" fmla="*/ 351353 w 514980"/>
                    <a:gd name="connsiteY6" fmla="*/ 90499 h 448513"/>
                    <a:gd name="connsiteX7" fmla="*/ 461084 w 514980"/>
                    <a:gd name="connsiteY7" fmla="*/ 138124 h 448513"/>
                    <a:gd name="connsiteX8" fmla="*/ 513665 w 514980"/>
                    <a:gd name="connsiteY8" fmla="*/ 221096 h 448513"/>
                    <a:gd name="connsiteX9" fmla="*/ 510490 w 514980"/>
                    <a:gd name="connsiteY9" fmla="*/ 443346 h 448513"/>
                    <a:gd name="connsiteX10" fmla="*/ 8840 w 514980"/>
                    <a:gd name="connsiteY10" fmla="*/ 436996 h 448513"/>
                    <a:gd name="connsiteX0" fmla="*/ 8840 w 514980"/>
                    <a:gd name="connsiteY0" fmla="*/ 436996 h 448513"/>
                    <a:gd name="connsiteX1" fmla="*/ 5665 w 514980"/>
                    <a:gd name="connsiteY1" fmla="*/ 211571 h 448513"/>
                    <a:gd name="connsiteX2" fmla="*/ 62412 w 514980"/>
                    <a:gd name="connsiteY2" fmla="*/ 124015 h 448513"/>
                    <a:gd name="connsiteX3" fmla="*/ 168766 w 514980"/>
                    <a:gd name="connsiteY3" fmla="*/ 88102 h 448513"/>
                    <a:gd name="connsiteX4" fmla="*/ 205690 w 514980"/>
                    <a:gd name="connsiteY4" fmla="*/ 5196 h 448513"/>
                    <a:gd name="connsiteX5" fmla="*/ 325550 w 514980"/>
                    <a:gd name="connsiteY5" fmla="*/ 4208 h 448513"/>
                    <a:gd name="connsiteX6" fmla="*/ 351353 w 514980"/>
                    <a:gd name="connsiteY6" fmla="*/ 90499 h 448513"/>
                    <a:gd name="connsiteX7" fmla="*/ 461084 w 514980"/>
                    <a:gd name="connsiteY7" fmla="*/ 138124 h 448513"/>
                    <a:gd name="connsiteX8" fmla="*/ 513665 w 514980"/>
                    <a:gd name="connsiteY8" fmla="*/ 221096 h 448513"/>
                    <a:gd name="connsiteX9" fmla="*/ 510490 w 514980"/>
                    <a:gd name="connsiteY9" fmla="*/ 443346 h 448513"/>
                    <a:gd name="connsiteX10" fmla="*/ 8840 w 514980"/>
                    <a:gd name="connsiteY10" fmla="*/ 436996 h 448513"/>
                    <a:gd name="connsiteX0" fmla="*/ 8840 w 514980"/>
                    <a:gd name="connsiteY0" fmla="*/ 440628 h 452145"/>
                    <a:gd name="connsiteX1" fmla="*/ 5665 w 514980"/>
                    <a:gd name="connsiteY1" fmla="*/ 215203 h 452145"/>
                    <a:gd name="connsiteX2" fmla="*/ 62412 w 514980"/>
                    <a:gd name="connsiteY2" fmla="*/ 127647 h 452145"/>
                    <a:gd name="connsiteX3" fmla="*/ 168766 w 514980"/>
                    <a:gd name="connsiteY3" fmla="*/ 91734 h 452145"/>
                    <a:gd name="connsiteX4" fmla="*/ 179484 w 514980"/>
                    <a:gd name="connsiteY4" fmla="*/ 4454 h 452145"/>
                    <a:gd name="connsiteX5" fmla="*/ 325550 w 514980"/>
                    <a:gd name="connsiteY5" fmla="*/ 7840 h 452145"/>
                    <a:gd name="connsiteX6" fmla="*/ 351353 w 514980"/>
                    <a:gd name="connsiteY6" fmla="*/ 94131 h 452145"/>
                    <a:gd name="connsiteX7" fmla="*/ 461084 w 514980"/>
                    <a:gd name="connsiteY7" fmla="*/ 141756 h 452145"/>
                    <a:gd name="connsiteX8" fmla="*/ 513665 w 514980"/>
                    <a:gd name="connsiteY8" fmla="*/ 224728 h 452145"/>
                    <a:gd name="connsiteX9" fmla="*/ 510490 w 514980"/>
                    <a:gd name="connsiteY9" fmla="*/ 446978 h 452145"/>
                    <a:gd name="connsiteX10" fmla="*/ 8840 w 514980"/>
                    <a:gd name="connsiteY10" fmla="*/ 440628 h 452145"/>
                    <a:gd name="connsiteX0" fmla="*/ 8840 w 514980"/>
                    <a:gd name="connsiteY0" fmla="*/ 442422 h 453939"/>
                    <a:gd name="connsiteX1" fmla="*/ 5665 w 514980"/>
                    <a:gd name="connsiteY1" fmla="*/ 216997 h 453939"/>
                    <a:gd name="connsiteX2" fmla="*/ 62412 w 514980"/>
                    <a:gd name="connsiteY2" fmla="*/ 129441 h 453939"/>
                    <a:gd name="connsiteX3" fmla="*/ 168766 w 514980"/>
                    <a:gd name="connsiteY3" fmla="*/ 93528 h 453939"/>
                    <a:gd name="connsiteX4" fmla="*/ 179484 w 514980"/>
                    <a:gd name="connsiteY4" fmla="*/ 6248 h 453939"/>
                    <a:gd name="connsiteX5" fmla="*/ 351756 w 514980"/>
                    <a:gd name="connsiteY5" fmla="*/ 886 h 453939"/>
                    <a:gd name="connsiteX6" fmla="*/ 351353 w 514980"/>
                    <a:gd name="connsiteY6" fmla="*/ 95925 h 453939"/>
                    <a:gd name="connsiteX7" fmla="*/ 461084 w 514980"/>
                    <a:gd name="connsiteY7" fmla="*/ 143550 h 453939"/>
                    <a:gd name="connsiteX8" fmla="*/ 513665 w 514980"/>
                    <a:gd name="connsiteY8" fmla="*/ 226522 h 453939"/>
                    <a:gd name="connsiteX9" fmla="*/ 510490 w 514980"/>
                    <a:gd name="connsiteY9" fmla="*/ 448772 h 453939"/>
                    <a:gd name="connsiteX10" fmla="*/ 8840 w 514980"/>
                    <a:gd name="connsiteY10" fmla="*/ 442422 h 453939"/>
                    <a:gd name="connsiteX0" fmla="*/ 8840 w 514980"/>
                    <a:gd name="connsiteY0" fmla="*/ 442422 h 453939"/>
                    <a:gd name="connsiteX1" fmla="*/ 5665 w 514980"/>
                    <a:gd name="connsiteY1" fmla="*/ 216997 h 453939"/>
                    <a:gd name="connsiteX2" fmla="*/ 62412 w 514980"/>
                    <a:gd name="connsiteY2" fmla="*/ 129441 h 453939"/>
                    <a:gd name="connsiteX3" fmla="*/ 168766 w 514980"/>
                    <a:gd name="connsiteY3" fmla="*/ 93528 h 453939"/>
                    <a:gd name="connsiteX4" fmla="*/ 179484 w 514980"/>
                    <a:gd name="connsiteY4" fmla="*/ 6248 h 453939"/>
                    <a:gd name="connsiteX5" fmla="*/ 351756 w 514980"/>
                    <a:gd name="connsiteY5" fmla="*/ 886 h 453939"/>
                    <a:gd name="connsiteX6" fmla="*/ 366640 w 514980"/>
                    <a:gd name="connsiteY6" fmla="*/ 100299 h 453939"/>
                    <a:gd name="connsiteX7" fmla="*/ 461084 w 514980"/>
                    <a:gd name="connsiteY7" fmla="*/ 143550 h 453939"/>
                    <a:gd name="connsiteX8" fmla="*/ 513665 w 514980"/>
                    <a:gd name="connsiteY8" fmla="*/ 226522 h 453939"/>
                    <a:gd name="connsiteX9" fmla="*/ 510490 w 514980"/>
                    <a:gd name="connsiteY9" fmla="*/ 448772 h 453939"/>
                    <a:gd name="connsiteX10" fmla="*/ 8840 w 514980"/>
                    <a:gd name="connsiteY10" fmla="*/ 442422 h 453939"/>
                    <a:gd name="connsiteX0" fmla="*/ 8840 w 514980"/>
                    <a:gd name="connsiteY0" fmla="*/ 442422 h 450476"/>
                    <a:gd name="connsiteX1" fmla="*/ 5665 w 514980"/>
                    <a:gd name="connsiteY1" fmla="*/ 216997 h 450476"/>
                    <a:gd name="connsiteX2" fmla="*/ 62412 w 514980"/>
                    <a:gd name="connsiteY2" fmla="*/ 129441 h 450476"/>
                    <a:gd name="connsiteX3" fmla="*/ 168766 w 514980"/>
                    <a:gd name="connsiteY3" fmla="*/ 93528 h 450476"/>
                    <a:gd name="connsiteX4" fmla="*/ 179484 w 514980"/>
                    <a:gd name="connsiteY4" fmla="*/ 6248 h 450476"/>
                    <a:gd name="connsiteX5" fmla="*/ 351756 w 514980"/>
                    <a:gd name="connsiteY5" fmla="*/ 886 h 450476"/>
                    <a:gd name="connsiteX6" fmla="*/ 366640 w 514980"/>
                    <a:gd name="connsiteY6" fmla="*/ 100299 h 450476"/>
                    <a:gd name="connsiteX7" fmla="*/ 461084 w 514980"/>
                    <a:gd name="connsiteY7" fmla="*/ 143550 h 450476"/>
                    <a:gd name="connsiteX8" fmla="*/ 513665 w 514980"/>
                    <a:gd name="connsiteY8" fmla="*/ 226522 h 450476"/>
                    <a:gd name="connsiteX9" fmla="*/ 510490 w 514980"/>
                    <a:gd name="connsiteY9" fmla="*/ 448772 h 450476"/>
                    <a:gd name="connsiteX10" fmla="*/ 8840 w 514980"/>
                    <a:gd name="connsiteY10" fmla="*/ 442422 h 450476"/>
                    <a:gd name="connsiteX0" fmla="*/ 8840 w 514980"/>
                    <a:gd name="connsiteY0" fmla="*/ 442422 h 448772"/>
                    <a:gd name="connsiteX1" fmla="*/ 5665 w 514980"/>
                    <a:gd name="connsiteY1" fmla="*/ 216997 h 448772"/>
                    <a:gd name="connsiteX2" fmla="*/ 62412 w 514980"/>
                    <a:gd name="connsiteY2" fmla="*/ 129441 h 448772"/>
                    <a:gd name="connsiteX3" fmla="*/ 168766 w 514980"/>
                    <a:gd name="connsiteY3" fmla="*/ 93528 h 448772"/>
                    <a:gd name="connsiteX4" fmla="*/ 179484 w 514980"/>
                    <a:gd name="connsiteY4" fmla="*/ 6248 h 448772"/>
                    <a:gd name="connsiteX5" fmla="*/ 351756 w 514980"/>
                    <a:gd name="connsiteY5" fmla="*/ 886 h 448772"/>
                    <a:gd name="connsiteX6" fmla="*/ 366640 w 514980"/>
                    <a:gd name="connsiteY6" fmla="*/ 100299 h 448772"/>
                    <a:gd name="connsiteX7" fmla="*/ 461084 w 514980"/>
                    <a:gd name="connsiteY7" fmla="*/ 143550 h 448772"/>
                    <a:gd name="connsiteX8" fmla="*/ 513665 w 514980"/>
                    <a:gd name="connsiteY8" fmla="*/ 226522 h 448772"/>
                    <a:gd name="connsiteX9" fmla="*/ 510490 w 514980"/>
                    <a:gd name="connsiteY9" fmla="*/ 448772 h 448772"/>
                    <a:gd name="connsiteX10" fmla="*/ 8840 w 514980"/>
                    <a:gd name="connsiteY10" fmla="*/ 442422 h 448772"/>
                    <a:gd name="connsiteX0" fmla="*/ 8840 w 514980"/>
                    <a:gd name="connsiteY0" fmla="*/ 442422 h 448772"/>
                    <a:gd name="connsiteX1" fmla="*/ 5665 w 514980"/>
                    <a:gd name="connsiteY1" fmla="*/ 216997 h 448772"/>
                    <a:gd name="connsiteX2" fmla="*/ 62412 w 514980"/>
                    <a:gd name="connsiteY2" fmla="*/ 129441 h 448772"/>
                    <a:gd name="connsiteX3" fmla="*/ 168766 w 514980"/>
                    <a:gd name="connsiteY3" fmla="*/ 93528 h 448772"/>
                    <a:gd name="connsiteX4" fmla="*/ 179484 w 514980"/>
                    <a:gd name="connsiteY4" fmla="*/ 6248 h 448772"/>
                    <a:gd name="connsiteX5" fmla="*/ 351756 w 514980"/>
                    <a:gd name="connsiteY5" fmla="*/ 886 h 448772"/>
                    <a:gd name="connsiteX6" fmla="*/ 357905 w 514980"/>
                    <a:gd name="connsiteY6" fmla="*/ 98112 h 448772"/>
                    <a:gd name="connsiteX7" fmla="*/ 461084 w 514980"/>
                    <a:gd name="connsiteY7" fmla="*/ 143550 h 448772"/>
                    <a:gd name="connsiteX8" fmla="*/ 513665 w 514980"/>
                    <a:gd name="connsiteY8" fmla="*/ 226522 h 448772"/>
                    <a:gd name="connsiteX9" fmla="*/ 510490 w 514980"/>
                    <a:gd name="connsiteY9" fmla="*/ 448772 h 448772"/>
                    <a:gd name="connsiteX10" fmla="*/ 8840 w 514980"/>
                    <a:gd name="connsiteY10" fmla="*/ 442422 h 448772"/>
                    <a:gd name="connsiteX0" fmla="*/ 8840 w 514980"/>
                    <a:gd name="connsiteY0" fmla="*/ 442422 h 448772"/>
                    <a:gd name="connsiteX1" fmla="*/ 5665 w 514980"/>
                    <a:gd name="connsiteY1" fmla="*/ 216997 h 448772"/>
                    <a:gd name="connsiteX2" fmla="*/ 62412 w 514980"/>
                    <a:gd name="connsiteY2" fmla="*/ 129441 h 448772"/>
                    <a:gd name="connsiteX3" fmla="*/ 168766 w 514980"/>
                    <a:gd name="connsiteY3" fmla="*/ 93528 h 448772"/>
                    <a:gd name="connsiteX4" fmla="*/ 179484 w 514980"/>
                    <a:gd name="connsiteY4" fmla="*/ 6248 h 448772"/>
                    <a:gd name="connsiteX5" fmla="*/ 351756 w 514980"/>
                    <a:gd name="connsiteY5" fmla="*/ 886 h 448772"/>
                    <a:gd name="connsiteX6" fmla="*/ 357905 w 514980"/>
                    <a:gd name="connsiteY6" fmla="*/ 98112 h 448772"/>
                    <a:gd name="connsiteX7" fmla="*/ 454533 w 514980"/>
                    <a:gd name="connsiteY7" fmla="*/ 136989 h 448772"/>
                    <a:gd name="connsiteX8" fmla="*/ 513665 w 514980"/>
                    <a:gd name="connsiteY8" fmla="*/ 226522 h 448772"/>
                    <a:gd name="connsiteX9" fmla="*/ 510490 w 514980"/>
                    <a:gd name="connsiteY9" fmla="*/ 448772 h 448772"/>
                    <a:gd name="connsiteX10" fmla="*/ 8840 w 514980"/>
                    <a:gd name="connsiteY10" fmla="*/ 442422 h 448772"/>
                    <a:gd name="connsiteX0" fmla="*/ 8840 w 514980"/>
                    <a:gd name="connsiteY0" fmla="*/ 442422 h 448772"/>
                    <a:gd name="connsiteX1" fmla="*/ 5665 w 514980"/>
                    <a:gd name="connsiteY1" fmla="*/ 216997 h 448772"/>
                    <a:gd name="connsiteX2" fmla="*/ 62412 w 514980"/>
                    <a:gd name="connsiteY2" fmla="*/ 129441 h 448772"/>
                    <a:gd name="connsiteX3" fmla="*/ 168766 w 514980"/>
                    <a:gd name="connsiteY3" fmla="*/ 93528 h 448772"/>
                    <a:gd name="connsiteX4" fmla="*/ 179484 w 514980"/>
                    <a:gd name="connsiteY4" fmla="*/ 6248 h 448772"/>
                    <a:gd name="connsiteX5" fmla="*/ 351756 w 514980"/>
                    <a:gd name="connsiteY5" fmla="*/ 886 h 448772"/>
                    <a:gd name="connsiteX6" fmla="*/ 357905 w 514980"/>
                    <a:gd name="connsiteY6" fmla="*/ 98112 h 448772"/>
                    <a:gd name="connsiteX7" fmla="*/ 454533 w 514980"/>
                    <a:gd name="connsiteY7" fmla="*/ 136989 h 448772"/>
                    <a:gd name="connsiteX8" fmla="*/ 513665 w 514980"/>
                    <a:gd name="connsiteY8" fmla="*/ 226522 h 448772"/>
                    <a:gd name="connsiteX9" fmla="*/ 510490 w 514980"/>
                    <a:gd name="connsiteY9" fmla="*/ 448772 h 448772"/>
                    <a:gd name="connsiteX10" fmla="*/ 8840 w 514980"/>
                    <a:gd name="connsiteY10" fmla="*/ 442422 h 448772"/>
                    <a:gd name="connsiteX0" fmla="*/ 8840 w 514980"/>
                    <a:gd name="connsiteY0" fmla="*/ 442422 h 448772"/>
                    <a:gd name="connsiteX1" fmla="*/ 5665 w 514980"/>
                    <a:gd name="connsiteY1" fmla="*/ 216997 h 448772"/>
                    <a:gd name="connsiteX2" fmla="*/ 62412 w 514980"/>
                    <a:gd name="connsiteY2" fmla="*/ 129441 h 448772"/>
                    <a:gd name="connsiteX3" fmla="*/ 168766 w 514980"/>
                    <a:gd name="connsiteY3" fmla="*/ 93528 h 448772"/>
                    <a:gd name="connsiteX4" fmla="*/ 179484 w 514980"/>
                    <a:gd name="connsiteY4" fmla="*/ 6248 h 448772"/>
                    <a:gd name="connsiteX5" fmla="*/ 351756 w 514980"/>
                    <a:gd name="connsiteY5" fmla="*/ 886 h 448772"/>
                    <a:gd name="connsiteX6" fmla="*/ 357905 w 514980"/>
                    <a:gd name="connsiteY6" fmla="*/ 98112 h 448772"/>
                    <a:gd name="connsiteX7" fmla="*/ 454533 w 514980"/>
                    <a:gd name="connsiteY7" fmla="*/ 136989 h 448772"/>
                    <a:gd name="connsiteX8" fmla="*/ 513665 w 514980"/>
                    <a:gd name="connsiteY8" fmla="*/ 226522 h 448772"/>
                    <a:gd name="connsiteX9" fmla="*/ 510490 w 514980"/>
                    <a:gd name="connsiteY9" fmla="*/ 448772 h 448772"/>
                    <a:gd name="connsiteX10" fmla="*/ 8840 w 514980"/>
                    <a:gd name="connsiteY10" fmla="*/ 442422 h 448772"/>
                    <a:gd name="connsiteX0" fmla="*/ 8840 w 514980"/>
                    <a:gd name="connsiteY0" fmla="*/ 442422 h 448772"/>
                    <a:gd name="connsiteX1" fmla="*/ 5665 w 514980"/>
                    <a:gd name="connsiteY1" fmla="*/ 216997 h 448772"/>
                    <a:gd name="connsiteX2" fmla="*/ 62412 w 514980"/>
                    <a:gd name="connsiteY2" fmla="*/ 129441 h 448772"/>
                    <a:gd name="connsiteX3" fmla="*/ 168766 w 514980"/>
                    <a:gd name="connsiteY3" fmla="*/ 93528 h 448772"/>
                    <a:gd name="connsiteX4" fmla="*/ 179484 w 514980"/>
                    <a:gd name="connsiteY4" fmla="*/ 6248 h 448772"/>
                    <a:gd name="connsiteX5" fmla="*/ 351756 w 514980"/>
                    <a:gd name="connsiteY5" fmla="*/ 886 h 448772"/>
                    <a:gd name="connsiteX6" fmla="*/ 353538 w 514980"/>
                    <a:gd name="connsiteY6" fmla="*/ 98112 h 448772"/>
                    <a:gd name="connsiteX7" fmla="*/ 454533 w 514980"/>
                    <a:gd name="connsiteY7" fmla="*/ 136989 h 448772"/>
                    <a:gd name="connsiteX8" fmla="*/ 513665 w 514980"/>
                    <a:gd name="connsiteY8" fmla="*/ 226522 h 448772"/>
                    <a:gd name="connsiteX9" fmla="*/ 510490 w 514980"/>
                    <a:gd name="connsiteY9" fmla="*/ 448772 h 448772"/>
                    <a:gd name="connsiteX10" fmla="*/ 8840 w 514980"/>
                    <a:gd name="connsiteY10" fmla="*/ 442422 h 448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14980" h="448772">
                      <a:moveTo>
                        <a:pt x="8840" y="442422"/>
                      </a:moveTo>
                      <a:cubicBezTo>
                        <a:pt x="-1214" y="377864"/>
                        <a:pt x="-3264" y="269160"/>
                        <a:pt x="5665" y="216997"/>
                      </a:cubicBezTo>
                      <a:cubicBezTo>
                        <a:pt x="14594" y="164834"/>
                        <a:pt x="35229" y="150019"/>
                        <a:pt x="62412" y="129441"/>
                      </a:cubicBezTo>
                      <a:cubicBezTo>
                        <a:pt x="89595" y="108863"/>
                        <a:pt x="149254" y="114060"/>
                        <a:pt x="168766" y="93528"/>
                      </a:cubicBezTo>
                      <a:cubicBezTo>
                        <a:pt x="188278" y="72996"/>
                        <a:pt x="189023" y="43922"/>
                        <a:pt x="179484" y="6248"/>
                      </a:cubicBezTo>
                      <a:cubicBezTo>
                        <a:pt x="202703" y="-7370"/>
                        <a:pt x="323111" y="6352"/>
                        <a:pt x="351756" y="886"/>
                      </a:cubicBezTo>
                      <a:cubicBezTo>
                        <a:pt x="354195" y="39159"/>
                        <a:pt x="342961" y="75428"/>
                        <a:pt x="353538" y="98112"/>
                      </a:cubicBezTo>
                      <a:cubicBezTo>
                        <a:pt x="364115" y="120796"/>
                        <a:pt x="427845" y="115587"/>
                        <a:pt x="454533" y="136989"/>
                      </a:cubicBezTo>
                      <a:cubicBezTo>
                        <a:pt x="481221" y="158391"/>
                        <a:pt x="503611" y="177839"/>
                        <a:pt x="513665" y="226522"/>
                      </a:cubicBezTo>
                      <a:cubicBezTo>
                        <a:pt x="516840" y="276264"/>
                        <a:pt x="513665" y="323360"/>
                        <a:pt x="510490" y="448772"/>
                      </a:cubicBezTo>
                      <a:lnTo>
                        <a:pt x="8840" y="442422"/>
                      </a:lnTo>
                      <a:close/>
                    </a:path>
                  </a:pathLst>
                </a:custGeom>
                <a:grpFill/>
                <a:ln w="571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244" name="Oval 243">
                  <a:extLst>
                    <a:ext uri="{FF2B5EF4-FFF2-40B4-BE49-F238E27FC236}">
                      <a16:creationId xmlns:a16="http://schemas.microsoft.com/office/drawing/2014/main" id="{4C871E8C-78D1-B04F-B76C-66DE27F1264A}"/>
                    </a:ext>
                  </a:extLst>
                </p:cNvPr>
                <p:cNvSpPr/>
                <p:nvPr/>
              </p:nvSpPr>
              <p:spPr>
                <a:xfrm>
                  <a:off x="1971467" y="3508300"/>
                  <a:ext cx="282088" cy="336550"/>
                </a:xfrm>
                <a:prstGeom prst="ellipse">
                  <a:avLst/>
                </a:prstGeom>
                <a:grpFill/>
                <a:ln w="571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grpSp>
          <p:grpSp>
            <p:nvGrpSpPr>
              <p:cNvPr id="240" name="Group 239">
                <a:extLst>
                  <a:ext uri="{FF2B5EF4-FFF2-40B4-BE49-F238E27FC236}">
                    <a16:creationId xmlns:a16="http://schemas.microsoft.com/office/drawing/2014/main" id="{7F2A1911-E31E-B546-9617-BB079E9AFB24}"/>
                  </a:ext>
                </a:extLst>
              </p:cNvPr>
              <p:cNvGrpSpPr/>
              <p:nvPr/>
            </p:nvGrpSpPr>
            <p:grpSpPr>
              <a:xfrm>
                <a:off x="1553120" y="3388644"/>
                <a:ext cx="633802" cy="938165"/>
                <a:chOff x="1806977" y="3500843"/>
                <a:chExt cx="539989" cy="738018"/>
              </a:xfrm>
            </p:grpSpPr>
            <p:sp>
              <p:nvSpPr>
                <p:cNvPr id="241" name="Freeform 240">
                  <a:extLst>
                    <a:ext uri="{FF2B5EF4-FFF2-40B4-BE49-F238E27FC236}">
                      <a16:creationId xmlns:a16="http://schemas.microsoft.com/office/drawing/2014/main" id="{5BFD326E-7BEF-2141-86F0-55E98399E651}"/>
                    </a:ext>
                  </a:extLst>
                </p:cNvPr>
                <p:cNvSpPr/>
                <p:nvPr/>
              </p:nvSpPr>
              <p:spPr>
                <a:xfrm>
                  <a:off x="1806977" y="3782373"/>
                  <a:ext cx="539989" cy="456488"/>
                </a:xfrm>
                <a:custGeom>
                  <a:avLst/>
                  <a:gdLst>
                    <a:gd name="connsiteX0" fmla="*/ 36807 w 576731"/>
                    <a:gd name="connsiteY0" fmla="*/ 449906 h 505924"/>
                    <a:gd name="connsiteX1" fmla="*/ 39982 w 576731"/>
                    <a:gd name="connsiteY1" fmla="*/ 214956 h 505924"/>
                    <a:gd name="connsiteX2" fmla="*/ 55857 w 576731"/>
                    <a:gd name="connsiteY2" fmla="*/ 176856 h 505924"/>
                    <a:gd name="connsiteX3" fmla="*/ 103482 w 576731"/>
                    <a:gd name="connsiteY3" fmla="*/ 160981 h 505924"/>
                    <a:gd name="connsiteX4" fmla="*/ 205082 w 576731"/>
                    <a:gd name="connsiteY4" fmla="*/ 154631 h 505924"/>
                    <a:gd name="connsiteX5" fmla="*/ 230482 w 576731"/>
                    <a:gd name="connsiteY5" fmla="*/ 151456 h 505924"/>
                    <a:gd name="connsiteX6" fmla="*/ 233657 w 576731"/>
                    <a:gd name="connsiteY6" fmla="*/ 18106 h 505924"/>
                    <a:gd name="connsiteX7" fmla="*/ 344782 w 576731"/>
                    <a:gd name="connsiteY7" fmla="*/ 14931 h 505924"/>
                    <a:gd name="connsiteX8" fmla="*/ 344782 w 576731"/>
                    <a:gd name="connsiteY8" fmla="*/ 145106 h 505924"/>
                    <a:gd name="connsiteX9" fmla="*/ 386057 w 576731"/>
                    <a:gd name="connsiteY9" fmla="*/ 151456 h 505924"/>
                    <a:gd name="connsiteX10" fmla="*/ 478132 w 576731"/>
                    <a:gd name="connsiteY10" fmla="*/ 164156 h 505924"/>
                    <a:gd name="connsiteX11" fmla="*/ 519407 w 576731"/>
                    <a:gd name="connsiteY11" fmla="*/ 189556 h 505924"/>
                    <a:gd name="connsiteX12" fmla="*/ 541632 w 576731"/>
                    <a:gd name="connsiteY12" fmla="*/ 234006 h 505924"/>
                    <a:gd name="connsiteX13" fmla="*/ 538457 w 576731"/>
                    <a:gd name="connsiteY13" fmla="*/ 488006 h 505924"/>
                    <a:gd name="connsiteX14" fmla="*/ 36807 w 576731"/>
                    <a:gd name="connsiteY14" fmla="*/ 449906 h 505924"/>
                    <a:gd name="connsiteX0" fmla="*/ 5769 w 545693"/>
                    <a:gd name="connsiteY0" fmla="*/ 449906 h 505924"/>
                    <a:gd name="connsiteX1" fmla="*/ 8944 w 545693"/>
                    <a:gd name="connsiteY1" fmla="*/ 214956 h 505924"/>
                    <a:gd name="connsiteX2" fmla="*/ 24819 w 545693"/>
                    <a:gd name="connsiteY2" fmla="*/ 176856 h 505924"/>
                    <a:gd name="connsiteX3" fmla="*/ 72444 w 545693"/>
                    <a:gd name="connsiteY3" fmla="*/ 160981 h 505924"/>
                    <a:gd name="connsiteX4" fmla="*/ 174044 w 545693"/>
                    <a:gd name="connsiteY4" fmla="*/ 154631 h 505924"/>
                    <a:gd name="connsiteX5" fmla="*/ 199444 w 545693"/>
                    <a:gd name="connsiteY5" fmla="*/ 151456 h 505924"/>
                    <a:gd name="connsiteX6" fmla="*/ 202619 w 545693"/>
                    <a:gd name="connsiteY6" fmla="*/ 18106 h 505924"/>
                    <a:gd name="connsiteX7" fmla="*/ 313744 w 545693"/>
                    <a:gd name="connsiteY7" fmla="*/ 14931 h 505924"/>
                    <a:gd name="connsiteX8" fmla="*/ 313744 w 545693"/>
                    <a:gd name="connsiteY8" fmla="*/ 145106 h 505924"/>
                    <a:gd name="connsiteX9" fmla="*/ 355019 w 545693"/>
                    <a:gd name="connsiteY9" fmla="*/ 151456 h 505924"/>
                    <a:gd name="connsiteX10" fmla="*/ 447094 w 545693"/>
                    <a:gd name="connsiteY10" fmla="*/ 164156 h 505924"/>
                    <a:gd name="connsiteX11" fmla="*/ 488369 w 545693"/>
                    <a:gd name="connsiteY11" fmla="*/ 189556 h 505924"/>
                    <a:gd name="connsiteX12" fmla="*/ 510594 w 545693"/>
                    <a:gd name="connsiteY12" fmla="*/ 234006 h 505924"/>
                    <a:gd name="connsiteX13" fmla="*/ 507419 w 545693"/>
                    <a:gd name="connsiteY13" fmla="*/ 488006 h 505924"/>
                    <a:gd name="connsiteX14" fmla="*/ 5769 w 545693"/>
                    <a:gd name="connsiteY14" fmla="*/ 449906 h 505924"/>
                    <a:gd name="connsiteX0" fmla="*/ 21286 w 561210"/>
                    <a:gd name="connsiteY0" fmla="*/ 449906 h 508025"/>
                    <a:gd name="connsiteX1" fmla="*/ 24461 w 561210"/>
                    <a:gd name="connsiteY1" fmla="*/ 214956 h 508025"/>
                    <a:gd name="connsiteX2" fmla="*/ 40336 w 561210"/>
                    <a:gd name="connsiteY2" fmla="*/ 176856 h 508025"/>
                    <a:gd name="connsiteX3" fmla="*/ 87961 w 561210"/>
                    <a:gd name="connsiteY3" fmla="*/ 160981 h 508025"/>
                    <a:gd name="connsiteX4" fmla="*/ 189561 w 561210"/>
                    <a:gd name="connsiteY4" fmla="*/ 154631 h 508025"/>
                    <a:gd name="connsiteX5" fmla="*/ 214961 w 561210"/>
                    <a:gd name="connsiteY5" fmla="*/ 151456 h 508025"/>
                    <a:gd name="connsiteX6" fmla="*/ 218136 w 561210"/>
                    <a:gd name="connsiteY6" fmla="*/ 18106 h 508025"/>
                    <a:gd name="connsiteX7" fmla="*/ 329261 w 561210"/>
                    <a:gd name="connsiteY7" fmla="*/ 14931 h 508025"/>
                    <a:gd name="connsiteX8" fmla="*/ 329261 w 561210"/>
                    <a:gd name="connsiteY8" fmla="*/ 145106 h 508025"/>
                    <a:gd name="connsiteX9" fmla="*/ 370536 w 561210"/>
                    <a:gd name="connsiteY9" fmla="*/ 151456 h 508025"/>
                    <a:gd name="connsiteX10" fmla="*/ 462611 w 561210"/>
                    <a:gd name="connsiteY10" fmla="*/ 164156 h 508025"/>
                    <a:gd name="connsiteX11" fmla="*/ 503886 w 561210"/>
                    <a:gd name="connsiteY11" fmla="*/ 189556 h 508025"/>
                    <a:gd name="connsiteX12" fmla="*/ 526111 w 561210"/>
                    <a:gd name="connsiteY12" fmla="*/ 234006 h 508025"/>
                    <a:gd name="connsiteX13" fmla="*/ 522936 w 561210"/>
                    <a:gd name="connsiteY13" fmla="*/ 488006 h 508025"/>
                    <a:gd name="connsiteX14" fmla="*/ 21286 w 561210"/>
                    <a:gd name="connsiteY14" fmla="*/ 449906 h 508025"/>
                    <a:gd name="connsiteX0" fmla="*/ 21286 w 561210"/>
                    <a:gd name="connsiteY0" fmla="*/ 449906 h 508025"/>
                    <a:gd name="connsiteX1" fmla="*/ 24461 w 561210"/>
                    <a:gd name="connsiteY1" fmla="*/ 214956 h 508025"/>
                    <a:gd name="connsiteX2" fmla="*/ 40336 w 561210"/>
                    <a:gd name="connsiteY2" fmla="*/ 176856 h 508025"/>
                    <a:gd name="connsiteX3" fmla="*/ 87961 w 561210"/>
                    <a:gd name="connsiteY3" fmla="*/ 160981 h 508025"/>
                    <a:gd name="connsiteX4" fmla="*/ 189561 w 561210"/>
                    <a:gd name="connsiteY4" fmla="*/ 154631 h 508025"/>
                    <a:gd name="connsiteX5" fmla="*/ 214961 w 561210"/>
                    <a:gd name="connsiteY5" fmla="*/ 151456 h 508025"/>
                    <a:gd name="connsiteX6" fmla="*/ 218136 w 561210"/>
                    <a:gd name="connsiteY6" fmla="*/ 18106 h 508025"/>
                    <a:gd name="connsiteX7" fmla="*/ 329261 w 561210"/>
                    <a:gd name="connsiteY7" fmla="*/ 14931 h 508025"/>
                    <a:gd name="connsiteX8" fmla="*/ 329261 w 561210"/>
                    <a:gd name="connsiteY8" fmla="*/ 145106 h 508025"/>
                    <a:gd name="connsiteX9" fmla="*/ 370536 w 561210"/>
                    <a:gd name="connsiteY9" fmla="*/ 151456 h 508025"/>
                    <a:gd name="connsiteX10" fmla="*/ 462611 w 561210"/>
                    <a:gd name="connsiteY10" fmla="*/ 164156 h 508025"/>
                    <a:gd name="connsiteX11" fmla="*/ 503886 w 561210"/>
                    <a:gd name="connsiteY11" fmla="*/ 189556 h 508025"/>
                    <a:gd name="connsiteX12" fmla="*/ 526111 w 561210"/>
                    <a:gd name="connsiteY12" fmla="*/ 234006 h 508025"/>
                    <a:gd name="connsiteX13" fmla="*/ 522936 w 561210"/>
                    <a:gd name="connsiteY13" fmla="*/ 488006 h 508025"/>
                    <a:gd name="connsiteX14" fmla="*/ 21286 w 561210"/>
                    <a:gd name="connsiteY14" fmla="*/ 449906 h 508025"/>
                    <a:gd name="connsiteX0" fmla="*/ 4360 w 544284"/>
                    <a:gd name="connsiteY0" fmla="*/ 449906 h 508025"/>
                    <a:gd name="connsiteX1" fmla="*/ 7535 w 544284"/>
                    <a:gd name="connsiteY1" fmla="*/ 214956 h 508025"/>
                    <a:gd name="connsiteX2" fmla="*/ 23410 w 544284"/>
                    <a:gd name="connsiteY2" fmla="*/ 176856 h 508025"/>
                    <a:gd name="connsiteX3" fmla="*/ 71035 w 544284"/>
                    <a:gd name="connsiteY3" fmla="*/ 160981 h 508025"/>
                    <a:gd name="connsiteX4" fmla="*/ 172635 w 544284"/>
                    <a:gd name="connsiteY4" fmla="*/ 154631 h 508025"/>
                    <a:gd name="connsiteX5" fmla="*/ 198035 w 544284"/>
                    <a:gd name="connsiteY5" fmla="*/ 151456 h 508025"/>
                    <a:gd name="connsiteX6" fmla="*/ 201210 w 544284"/>
                    <a:gd name="connsiteY6" fmla="*/ 18106 h 508025"/>
                    <a:gd name="connsiteX7" fmla="*/ 312335 w 544284"/>
                    <a:gd name="connsiteY7" fmla="*/ 14931 h 508025"/>
                    <a:gd name="connsiteX8" fmla="*/ 312335 w 544284"/>
                    <a:gd name="connsiteY8" fmla="*/ 145106 h 508025"/>
                    <a:gd name="connsiteX9" fmla="*/ 353610 w 544284"/>
                    <a:gd name="connsiteY9" fmla="*/ 151456 h 508025"/>
                    <a:gd name="connsiteX10" fmla="*/ 445685 w 544284"/>
                    <a:gd name="connsiteY10" fmla="*/ 164156 h 508025"/>
                    <a:gd name="connsiteX11" fmla="*/ 486960 w 544284"/>
                    <a:gd name="connsiteY11" fmla="*/ 189556 h 508025"/>
                    <a:gd name="connsiteX12" fmla="*/ 509185 w 544284"/>
                    <a:gd name="connsiteY12" fmla="*/ 234006 h 508025"/>
                    <a:gd name="connsiteX13" fmla="*/ 506010 w 544284"/>
                    <a:gd name="connsiteY13" fmla="*/ 488006 h 508025"/>
                    <a:gd name="connsiteX14" fmla="*/ 4360 w 544284"/>
                    <a:gd name="connsiteY14" fmla="*/ 449906 h 508025"/>
                    <a:gd name="connsiteX0" fmla="*/ 4360 w 544284"/>
                    <a:gd name="connsiteY0" fmla="*/ 449906 h 500804"/>
                    <a:gd name="connsiteX1" fmla="*/ 7535 w 544284"/>
                    <a:gd name="connsiteY1" fmla="*/ 214956 h 500804"/>
                    <a:gd name="connsiteX2" fmla="*/ 23410 w 544284"/>
                    <a:gd name="connsiteY2" fmla="*/ 176856 h 500804"/>
                    <a:gd name="connsiteX3" fmla="*/ 71035 w 544284"/>
                    <a:gd name="connsiteY3" fmla="*/ 160981 h 500804"/>
                    <a:gd name="connsiteX4" fmla="*/ 172635 w 544284"/>
                    <a:gd name="connsiteY4" fmla="*/ 154631 h 500804"/>
                    <a:gd name="connsiteX5" fmla="*/ 198035 w 544284"/>
                    <a:gd name="connsiteY5" fmla="*/ 151456 h 500804"/>
                    <a:gd name="connsiteX6" fmla="*/ 201210 w 544284"/>
                    <a:gd name="connsiteY6" fmla="*/ 18106 h 500804"/>
                    <a:gd name="connsiteX7" fmla="*/ 312335 w 544284"/>
                    <a:gd name="connsiteY7" fmla="*/ 14931 h 500804"/>
                    <a:gd name="connsiteX8" fmla="*/ 312335 w 544284"/>
                    <a:gd name="connsiteY8" fmla="*/ 145106 h 500804"/>
                    <a:gd name="connsiteX9" fmla="*/ 353610 w 544284"/>
                    <a:gd name="connsiteY9" fmla="*/ 151456 h 500804"/>
                    <a:gd name="connsiteX10" fmla="*/ 445685 w 544284"/>
                    <a:gd name="connsiteY10" fmla="*/ 164156 h 500804"/>
                    <a:gd name="connsiteX11" fmla="*/ 486960 w 544284"/>
                    <a:gd name="connsiteY11" fmla="*/ 189556 h 500804"/>
                    <a:gd name="connsiteX12" fmla="*/ 509185 w 544284"/>
                    <a:gd name="connsiteY12" fmla="*/ 234006 h 500804"/>
                    <a:gd name="connsiteX13" fmla="*/ 506010 w 544284"/>
                    <a:gd name="connsiteY13" fmla="*/ 488006 h 500804"/>
                    <a:gd name="connsiteX14" fmla="*/ 4360 w 544284"/>
                    <a:gd name="connsiteY14" fmla="*/ 449906 h 500804"/>
                    <a:gd name="connsiteX0" fmla="*/ 4360 w 544284"/>
                    <a:gd name="connsiteY0" fmla="*/ 449906 h 500804"/>
                    <a:gd name="connsiteX1" fmla="*/ 7535 w 544284"/>
                    <a:gd name="connsiteY1" fmla="*/ 214956 h 500804"/>
                    <a:gd name="connsiteX2" fmla="*/ 23410 w 544284"/>
                    <a:gd name="connsiteY2" fmla="*/ 176856 h 500804"/>
                    <a:gd name="connsiteX3" fmla="*/ 71035 w 544284"/>
                    <a:gd name="connsiteY3" fmla="*/ 160981 h 500804"/>
                    <a:gd name="connsiteX4" fmla="*/ 172635 w 544284"/>
                    <a:gd name="connsiteY4" fmla="*/ 154631 h 500804"/>
                    <a:gd name="connsiteX5" fmla="*/ 198035 w 544284"/>
                    <a:gd name="connsiteY5" fmla="*/ 151456 h 500804"/>
                    <a:gd name="connsiteX6" fmla="*/ 201210 w 544284"/>
                    <a:gd name="connsiteY6" fmla="*/ 18106 h 500804"/>
                    <a:gd name="connsiteX7" fmla="*/ 312335 w 544284"/>
                    <a:gd name="connsiteY7" fmla="*/ 14931 h 500804"/>
                    <a:gd name="connsiteX8" fmla="*/ 312335 w 544284"/>
                    <a:gd name="connsiteY8" fmla="*/ 145106 h 500804"/>
                    <a:gd name="connsiteX9" fmla="*/ 353610 w 544284"/>
                    <a:gd name="connsiteY9" fmla="*/ 151456 h 500804"/>
                    <a:gd name="connsiteX10" fmla="*/ 445685 w 544284"/>
                    <a:gd name="connsiteY10" fmla="*/ 164156 h 500804"/>
                    <a:gd name="connsiteX11" fmla="*/ 486960 w 544284"/>
                    <a:gd name="connsiteY11" fmla="*/ 189556 h 500804"/>
                    <a:gd name="connsiteX12" fmla="*/ 509185 w 544284"/>
                    <a:gd name="connsiteY12" fmla="*/ 234006 h 500804"/>
                    <a:gd name="connsiteX13" fmla="*/ 506010 w 544284"/>
                    <a:gd name="connsiteY13" fmla="*/ 488006 h 500804"/>
                    <a:gd name="connsiteX14" fmla="*/ 4360 w 544284"/>
                    <a:gd name="connsiteY14" fmla="*/ 449906 h 500804"/>
                    <a:gd name="connsiteX0" fmla="*/ 4360 w 519024"/>
                    <a:gd name="connsiteY0" fmla="*/ 449906 h 500804"/>
                    <a:gd name="connsiteX1" fmla="*/ 7535 w 519024"/>
                    <a:gd name="connsiteY1" fmla="*/ 214956 h 500804"/>
                    <a:gd name="connsiteX2" fmla="*/ 23410 w 519024"/>
                    <a:gd name="connsiteY2" fmla="*/ 176856 h 500804"/>
                    <a:gd name="connsiteX3" fmla="*/ 71035 w 519024"/>
                    <a:gd name="connsiteY3" fmla="*/ 160981 h 500804"/>
                    <a:gd name="connsiteX4" fmla="*/ 172635 w 519024"/>
                    <a:gd name="connsiteY4" fmla="*/ 154631 h 500804"/>
                    <a:gd name="connsiteX5" fmla="*/ 198035 w 519024"/>
                    <a:gd name="connsiteY5" fmla="*/ 151456 h 500804"/>
                    <a:gd name="connsiteX6" fmla="*/ 201210 w 519024"/>
                    <a:gd name="connsiteY6" fmla="*/ 18106 h 500804"/>
                    <a:gd name="connsiteX7" fmla="*/ 312335 w 519024"/>
                    <a:gd name="connsiteY7" fmla="*/ 14931 h 500804"/>
                    <a:gd name="connsiteX8" fmla="*/ 312335 w 519024"/>
                    <a:gd name="connsiteY8" fmla="*/ 145106 h 500804"/>
                    <a:gd name="connsiteX9" fmla="*/ 353610 w 519024"/>
                    <a:gd name="connsiteY9" fmla="*/ 151456 h 500804"/>
                    <a:gd name="connsiteX10" fmla="*/ 445685 w 519024"/>
                    <a:gd name="connsiteY10" fmla="*/ 164156 h 500804"/>
                    <a:gd name="connsiteX11" fmla="*/ 486960 w 519024"/>
                    <a:gd name="connsiteY11" fmla="*/ 189556 h 500804"/>
                    <a:gd name="connsiteX12" fmla="*/ 509185 w 519024"/>
                    <a:gd name="connsiteY12" fmla="*/ 234006 h 500804"/>
                    <a:gd name="connsiteX13" fmla="*/ 506010 w 519024"/>
                    <a:gd name="connsiteY13" fmla="*/ 488006 h 500804"/>
                    <a:gd name="connsiteX14" fmla="*/ 4360 w 519024"/>
                    <a:gd name="connsiteY14" fmla="*/ 449906 h 500804"/>
                    <a:gd name="connsiteX0" fmla="*/ 4360 w 519024"/>
                    <a:gd name="connsiteY0" fmla="*/ 449906 h 488006"/>
                    <a:gd name="connsiteX1" fmla="*/ 7535 w 519024"/>
                    <a:gd name="connsiteY1" fmla="*/ 214956 h 488006"/>
                    <a:gd name="connsiteX2" fmla="*/ 23410 w 519024"/>
                    <a:gd name="connsiteY2" fmla="*/ 176856 h 488006"/>
                    <a:gd name="connsiteX3" fmla="*/ 71035 w 519024"/>
                    <a:gd name="connsiteY3" fmla="*/ 160981 h 488006"/>
                    <a:gd name="connsiteX4" fmla="*/ 172635 w 519024"/>
                    <a:gd name="connsiteY4" fmla="*/ 154631 h 488006"/>
                    <a:gd name="connsiteX5" fmla="*/ 198035 w 519024"/>
                    <a:gd name="connsiteY5" fmla="*/ 151456 h 488006"/>
                    <a:gd name="connsiteX6" fmla="*/ 201210 w 519024"/>
                    <a:gd name="connsiteY6" fmla="*/ 18106 h 488006"/>
                    <a:gd name="connsiteX7" fmla="*/ 312335 w 519024"/>
                    <a:gd name="connsiteY7" fmla="*/ 14931 h 488006"/>
                    <a:gd name="connsiteX8" fmla="*/ 312335 w 519024"/>
                    <a:gd name="connsiteY8" fmla="*/ 145106 h 488006"/>
                    <a:gd name="connsiteX9" fmla="*/ 353610 w 519024"/>
                    <a:gd name="connsiteY9" fmla="*/ 151456 h 488006"/>
                    <a:gd name="connsiteX10" fmla="*/ 445685 w 519024"/>
                    <a:gd name="connsiteY10" fmla="*/ 164156 h 488006"/>
                    <a:gd name="connsiteX11" fmla="*/ 486960 w 519024"/>
                    <a:gd name="connsiteY11" fmla="*/ 189556 h 488006"/>
                    <a:gd name="connsiteX12" fmla="*/ 509185 w 519024"/>
                    <a:gd name="connsiteY12" fmla="*/ 234006 h 488006"/>
                    <a:gd name="connsiteX13" fmla="*/ 506010 w 519024"/>
                    <a:gd name="connsiteY13" fmla="*/ 488006 h 488006"/>
                    <a:gd name="connsiteX14" fmla="*/ 4360 w 519024"/>
                    <a:gd name="connsiteY14" fmla="*/ 449906 h 488006"/>
                    <a:gd name="connsiteX0" fmla="*/ 4360 w 523534"/>
                    <a:gd name="connsiteY0" fmla="*/ 449906 h 472131"/>
                    <a:gd name="connsiteX1" fmla="*/ 7535 w 523534"/>
                    <a:gd name="connsiteY1" fmla="*/ 214956 h 472131"/>
                    <a:gd name="connsiteX2" fmla="*/ 23410 w 523534"/>
                    <a:gd name="connsiteY2" fmla="*/ 176856 h 472131"/>
                    <a:gd name="connsiteX3" fmla="*/ 71035 w 523534"/>
                    <a:gd name="connsiteY3" fmla="*/ 160981 h 472131"/>
                    <a:gd name="connsiteX4" fmla="*/ 172635 w 523534"/>
                    <a:gd name="connsiteY4" fmla="*/ 154631 h 472131"/>
                    <a:gd name="connsiteX5" fmla="*/ 198035 w 523534"/>
                    <a:gd name="connsiteY5" fmla="*/ 151456 h 472131"/>
                    <a:gd name="connsiteX6" fmla="*/ 201210 w 523534"/>
                    <a:gd name="connsiteY6" fmla="*/ 18106 h 472131"/>
                    <a:gd name="connsiteX7" fmla="*/ 312335 w 523534"/>
                    <a:gd name="connsiteY7" fmla="*/ 14931 h 472131"/>
                    <a:gd name="connsiteX8" fmla="*/ 312335 w 523534"/>
                    <a:gd name="connsiteY8" fmla="*/ 145106 h 472131"/>
                    <a:gd name="connsiteX9" fmla="*/ 353610 w 523534"/>
                    <a:gd name="connsiteY9" fmla="*/ 151456 h 472131"/>
                    <a:gd name="connsiteX10" fmla="*/ 445685 w 523534"/>
                    <a:gd name="connsiteY10" fmla="*/ 164156 h 472131"/>
                    <a:gd name="connsiteX11" fmla="*/ 486960 w 523534"/>
                    <a:gd name="connsiteY11" fmla="*/ 189556 h 472131"/>
                    <a:gd name="connsiteX12" fmla="*/ 509185 w 523534"/>
                    <a:gd name="connsiteY12" fmla="*/ 234006 h 472131"/>
                    <a:gd name="connsiteX13" fmla="*/ 512360 w 523534"/>
                    <a:gd name="connsiteY13" fmla="*/ 472131 h 472131"/>
                    <a:gd name="connsiteX14" fmla="*/ 4360 w 523534"/>
                    <a:gd name="connsiteY14" fmla="*/ 449906 h 472131"/>
                    <a:gd name="connsiteX0" fmla="*/ 4360 w 513675"/>
                    <a:gd name="connsiteY0" fmla="*/ 449906 h 472131"/>
                    <a:gd name="connsiteX1" fmla="*/ 7535 w 513675"/>
                    <a:gd name="connsiteY1" fmla="*/ 214956 h 472131"/>
                    <a:gd name="connsiteX2" fmla="*/ 23410 w 513675"/>
                    <a:gd name="connsiteY2" fmla="*/ 176856 h 472131"/>
                    <a:gd name="connsiteX3" fmla="*/ 71035 w 513675"/>
                    <a:gd name="connsiteY3" fmla="*/ 160981 h 472131"/>
                    <a:gd name="connsiteX4" fmla="*/ 172635 w 513675"/>
                    <a:gd name="connsiteY4" fmla="*/ 154631 h 472131"/>
                    <a:gd name="connsiteX5" fmla="*/ 198035 w 513675"/>
                    <a:gd name="connsiteY5" fmla="*/ 151456 h 472131"/>
                    <a:gd name="connsiteX6" fmla="*/ 201210 w 513675"/>
                    <a:gd name="connsiteY6" fmla="*/ 18106 h 472131"/>
                    <a:gd name="connsiteX7" fmla="*/ 312335 w 513675"/>
                    <a:gd name="connsiteY7" fmla="*/ 14931 h 472131"/>
                    <a:gd name="connsiteX8" fmla="*/ 312335 w 513675"/>
                    <a:gd name="connsiteY8" fmla="*/ 145106 h 472131"/>
                    <a:gd name="connsiteX9" fmla="*/ 353610 w 513675"/>
                    <a:gd name="connsiteY9" fmla="*/ 151456 h 472131"/>
                    <a:gd name="connsiteX10" fmla="*/ 445685 w 513675"/>
                    <a:gd name="connsiteY10" fmla="*/ 164156 h 472131"/>
                    <a:gd name="connsiteX11" fmla="*/ 486960 w 513675"/>
                    <a:gd name="connsiteY11" fmla="*/ 189556 h 472131"/>
                    <a:gd name="connsiteX12" fmla="*/ 509185 w 513675"/>
                    <a:gd name="connsiteY12" fmla="*/ 234006 h 472131"/>
                    <a:gd name="connsiteX13" fmla="*/ 512360 w 513675"/>
                    <a:gd name="connsiteY13" fmla="*/ 472131 h 472131"/>
                    <a:gd name="connsiteX14" fmla="*/ 4360 w 513675"/>
                    <a:gd name="connsiteY14" fmla="*/ 449906 h 472131"/>
                    <a:gd name="connsiteX0" fmla="*/ 4360 w 513675"/>
                    <a:gd name="connsiteY0" fmla="*/ 446969 h 469194"/>
                    <a:gd name="connsiteX1" fmla="*/ 7535 w 513675"/>
                    <a:gd name="connsiteY1" fmla="*/ 212019 h 469194"/>
                    <a:gd name="connsiteX2" fmla="*/ 23410 w 513675"/>
                    <a:gd name="connsiteY2" fmla="*/ 173919 h 469194"/>
                    <a:gd name="connsiteX3" fmla="*/ 71035 w 513675"/>
                    <a:gd name="connsiteY3" fmla="*/ 158044 h 469194"/>
                    <a:gd name="connsiteX4" fmla="*/ 172635 w 513675"/>
                    <a:gd name="connsiteY4" fmla="*/ 151694 h 469194"/>
                    <a:gd name="connsiteX5" fmla="*/ 188510 w 513675"/>
                    <a:gd name="connsiteY5" fmla="*/ 94544 h 469194"/>
                    <a:gd name="connsiteX6" fmla="*/ 201210 w 513675"/>
                    <a:gd name="connsiteY6" fmla="*/ 15169 h 469194"/>
                    <a:gd name="connsiteX7" fmla="*/ 312335 w 513675"/>
                    <a:gd name="connsiteY7" fmla="*/ 11994 h 469194"/>
                    <a:gd name="connsiteX8" fmla="*/ 312335 w 513675"/>
                    <a:gd name="connsiteY8" fmla="*/ 142169 h 469194"/>
                    <a:gd name="connsiteX9" fmla="*/ 353610 w 513675"/>
                    <a:gd name="connsiteY9" fmla="*/ 148519 h 469194"/>
                    <a:gd name="connsiteX10" fmla="*/ 445685 w 513675"/>
                    <a:gd name="connsiteY10" fmla="*/ 161219 h 469194"/>
                    <a:gd name="connsiteX11" fmla="*/ 486960 w 513675"/>
                    <a:gd name="connsiteY11" fmla="*/ 186619 h 469194"/>
                    <a:gd name="connsiteX12" fmla="*/ 509185 w 513675"/>
                    <a:gd name="connsiteY12" fmla="*/ 231069 h 469194"/>
                    <a:gd name="connsiteX13" fmla="*/ 512360 w 513675"/>
                    <a:gd name="connsiteY13" fmla="*/ 469194 h 469194"/>
                    <a:gd name="connsiteX14" fmla="*/ 4360 w 513675"/>
                    <a:gd name="connsiteY14" fmla="*/ 446969 h 469194"/>
                    <a:gd name="connsiteX0" fmla="*/ 4360 w 513675"/>
                    <a:gd name="connsiteY0" fmla="*/ 443409 h 465634"/>
                    <a:gd name="connsiteX1" fmla="*/ 7535 w 513675"/>
                    <a:gd name="connsiteY1" fmla="*/ 208459 h 465634"/>
                    <a:gd name="connsiteX2" fmla="*/ 23410 w 513675"/>
                    <a:gd name="connsiteY2" fmla="*/ 170359 h 465634"/>
                    <a:gd name="connsiteX3" fmla="*/ 71035 w 513675"/>
                    <a:gd name="connsiteY3" fmla="*/ 154484 h 465634"/>
                    <a:gd name="connsiteX4" fmla="*/ 172635 w 513675"/>
                    <a:gd name="connsiteY4" fmla="*/ 148134 h 465634"/>
                    <a:gd name="connsiteX5" fmla="*/ 188510 w 513675"/>
                    <a:gd name="connsiteY5" fmla="*/ 90984 h 465634"/>
                    <a:gd name="connsiteX6" fmla="*/ 201210 w 513675"/>
                    <a:gd name="connsiteY6" fmla="*/ 11609 h 465634"/>
                    <a:gd name="connsiteX7" fmla="*/ 312335 w 513675"/>
                    <a:gd name="connsiteY7" fmla="*/ 8434 h 465634"/>
                    <a:gd name="connsiteX8" fmla="*/ 312335 w 513675"/>
                    <a:gd name="connsiteY8" fmla="*/ 87809 h 465634"/>
                    <a:gd name="connsiteX9" fmla="*/ 353610 w 513675"/>
                    <a:gd name="connsiteY9" fmla="*/ 144959 h 465634"/>
                    <a:gd name="connsiteX10" fmla="*/ 445685 w 513675"/>
                    <a:gd name="connsiteY10" fmla="*/ 157659 h 465634"/>
                    <a:gd name="connsiteX11" fmla="*/ 486960 w 513675"/>
                    <a:gd name="connsiteY11" fmla="*/ 183059 h 465634"/>
                    <a:gd name="connsiteX12" fmla="*/ 509185 w 513675"/>
                    <a:gd name="connsiteY12" fmla="*/ 227509 h 465634"/>
                    <a:gd name="connsiteX13" fmla="*/ 512360 w 513675"/>
                    <a:gd name="connsiteY13" fmla="*/ 465634 h 465634"/>
                    <a:gd name="connsiteX14" fmla="*/ 4360 w 513675"/>
                    <a:gd name="connsiteY14" fmla="*/ 443409 h 465634"/>
                    <a:gd name="connsiteX0" fmla="*/ 4360 w 513675"/>
                    <a:gd name="connsiteY0" fmla="*/ 443409 h 465634"/>
                    <a:gd name="connsiteX1" fmla="*/ 7535 w 513675"/>
                    <a:gd name="connsiteY1" fmla="*/ 208459 h 465634"/>
                    <a:gd name="connsiteX2" fmla="*/ 23410 w 513675"/>
                    <a:gd name="connsiteY2" fmla="*/ 170359 h 465634"/>
                    <a:gd name="connsiteX3" fmla="*/ 71035 w 513675"/>
                    <a:gd name="connsiteY3" fmla="*/ 154484 h 465634"/>
                    <a:gd name="connsiteX4" fmla="*/ 172635 w 513675"/>
                    <a:gd name="connsiteY4" fmla="*/ 148134 h 465634"/>
                    <a:gd name="connsiteX5" fmla="*/ 188510 w 513675"/>
                    <a:gd name="connsiteY5" fmla="*/ 90984 h 465634"/>
                    <a:gd name="connsiteX6" fmla="*/ 201210 w 513675"/>
                    <a:gd name="connsiteY6" fmla="*/ 11609 h 465634"/>
                    <a:gd name="connsiteX7" fmla="*/ 312335 w 513675"/>
                    <a:gd name="connsiteY7" fmla="*/ 8434 h 465634"/>
                    <a:gd name="connsiteX8" fmla="*/ 312335 w 513675"/>
                    <a:gd name="connsiteY8" fmla="*/ 87809 h 465634"/>
                    <a:gd name="connsiteX9" fmla="*/ 334560 w 513675"/>
                    <a:gd name="connsiteY9" fmla="*/ 135434 h 465634"/>
                    <a:gd name="connsiteX10" fmla="*/ 445685 w 513675"/>
                    <a:gd name="connsiteY10" fmla="*/ 157659 h 465634"/>
                    <a:gd name="connsiteX11" fmla="*/ 486960 w 513675"/>
                    <a:gd name="connsiteY11" fmla="*/ 183059 h 465634"/>
                    <a:gd name="connsiteX12" fmla="*/ 509185 w 513675"/>
                    <a:gd name="connsiteY12" fmla="*/ 227509 h 465634"/>
                    <a:gd name="connsiteX13" fmla="*/ 512360 w 513675"/>
                    <a:gd name="connsiteY13" fmla="*/ 465634 h 465634"/>
                    <a:gd name="connsiteX14" fmla="*/ 4360 w 513675"/>
                    <a:gd name="connsiteY14" fmla="*/ 443409 h 465634"/>
                    <a:gd name="connsiteX0" fmla="*/ 4360 w 510500"/>
                    <a:gd name="connsiteY0" fmla="*/ 443409 h 449759"/>
                    <a:gd name="connsiteX1" fmla="*/ 7535 w 510500"/>
                    <a:gd name="connsiteY1" fmla="*/ 208459 h 449759"/>
                    <a:gd name="connsiteX2" fmla="*/ 23410 w 510500"/>
                    <a:gd name="connsiteY2" fmla="*/ 170359 h 449759"/>
                    <a:gd name="connsiteX3" fmla="*/ 71035 w 510500"/>
                    <a:gd name="connsiteY3" fmla="*/ 154484 h 449759"/>
                    <a:gd name="connsiteX4" fmla="*/ 172635 w 510500"/>
                    <a:gd name="connsiteY4" fmla="*/ 148134 h 449759"/>
                    <a:gd name="connsiteX5" fmla="*/ 188510 w 510500"/>
                    <a:gd name="connsiteY5" fmla="*/ 90984 h 449759"/>
                    <a:gd name="connsiteX6" fmla="*/ 201210 w 510500"/>
                    <a:gd name="connsiteY6" fmla="*/ 11609 h 449759"/>
                    <a:gd name="connsiteX7" fmla="*/ 312335 w 510500"/>
                    <a:gd name="connsiteY7" fmla="*/ 8434 h 449759"/>
                    <a:gd name="connsiteX8" fmla="*/ 312335 w 510500"/>
                    <a:gd name="connsiteY8" fmla="*/ 87809 h 449759"/>
                    <a:gd name="connsiteX9" fmla="*/ 334560 w 510500"/>
                    <a:gd name="connsiteY9" fmla="*/ 135434 h 449759"/>
                    <a:gd name="connsiteX10" fmla="*/ 445685 w 510500"/>
                    <a:gd name="connsiteY10" fmla="*/ 157659 h 449759"/>
                    <a:gd name="connsiteX11" fmla="*/ 486960 w 510500"/>
                    <a:gd name="connsiteY11" fmla="*/ 183059 h 449759"/>
                    <a:gd name="connsiteX12" fmla="*/ 509185 w 510500"/>
                    <a:gd name="connsiteY12" fmla="*/ 227509 h 449759"/>
                    <a:gd name="connsiteX13" fmla="*/ 506010 w 510500"/>
                    <a:gd name="connsiteY13" fmla="*/ 449759 h 449759"/>
                    <a:gd name="connsiteX14" fmla="*/ 4360 w 510500"/>
                    <a:gd name="connsiteY14" fmla="*/ 443409 h 449759"/>
                    <a:gd name="connsiteX0" fmla="*/ 4360 w 510500"/>
                    <a:gd name="connsiteY0" fmla="*/ 443409 h 454926"/>
                    <a:gd name="connsiteX1" fmla="*/ 7535 w 510500"/>
                    <a:gd name="connsiteY1" fmla="*/ 208459 h 454926"/>
                    <a:gd name="connsiteX2" fmla="*/ 23410 w 510500"/>
                    <a:gd name="connsiteY2" fmla="*/ 170359 h 454926"/>
                    <a:gd name="connsiteX3" fmla="*/ 71035 w 510500"/>
                    <a:gd name="connsiteY3" fmla="*/ 154484 h 454926"/>
                    <a:gd name="connsiteX4" fmla="*/ 172635 w 510500"/>
                    <a:gd name="connsiteY4" fmla="*/ 148134 h 454926"/>
                    <a:gd name="connsiteX5" fmla="*/ 188510 w 510500"/>
                    <a:gd name="connsiteY5" fmla="*/ 90984 h 454926"/>
                    <a:gd name="connsiteX6" fmla="*/ 201210 w 510500"/>
                    <a:gd name="connsiteY6" fmla="*/ 11609 h 454926"/>
                    <a:gd name="connsiteX7" fmla="*/ 312335 w 510500"/>
                    <a:gd name="connsiteY7" fmla="*/ 8434 h 454926"/>
                    <a:gd name="connsiteX8" fmla="*/ 312335 w 510500"/>
                    <a:gd name="connsiteY8" fmla="*/ 87809 h 454926"/>
                    <a:gd name="connsiteX9" fmla="*/ 334560 w 510500"/>
                    <a:gd name="connsiteY9" fmla="*/ 135434 h 454926"/>
                    <a:gd name="connsiteX10" fmla="*/ 445685 w 510500"/>
                    <a:gd name="connsiteY10" fmla="*/ 157659 h 454926"/>
                    <a:gd name="connsiteX11" fmla="*/ 486960 w 510500"/>
                    <a:gd name="connsiteY11" fmla="*/ 183059 h 454926"/>
                    <a:gd name="connsiteX12" fmla="*/ 509185 w 510500"/>
                    <a:gd name="connsiteY12" fmla="*/ 227509 h 454926"/>
                    <a:gd name="connsiteX13" fmla="*/ 506010 w 510500"/>
                    <a:gd name="connsiteY13" fmla="*/ 449759 h 454926"/>
                    <a:gd name="connsiteX14" fmla="*/ 4360 w 510500"/>
                    <a:gd name="connsiteY14" fmla="*/ 443409 h 454926"/>
                    <a:gd name="connsiteX0" fmla="*/ 6473 w 512613"/>
                    <a:gd name="connsiteY0" fmla="*/ 443409 h 454926"/>
                    <a:gd name="connsiteX1" fmla="*/ 9648 w 512613"/>
                    <a:gd name="connsiteY1" fmla="*/ 208459 h 454926"/>
                    <a:gd name="connsiteX2" fmla="*/ 73148 w 512613"/>
                    <a:gd name="connsiteY2" fmla="*/ 154484 h 454926"/>
                    <a:gd name="connsiteX3" fmla="*/ 174748 w 512613"/>
                    <a:gd name="connsiteY3" fmla="*/ 148134 h 454926"/>
                    <a:gd name="connsiteX4" fmla="*/ 190623 w 512613"/>
                    <a:gd name="connsiteY4" fmla="*/ 90984 h 454926"/>
                    <a:gd name="connsiteX5" fmla="*/ 203323 w 512613"/>
                    <a:gd name="connsiteY5" fmla="*/ 11609 h 454926"/>
                    <a:gd name="connsiteX6" fmla="*/ 314448 w 512613"/>
                    <a:gd name="connsiteY6" fmla="*/ 8434 h 454926"/>
                    <a:gd name="connsiteX7" fmla="*/ 314448 w 512613"/>
                    <a:gd name="connsiteY7" fmla="*/ 87809 h 454926"/>
                    <a:gd name="connsiteX8" fmla="*/ 336673 w 512613"/>
                    <a:gd name="connsiteY8" fmla="*/ 135434 h 454926"/>
                    <a:gd name="connsiteX9" fmla="*/ 447798 w 512613"/>
                    <a:gd name="connsiteY9" fmla="*/ 157659 h 454926"/>
                    <a:gd name="connsiteX10" fmla="*/ 489073 w 512613"/>
                    <a:gd name="connsiteY10" fmla="*/ 183059 h 454926"/>
                    <a:gd name="connsiteX11" fmla="*/ 511298 w 512613"/>
                    <a:gd name="connsiteY11" fmla="*/ 227509 h 454926"/>
                    <a:gd name="connsiteX12" fmla="*/ 508123 w 512613"/>
                    <a:gd name="connsiteY12" fmla="*/ 449759 h 454926"/>
                    <a:gd name="connsiteX13" fmla="*/ 6473 w 512613"/>
                    <a:gd name="connsiteY13" fmla="*/ 443409 h 454926"/>
                    <a:gd name="connsiteX0" fmla="*/ 4049 w 510189"/>
                    <a:gd name="connsiteY0" fmla="*/ 443409 h 454926"/>
                    <a:gd name="connsiteX1" fmla="*/ 7224 w 510189"/>
                    <a:gd name="connsiteY1" fmla="*/ 208459 h 454926"/>
                    <a:gd name="connsiteX2" fmla="*/ 70724 w 510189"/>
                    <a:gd name="connsiteY2" fmla="*/ 154484 h 454926"/>
                    <a:gd name="connsiteX3" fmla="*/ 172324 w 510189"/>
                    <a:gd name="connsiteY3" fmla="*/ 148134 h 454926"/>
                    <a:gd name="connsiteX4" fmla="*/ 188199 w 510189"/>
                    <a:gd name="connsiteY4" fmla="*/ 90984 h 454926"/>
                    <a:gd name="connsiteX5" fmla="*/ 200899 w 510189"/>
                    <a:gd name="connsiteY5" fmla="*/ 11609 h 454926"/>
                    <a:gd name="connsiteX6" fmla="*/ 312024 w 510189"/>
                    <a:gd name="connsiteY6" fmla="*/ 8434 h 454926"/>
                    <a:gd name="connsiteX7" fmla="*/ 312024 w 510189"/>
                    <a:gd name="connsiteY7" fmla="*/ 87809 h 454926"/>
                    <a:gd name="connsiteX8" fmla="*/ 334249 w 510189"/>
                    <a:gd name="connsiteY8" fmla="*/ 135434 h 454926"/>
                    <a:gd name="connsiteX9" fmla="*/ 445374 w 510189"/>
                    <a:gd name="connsiteY9" fmla="*/ 157659 h 454926"/>
                    <a:gd name="connsiteX10" fmla="*/ 486649 w 510189"/>
                    <a:gd name="connsiteY10" fmla="*/ 183059 h 454926"/>
                    <a:gd name="connsiteX11" fmla="*/ 508874 w 510189"/>
                    <a:gd name="connsiteY11" fmla="*/ 227509 h 454926"/>
                    <a:gd name="connsiteX12" fmla="*/ 505699 w 510189"/>
                    <a:gd name="connsiteY12" fmla="*/ 449759 h 454926"/>
                    <a:gd name="connsiteX13" fmla="*/ 4049 w 510189"/>
                    <a:gd name="connsiteY13" fmla="*/ 443409 h 454926"/>
                    <a:gd name="connsiteX0" fmla="*/ 4049 w 510189"/>
                    <a:gd name="connsiteY0" fmla="*/ 443409 h 454926"/>
                    <a:gd name="connsiteX1" fmla="*/ 7224 w 510189"/>
                    <a:gd name="connsiteY1" fmla="*/ 208459 h 454926"/>
                    <a:gd name="connsiteX2" fmla="*/ 70724 w 510189"/>
                    <a:gd name="connsiteY2" fmla="*/ 154484 h 454926"/>
                    <a:gd name="connsiteX3" fmla="*/ 172324 w 510189"/>
                    <a:gd name="connsiteY3" fmla="*/ 148134 h 454926"/>
                    <a:gd name="connsiteX4" fmla="*/ 188199 w 510189"/>
                    <a:gd name="connsiteY4" fmla="*/ 90984 h 454926"/>
                    <a:gd name="connsiteX5" fmla="*/ 200899 w 510189"/>
                    <a:gd name="connsiteY5" fmla="*/ 11609 h 454926"/>
                    <a:gd name="connsiteX6" fmla="*/ 312024 w 510189"/>
                    <a:gd name="connsiteY6" fmla="*/ 8434 h 454926"/>
                    <a:gd name="connsiteX7" fmla="*/ 312024 w 510189"/>
                    <a:gd name="connsiteY7" fmla="*/ 87809 h 454926"/>
                    <a:gd name="connsiteX8" fmla="*/ 334249 w 510189"/>
                    <a:gd name="connsiteY8" fmla="*/ 135434 h 454926"/>
                    <a:gd name="connsiteX9" fmla="*/ 445374 w 510189"/>
                    <a:gd name="connsiteY9" fmla="*/ 157659 h 454926"/>
                    <a:gd name="connsiteX10" fmla="*/ 508874 w 510189"/>
                    <a:gd name="connsiteY10" fmla="*/ 227509 h 454926"/>
                    <a:gd name="connsiteX11" fmla="*/ 505699 w 510189"/>
                    <a:gd name="connsiteY11" fmla="*/ 449759 h 454926"/>
                    <a:gd name="connsiteX12" fmla="*/ 4049 w 510189"/>
                    <a:gd name="connsiteY12" fmla="*/ 443409 h 454926"/>
                    <a:gd name="connsiteX0" fmla="*/ 4049 w 510189"/>
                    <a:gd name="connsiteY0" fmla="*/ 443409 h 454926"/>
                    <a:gd name="connsiteX1" fmla="*/ 7224 w 510189"/>
                    <a:gd name="connsiteY1" fmla="*/ 208459 h 454926"/>
                    <a:gd name="connsiteX2" fmla="*/ 70724 w 510189"/>
                    <a:gd name="connsiteY2" fmla="*/ 154484 h 454926"/>
                    <a:gd name="connsiteX3" fmla="*/ 172324 w 510189"/>
                    <a:gd name="connsiteY3" fmla="*/ 148134 h 454926"/>
                    <a:gd name="connsiteX4" fmla="*/ 188199 w 510189"/>
                    <a:gd name="connsiteY4" fmla="*/ 90984 h 454926"/>
                    <a:gd name="connsiteX5" fmla="*/ 200899 w 510189"/>
                    <a:gd name="connsiteY5" fmla="*/ 11609 h 454926"/>
                    <a:gd name="connsiteX6" fmla="*/ 312024 w 510189"/>
                    <a:gd name="connsiteY6" fmla="*/ 8434 h 454926"/>
                    <a:gd name="connsiteX7" fmla="*/ 312024 w 510189"/>
                    <a:gd name="connsiteY7" fmla="*/ 87809 h 454926"/>
                    <a:gd name="connsiteX8" fmla="*/ 334249 w 510189"/>
                    <a:gd name="connsiteY8" fmla="*/ 135434 h 454926"/>
                    <a:gd name="connsiteX9" fmla="*/ 445374 w 510189"/>
                    <a:gd name="connsiteY9" fmla="*/ 157659 h 454926"/>
                    <a:gd name="connsiteX10" fmla="*/ 508874 w 510189"/>
                    <a:gd name="connsiteY10" fmla="*/ 227509 h 454926"/>
                    <a:gd name="connsiteX11" fmla="*/ 505699 w 510189"/>
                    <a:gd name="connsiteY11" fmla="*/ 449759 h 454926"/>
                    <a:gd name="connsiteX12" fmla="*/ 4049 w 510189"/>
                    <a:gd name="connsiteY12" fmla="*/ 443409 h 454926"/>
                    <a:gd name="connsiteX0" fmla="*/ 5987 w 512127"/>
                    <a:gd name="connsiteY0" fmla="*/ 443409 h 454926"/>
                    <a:gd name="connsiteX1" fmla="*/ 2812 w 512127"/>
                    <a:gd name="connsiteY1" fmla="*/ 217984 h 454926"/>
                    <a:gd name="connsiteX2" fmla="*/ 72662 w 512127"/>
                    <a:gd name="connsiteY2" fmla="*/ 154484 h 454926"/>
                    <a:gd name="connsiteX3" fmla="*/ 174262 w 512127"/>
                    <a:gd name="connsiteY3" fmla="*/ 148134 h 454926"/>
                    <a:gd name="connsiteX4" fmla="*/ 190137 w 512127"/>
                    <a:gd name="connsiteY4" fmla="*/ 90984 h 454926"/>
                    <a:gd name="connsiteX5" fmla="*/ 202837 w 512127"/>
                    <a:gd name="connsiteY5" fmla="*/ 11609 h 454926"/>
                    <a:gd name="connsiteX6" fmla="*/ 313962 w 512127"/>
                    <a:gd name="connsiteY6" fmla="*/ 8434 h 454926"/>
                    <a:gd name="connsiteX7" fmla="*/ 313962 w 512127"/>
                    <a:gd name="connsiteY7" fmla="*/ 87809 h 454926"/>
                    <a:gd name="connsiteX8" fmla="*/ 336187 w 512127"/>
                    <a:gd name="connsiteY8" fmla="*/ 135434 h 454926"/>
                    <a:gd name="connsiteX9" fmla="*/ 447312 w 512127"/>
                    <a:gd name="connsiteY9" fmla="*/ 157659 h 454926"/>
                    <a:gd name="connsiteX10" fmla="*/ 510812 w 512127"/>
                    <a:gd name="connsiteY10" fmla="*/ 227509 h 454926"/>
                    <a:gd name="connsiteX11" fmla="*/ 507637 w 512127"/>
                    <a:gd name="connsiteY11" fmla="*/ 449759 h 454926"/>
                    <a:gd name="connsiteX12" fmla="*/ 5987 w 512127"/>
                    <a:gd name="connsiteY12" fmla="*/ 443409 h 454926"/>
                    <a:gd name="connsiteX0" fmla="*/ 9762 w 515902"/>
                    <a:gd name="connsiteY0" fmla="*/ 443409 h 454926"/>
                    <a:gd name="connsiteX1" fmla="*/ 6587 w 515902"/>
                    <a:gd name="connsiteY1" fmla="*/ 217984 h 454926"/>
                    <a:gd name="connsiteX2" fmla="*/ 76437 w 515902"/>
                    <a:gd name="connsiteY2" fmla="*/ 154484 h 454926"/>
                    <a:gd name="connsiteX3" fmla="*/ 178037 w 515902"/>
                    <a:gd name="connsiteY3" fmla="*/ 148134 h 454926"/>
                    <a:gd name="connsiteX4" fmla="*/ 193912 w 515902"/>
                    <a:gd name="connsiteY4" fmla="*/ 90984 h 454926"/>
                    <a:gd name="connsiteX5" fmla="*/ 206612 w 515902"/>
                    <a:gd name="connsiteY5" fmla="*/ 11609 h 454926"/>
                    <a:gd name="connsiteX6" fmla="*/ 317737 w 515902"/>
                    <a:gd name="connsiteY6" fmla="*/ 8434 h 454926"/>
                    <a:gd name="connsiteX7" fmla="*/ 317737 w 515902"/>
                    <a:gd name="connsiteY7" fmla="*/ 87809 h 454926"/>
                    <a:gd name="connsiteX8" fmla="*/ 339962 w 515902"/>
                    <a:gd name="connsiteY8" fmla="*/ 135434 h 454926"/>
                    <a:gd name="connsiteX9" fmla="*/ 451087 w 515902"/>
                    <a:gd name="connsiteY9" fmla="*/ 157659 h 454926"/>
                    <a:gd name="connsiteX10" fmla="*/ 514587 w 515902"/>
                    <a:gd name="connsiteY10" fmla="*/ 227509 h 454926"/>
                    <a:gd name="connsiteX11" fmla="*/ 511412 w 515902"/>
                    <a:gd name="connsiteY11" fmla="*/ 449759 h 454926"/>
                    <a:gd name="connsiteX12" fmla="*/ 9762 w 515902"/>
                    <a:gd name="connsiteY12" fmla="*/ 443409 h 454926"/>
                    <a:gd name="connsiteX0" fmla="*/ 9762 w 515902"/>
                    <a:gd name="connsiteY0" fmla="*/ 443409 h 454926"/>
                    <a:gd name="connsiteX1" fmla="*/ 6587 w 515902"/>
                    <a:gd name="connsiteY1" fmla="*/ 217984 h 454926"/>
                    <a:gd name="connsiteX2" fmla="*/ 76437 w 515902"/>
                    <a:gd name="connsiteY2" fmla="*/ 154484 h 454926"/>
                    <a:gd name="connsiteX3" fmla="*/ 178037 w 515902"/>
                    <a:gd name="connsiteY3" fmla="*/ 148134 h 454926"/>
                    <a:gd name="connsiteX4" fmla="*/ 193912 w 515902"/>
                    <a:gd name="connsiteY4" fmla="*/ 90984 h 454926"/>
                    <a:gd name="connsiteX5" fmla="*/ 206612 w 515902"/>
                    <a:gd name="connsiteY5" fmla="*/ 11609 h 454926"/>
                    <a:gd name="connsiteX6" fmla="*/ 317737 w 515902"/>
                    <a:gd name="connsiteY6" fmla="*/ 8434 h 454926"/>
                    <a:gd name="connsiteX7" fmla="*/ 317737 w 515902"/>
                    <a:gd name="connsiteY7" fmla="*/ 87809 h 454926"/>
                    <a:gd name="connsiteX8" fmla="*/ 339962 w 515902"/>
                    <a:gd name="connsiteY8" fmla="*/ 135434 h 454926"/>
                    <a:gd name="connsiteX9" fmla="*/ 451087 w 515902"/>
                    <a:gd name="connsiteY9" fmla="*/ 157659 h 454926"/>
                    <a:gd name="connsiteX10" fmla="*/ 514587 w 515902"/>
                    <a:gd name="connsiteY10" fmla="*/ 227509 h 454926"/>
                    <a:gd name="connsiteX11" fmla="*/ 511412 w 515902"/>
                    <a:gd name="connsiteY11" fmla="*/ 449759 h 454926"/>
                    <a:gd name="connsiteX12" fmla="*/ 9762 w 515902"/>
                    <a:gd name="connsiteY12" fmla="*/ 443409 h 454926"/>
                    <a:gd name="connsiteX0" fmla="*/ 9762 w 515902"/>
                    <a:gd name="connsiteY0" fmla="*/ 443409 h 454926"/>
                    <a:gd name="connsiteX1" fmla="*/ 6587 w 515902"/>
                    <a:gd name="connsiteY1" fmla="*/ 217984 h 454926"/>
                    <a:gd name="connsiteX2" fmla="*/ 76437 w 515902"/>
                    <a:gd name="connsiteY2" fmla="*/ 154484 h 454926"/>
                    <a:gd name="connsiteX3" fmla="*/ 193912 w 515902"/>
                    <a:gd name="connsiteY3" fmla="*/ 90984 h 454926"/>
                    <a:gd name="connsiteX4" fmla="*/ 206612 w 515902"/>
                    <a:gd name="connsiteY4" fmla="*/ 11609 h 454926"/>
                    <a:gd name="connsiteX5" fmla="*/ 317737 w 515902"/>
                    <a:gd name="connsiteY5" fmla="*/ 8434 h 454926"/>
                    <a:gd name="connsiteX6" fmla="*/ 317737 w 515902"/>
                    <a:gd name="connsiteY6" fmla="*/ 87809 h 454926"/>
                    <a:gd name="connsiteX7" fmla="*/ 339962 w 515902"/>
                    <a:gd name="connsiteY7" fmla="*/ 135434 h 454926"/>
                    <a:gd name="connsiteX8" fmla="*/ 451087 w 515902"/>
                    <a:gd name="connsiteY8" fmla="*/ 157659 h 454926"/>
                    <a:gd name="connsiteX9" fmla="*/ 514587 w 515902"/>
                    <a:gd name="connsiteY9" fmla="*/ 227509 h 454926"/>
                    <a:gd name="connsiteX10" fmla="*/ 511412 w 515902"/>
                    <a:gd name="connsiteY10" fmla="*/ 449759 h 454926"/>
                    <a:gd name="connsiteX11" fmla="*/ 9762 w 515902"/>
                    <a:gd name="connsiteY11" fmla="*/ 443409 h 454926"/>
                    <a:gd name="connsiteX0" fmla="*/ 9762 w 515902"/>
                    <a:gd name="connsiteY0" fmla="*/ 446099 h 457616"/>
                    <a:gd name="connsiteX1" fmla="*/ 6587 w 515902"/>
                    <a:gd name="connsiteY1" fmla="*/ 220674 h 457616"/>
                    <a:gd name="connsiteX2" fmla="*/ 76437 w 515902"/>
                    <a:gd name="connsiteY2" fmla="*/ 157174 h 457616"/>
                    <a:gd name="connsiteX3" fmla="*/ 190737 w 515902"/>
                    <a:gd name="connsiteY3" fmla="*/ 138124 h 457616"/>
                    <a:gd name="connsiteX4" fmla="*/ 206612 w 515902"/>
                    <a:gd name="connsiteY4" fmla="*/ 14299 h 457616"/>
                    <a:gd name="connsiteX5" fmla="*/ 317737 w 515902"/>
                    <a:gd name="connsiteY5" fmla="*/ 11124 h 457616"/>
                    <a:gd name="connsiteX6" fmla="*/ 317737 w 515902"/>
                    <a:gd name="connsiteY6" fmla="*/ 90499 h 457616"/>
                    <a:gd name="connsiteX7" fmla="*/ 339962 w 515902"/>
                    <a:gd name="connsiteY7" fmla="*/ 138124 h 457616"/>
                    <a:gd name="connsiteX8" fmla="*/ 451087 w 515902"/>
                    <a:gd name="connsiteY8" fmla="*/ 160349 h 457616"/>
                    <a:gd name="connsiteX9" fmla="*/ 514587 w 515902"/>
                    <a:gd name="connsiteY9" fmla="*/ 230199 h 457616"/>
                    <a:gd name="connsiteX10" fmla="*/ 511412 w 515902"/>
                    <a:gd name="connsiteY10" fmla="*/ 452449 h 457616"/>
                    <a:gd name="connsiteX11" fmla="*/ 9762 w 515902"/>
                    <a:gd name="connsiteY11" fmla="*/ 446099 h 457616"/>
                    <a:gd name="connsiteX0" fmla="*/ 9762 w 515902"/>
                    <a:gd name="connsiteY0" fmla="*/ 446099 h 457616"/>
                    <a:gd name="connsiteX1" fmla="*/ 6587 w 515902"/>
                    <a:gd name="connsiteY1" fmla="*/ 220674 h 457616"/>
                    <a:gd name="connsiteX2" fmla="*/ 76437 w 515902"/>
                    <a:gd name="connsiteY2" fmla="*/ 157174 h 457616"/>
                    <a:gd name="connsiteX3" fmla="*/ 190737 w 515902"/>
                    <a:gd name="connsiteY3" fmla="*/ 138124 h 457616"/>
                    <a:gd name="connsiteX4" fmla="*/ 206612 w 515902"/>
                    <a:gd name="connsiteY4" fmla="*/ 14299 h 457616"/>
                    <a:gd name="connsiteX5" fmla="*/ 317737 w 515902"/>
                    <a:gd name="connsiteY5" fmla="*/ 11124 h 457616"/>
                    <a:gd name="connsiteX6" fmla="*/ 317737 w 515902"/>
                    <a:gd name="connsiteY6" fmla="*/ 90499 h 457616"/>
                    <a:gd name="connsiteX7" fmla="*/ 451087 w 515902"/>
                    <a:gd name="connsiteY7" fmla="*/ 160349 h 457616"/>
                    <a:gd name="connsiteX8" fmla="*/ 514587 w 515902"/>
                    <a:gd name="connsiteY8" fmla="*/ 230199 h 457616"/>
                    <a:gd name="connsiteX9" fmla="*/ 511412 w 515902"/>
                    <a:gd name="connsiteY9" fmla="*/ 452449 h 457616"/>
                    <a:gd name="connsiteX10" fmla="*/ 9762 w 515902"/>
                    <a:gd name="connsiteY10" fmla="*/ 446099 h 457616"/>
                    <a:gd name="connsiteX0" fmla="*/ 9762 w 515902"/>
                    <a:gd name="connsiteY0" fmla="*/ 447482 h 458999"/>
                    <a:gd name="connsiteX1" fmla="*/ 6587 w 515902"/>
                    <a:gd name="connsiteY1" fmla="*/ 222057 h 458999"/>
                    <a:gd name="connsiteX2" fmla="*/ 76437 w 515902"/>
                    <a:gd name="connsiteY2" fmla="*/ 158557 h 458999"/>
                    <a:gd name="connsiteX3" fmla="*/ 190737 w 515902"/>
                    <a:gd name="connsiteY3" fmla="*/ 139507 h 458999"/>
                    <a:gd name="connsiteX4" fmla="*/ 206612 w 515902"/>
                    <a:gd name="connsiteY4" fmla="*/ 15682 h 458999"/>
                    <a:gd name="connsiteX5" fmla="*/ 317737 w 515902"/>
                    <a:gd name="connsiteY5" fmla="*/ 12507 h 458999"/>
                    <a:gd name="connsiteX6" fmla="*/ 330437 w 515902"/>
                    <a:gd name="connsiteY6" fmla="*/ 114107 h 458999"/>
                    <a:gd name="connsiteX7" fmla="*/ 451087 w 515902"/>
                    <a:gd name="connsiteY7" fmla="*/ 161732 h 458999"/>
                    <a:gd name="connsiteX8" fmla="*/ 514587 w 515902"/>
                    <a:gd name="connsiteY8" fmla="*/ 231582 h 458999"/>
                    <a:gd name="connsiteX9" fmla="*/ 511412 w 515902"/>
                    <a:gd name="connsiteY9" fmla="*/ 453832 h 458999"/>
                    <a:gd name="connsiteX10" fmla="*/ 9762 w 515902"/>
                    <a:gd name="connsiteY10" fmla="*/ 447482 h 458999"/>
                    <a:gd name="connsiteX0" fmla="*/ 9762 w 515902"/>
                    <a:gd name="connsiteY0" fmla="*/ 446348 h 457865"/>
                    <a:gd name="connsiteX1" fmla="*/ 6587 w 515902"/>
                    <a:gd name="connsiteY1" fmla="*/ 220923 h 457865"/>
                    <a:gd name="connsiteX2" fmla="*/ 76437 w 515902"/>
                    <a:gd name="connsiteY2" fmla="*/ 157423 h 457865"/>
                    <a:gd name="connsiteX3" fmla="*/ 200262 w 515902"/>
                    <a:gd name="connsiteY3" fmla="*/ 119323 h 457865"/>
                    <a:gd name="connsiteX4" fmla="*/ 206612 w 515902"/>
                    <a:gd name="connsiteY4" fmla="*/ 14548 h 457865"/>
                    <a:gd name="connsiteX5" fmla="*/ 317737 w 515902"/>
                    <a:gd name="connsiteY5" fmla="*/ 11373 h 457865"/>
                    <a:gd name="connsiteX6" fmla="*/ 330437 w 515902"/>
                    <a:gd name="connsiteY6" fmla="*/ 112973 h 457865"/>
                    <a:gd name="connsiteX7" fmla="*/ 451087 w 515902"/>
                    <a:gd name="connsiteY7" fmla="*/ 160598 h 457865"/>
                    <a:gd name="connsiteX8" fmla="*/ 514587 w 515902"/>
                    <a:gd name="connsiteY8" fmla="*/ 230448 h 457865"/>
                    <a:gd name="connsiteX9" fmla="*/ 511412 w 515902"/>
                    <a:gd name="connsiteY9" fmla="*/ 452698 h 457865"/>
                    <a:gd name="connsiteX10" fmla="*/ 9762 w 515902"/>
                    <a:gd name="connsiteY10" fmla="*/ 446348 h 457865"/>
                    <a:gd name="connsiteX0" fmla="*/ 9762 w 515902"/>
                    <a:gd name="connsiteY0" fmla="*/ 446681 h 458198"/>
                    <a:gd name="connsiteX1" fmla="*/ 6587 w 515902"/>
                    <a:gd name="connsiteY1" fmla="*/ 221256 h 458198"/>
                    <a:gd name="connsiteX2" fmla="*/ 76437 w 515902"/>
                    <a:gd name="connsiteY2" fmla="*/ 157756 h 458198"/>
                    <a:gd name="connsiteX3" fmla="*/ 200262 w 515902"/>
                    <a:gd name="connsiteY3" fmla="*/ 119656 h 458198"/>
                    <a:gd name="connsiteX4" fmla="*/ 206612 w 515902"/>
                    <a:gd name="connsiteY4" fmla="*/ 14881 h 458198"/>
                    <a:gd name="connsiteX5" fmla="*/ 317737 w 515902"/>
                    <a:gd name="connsiteY5" fmla="*/ 11706 h 458198"/>
                    <a:gd name="connsiteX6" fmla="*/ 311502 w 515902"/>
                    <a:gd name="connsiteY6" fmla="*/ 118302 h 458198"/>
                    <a:gd name="connsiteX7" fmla="*/ 451087 w 515902"/>
                    <a:gd name="connsiteY7" fmla="*/ 160931 h 458198"/>
                    <a:gd name="connsiteX8" fmla="*/ 514587 w 515902"/>
                    <a:gd name="connsiteY8" fmla="*/ 230781 h 458198"/>
                    <a:gd name="connsiteX9" fmla="*/ 511412 w 515902"/>
                    <a:gd name="connsiteY9" fmla="*/ 453031 h 458198"/>
                    <a:gd name="connsiteX10" fmla="*/ 9762 w 515902"/>
                    <a:gd name="connsiteY10" fmla="*/ 446681 h 458198"/>
                    <a:gd name="connsiteX0" fmla="*/ 9762 w 515902"/>
                    <a:gd name="connsiteY0" fmla="*/ 446681 h 458198"/>
                    <a:gd name="connsiteX1" fmla="*/ 6587 w 515902"/>
                    <a:gd name="connsiteY1" fmla="*/ 221256 h 458198"/>
                    <a:gd name="connsiteX2" fmla="*/ 76437 w 515902"/>
                    <a:gd name="connsiteY2" fmla="*/ 157756 h 458198"/>
                    <a:gd name="connsiteX3" fmla="*/ 200262 w 515902"/>
                    <a:gd name="connsiteY3" fmla="*/ 119656 h 458198"/>
                    <a:gd name="connsiteX4" fmla="*/ 206612 w 515902"/>
                    <a:gd name="connsiteY4" fmla="*/ 14881 h 458198"/>
                    <a:gd name="connsiteX5" fmla="*/ 301506 w 515902"/>
                    <a:gd name="connsiteY5" fmla="*/ 11706 h 458198"/>
                    <a:gd name="connsiteX6" fmla="*/ 311502 w 515902"/>
                    <a:gd name="connsiteY6" fmla="*/ 118302 h 458198"/>
                    <a:gd name="connsiteX7" fmla="*/ 451087 w 515902"/>
                    <a:gd name="connsiteY7" fmla="*/ 160931 h 458198"/>
                    <a:gd name="connsiteX8" fmla="*/ 514587 w 515902"/>
                    <a:gd name="connsiteY8" fmla="*/ 230781 h 458198"/>
                    <a:gd name="connsiteX9" fmla="*/ 511412 w 515902"/>
                    <a:gd name="connsiteY9" fmla="*/ 453031 h 458198"/>
                    <a:gd name="connsiteX10" fmla="*/ 9762 w 515902"/>
                    <a:gd name="connsiteY10" fmla="*/ 446681 h 458198"/>
                    <a:gd name="connsiteX0" fmla="*/ 9762 w 515902"/>
                    <a:gd name="connsiteY0" fmla="*/ 446681 h 458198"/>
                    <a:gd name="connsiteX1" fmla="*/ 6587 w 515902"/>
                    <a:gd name="connsiteY1" fmla="*/ 221256 h 458198"/>
                    <a:gd name="connsiteX2" fmla="*/ 76437 w 515902"/>
                    <a:gd name="connsiteY2" fmla="*/ 157756 h 458198"/>
                    <a:gd name="connsiteX3" fmla="*/ 200262 w 515902"/>
                    <a:gd name="connsiteY3" fmla="*/ 119656 h 458198"/>
                    <a:gd name="connsiteX4" fmla="*/ 206612 w 515902"/>
                    <a:gd name="connsiteY4" fmla="*/ 14881 h 458198"/>
                    <a:gd name="connsiteX5" fmla="*/ 301506 w 515902"/>
                    <a:gd name="connsiteY5" fmla="*/ 11706 h 458198"/>
                    <a:gd name="connsiteX6" fmla="*/ 311502 w 515902"/>
                    <a:gd name="connsiteY6" fmla="*/ 118302 h 458198"/>
                    <a:gd name="connsiteX7" fmla="*/ 442972 w 515902"/>
                    <a:gd name="connsiteY7" fmla="*/ 180912 h 458198"/>
                    <a:gd name="connsiteX8" fmla="*/ 514587 w 515902"/>
                    <a:gd name="connsiteY8" fmla="*/ 230781 h 458198"/>
                    <a:gd name="connsiteX9" fmla="*/ 511412 w 515902"/>
                    <a:gd name="connsiteY9" fmla="*/ 453031 h 458198"/>
                    <a:gd name="connsiteX10" fmla="*/ 9762 w 515902"/>
                    <a:gd name="connsiteY10" fmla="*/ 446681 h 458198"/>
                    <a:gd name="connsiteX0" fmla="*/ 9762 w 511905"/>
                    <a:gd name="connsiteY0" fmla="*/ 446681 h 458198"/>
                    <a:gd name="connsiteX1" fmla="*/ 6587 w 511905"/>
                    <a:gd name="connsiteY1" fmla="*/ 221256 h 458198"/>
                    <a:gd name="connsiteX2" fmla="*/ 76437 w 511905"/>
                    <a:gd name="connsiteY2" fmla="*/ 157756 h 458198"/>
                    <a:gd name="connsiteX3" fmla="*/ 200262 w 511905"/>
                    <a:gd name="connsiteY3" fmla="*/ 119656 h 458198"/>
                    <a:gd name="connsiteX4" fmla="*/ 206612 w 511905"/>
                    <a:gd name="connsiteY4" fmla="*/ 14881 h 458198"/>
                    <a:gd name="connsiteX5" fmla="*/ 301506 w 511905"/>
                    <a:gd name="connsiteY5" fmla="*/ 11706 h 458198"/>
                    <a:gd name="connsiteX6" fmla="*/ 311502 w 511905"/>
                    <a:gd name="connsiteY6" fmla="*/ 118302 h 458198"/>
                    <a:gd name="connsiteX7" fmla="*/ 442972 w 511905"/>
                    <a:gd name="connsiteY7" fmla="*/ 180912 h 458198"/>
                    <a:gd name="connsiteX8" fmla="*/ 498357 w 511905"/>
                    <a:gd name="connsiteY8" fmla="*/ 250762 h 458198"/>
                    <a:gd name="connsiteX9" fmla="*/ 511412 w 511905"/>
                    <a:gd name="connsiteY9" fmla="*/ 453031 h 458198"/>
                    <a:gd name="connsiteX10" fmla="*/ 9762 w 511905"/>
                    <a:gd name="connsiteY10" fmla="*/ 446681 h 458198"/>
                    <a:gd name="connsiteX0" fmla="*/ 9762 w 511905"/>
                    <a:gd name="connsiteY0" fmla="*/ 446681 h 458198"/>
                    <a:gd name="connsiteX1" fmla="*/ 6587 w 511905"/>
                    <a:gd name="connsiteY1" fmla="*/ 221256 h 458198"/>
                    <a:gd name="connsiteX2" fmla="*/ 76437 w 511905"/>
                    <a:gd name="connsiteY2" fmla="*/ 157756 h 458198"/>
                    <a:gd name="connsiteX3" fmla="*/ 200262 w 511905"/>
                    <a:gd name="connsiteY3" fmla="*/ 119656 h 458198"/>
                    <a:gd name="connsiteX4" fmla="*/ 206612 w 511905"/>
                    <a:gd name="connsiteY4" fmla="*/ 14881 h 458198"/>
                    <a:gd name="connsiteX5" fmla="*/ 301506 w 511905"/>
                    <a:gd name="connsiteY5" fmla="*/ 11706 h 458198"/>
                    <a:gd name="connsiteX6" fmla="*/ 311502 w 511905"/>
                    <a:gd name="connsiteY6" fmla="*/ 118302 h 458198"/>
                    <a:gd name="connsiteX7" fmla="*/ 437562 w 511905"/>
                    <a:gd name="connsiteY7" fmla="*/ 198396 h 458198"/>
                    <a:gd name="connsiteX8" fmla="*/ 498357 w 511905"/>
                    <a:gd name="connsiteY8" fmla="*/ 250762 h 458198"/>
                    <a:gd name="connsiteX9" fmla="*/ 511412 w 511905"/>
                    <a:gd name="connsiteY9" fmla="*/ 453031 h 458198"/>
                    <a:gd name="connsiteX10" fmla="*/ 9762 w 511905"/>
                    <a:gd name="connsiteY10" fmla="*/ 446681 h 458198"/>
                    <a:gd name="connsiteX0" fmla="*/ 9762 w 511905"/>
                    <a:gd name="connsiteY0" fmla="*/ 446681 h 458198"/>
                    <a:gd name="connsiteX1" fmla="*/ 6587 w 511905"/>
                    <a:gd name="connsiteY1" fmla="*/ 221256 h 458198"/>
                    <a:gd name="connsiteX2" fmla="*/ 76437 w 511905"/>
                    <a:gd name="connsiteY2" fmla="*/ 157756 h 458198"/>
                    <a:gd name="connsiteX3" fmla="*/ 200262 w 511905"/>
                    <a:gd name="connsiteY3" fmla="*/ 119656 h 458198"/>
                    <a:gd name="connsiteX4" fmla="*/ 206612 w 511905"/>
                    <a:gd name="connsiteY4" fmla="*/ 14881 h 458198"/>
                    <a:gd name="connsiteX5" fmla="*/ 301506 w 511905"/>
                    <a:gd name="connsiteY5" fmla="*/ 11706 h 458198"/>
                    <a:gd name="connsiteX6" fmla="*/ 311502 w 511905"/>
                    <a:gd name="connsiteY6" fmla="*/ 118302 h 458198"/>
                    <a:gd name="connsiteX7" fmla="*/ 451087 w 511905"/>
                    <a:gd name="connsiteY7" fmla="*/ 188406 h 458198"/>
                    <a:gd name="connsiteX8" fmla="*/ 498357 w 511905"/>
                    <a:gd name="connsiteY8" fmla="*/ 250762 h 458198"/>
                    <a:gd name="connsiteX9" fmla="*/ 511412 w 511905"/>
                    <a:gd name="connsiteY9" fmla="*/ 453031 h 458198"/>
                    <a:gd name="connsiteX10" fmla="*/ 9762 w 511905"/>
                    <a:gd name="connsiteY10" fmla="*/ 446681 h 458198"/>
                    <a:gd name="connsiteX0" fmla="*/ 9762 w 511905"/>
                    <a:gd name="connsiteY0" fmla="*/ 447695 h 459212"/>
                    <a:gd name="connsiteX1" fmla="*/ 6587 w 511905"/>
                    <a:gd name="connsiteY1" fmla="*/ 222270 h 459212"/>
                    <a:gd name="connsiteX2" fmla="*/ 76437 w 511905"/>
                    <a:gd name="connsiteY2" fmla="*/ 158770 h 459212"/>
                    <a:gd name="connsiteX3" fmla="*/ 200262 w 511905"/>
                    <a:gd name="connsiteY3" fmla="*/ 120670 h 459212"/>
                    <a:gd name="connsiteX4" fmla="*/ 206612 w 511905"/>
                    <a:gd name="connsiteY4" fmla="*/ 15895 h 459212"/>
                    <a:gd name="connsiteX5" fmla="*/ 301506 w 511905"/>
                    <a:gd name="connsiteY5" fmla="*/ 12720 h 459212"/>
                    <a:gd name="connsiteX6" fmla="*/ 311502 w 511905"/>
                    <a:gd name="connsiteY6" fmla="*/ 134302 h 459212"/>
                    <a:gd name="connsiteX7" fmla="*/ 451087 w 511905"/>
                    <a:gd name="connsiteY7" fmla="*/ 189420 h 459212"/>
                    <a:gd name="connsiteX8" fmla="*/ 498357 w 511905"/>
                    <a:gd name="connsiteY8" fmla="*/ 251776 h 459212"/>
                    <a:gd name="connsiteX9" fmla="*/ 511412 w 511905"/>
                    <a:gd name="connsiteY9" fmla="*/ 454045 h 459212"/>
                    <a:gd name="connsiteX10" fmla="*/ 9762 w 511905"/>
                    <a:gd name="connsiteY10" fmla="*/ 447695 h 459212"/>
                    <a:gd name="connsiteX0" fmla="*/ 4227 w 522600"/>
                    <a:gd name="connsiteY0" fmla="*/ 455188 h 463021"/>
                    <a:gd name="connsiteX1" fmla="*/ 17282 w 522600"/>
                    <a:gd name="connsiteY1" fmla="*/ 222270 h 463021"/>
                    <a:gd name="connsiteX2" fmla="*/ 87132 w 522600"/>
                    <a:gd name="connsiteY2" fmla="*/ 158770 h 463021"/>
                    <a:gd name="connsiteX3" fmla="*/ 210957 w 522600"/>
                    <a:gd name="connsiteY3" fmla="*/ 120670 h 463021"/>
                    <a:gd name="connsiteX4" fmla="*/ 217307 w 522600"/>
                    <a:gd name="connsiteY4" fmla="*/ 15895 h 463021"/>
                    <a:gd name="connsiteX5" fmla="*/ 312201 w 522600"/>
                    <a:gd name="connsiteY5" fmla="*/ 12720 h 463021"/>
                    <a:gd name="connsiteX6" fmla="*/ 322197 w 522600"/>
                    <a:gd name="connsiteY6" fmla="*/ 134302 h 463021"/>
                    <a:gd name="connsiteX7" fmla="*/ 461782 w 522600"/>
                    <a:gd name="connsiteY7" fmla="*/ 189420 h 463021"/>
                    <a:gd name="connsiteX8" fmla="*/ 509052 w 522600"/>
                    <a:gd name="connsiteY8" fmla="*/ 251776 h 463021"/>
                    <a:gd name="connsiteX9" fmla="*/ 522107 w 522600"/>
                    <a:gd name="connsiteY9" fmla="*/ 454045 h 463021"/>
                    <a:gd name="connsiteX10" fmla="*/ 4227 w 522600"/>
                    <a:gd name="connsiteY10" fmla="*/ 455188 h 463021"/>
                    <a:gd name="connsiteX0" fmla="*/ 4227 w 522600"/>
                    <a:gd name="connsiteY0" fmla="*/ 455188 h 457596"/>
                    <a:gd name="connsiteX1" fmla="*/ 17282 w 522600"/>
                    <a:gd name="connsiteY1" fmla="*/ 222270 h 457596"/>
                    <a:gd name="connsiteX2" fmla="*/ 87132 w 522600"/>
                    <a:gd name="connsiteY2" fmla="*/ 158770 h 457596"/>
                    <a:gd name="connsiteX3" fmla="*/ 210957 w 522600"/>
                    <a:gd name="connsiteY3" fmla="*/ 120670 h 457596"/>
                    <a:gd name="connsiteX4" fmla="*/ 217307 w 522600"/>
                    <a:gd name="connsiteY4" fmla="*/ 15895 h 457596"/>
                    <a:gd name="connsiteX5" fmla="*/ 312201 w 522600"/>
                    <a:gd name="connsiteY5" fmla="*/ 12720 h 457596"/>
                    <a:gd name="connsiteX6" fmla="*/ 322197 w 522600"/>
                    <a:gd name="connsiteY6" fmla="*/ 134302 h 457596"/>
                    <a:gd name="connsiteX7" fmla="*/ 461782 w 522600"/>
                    <a:gd name="connsiteY7" fmla="*/ 189420 h 457596"/>
                    <a:gd name="connsiteX8" fmla="*/ 509052 w 522600"/>
                    <a:gd name="connsiteY8" fmla="*/ 251776 h 457596"/>
                    <a:gd name="connsiteX9" fmla="*/ 522107 w 522600"/>
                    <a:gd name="connsiteY9" fmla="*/ 454045 h 457596"/>
                    <a:gd name="connsiteX10" fmla="*/ 4227 w 522600"/>
                    <a:gd name="connsiteY10" fmla="*/ 455188 h 457596"/>
                    <a:gd name="connsiteX0" fmla="*/ 12757 w 531130"/>
                    <a:gd name="connsiteY0" fmla="*/ 455188 h 457596"/>
                    <a:gd name="connsiteX1" fmla="*/ 6876 w 531130"/>
                    <a:gd name="connsiteY1" fmla="*/ 237256 h 457596"/>
                    <a:gd name="connsiteX2" fmla="*/ 95662 w 531130"/>
                    <a:gd name="connsiteY2" fmla="*/ 158770 h 457596"/>
                    <a:gd name="connsiteX3" fmla="*/ 219487 w 531130"/>
                    <a:gd name="connsiteY3" fmla="*/ 120670 h 457596"/>
                    <a:gd name="connsiteX4" fmla="*/ 225837 w 531130"/>
                    <a:gd name="connsiteY4" fmla="*/ 15895 h 457596"/>
                    <a:gd name="connsiteX5" fmla="*/ 320731 w 531130"/>
                    <a:gd name="connsiteY5" fmla="*/ 12720 h 457596"/>
                    <a:gd name="connsiteX6" fmla="*/ 330727 w 531130"/>
                    <a:gd name="connsiteY6" fmla="*/ 134302 h 457596"/>
                    <a:gd name="connsiteX7" fmla="*/ 470312 w 531130"/>
                    <a:gd name="connsiteY7" fmla="*/ 189420 h 457596"/>
                    <a:gd name="connsiteX8" fmla="*/ 517582 w 531130"/>
                    <a:gd name="connsiteY8" fmla="*/ 251776 h 457596"/>
                    <a:gd name="connsiteX9" fmla="*/ 530637 w 531130"/>
                    <a:gd name="connsiteY9" fmla="*/ 454045 h 457596"/>
                    <a:gd name="connsiteX10" fmla="*/ 12757 w 531130"/>
                    <a:gd name="connsiteY10" fmla="*/ 455188 h 457596"/>
                    <a:gd name="connsiteX0" fmla="*/ 7226 w 536419"/>
                    <a:gd name="connsiteY0" fmla="*/ 447695 h 456315"/>
                    <a:gd name="connsiteX1" fmla="*/ 12165 w 536419"/>
                    <a:gd name="connsiteY1" fmla="*/ 237256 h 456315"/>
                    <a:gd name="connsiteX2" fmla="*/ 100951 w 536419"/>
                    <a:gd name="connsiteY2" fmla="*/ 158770 h 456315"/>
                    <a:gd name="connsiteX3" fmla="*/ 224776 w 536419"/>
                    <a:gd name="connsiteY3" fmla="*/ 120670 h 456315"/>
                    <a:gd name="connsiteX4" fmla="*/ 231126 w 536419"/>
                    <a:gd name="connsiteY4" fmla="*/ 15895 h 456315"/>
                    <a:gd name="connsiteX5" fmla="*/ 326020 w 536419"/>
                    <a:gd name="connsiteY5" fmla="*/ 12720 h 456315"/>
                    <a:gd name="connsiteX6" fmla="*/ 336016 w 536419"/>
                    <a:gd name="connsiteY6" fmla="*/ 134302 h 456315"/>
                    <a:gd name="connsiteX7" fmla="*/ 475601 w 536419"/>
                    <a:gd name="connsiteY7" fmla="*/ 189420 h 456315"/>
                    <a:gd name="connsiteX8" fmla="*/ 522871 w 536419"/>
                    <a:gd name="connsiteY8" fmla="*/ 251776 h 456315"/>
                    <a:gd name="connsiteX9" fmla="*/ 535926 w 536419"/>
                    <a:gd name="connsiteY9" fmla="*/ 454045 h 456315"/>
                    <a:gd name="connsiteX10" fmla="*/ 7226 w 536419"/>
                    <a:gd name="connsiteY10" fmla="*/ 447695 h 456315"/>
                    <a:gd name="connsiteX0" fmla="*/ 7226 w 528834"/>
                    <a:gd name="connsiteY0" fmla="*/ 447695 h 456315"/>
                    <a:gd name="connsiteX1" fmla="*/ 12165 w 528834"/>
                    <a:gd name="connsiteY1" fmla="*/ 237256 h 456315"/>
                    <a:gd name="connsiteX2" fmla="*/ 100951 w 528834"/>
                    <a:gd name="connsiteY2" fmla="*/ 158770 h 456315"/>
                    <a:gd name="connsiteX3" fmla="*/ 224776 w 528834"/>
                    <a:gd name="connsiteY3" fmla="*/ 120670 h 456315"/>
                    <a:gd name="connsiteX4" fmla="*/ 231126 w 528834"/>
                    <a:gd name="connsiteY4" fmla="*/ 15895 h 456315"/>
                    <a:gd name="connsiteX5" fmla="*/ 326020 w 528834"/>
                    <a:gd name="connsiteY5" fmla="*/ 12720 h 456315"/>
                    <a:gd name="connsiteX6" fmla="*/ 336016 w 528834"/>
                    <a:gd name="connsiteY6" fmla="*/ 134302 h 456315"/>
                    <a:gd name="connsiteX7" fmla="*/ 475601 w 528834"/>
                    <a:gd name="connsiteY7" fmla="*/ 189420 h 456315"/>
                    <a:gd name="connsiteX8" fmla="*/ 522871 w 528834"/>
                    <a:gd name="connsiteY8" fmla="*/ 251776 h 456315"/>
                    <a:gd name="connsiteX9" fmla="*/ 527811 w 528834"/>
                    <a:gd name="connsiteY9" fmla="*/ 454045 h 456315"/>
                    <a:gd name="connsiteX10" fmla="*/ 7226 w 528834"/>
                    <a:gd name="connsiteY10" fmla="*/ 447695 h 456315"/>
                    <a:gd name="connsiteX0" fmla="*/ 7226 w 528834"/>
                    <a:gd name="connsiteY0" fmla="*/ 447695 h 456315"/>
                    <a:gd name="connsiteX1" fmla="*/ 12165 w 528834"/>
                    <a:gd name="connsiteY1" fmla="*/ 237256 h 456315"/>
                    <a:gd name="connsiteX2" fmla="*/ 100951 w 528834"/>
                    <a:gd name="connsiteY2" fmla="*/ 158770 h 456315"/>
                    <a:gd name="connsiteX3" fmla="*/ 224776 w 528834"/>
                    <a:gd name="connsiteY3" fmla="*/ 120670 h 456315"/>
                    <a:gd name="connsiteX4" fmla="*/ 231126 w 528834"/>
                    <a:gd name="connsiteY4" fmla="*/ 15895 h 456315"/>
                    <a:gd name="connsiteX5" fmla="*/ 326020 w 528834"/>
                    <a:gd name="connsiteY5" fmla="*/ 12720 h 456315"/>
                    <a:gd name="connsiteX6" fmla="*/ 336016 w 528834"/>
                    <a:gd name="connsiteY6" fmla="*/ 134302 h 456315"/>
                    <a:gd name="connsiteX7" fmla="*/ 462076 w 528834"/>
                    <a:gd name="connsiteY7" fmla="*/ 184425 h 456315"/>
                    <a:gd name="connsiteX8" fmla="*/ 522871 w 528834"/>
                    <a:gd name="connsiteY8" fmla="*/ 251776 h 456315"/>
                    <a:gd name="connsiteX9" fmla="*/ 527811 w 528834"/>
                    <a:gd name="connsiteY9" fmla="*/ 454045 h 456315"/>
                    <a:gd name="connsiteX10" fmla="*/ 7226 w 528834"/>
                    <a:gd name="connsiteY10" fmla="*/ 447695 h 456315"/>
                    <a:gd name="connsiteX0" fmla="*/ 8515 w 530123"/>
                    <a:gd name="connsiteY0" fmla="*/ 447695 h 456315"/>
                    <a:gd name="connsiteX1" fmla="*/ 10749 w 530123"/>
                    <a:gd name="connsiteY1" fmla="*/ 244749 h 456315"/>
                    <a:gd name="connsiteX2" fmla="*/ 102240 w 530123"/>
                    <a:gd name="connsiteY2" fmla="*/ 158770 h 456315"/>
                    <a:gd name="connsiteX3" fmla="*/ 226065 w 530123"/>
                    <a:gd name="connsiteY3" fmla="*/ 120670 h 456315"/>
                    <a:gd name="connsiteX4" fmla="*/ 232415 w 530123"/>
                    <a:gd name="connsiteY4" fmla="*/ 15895 h 456315"/>
                    <a:gd name="connsiteX5" fmla="*/ 327309 w 530123"/>
                    <a:gd name="connsiteY5" fmla="*/ 12720 h 456315"/>
                    <a:gd name="connsiteX6" fmla="*/ 337305 w 530123"/>
                    <a:gd name="connsiteY6" fmla="*/ 134302 h 456315"/>
                    <a:gd name="connsiteX7" fmla="*/ 463365 w 530123"/>
                    <a:gd name="connsiteY7" fmla="*/ 184425 h 456315"/>
                    <a:gd name="connsiteX8" fmla="*/ 524160 w 530123"/>
                    <a:gd name="connsiteY8" fmla="*/ 251776 h 456315"/>
                    <a:gd name="connsiteX9" fmla="*/ 529100 w 530123"/>
                    <a:gd name="connsiteY9" fmla="*/ 454045 h 456315"/>
                    <a:gd name="connsiteX10" fmla="*/ 8515 w 530123"/>
                    <a:gd name="connsiteY10" fmla="*/ 447695 h 456315"/>
                    <a:gd name="connsiteX0" fmla="*/ 7671 w 529279"/>
                    <a:gd name="connsiteY0" fmla="*/ 447695 h 456315"/>
                    <a:gd name="connsiteX1" fmla="*/ 9905 w 529279"/>
                    <a:gd name="connsiteY1" fmla="*/ 244749 h 456315"/>
                    <a:gd name="connsiteX2" fmla="*/ 87870 w 529279"/>
                    <a:gd name="connsiteY2" fmla="*/ 166263 h 456315"/>
                    <a:gd name="connsiteX3" fmla="*/ 225221 w 529279"/>
                    <a:gd name="connsiteY3" fmla="*/ 120670 h 456315"/>
                    <a:gd name="connsiteX4" fmla="*/ 231571 w 529279"/>
                    <a:gd name="connsiteY4" fmla="*/ 15895 h 456315"/>
                    <a:gd name="connsiteX5" fmla="*/ 326465 w 529279"/>
                    <a:gd name="connsiteY5" fmla="*/ 12720 h 456315"/>
                    <a:gd name="connsiteX6" fmla="*/ 336461 w 529279"/>
                    <a:gd name="connsiteY6" fmla="*/ 134302 h 456315"/>
                    <a:gd name="connsiteX7" fmla="*/ 462521 w 529279"/>
                    <a:gd name="connsiteY7" fmla="*/ 184425 h 456315"/>
                    <a:gd name="connsiteX8" fmla="*/ 523316 w 529279"/>
                    <a:gd name="connsiteY8" fmla="*/ 251776 h 456315"/>
                    <a:gd name="connsiteX9" fmla="*/ 528256 w 529279"/>
                    <a:gd name="connsiteY9" fmla="*/ 454045 h 456315"/>
                    <a:gd name="connsiteX10" fmla="*/ 7671 w 529279"/>
                    <a:gd name="connsiteY10" fmla="*/ 447695 h 456315"/>
                    <a:gd name="connsiteX0" fmla="*/ 7671 w 529279"/>
                    <a:gd name="connsiteY0" fmla="*/ 447558 h 456178"/>
                    <a:gd name="connsiteX1" fmla="*/ 9905 w 529279"/>
                    <a:gd name="connsiteY1" fmla="*/ 244612 h 456178"/>
                    <a:gd name="connsiteX2" fmla="*/ 87870 w 529279"/>
                    <a:gd name="connsiteY2" fmla="*/ 166126 h 456178"/>
                    <a:gd name="connsiteX3" fmla="*/ 206285 w 529279"/>
                    <a:gd name="connsiteY3" fmla="*/ 118035 h 456178"/>
                    <a:gd name="connsiteX4" fmla="*/ 231571 w 529279"/>
                    <a:gd name="connsiteY4" fmla="*/ 15758 h 456178"/>
                    <a:gd name="connsiteX5" fmla="*/ 326465 w 529279"/>
                    <a:gd name="connsiteY5" fmla="*/ 12583 h 456178"/>
                    <a:gd name="connsiteX6" fmla="*/ 336461 w 529279"/>
                    <a:gd name="connsiteY6" fmla="*/ 134165 h 456178"/>
                    <a:gd name="connsiteX7" fmla="*/ 462521 w 529279"/>
                    <a:gd name="connsiteY7" fmla="*/ 184288 h 456178"/>
                    <a:gd name="connsiteX8" fmla="*/ 523316 w 529279"/>
                    <a:gd name="connsiteY8" fmla="*/ 251639 h 456178"/>
                    <a:gd name="connsiteX9" fmla="*/ 528256 w 529279"/>
                    <a:gd name="connsiteY9" fmla="*/ 453908 h 456178"/>
                    <a:gd name="connsiteX10" fmla="*/ 7671 w 529279"/>
                    <a:gd name="connsiteY10" fmla="*/ 447558 h 456178"/>
                    <a:gd name="connsiteX0" fmla="*/ 14544 w 536152"/>
                    <a:gd name="connsiteY0" fmla="*/ 447558 h 456178"/>
                    <a:gd name="connsiteX1" fmla="*/ 5958 w 536152"/>
                    <a:gd name="connsiteY1" fmla="*/ 247109 h 456178"/>
                    <a:gd name="connsiteX2" fmla="*/ 94743 w 536152"/>
                    <a:gd name="connsiteY2" fmla="*/ 166126 h 456178"/>
                    <a:gd name="connsiteX3" fmla="*/ 213158 w 536152"/>
                    <a:gd name="connsiteY3" fmla="*/ 118035 h 456178"/>
                    <a:gd name="connsiteX4" fmla="*/ 238444 w 536152"/>
                    <a:gd name="connsiteY4" fmla="*/ 15758 h 456178"/>
                    <a:gd name="connsiteX5" fmla="*/ 333338 w 536152"/>
                    <a:gd name="connsiteY5" fmla="*/ 12583 h 456178"/>
                    <a:gd name="connsiteX6" fmla="*/ 343334 w 536152"/>
                    <a:gd name="connsiteY6" fmla="*/ 134165 h 456178"/>
                    <a:gd name="connsiteX7" fmla="*/ 469394 w 536152"/>
                    <a:gd name="connsiteY7" fmla="*/ 184288 h 456178"/>
                    <a:gd name="connsiteX8" fmla="*/ 530189 w 536152"/>
                    <a:gd name="connsiteY8" fmla="*/ 251639 h 456178"/>
                    <a:gd name="connsiteX9" fmla="*/ 535129 w 536152"/>
                    <a:gd name="connsiteY9" fmla="*/ 453908 h 456178"/>
                    <a:gd name="connsiteX10" fmla="*/ 14544 w 536152"/>
                    <a:gd name="connsiteY10" fmla="*/ 447558 h 456178"/>
                    <a:gd name="connsiteX0" fmla="*/ 7226 w 542359"/>
                    <a:gd name="connsiteY0" fmla="*/ 450055 h 456488"/>
                    <a:gd name="connsiteX1" fmla="*/ 12165 w 542359"/>
                    <a:gd name="connsiteY1" fmla="*/ 247109 h 456488"/>
                    <a:gd name="connsiteX2" fmla="*/ 100950 w 542359"/>
                    <a:gd name="connsiteY2" fmla="*/ 166126 h 456488"/>
                    <a:gd name="connsiteX3" fmla="*/ 219365 w 542359"/>
                    <a:gd name="connsiteY3" fmla="*/ 118035 h 456488"/>
                    <a:gd name="connsiteX4" fmla="*/ 244651 w 542359"/>
                    <a:gd name="connsiteY4" fmla="*/ 15758 h 456488"/>
                    <a:gd name="connsiteX5" fmla="*/ 339545 w 542359"/>
                    <a:gd name="connsiteY5" fmla="*/ 12583 h 456488"/>
                    <a:gd name="connsiteX6" fmla="*/ 349541 w 542359"/>
                    <a:gd name="connsiteY6" fmla="*/ 134165 h 456488"/>
                    <a:gd name="connsiteX7" fmla="*/ 475601 w 542359"/>
                    <a:gd name="connsiteY7" fmla="*/ 184288 h 456488"/>
                    <a:gd name="connsiteX8" fmla="*/ 536396 w 542359"/>
                    <a:gd name="connsiteY8" fmla="*/ 251639 h 456488"/>
                    <a:gd name="connsiteX9" fmla="*/ 541336 w 542359"/>
                    <a:gd name="connsiteY9" fmla="*/ 453908 h 456488"/>
                    <a:gd name="connsiteX10" fmla="*/ 7226 w 542359"/>
                    <a:gd name="connsiteY10" fmla="*/ 450055 h 456488"/>
                    <a:gd name="connsiteX0" fmla="*/ 7226 w 542359"/>
                    <a:gd name="connsiteY0" fmla="*/ 450055 h 456488"/>
                    <a:gd name="connsiteX1" fmla="*/ 12165 w 542359"/>
                    <a:gd name="connsiteY1" fmla="*/ 247109 h 456488"/>
                    <a:gd name="connsiteX2" fmla="*/ 100950 w 542359"/>
                    <a:gd name="connsiteY2" fmla="*/ 166126 h 456488"/>
                    <a:gd name="connsiteX3" fmla="*/ 219365 w 542359"/>
                    <a:gd name="connsiteY3" fmla="*/ 118035 h 456488"/>
                    <a:gd name="connsiteX4" fmla="*/ 244651 w 542359"/>
                    <a:gd name="connsiteY4" fmla="*/ 15758 h 456488"/>
                    <a:gd name="connsiteX5" fmla="*/ 331430 w 542359"/>
                    <a:gd name="connsiteY5" fmla="*/ 12583 h 456488"/>
                    <a:gd name="connsiteX6" fmla="*/ 349541 w 542359"/>
                    <a:gd name="connsiteY6" fmla="*/ 134165 h 456488"/>
                    <a:gd name="connsiteX7" fmla="*/ 475601 w 542359"/>
                    <a:gd name="connsiteY7" fmla="*/ 184288 h 456488"/>
                    <a:gd name="connsiteX8" fmla="*/ 536396 w 542359"/>
                    <a:gd name="connsiteY8" fmla="*/ 251639 h 456488"/>
                    <a:gd name="connsiteX9" fmla="*/ 541336 w 542359"/>
                    <a:gd name="connsiteY9" fmla="*/ 453908 h 456488"/>
                    <a:gd name="connsiteX10" fmla="*/ 7226 w 542359"/>
                    <a:gd name="connsiteY10" fmla="*/ 450055 h 456488"/>
                    <a:gd name="connsiteX0" fmla="*/ 7226 w 542359"/>
                    <a:gd name="connsiteY0" fmla="*/ 450055 h 456488"/>
                    <a:gd name="connsiteX1" fmla="*/ 12165 w 542359"/>
                    <a:gd name="connsiteY1" fmla="*/ 247109 h 456488"/>
                    <a:gd name="connsiteX2" fmla="*/ 100950 w 542359"/>
                    <a:gd name="connsiteY2" fmla="*/ 166126 h 456488"/>
                    <a:gd name="connsiteX3" fmla="*/ 219365 w 542359"/>
                    <a:gd name="connsiteY3" fmla="*/ 118035 h 456488"/>
                    <a:gd name="connsiteX4" fmla="*/ 244651 w 542359"/>
                    <a:gd name="connsiteY4" fmla="*/ 15758 h 456488"/>
                    <a:gd name="connsiteX5" fmla="*/ 331430 w 542359"/>
                    <a:gd name="connsiteY5" fmla="*/ 12583 h 456488"/>
                    <a:gd name="connsiteX6" fmla="*/ 349541 w 542359"/>
                    <a:gd name="connsiteY6" fmla="*/ 134165 h 456488"/>
                    <a:gd name="connsiteX7" fmla="*/ 483716 w 542359"/>
                    <a:gd name="connsiteY7" fmla="*/ 179293 h 456488"/>
                    <a:gd name="connsiteX8" fmla="*/ 536396 w 542359"/>
                    <a:gd name="connsiteY8" fmla="*/ 251639 h 456488"/>
                    <a:gd name="connsiteX9" fmla="*/ 541336 w 542359"/>
                    <a:gd name="connsiteY9" fmla="*/ 453908 h 456488"/>
                    <a:gd name="connsiteX10" fmla="*/ 7226 w 542359"/>
                    <a:gd name="connsiteY10" fmla="*/ 450055 h 456488"/>
                    <a:gd name="connsiteX0" fmla="*/ 6630 w 541763"/>
                    <a:gd name="connsiteY0" fmla="*/ 450055 h 456488"/>
                    <a:gd name="connsiteX1" fmla="*/ 11569 w 541763"/>
                    <a:gd name="connsiteY1" fmla="*/ 247109 h 456488"/>
                    <a:gd name="connsiteX2" fmla="*/ 89534 w 541763"/>
                    <a:gd name="connsiteY2" fmla="*/ 166126 h 456488"/>
                    <a:gd name="connsiteX3" fmla="*/ 218769 w 541763"/>
                    <a:gd name="connsiteY3" fmla="*/ 118035 h 456488"/>
                    <a:gd name="connsiteX4" fmla="*/ 244055 w 541763"/>
                    <a:gd name="connsiteY4" fmla="*/ 15758 h 456488"/>
                    <a:gd name="connsiteX5" fmla="*/ 330834 w 541763"/>
                    <a:gd name="connsiteY5" fmla="*/ 12583 h 456488"/>
                    <a:gd name="connsiteX6" fmla="*/ 348945 w 541763"/>
                    <a:gd name="connsiteY6" fmla="*/ 134165 h 456488"/>
                    <a:gd name="connsiteX7" fmla="*/ 483120 w 541763"/>
                    <a:gd name="connsiteY7" fmla="*/ 179293 h 456488"/>
                    <a:gd name="connsiteX8" fmla="*/ 535800 w 541763"/>
                    <a:gd name="connsiteY8" fmla="*/ 251639 h 456488"/>
                    <a:gd name="connsiteX9" fmla="*/ 540740 w 541763"/>
                    <a:gd name="connsiteY9" fmla="*/ 453908 h 456488"/>
                    <a:gd name="connsiteX10" fmla="*/ 6630 w 541763"/>
                    <a:gd name="connsiteY10" fmla="*/ 450055 h 456488"/>
                    <a:gd name="connsiteX0" fmla="*/ 4856 w 539989"/>
                    <a:gd name="connsiteY0" fmla="*/ 450055 h 456488"/>
                    <a:gd name="connsiteX1" fmla="*/ 15205 w 539989"/>
                    <a:gd name="connsiteY1" fmla="*/ 227128 h 456488"/>
                    <a:gd name="connsiteX2" fmla="*/ 87760 w 539989"/>
                    <a:gd name="connsiteY2" fmla="*/ 166126 h 456488"/>
                    <a:gd name="connsiteX3" fmla="*/ 216995 w 539989"/>
                    <a:gd name="connsiteY3" fmla="*/ 118035 h 456488"/>
                    <a:gd name="connsiteX4" fmla="*/ 242281 w 539989"/>
                    <a:gd name="connsiteY4" fmla="*/ 15758 h 456488"/>
                    <a:gd name="connsiteX5" fmla="*/ 329060 w 539989"/>
                    <a:gd name="connsiteY5" fmla="*/ 12583 h 456488"/>
                    <a:gd name="connsiteX6" fmla="*/ 347171 w 539989"/>
                    <a:gd name="connsiteY6" fmla="*/ 134165 h 456488"/>
                    <a:gd name="connsiteX7" fmla="*/ 481346 w 539989"/>
                    <a:gd name="connsiteY7" fmla="*/ 179293 h 456488"/>
                    <a:gd name="connsiteX8" fmla="*/ 534026 w 539989"/>
                    <a:gd name="connsiteY8" fmla="*/ 251639 h 456488"/>
                    <a:gd name="connsiteX9" fmla="*/ 538966 w 539989"/>
                    <a:gd name="connsiteY9" fmla="*/ 453908 h 456488"/>
                    <a:gd name="connsiteX10" fmla="*/ 4856 w 539989"/>
                    <a:gd name="connsiteY10" fmla="*/ 450055 h 4564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39989" h="456488">
                      <a:moveTo>
                        <a:pt x="4856" y="450055"/>
                      </a:moveTo>
                      <a:cubicBezTo>
                        <a:pt x="-5198" y="385497"/>
                        <a:pt x="1388" y="274449"/>
                        <a:pt x="15205" y="227128"/>
                      </a:cubicBezTo>
                      <a:cubicBezTo>
                        <a:pt x="29022" y="179807"/>
                        <a:pt x="54128" y="184308"/>
                        <a:pt x="87760" y="166126"/>
                      </a:cubicBezTo>
                      <a:cubicBezTo>
                        <a:pt x="121392" y="147944"/>
                        <a:pt x="191242" y="143096"/>
                        <a:pt x="216995" y="118035"/>
                      </a:cubicBezTo>
                      <a:cubicBezTo>
                        <a:pt x="242748" y="92974"/>
                        <a:pt x="223604" y="33333"/>
                        <a:pt x="242281" y="15758"/>
                      </a:cubicBezTo>
                      <a:cubicBezTo>
                        <a:pt x="260958" y="-1817"/>
                        <a:pt x="311578" y="-7151"/>
                        <a:pt x="329060" y="12583"/>
                      </a:cubicBezTo>
                      <a:cubicBezTo>
                        <a:pt x="346542" y="32317"/>
                        <a:pt x="321790" y="106380"/>
                        <a:pt x="347171" y="134165"/>
                      </a:cubicBezTo>
                      <a:cubicBezTo>
                        <a:pt x="372552" y="161950"/>
                        <a:pt x="450204" y="159714"/>
                        <a:pt x="481346" y="179293"/>
                      </a:cubicBezTo>
                      <a:cubicBezTo>
                        <a:pt x="512489" y="198872"/>
                        <a:pt x="523972" y="202956"/>
                        <a:pt x="534026" y="251639"/>
                      </a:cubicBezTo>
                      <a:cubicBezTo>
                        <a:pt x="537201" y="301381"/>
                        <a:pt x="542141" y="328496"/>
                        <a:pt x="538966" y="453908"/>
                      </a:cubicBezTo>
                      <a:cubicBezTo>
                        <a:pt x="307191" y="461845"/>
                        <a:pt x="250800" y="448827"/>
                        <a:pt x="4856" y="450055"/>
                      </a:cubicBezTo>
                      <a:close/>
                    </a:path>
                  </a:pathLst>
                </a:custGeom>
                <a:solidFill>
                  <a:schemeClr val="bg1"/>
                </a:solidFill>
                <a:ln w="57150">
                  <a:solidFill>
                    <a:schemeClr val="tx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242" name="Oval 241">
                  <a:extLst>
                    <a:ext uri="{FF2B5EF4-FFF2-40B4-BE49-F238E27FC236}">
                      <a16:creationId xmlns:a16="http://schemas.microsoft.com/office/drawing/2014/main" id="{2BEF79E5-7E0F-2B47-8030-6DE079B35FEA}"/>
                    </a:ext>
                  </a:extLst>
                </p:cNvPr>
                <p:cNvSpPr/>
                <p:nvPr/>
              </p:nvSpPr>
              <p:spPr>
                <a:xfrm>
                  <a:off x="1964431" y="3500843"/>
                  <a:ext cx="259337" cy="299858"/>
                </a:xfrm>
                <a:prstGeom prst="ellipse">
                  <a:avLst/>
                </a:prstGeom>
                <a:solidFill>
                  <a:schemeClr val="bg1"/>
                </a:solidFill>
                <a:ln w="57150">
                  <a:solidFill>
                    <a:schemeClr val="tx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grpSp>
        </p:grpSp>
        <p:grpSp>
          <p:nvGrpSpPr>
            <p:cNvPr id="233" name="Group 232">
              <a:extLst>
                <a:ext uri="{FF2B5EF4-FFF2-40B4-BE49-F238E27FC236}">
                  <a16:creationId xmlns:a16="http://schemas.microsoft.com/office/drawing/2014/main" id="{2802D8D8-6808-6742-96D4-88DC7377C200}"/>
                </a:ext>
              </a:extLst>
            </p:cNvPr>
            <p:cNvGrpSpPr/>
            <p:nvPr/>
          </p:nvGrpSpPr>
          <p:grpSpPr>
            <a:xfrm>
              <a:off x="2495712" y="4589934"/>
              <a:ext cx="1256698" cy="510604"/>
              <a:chOff x="2495712" y="4589934"/>
              <a:chExt cx="1256698" cy="510604"/>
            </a:xfrm>
            <a:solidFill>
              <a:schemeClr val="tx1">
                <a:lumMod val="50000"/>
              </a:schemeClr>
            </a:solidFill>
          </p:grpSpPr>
          <p:sp>
            <p:nvSpPr>
              <p:cNvPr id="235" name="Rounded Rectangle 234">
                <a:extLst>
                  <a:ext uri="{FF2B5EF4-FFF2-40B4-BE49-F238E27FC236}">
                    <a16:creationId xmlns:a16="http://schemas.microsoft.com/office/drawing/2014/main" id="{46D2686B-A29A-3C4D-9DA8-B9DE050BC41B}"/>
                  </a:ext>
                </a:extLst>
              </p:cNvPr>
              <p:cNvSpPr/>
              <p:nvPr/>
            </p:nvSpPr>
            <p:spPr>
              <a:xfrm>
                <a:off x="2495712" y="4589934"/>
                <a:ext cx="1256697" cy="251941"/>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236" name="Rectangle 235">
                <a:extLst>
                  <a:ext uri="{FF2B5EF4-FFF2-40B4-BE49-F238E27FC236}">
                    <a16:creationId xmlns:a16="http://schemas.microsoft.com/office/drawing/2014/main" id="{B940E8E4-10A0-834C-ABD8-D462A61DE87A}"/>
                  </a:ext>
                </a:extLst>
              </p:cNvPr>
              <p:cNvSpPr/>
              <p:nvPr/>
            </p:nvSpPr>
            <p:spPr>
              <a:xfrm>
                <a:off x="2498725" y="4797790"/>
                <a:ext cx="1253685" cy="13315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237" name="Rectangle 236">
                <a:extLst>
                  <a:ext uri="{FF2B5EF4-FFF2-40B4-BE49-F238E27FC236}">
                    <a16:creationId xmlns:a16="http://schemas.microsoft.com/office/drawing/2014/main" id="{23EAB1FA-2D6A-3141-B958-2986C9B7FCB5}"/>
                  </a:ext>
                </a:extLst>
              </p:cNvPr>
              <p:cNvSpPr/>
              <p:nvPr/>
            </p:nvSpPr>
            <p:spPr>
              <a:xfrm>
                <a:off x="2546350" y="4923041"/>
                <a:ext cx="109152" cy="17749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238" name="Rectangle 237">
                <a:extLst>
                  <a:ext uri="{FF2B5EF4-FFF2-40B4-BE49-F238E27FC236}">
                    <a16:creationId xmlns:a16="http://schemas.microsoft.com/office/drawing/2014/main" id="{4C7A90F0-C4DD-D549-9B09-37074629D6EA}"/>
                  </a:ext>
                </a:extLst>
              </p:cNvPr>
              <p:cNvSpPr/>
              <p:nvPr/>
            </p:nvSpPr>
            <p:spPr>
              <a:xfrm>
                <a:off x="3610945" y="4923041"/>
                <a:ext cx="109152" cy="17749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grpSp>
        <p:sp>
          <p:nvSpPr>
            <p:cNvPr id="234" name="Trapezoid 233">
              <a:extLst>
                <a:ext uri="{FF2B5EF4-FFF2-40B4-BE49-F238E27FC236}">
                  <a16:creationId xmlns:a16="http://schemas.microsoft.com/office/drawing/2014/main" id="{EA7DD848-0ADC-7E4F-AAA7-564056329E37}"/>
                </a:ext>
              </a:extLst>
            </p:cNvPr>
            <p:cNvSpPr/>
            <p:nvPr/>
          </p:nvSpPr>
          <p:spPr>
            <a:xfrm>
              <a:off x="2655502" y="4181475"/>
              <a:ext cx="958850" cy="363303"/>
            </a:xfrm>
            <a:prstGeom prst="trapezoid">
              <a:avLst/>
            </a:prstGeom>
            <a:solidFill>
              <a:schemeClr val="tx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grpSp>
      <p:grpSp>
        <p:nvGrpSpPr>
          <p:cNvPr id="245" name="Group 244">
            <a:extLst>
              <a:ext uri="{FF2B5EF4-FFF2-40B4-BE49-F238E27FC236}">
                <a16:creationId xmlns:a16="http://schemas.microsoft.com/office/drawing/2014/main" id="{7A2BD41E-C02B-4940-8066-26DDBE82A208}"/>
              </a:ext>
            </a:extLst>
          </p:cNvPr>
          <p:cNvGrpSpPr/>
          <p:nvPr/>
        </p:nvGrpSpPr>
        <p:grpSpPr>
          <a:xfrm>
            <a:off x="11742494" y="5383062"/>
            <a:ext cx="1025213" cy="1261037"/>
            <a:chOff x="2441771" y="3385414"/>
            <a:chExt cx="1325481" cy="1781019"/>
          </a:xfrm>
        </p:grpSpPr>
        <p:pic>
          <p:nvPicPr>
            <p:cNvPr id="246" name="Picture 245">
              <a:extLst>
                <a:ext uri="{FF2B5EF4-FFF2-40B4-BE49-F238E27FC236}">
                  <a16:creationId xmlns:a16="http://schemas.microsoft.com/office/drawing/2014/main" id="{1781BE06-33B8-C546-BA6E-63A5A3A22692}"/>
                </a:ext>
              </a:extLst>
            </p:cNvPr>
            <p:cNvPicPr>
              <a:picLocks noChangeAspect="1"/>
            </p:cNvPicPr>
            <p:nvPr/>
          </p:nvPicPr>
          <p:blipFill rotWithShape="1">
            <a:blip r:embed="rId2"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a:xfrm>
              <a:off x="2441771" y="3385414"/>
              <a:ext cx="1325481" cy="1781019"/>
            </a:xfrm>
            <a:prstGeom prst="rect">
              <a:avLst/>
            </a:prstGeom>
          </p:spPr>
        </p:pic>
        <p:sp>
          <p:nvSpPr>
            <p:cNvPr id="247" name="Rounded Rectangle 246">
              <a:extLst>
                <a:ext uri="{FF2B5EF4-FFF2-40B4-BE49-F238E27FC236}">
                  <a16:creationId xmlns:a16="http://schemas.microsoft.com/office/drawing/2014/main" id="{1F168FAB-6BE0-FD41-9F57-3F8D65324E8A}"/>
                </a:ext>
              </a:extLst>
            </p:cNvPr>
            <p:cNvSpPr/>
            <p:nvPr/>
          </p:nvSpPr>
          <p:spPr>
            <a:xfrm>
              <a:off x="2655502" y="3670300"/>
              <a:ext cx="958850" cy="436656"/>
            </a:xfrm>
            <a:prstGeom prst="roundRect">
              <a:avLst/>
            </a:prstGeom>
            <a:solidFill>
              <a:schemeClr val="tx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grpSp>
          <p:nvGrpSpPr>
            <p:cNvPr id="248" name="Group 247">
              <a:extLst>
                <a:ext uri="{FF2B5EF4-FFF2-40B4-BE49-F238E27FC236}">
                  <a16:creationId xmlns:a16="http://schemas.microsoft.com/office/drawing/2014/main" id="{B092C2A1-7B89-9B4E-840F-7A2402B28CEC}"/>
                </a:ext>
              </a:extLst>
            </p:cNvPr>
            <p:cNvGrpSpPr/>
            <p:nvPr/>
          </p:nvGrpSpPr>
          <p:grpSpPr>
            <a:xfrm>
              <a:off x="2776471" y="3456093"/>
              <a:ext cx="748710" cy="1056883"/>
              <a:chOff x="1496718" y="3334932"/>
              <a:chExt cx="748710" cy="1056883"/>
            </a:xfrm>
          </p:grpSpPr>
          <p:grpSp>
            <p:nvGrpSpPr>
              <p:cNvPr id="255" name="Group 254">
                <a:extLst>
                  <a:ext uri="{FF2B5EF4-FFF2-40B4-BE49-F238E27FC236}">
                    <a16:creationId xmlns:a16="http://schemas.microsoft.com/office/drawing/2014/main" id="{C31BF44D-3BFD-BB44-A0EC-1BEFC3B5B570}"/>
                  </a:ext>
                </a:extLst>
              </p:cNvPr>
              <p:cNvGrpSpPr/>
              <p:nvPr/>
            </p:nvGrpSpPr>
            <p:grpSpPr>
              <a:xfrm>
                <a:off x="1496718" y="3334932"/>
                <a:ext cx="748710" cy="1056883"/>
                <a:chOff x="1843570" y="3508300"/>
                <a:chExt cx="514980" cy="727982"/>
              </a:xfrm>
              <a:solidFill>
                <a:schemeClr val="bg1"/>
              </a:solidFill>
            </p:grpSpPr>
            <p:sp>
              <p:nvSpPr>
                <p:cNvPr id="259" name="Freeform 258">
                  <a:extLst>
                    <a:ext uri="{FF2B5EF4-FFF2-40B4-BE49-F238E27FC236}">
                      <a16:creationId xmlns:a16="http://schemas.microsoft.com/office/drawing/2014/main" id="{1071253A-E275-984B-AC9A-DCDC4B6BA731}"/>
                    </a:ext>
                  </a:extLst>
                </p:cNvPr>
                <p:cNvSpPr/>
                <p:nvPr/>
              </p:nvSpPr>
              <p:spPr>
                <a:xfrm>
                  <a:off x="1843570" y="3787509"/>
                  <a:ext cx="514980" cy="448773"/>
                </a:xfrm>
                <a:custGeom>
                  <a:avLst/>
                  <a:gdLst>
                    <a:gd name="connsiteX0" fmla="*/ 36807 w 576731"/>
                    <a:gd name="connsiteY0" fmla="*/ 449906 h 505924"/>
                    <a:gd name="connsiteX1" fmla="*/ 39982 w 576731"/>
                    <a:gd name="connsiteY1" fmla="*/ 214956 h 505924"/>
                    <a:gd name="connsiteX2" fmla="*/ 55857 w 576731"/>
                    <a:gd name="connsiteY2" fmla="*/ 176856 h 505924"/>
                    <a:gd name="connsiteX3" fmla="*/ 103482 w 576731"/>
                    <a:gd name="connsiteY3" fmla="*/ 160981 h 505924"/>
                    <a:gd name="connsiteX4" fmla="*/ 205082 w 576731"/>
                    <a:gd name="connsiteY4" fmla="*/ 154631 h 505924"/>
                    <a:gd name="connsiteX5" fmla="*/ 230482 w 576731"/>
                    <a:gd name="connsiteY5" fmla="*/ 151456 h 505924"/>
                    <a:gd name="connsiteX6" fmla="*/ 233657 w 576731"/>
                    <a:gd name="connsiteY6" fmla="*/ 18106 h 505924"/>
                    <a:gd name="connsiteX7" fmla="*/ 344782 w 576731"/>
                    <a:gd name="connsiteY7" fmla="*/ 14931 h 505924"/>
                    <a:gd name="connsiteX8" fmla="*/ 344782 w 576731"/>
                    <a:gd name="connsiteY8" fmla="*/ 145106 h 505924"/>
                    <a:gd name="connsiteX9" fmla="*/ 386057 w 576731"/>
                    <a:gd name="connsiteY9" fmla="*/ 151456 h 505924"/>
                    <a:gd name="connsiteX10" fmla="*/ 478132 w 576731"/>
                    <a:gd name="connsiteY10" fmla="*/ 164156 h 505924"/>
                    <a:gd name="connsiteX11" fmla="*/ 519407 w 576731"/>
                    <a:gd name="connsiteY11" fmla="*/ 189556 h 505924"/>
                    <a:gd name="connsiteX12" fmla="*/ 541632 w 576731"/>
                    <a:gd name="connsiteY12" fmla="*/ 234006 h 505924"/>
                    <a:gd name="connsiteX13" fmla="*/ 538457 w 576731"/>
                    <a:gd name="connsiteY13" fmla="*/ 488006 h 505924"/>
                    <a:gd name="connsiteX14" fmla="*/ 36807 w 576731"/>
                    <a:gd name="connsiteY14" fmla="*/ 449906 h 505924"/>
                    <a:gd name="connsiteX0" fmla="*/ 5769 w 545693"/>
                    <a:gd name="connsiteY0" fmla="*/ 449906 h 505924"/>
                    <a:gd name="connsiteX1" fmla="*/ 8944 w 545693"/>
                    <a:gd name="connsiteY1" fmla="*/ 214956 h 505924"/>
                    <a:gd name="connsiteX2" fmla="*/ 24819 w 545693"/>
                    <a:gd name="connsiteY2" fmla="*/ 176856 h 505924"/>
                    <a:gd name="connsiteX3" fmla="*/ 72444 w 545693"/>
                    <a:gd name="connsiteY3" fmla="*/ 160981 h 505924"/>
                    <a:gd name="connsiteX4" fmla="*/ 174044 w 545693"/>
                    <a:gd name="connsiteY4" fmla="*/ 154631 h 505924"/>
                    <a:gd name="connsiteX5" fmla="*/ 199444 w 545693"/>
                    <a:gd name="connsiteY5" fmla="*/ 151456 h 505924"/>
                    <a:gd name="connsiteX6" fmla="*/ 202619 w 545693"/>
                    <a:gd name="connsiteY6" fmla="*/ 18106 h 505924"/>
                    <a:gd name="connsiteX7" fmla="*/ 313744 w 545693"/>
                    <a:gd name="connsiteY7" fmla="*/ 14931 h 505924"/>
                    <a:gd name="connsiteX8" fmla="*/ 313744 w 545693"/>
                    <a:gd name="connsiteY8" fmla="*/ 145106 h 505924"/>
                    <a:gd name="connsiteX9" fmla="*/ 355019 w 545693"/>
                    <a:gd name="connsiteY9" fmla="*/ 151456 h 505924"/>
                    <a:gd name="connsiteX10" fmla="*/ 447094 w 545693"/>
                    <a:gd name="connsiteY10" fmla="*/ 164156 h 505924"/>
                    <a:gd name="connsiteX11" fmla="*/ 488369 w 545693"/>
                    <a:gd name="connsiteY11" fmla="*/ 189556 h 505924"/>
                    <a:gd name="connsiteX12" fmla="*/ 510594 w 545693"/>
                    <a:gd name="connsiteY12" fmla="*/ 234006 h 505924"/>
                    <a:gd name="connsiteX13" fmla="*/ 507419 w 545693"/>
                    <a:gd name="connsiteY13" fmla="*/ 488006 h 505924"/>
                    <a:gd name="connsiteX14" fmla="*/ 5769 w 545693"/>
                    <a:gd name="connsiteY14" fmla="*/ 449906 h 505924"/>
                    <a:gd name="connsiteX0" fmla="*/ 21286 w 561210"/>
                    <a:gd name="connsiteY0" fmla="*/ 449906 h 508025"/>
                    <a:gd name="connsiteX1" fmla="*/ 24461 w 561210"/>
                    <a:gd name="connsiteY1" fmla="*/ 214956 h 508025"/>
                    <a:gd name="connsiteX2" fmla="*/ 40336 w 561210"/>
                    <a:gd name="connsiteY2" fmla="*/ 176856 h 508025"/>
                    <a:gd name="connsiteX3" fmla="*/ 87961 w 561210"/>
                    <a:gd name="connsiteY3" fmla="*/ 160981 h 508025"/>
                    <a:gd name="connsiteX4" fmla="*/ 189561 w 561210"/>
                    <a:gd name="connsiteY4" fmla="*/ 154631 h 508025"/>
                    <a:gd name="connsiteX5" fmla="*/ 214961 w 561210"/>
                    <a:gd name="connsiteY5" fmla="*/ 151456 h 508025"/>
                    <a:gd name="connsiteX6" fmla="*/ 218136 w 561210"/>
                    <a:gd name="connsiteY6" fmla="*/ 18106 h 508025"/>
                    <a:gd name="connsiteX7" fmla="*/ 329261 w 561210"/>
                    <a:gd name="connsiteY7" fmla="*/ 14931 h 508025"/>
                    <a:gd name="connsiteX8" fmla="*/ 329261 w 561210"/>
                    <a:gd name="connsiteY8" fmla="*/ 145106 h 508025"/>
                    <a:gd name="connsiteX9" fmla="*/ 370536 w 561210"/>
                    <a:gd name="connsiteY9" fmla="*/ 151456 h 508025"/>
                    <a:gd name="connsiteX10" fmla="*/ 462611 w 561210"/>
                    <a:gd name="connsiteY10" fmla="*/ 164156 h 508025"/>
                    <a:gd name="connsiteX11" fmla="*/ 503886 w 561210"/>
                    <a:gd name="connsiteY11" fmla="*/ 189556 h 508025"/>
                    <a:gd name="connsiteX12" fmla="*/ 526111 w 561210"/>
                    <a:gd name="connsiteY12" fmla="*/ 234006 h 508025"/>
                    <a:gd name="connsiteX13" fmla="*/ 522936 w 561210"/>
                    <a:gd name="connsiteY13" fmla="*/ 488006 h 508025"/>
                    <a:gd name="connsiteX14" fmla="*/ 21286 w 561210"/>
                    <a:gd name="connsiteY14" fmla="*/ 449906 h 508025"/>
                    <a:gd name="connsiteX0" fmla="*/ 21286 w 561210"/>
                    <a:gd name="connsiteY0" fmla="*/ 449906 h 508025"/>
                    <a:gd name="connsiteX1" fmla="*/ 24461 w 561210"/>
                    <a:gd name="connsiteY1" fmla="*/ 214956 h 508025"/>
                    <a:gd name="connsiteX2" fmla="*/ 40336 w 561210"/>
                    <a:gd name="connsiteY2" fmla="*/ 176856 h 508025"/>
                    <a:gd name="connsiteX3" fmla="*/ 87961 w 561210"/>
                    <a:gd name="connsiteY3" fmla="*/ 160981 h 508025"/>
                    <a:gd name="connsiteX4" fmla="*/ 189561 w 561210"/>
                    <a:gd name="connsiteY4" fmla="*/ 154631 h 508025"/>
                    <a:gd name="connsiteX5" fmla="*/ 214961 w 561210"/>
                    <a:gd name="connsiteY5" fmla="*/ 151456 h 508025"/>
                    <a:gd name="connsiteX6" fmla="*/ 218136 w 561210"/>
                    <a:gd name="connsiteY6" fmla="*/ 18106 h 508025"/>
                    <a:gd name="connsiteX7" fmla="*/ 329261 w 561210"/>
                    <a:gd name="connsiteY7" fmla="*/ 14931 h 508025"/>
                    <a:gd name="connsiteX8" fmla="*/ 329261 w 561210"/>
                    <a:gd name="connsiteY8" fmla="*/ 145106 h 508025"/>
                    <a:gd name="connsiteX9" fmla="*/ 370536 w 561210"/>
                    <a:gd name="connsiteY9" fmla="*/ 151456 h 508025"/>
                    <a:gd name="connsiteX10" fmla="*/ 462611 w 561210"/>
                    <a:gd name="connsiteY10" fmla="*/ 164156 h 508025"/>
                    <a:gd name="connsiteX11" fmla="*/ 503886 w 561210"/>
                    <a:gd name="connsiteY11" fmla="*/ 189556 h 508025"/>
                    <a:gd name="connsiteX12" fmla="*/ 526111 w 561210"/>
                    <a:gd name="connsiteY12" fmla="*/ 234006 h 508025"/>
                    <a:gd name="connsiteX13" fmla="*/ 522936 w 561210"/>
                    <a:gd name="connsiteY13" fmla="*/ 488006 h 508025"/>
                    <a:gd name="connsiteX14" fmla="*/ 21286 w 561210"/>
                    <a:gd name="connsiteY14" fmla="*/ 449906 h 508025"/>
                    <a:gd name="connsiteX0" fmla="*/ 4360 w 544284"/>
                    <a:gd name="connsiteY0" fmla="*/ 449906 h 508025"/>
                    <a:gd name="connsiteX1" fmla="*/ 7535 w 544284"/>
                    <a:gd name="connsiteY1" fmla="*/ 214956 h 508025"/>
                    <a:gd name="connsiteX2" fmla="*/ 23410 w 544284"/>
                    <a:gd name="connsiteY2" fmla="*/ 176856 h 508025"/>
                    <a:gd name="connsiteX3" fmla="*/ 71035 w 544284"/>
                    <a:gd name="connsiteY3" fmla="*/ 160981 h 508025"/>
                    <a:gd name="connsiteX4" fmla="*/ 172635 w 544284"/>
                    <a:gd name="connsiteY4" fmla="*/ 154631 h 508025"/>
                    <a:gd name="connsiteX5" fmla="*/ 198035 w 544284"/>
                    <a:gd name="connsiteY5" fmla="*/ 151456 h 508025"/>
                    <a:gd name="connsiteX6" fmla="*/ 201210 w 544284"/>
                    <a:gd name="connsiteY6" fmla="*/ 18106 h 508025"/>
                    <a:gd name="connsiteX7" fmla="*/ 312335 w 544284"/>
                    <a:gd name="connsiteY7" fmla="*/ 14931 h 508025"/>
                    <a:gd name="connsiteX8" fmla="*/ 312335 w 544284"/>
                    <a:gd name="connsiteY8" fmla="*/ 145106 h 508025"/>
                    <a:gd name="connsiteX9" fmla="*/ 353610 w 544284"/>
                    <a:gd name="connsiteY9" fmla="*/ 151456 h 508025"/>
                    <a:gd name="connsiteX10" fmla="*/ 445685 w 544284"/>
                    <a:gd name="connsiteY10" fmla="*/ 164156 h 508025"/>
                    <a:gd name="connsiteX11" fmla="*/ 486960 w 544284"/>
                    <a:gd name="connsiteY11" fmla="*/ 189556 h 508025"/>
                    <a:gd name="connsiteX12" fmla="*/ 509185 w 544284"/>
                    <a:gd name="connsiteY12" fmla="*/ 234006 h 508025"/>
                    <a:gd name="connsiteX13" fmla="*/ 506010 w 544284"/>
                    <a:gd name="connsiteY13" fmla="*/ 488006 h 508025"/>
                    <a:gd name="connsiteX14" fmla="*/ 4360 w 544284"/>
                    <a:gd name="connsiteY14" fmla="*/ 449906 h 508025"/>
                    <a:gd name="connsiteX0" fmla="*/ 4360 w 544284"/>
                    <a:gd name="connsiteY0" fmla="*/ 449906 h 500804"/>
                    <a:gd name="connsiteX1" fmla="*/ 7535 w 544284"/>
                    <a:gd name="connsiteY1" fmla="*/ 214956 h 500804"/>
                    <a:gd name="connsiteX2" fmla="*/ 23410 w 544284"/>
                    <a:gd name="connsiteY2" fmla="*/ 176856 h 500804"/>
                    <a:gd name="connsiteX3" fmla="*/ 71035 w 544284"/>
                    <a:gd name="connsiteY3" fmla="*/ 160981 h 500804"/>
                    <a:gd name="connsiteX4" fmla="*/ 172635 w 544284"/>
                    <a:gd name="connsiteY4" fmla="*/ 154631 h 500804"/>
                    <a:gd name="connsiteX5" fmla="*/ 198035 w 544284"/>
                    <a:gd name="connsiteY5" fmla="*/ 151456 h 500804"/>
                    <a:gd name="connsiteX6" fmla="*/ 201210 w 544284"/>
                    <a:gd name="connsiteY6" fmla="*/ 18106 h 500804"/>
                    <a:gd name="connsiteX7" fmla="*/ 312335 w 544284"/>
                    <a:gd name="connsiteY7" fmla="*/ 14931 h 500804"/>
                    <a:gd name="connsiteX8" fmla="*/ 312335 w 544284"/>
                    <a:gd name="connsiteY8" fmla="*/ 145106 h 500804"/>
                    <a:gd name="connsiteX9" fmla="*/ 353610 w 544284"/>
                    <a:gd name="connsiteY9" fmla="*/ 151456 h 500804"/>
                    <a:gd name="connsiteX10" fmla="*/ 445685 w 544284"/>
                    <a:gd name="connsiteY10" fmla="*/ 164156 h 500804"/>
                    <a:gd name="connsiteX11" fmla="*/ 486960 w 544284"/>
                    <a:gd name="connsiteY11" fmla="*/ 189556 h 500804"/>
                    <a:gd name="connsiteX12" fmla="*/ 509185 w 544284"/>
                    <a:gd name="connsiteY12" fmla="*/ 234006 h 500804"/>
                    <a:gd name="connsiteX13" fmla="*/ 506010 w 544284"/>
                    <a:gd name="connsiteY13" fmla="*/ 488006 h 500804"/>
                    <a:gd name="connsiteX14" fmla="*/ 4360 w 544284"/>
                    <a:gd name="connsiteY14" fmla="*/ 449906 h 500804"/>
                    <a:gd name="connsiteX0" fmla="*/ 4360 w 544284"/>
                    <a:gd name="connsiteY0" fmla="*/ 449906 h 500804"/>
                    <a:gd name="connsiteX1" fmla="*/ 7535 w 544284"/>
                    <a:gd name="connsiteY1" fmla="*/ 214956 h 500804"/>
                    <a:gd name="connsiteX2" fmla="*/ 23410 w 544284"/>
                    <a:gd name="connsiteY2" fmla="*/ 176856 h 500804"/>
                    <a:gd name="connsiteX3" fmla="*/ 71035 w 544284"/>
                    <a:gd name="connsiteY3" fmla="*/ 160981 h 500804"/>
                    <a:gd name="connsiteX4" fmla="*/ 172635 w 544284"/>
                    <a:gd name="connsiteY4" fmla="*/ 154631 h 500804"/>
                    <a:gd name="connsiteX5" fmla="*/ 198035 w 544284"/>
                    <a:gd name="connsiteY5" fmla="*/ 151456 h 500804"/>
                    <a:gd name="connsiteX6" fmla="*/ 201210 w 544284"/>
                    <a:gd name="connsiteY6" fmla="*/ 18106 h 500804"/>
                    <a:gd name="connsiteX7" fmla="*/ 312335 w 544284"/>
                    <a:gd name="connsiteY7" fmla="*/ 14931 h 500804"/>
                    <a:gd name="connsiteX8" fmla="*/ 312335 w 544284"/>
                    <a:gd name="connsiteY8" fmla="*/ 145106 h 500804"/>
                    <a:gd name="connsiteX9" fmla="*/ 353610 w 544284"/>
                    <a:gd name="connsiteY9" fmla="*/ 151456 h 500804"/>
                    <a:gd name="connsiteX10" fmla="*/ 445685 w 544284"/>
                    <a:gd name="connsiteY10" fmla="*/ 164156 h 500804"/>
                    <a:gd name="connsiteX11" fmla="*/ 486960 w 544284"/>
                    <a:gd name="connsiteY11" fmla="*/ 189556 h 500804"/>
                    <a:gd name="connsiteX12" fmla="*/ 509185 w 544284"/>
                    <a:gd name="connsiteY12" fmla="*/ 234006 h 500804"/>
                    <a:gd name="connsiteX13" fmla="*/ 506010 w 544284"/>
                    <a:gd name="connsiteY13" fmla="*/ 488006 h 500804"/>
                    <a:gd name="connsiteX14" fmla="*/ 4360 w 544284"/>
                    <a:gd name="connsiteY14" fmla="*/ 449906 h 500804"/>
                    <a:gd name="connsiteX0" fmla="*/ 4360 w 519024"/>
                    <a:gd name="connsiteY0" fmla="*/ 449906 h 500804"/>
                    <a:gd name="connsiteX1" fmla="*/ 7535 w 519024"/>
                    <a:gd name="connsiteY1" fmla="*/ 214956 h 500804"/>
                    <a:gd name="connsiteX2" fmla="*/ 23410 w 519024"/>
                    <a:gd name="connsiteY2" fmla="*/ 176856 h 500804"/>
                    <a:gd name="connsiteX3" fmla="*/ 71035 w 519024"/>
                    <a:gd name="connsiteY3" fmla="*/ 160981 h 500804"/>
                    <a:gd name="connsiteX4" fmla="*/ 172635 w 519024"/>
                    <a:gd name="connsiteY4" fmla="*/ 154631 h 500804"/>
                    <a:gd name="connsiteX5" fmla="*/ 198035 w 519024"/>
                    <a:gd name="connsiteY5" fmla="*/ 151456 h 500804"/>
                    <a:gd name="connsiteX6" fmla="*/ 201210 w 519024"/>
                    <a:gd name="connsiteY6" fmla="*/ 18106 h 500804"/>
                    <a:gd name="connsiteX7" fmla="*/ 312335 w 519024"/>
                    <a:gd name="connsiteY7" fmla="*/ 14931 h 500804"/>
                    <a:gd name="connsiteX8" fmla="*/ 312335 w 519024"/>
                    <a:gd name="connsiteY8" fmla="*/ 145106 h 500804"/>
                    <a:gd name="connsiteX9" fmla="*/ 353610 w 519024"/>
                    <a:gd name="connsiteY9" fmla="*/ 151456 h 500804"/>
                    <a:gd name="connsiteX10" fmla="*/ 445685 w 519024"/>
                    <a:gd name="connsiteY10" fmla="*/ 164156 h 500804"/>
                    <a:gd name="connsiteX11" fmla="*/ 486960 w 519024"/>
                    <a:gd name="connsiteY11" fmla="*/ 189556 h 500804"/>
                    <a:gd name="connsiteX12" fmla="*/ 509185 w 519024"/>
                    <a:gd name="connsiteY12" fmla="*/ 234006 h 500804"/>
                    <a:gd name="connsiteX13" fmla="*/ 506010 w 519024"/>
                    <a:gd name="connsiteY13" fmla="*/ 488006 h 500804"/>
                    <a:gd name="connsiteX14" fmla="*/ 4360 w 519024"/>
                    <a:gd name="connsiteY14" fmla="*/ 449906 h 500804"/>
                    <a:gd name="connsiteX0" fmla="*/ 4360 w 519024"/>
                    <a:gd name="connsiteY0" fmla="*/ 449906 h 488006"/>
                    <a:gd name="connsiteX1" fmla="*/ 7535 w 519024"/>
                    <a:gd name="connsiteY1" fmla="*/ 214956 h 488006"/>
                    <a:gd name="connsiteX2" fmla="*/ 23410 w 519024"/>
                    <a:gd name="connsiteY2" fmla="*/ 176856 h 488006"/>
                    <a:gd name="connsiteX3" fmla="*/ 71035 w 519024"/>
                    <a:gd name="connsiteY3" fmla="*/ 160981 h 488006"/>
                    <a:gd name="connsiteX4" fmla="*/ 172635 w 519024"/>
                    <a:gd name="connsiteY4" fmla="*/ 154631 h 488006"/>
                    <a:gd name="connsiteX5" fmla="*/ 198035 w 519024"/>
                    <a:gd name="connsiteY5" fmla="*/ 151456 h 488006"/>
                    <a:gd name="connsiteX6" fmla="*/ 201210 w 519024"/>
                    <a:gd name="connsiteY6" fmla="*/ 18106 h 488006"/>
                    <a:gd name="connsiteX7" fmla="*/ 312335 w 519024"/>
                    <a:gd name="connsiteY7" fmla="*/ 14931 h 488006"/>
                    <a:gd name="connsiteX8" fmla="*/ 312335 w 519024"/>
                    <a:gd name="connsiteY8" fmla="*/ 145106 h 488006"/>
                    <a:gd name="connsiteX9" fmla="*/ 353610 w 519024"/>
                    <a:gd name="connsiteY9" fmla="*/ 151456 h 488006"/>
                    <a:gd name="connsiteX10" fmla="*/ 445685 w 519024"/>
                    <a:gd name="connsiteY10" fmla="*/ 164156 h 488006"/>
                    <a:gd name="connsiteX11" fmla="*/ 486960 w 519024"/>
                    <a:gd name="connsiteY11" fmla="*/ 189556 h 488006"/>
                    <a:gd name="connsiteX12" fmla="*/ 509185 w 519024"/>
                    <a:gd name="connsiteY12" fmla="*/ 234006 h 488006"/>
                    <a:gd name="connsiteX13" fmla="*/ 506010 w 519024"/>
                    <a:gd name="connsiteY13" fmla="*/ 488006 h 488006"/>
                    <a:gd name="connsiteX14" fmla="*/ 4360 w 519024"/>
                    <a:gd name="connsiteY14" fmla="*/ 449906 h 488006"/>
                    <a:gd name="connsiteX0" fmla="*/ 4360 w 523534"/>
                    <a:gd name="connsiteY0" fmla="*/ 449906 h 472131"/>
                    <a:gd name="connsiteX1" fmla="*/ 7535 w 523534"/>
                    <a:gd name="connsiteY1" fmla="*/ 214956 h 472131"/>
                    <a:gd name="connsiteX2" fmla="*/ 23410 w 523534"/>
                    <a:gd name="connsiteY2" fmla="*/ 176856 h 472131"/>
                    <a:gd name="connsiteX3" fmla="*/ 71035 w 523534"/>
                    <a:gd name="connsiteY3" fmla="*/ 160981 h 472131"/>
                    <a:gd name="connsiteX4" fmla="*/ 172635 w 523534"/>
                    <a:gd name="connsiteY4" fmla="*/ 154631 h 472131"/>
                    <a:gd name="connsiteX5" fmla="*/ 198035 w 523534"/>
                    <a:gd name="connsiteY5" fmla="*/ 151456 h 472131"/>
                    <a:gd name="connsiteX6" fmla="*/ 201210 w 523534"/>
                    <a:gd name="connsiteY6" fmla="*/ 18106 h 472131"/>
                    <a:gd name="connsiteX7" fmla="*/ 312335 w 523534"/>
                    <a:gd name="connsiteY7" fmla="*/ 14931 h 472131"/>
                    <a:gd name="connsiteX8" fmla="*/ 312335 w 523534"/>
                    <a:gd name="connsiteY8" fmla="*/ 145106 h 472131"/>
                    <a:gd name="connsiteX9" fmla="*/ 353610 w 523534"/>
                    <a:gd name="connsiteY9" fmla="*/ 151456 h 472131"/>
                    <a:gd name="connsiteX10" fmla="*/ 445685 w 523534"/>
                    <a:gd name="connsiteY10" fmla="*/ 164156 h 472131"/>
                    <a:gd name="connsiteX11" fmla="*/ 486960 w 523534"/>
                    <a:gd name="connsiteY11" fmla="*/ 189556 h 472131"/>
                    <a:gd name="connsiteX12" fmla="*/ 509185 w 523534"/>
                    <a:gd name="connsiteY12" fmla="*/ 234006 h 472131"/>
                    <a:gd name="connsiteX13" fmla="*/ 512360 w 523534"/>
                    <a:gd name="connsiteY13" fmla="*/ 472131 h 472131"/>
                    <a:gd name="connsiteX14" fmla="*/ 4360 w 523534"/>
                    <a:gd name="connsiteY14" fmla="*/ 449906 h 472131"/>
                    <a:gd name="connsiteX0" fmla="*/ 4360 w 513675"/>
                    <a:gd name="connsiteY0" fmla="*/ 449906 h 472131"/>
                    <a:gd name="connsiteX1" fmla="*/ 7535 w 513675"/>
                    <a:gd name="connsiteY1" fmla="*/ 214956 h 472131"/>
                    <a:gd name="connsiteX2" fmla="*/ 23410 w 513675"/>
                    <a:gd name="connsiteY2" fmla="*/ 176856 h 472131"/>
                    <a:gd name="connsiteX3" fmla="*/ 71035 w 513675"/>
                    <a:gd name="connsiteY3" fmla="*/ 160981 h 472131"/>
                    <a:gd name="connsiteX4" fmla="*/ 172635 w 513675"/>
                    <a:gd name="connsiteY4" fmla="*/ 154631 h 472131"/>
                    <a:gd name="connsiteX5" fmla="*/ 198035 w 513675"/>
                    <a:gd name="connsiteY5" fmla="*/ 151456 h 472131"/>
                    <a:gd name="connsiteX6" fmla="*/ 201210 w 513675"/>
                    <a:gd name="connsiteY6" fmla="*/ 18106 h 472131"/>
                    <a:gd name="connsiteX7" fmla="*/ 312335 w 513675"/>
                    <a:gd name="connsiteY7" fmla="*/ 14931 h 472131"/>
                    <a:gd name="connsiteX8" fmla="*/ 312335 w 513675"/>
                    <a:gd name="connsiteY8" fmla="*/ 145106 h 472131"/>
                    <a:gd name="connsiteX9" fmla="*/ 353610 w 513675"/>
                    <a:gd name="connsiteY9" fmla="*/ 151456 h 472131"/>
                    <a:gd name="connsiteX10" fmla="*/ 445685 w 513675"/>
                    <a:gd name="connsiteY10" fmla="*/ 164156 h 472131"/>
                    <a:gd name="connsiteX11" fmla="*/ 486960 w 513675"/>
                    <a:gd name="connsiteY11" fmla="*/ 189556 h 472131"/>
                    <a:gd name="connsiteX12" fmla="*/ 509185 w 513675"/>
                    <a:gd name="connsiteY12" fmla="*/ 234006 h 472131"/>
                    <a:gd name="connsiteX13" fmla="*/ 512360 w 513675"/>
                    <a:gd name="connsiteY13" fmla="*/ 472131 h 472131"/>
                    <a:gd name="connsiteX14" fmla="*/ 4360 w 513675"/>
                    <a:gd name="connsiteY14" fmla="*/ 449906 h 472131"/>
                    <a:gd name="connsiteX0" fmla="*/ 4360 w 513675"/>
                    <a:gd name="connsiteY0" fmla="*/ 446969 h 469194"/>
                    <a:gd name="connsiteX1" fmla="*/ 7535 w 513675"/>
                    <a:gd name="connsiteY1" fmla="*/ 212019 h 469194"/>
                    <a:gd name="connsiteX2" fmla="*/ 23410 w 513675"/>
                    <a:gd name="connsiteY2" fmla="*/ 173919 h 469194"/>
                    <a:gd name="connsiteX3" fmla="*/ 71035 w 513675"/>
                    <a:gd name="connsiteY3" fmla="*/ 158044 h 469194"/>
                    <a:gd name="connsiteX4" fmla="*/ 172635 w 513675"/>
                    <a:gd name="connsiteY4" fmla="*/ 151694 h 469194"/>
                    <a:gd name="connsiteX5" fmla="*/ 188510 w 513675"/>
                    <a:gd name="connsiteY5" fmla="*/ 94544 h 469194"/>
                    <a:gd name="connsiteX6" fmla="*/ 201210 w 513675"/>
                    <a:gd name="connsiteY6" fmla="*/ 15169 h 469194"/>
                    <a:gd name="connsiteX7" fmla="*/ 312335 w 513675"/>
                    <a:gd name="connsiteY7" fmla="*/ 11994 h 469194"/>
                    <a:gd name="connsiteX8" fmla="*/ 312335 w 513675"/>
                    <a:gd name="connsiteY8" fmla="*/ 142169 h 469194"/>
                    <a:gd name="connsiteX9" fmla="*/ 353610 w 513675"/>
                    <a:gd name="connsiteY9" fmla="*/ 148519 h 469194"/>
                    <a:gd name="connsiteX10" fmla="*/ 445685 w 513675"/>
                    <a:gd name="connsiteY10" fmla="*/ 161219 h 469194"/>
                    <a:gd name="connsiteX11" fmla="*/ 486960 w 513675"/>
                    <a:gd name="connsiteY11" fmla="*/ 186619 h 469194"/>
                    <a:gd name="connsiteX12" fmla="*/ 509185 w 513675"/>
                    <a:gd name="connsiteY12" fmla="*/ 231069 h 469194"/>
                    <a:gd name="connsiteX13" fmla="*/ 512360 w 513675"/>
                    <a:gd name="connsiteY13" fmla="*/ 469194 h 469194"/>
                    <a:gd name="connsiteX14" fmla="*/ 4360 w 513675"/>
                    <a:gd name="connsiteY14" fmla="*/ 446969 h 469194"/>
                    <a:gd name="connsiteX0" fmla="*/ 4360 w 513675"/>
                    <a:gd name="connsiteY0" fmla="*/ 443409 h 465634"/>
                    <a:gd name="connsiteX1" fmla="*/ 7535 w 513675"/>
                    <a:gd name="connsiteY1" fmla="*/ 208459 h 465634"/>
                    <a:gd name="connsiteX2" fmla="*/ 23410 w 513675"/>
                    <a:gd name="connsiteY2" fmla="*/ 170359 h 465634"/>
                    <a:gd name="connsiteX3" fmla="*/ 71035 w 513675"/>
                    <a:gd name="connsiteY3" fmla="*/ 154484 h 465634"/>
                    <a:gd name="connsiteX4" fmla="*/ 172635 w 513675"/>
                    <a:gd name="connsiteY4" fmla="*/ 148134 h 465634"/>
                    <a:gd name="connsiteX5" fmla="*/ 188510 w 513675"/>
                    <a:gd name="connsiteY5" fmla="*/ 90984 h 465634"/>
                    <a:gd name="connsiteX6" fmla="*/ 201210 w 513675"/>
                    <a:gd name="connsiteY6" fmla="*/ 11609 h 465634"/>
                    <a:gd name="connsiteX7" fmla="*/ 312335 w 513675"/>
                    <a:gd name="connsiteY7" fmla="*/ 8434 h 465634"/>
                    <a:gd name="connsiteX8" fmla="*/ 312335 w 513675"/>
                    <a:gd name="connsiteY8" fmla="*/ 87809 h 465634"/>
                    <a:gd name="connsiteX9" fmla="*/ 353610 w 513675"/>
                    <a:gd name="connsiteY9" fmla="*/ 144959 h 465634"/>
                    <a:gd name="connsiteX10" fmla="*/ 445685 w 513675"/>
                    <a:gd name="connsiteY10" fmla="*/ 157659 h 465634"/>
                    <a:gd name="connsiteX11" fmla="*/ 486960 w 513675"/>
                    <a:gd name="connsiteY11" fmla="*/ 183059 h 465634"/>
                    <a:gd name="connsiteX12" fmla="*/ 509185 w 513675"/>
                    <a:gd name="connsiteY12" fmla="*/ 227509 h 465634"/>
                    <a:gd name="connsiteX13" fmla="*/ 512360 w 513675"/>
                    <a:gd name="connsiteY13" fmla="*/ 465634 h 465634"/>
                    <a:gd name="connsiteX14" fmla="*/ 4360 w 513675"/>
                    <a:gd name="connsiteY14" fmla="*/ 443409 h 465634"/>
                    <a:gd name="connsiteX0" fmla="*/ 4360 w 513675"/>
                    <a:gd name="connsiteY0" fmla="*/ 443409 h 465634"/>
                    <a:gd name="connsiteX1" fmla="*/ 7535 w 513675"/>
                    <a:gd name="connsiteY1" fmla="*/ 208459 h 465634"/>
                    <a:gd name="connsiteX2" fmla="*/ 23410 w 513675"/>
                    <a:gd name="connsiteY2" fmla="*/ 170359 h 465634"/>
                    <a:gd name="connsiteX3" fmla="*/ 71035 w 513675"/>
                    <a:gd name="connsiteY3" fmla="*/ 154484 h 465634"/>
                    <a:gd name="connsiteX4" fmla="*/ 172635 w 513675"/>
                    <a:gd name="connsiteY4" fmla="*/ 148134 h 465634"/>
                    <a:gd name="connsiteX5" fmla="*/ 188510 w 513675"/>
                    <a:gd name="connsiteY5" fmla="*/ 90984 h 465634"/>
                    <a:gd name="connsiteX6" fmla="*/ 201210 w 513675"/>
                    <a:gd name="connsiteY6" fmla="*/ 11609 h 465634"/>
                    <a:gd name="connsiteX7" fmla="*/ 312335 w 513675"/>
                    <a:gd name="connsiteY7" fmla="*/ 8434 h 465634"/>
                    <a:gd name="connsiteX8" fmla="*/ 312335 w 513675"/>
                    <a:gd name="connsiteY8" fmla="*/ 87809 h 465634"/>
                    <a:gd name="connsiteX9" fmla="*/ 334560 w 513675"/>
                    <a:gd name="connsiteY9" fmla="*/ 135434 h 465634"/>
                    <a:gd name="connsiteX10" fmla="*/ 445685 w 513675"/>
                    <a:gd name="connsiteY10" fmla="*/ 157659 h 465634"/>
                    <a:gd name="connsiteX11" fmla="*/ 486960 w 513675"/>
                    <a:gd name="connsiteY11" fmla="*/ 183059 h 465634"/>
                    <a:gd name="connsiteX12" fmla="*/ 509185 w 513675"/>
                    <a:gd name="connsiteY12" fmla="*/ 227509 h 465634"/>
                    <a:gd name="connsiteX13" fmla="*/ 512360 w 513675"/>
                    <a:gd name="connsiteY13" fmla="*/ 465634 h 465634"/>
                    <a:gd name="connsiteX14" fmla="*/ 4360 w 513675"/>
                    <a:gd name="connsiteY14" fmla="*/ 443409 h 465634"/>
                    <a:gd name="connsiteX0" fmla="*/ 4360 w 510500"/>
                    <a:gd name="connsiteY0" fmla="*/ 443409 h 449759"/>
                    <a:gd name="connsiteX1" fmla="*/ 7535 w 510500"/>
                    <a:gd name="connsiteY1" fmla="*/ 208459 h 449759"/>
                    <a:gd name="connsiteX2" fmla="*/ 23410 w 510500"/>
                    <a:gd name="connsiteY2" fmla="*/ 170359 h 449759"/>
                    <a:gd name="connsiteX3" fmla="*/ 71035 w 510500"/>
                    <a:gd name="connsiteY3" fmla="*/ 154484 h 449759"/>
                    <a:gd name="connsiteX4" fmla="*/ 172635 w 510500"/>
                    <a:gd name="connsiteY4" fmla="*/ 148134 h 449759"/>
                    <a:gd name="connsiteX5" fmla="*/ 188510 w 510500"/>
                    <a:gd name="connsiteY5" fmla="*/ 90984 h 449759"/>
                    <a:gd name="connsiteX6" fmla="*/ 201210 w 510500"/>
                    <a:gd name="connsiteY6" fmla="*/ 11609 h 449759"/>
                    <a:gd name="connsiteX7" fmla="*/ 312335 w 510500"/>
                    <a:gd name="connsiteY7" fmla="*/ 8434 h 449759"/>
                    <a:gd name="connsiteX8" fmla="*/ 312335 w 510500"/>
                    <a:gd name="connsiteY8" fmla="*/ 87809 h 449759"/>
                    <a:gd name="connsiteX9" fmla="*/ 334560 w 510500"/>
                    <a:gd name="connsiteY9" fmla="*/ 135434 h 449759"/>
                    <a:gd name="connsiteX10" fmla="*/ 445685 w 510500"/>
                    <a:gd name="connsiteY10" fmla="*/ 157659 h 449759"/>
                    <a:gd name="connsiteX11" fmla="*/ 486960 w 510500"/>
                    <a:gd name="connsiteY11" fmla="*/ 183059 h 449759"/>
                    <a:gd name="connsiteX12" fmla="*/ 509185 w 510500"/>
                    <a:gd name="connsiteY12" fmla="*/ 227509 h 449759"/>
                    <a:gd name="connsiteX13" fmla="*/ 506010 w 510500"/>
                    <a:gd name="connsiteY13" fmla="*/ 449759 h 449759"/>
                    <a:gd name="connsiteX14" fmla="*/ 4360 w 510500"/>
                    <a:gd name="connsiteY14" fmla="*/ 443409 h 449759"/>
                    <a:gd name="connsiteX0" fmla="*/ 4360 w 510500"/>
                    <a:gd name="connsiteY0" fmla="*/ 443409 h 454926"/>
                    <a:gd name="connsiteX1" fmla="*/ 7535 w 510500"/>
                    <a:gd name="connsiteY1" fmla="*/ 208459 h 454926"/>
                    <a:gd name="connsiteX2" fmla="*/ 23410 w 510500"/>
                    <a:gd name="connsiteY2" fmla="*/ 170359 h 454926"/>
                    <a:gd name="connsiteX3" fmla="*/ 71035 w 510500"/>
                    <a:gd name="connsiteY3" fmla="*/ 154484 h 454926"/>
                    <a:gd name="connsiteX4" fmla="*/ 172635 w 510500"/>
                    <a:gd name="connsiteY4" fmla="*/ 148134 h 454926"/>
                    <a:gd name="connsiteX5" fmla="*/ 188510 w 510500"/>
                    <a:gd name="connsiteY5" fmla="*/ 90984 h 454926"/>
                    <a:gd name="connsiteX6" fmla="*/ 201210 w 510500"/>
                    <a:gd name="connsiteY6" fmla="*/ 11609 h 454926"/>
                    <a:gd name="connsiteX7" fmla="*/ 312335 w 510500"/>
                    <a:gd name="connsiteY7" fmla="*/ 8434 h 454926"/>
                    <a:gd name="connsiteX8" fmla="*/ 312335 w 510500"/>
                    <a:gd name="connsiteY8" fmla="*/ 87809 h 454926"/>
                    <a:gd name="connsiteX9" fmla="*/ 334560 w 510500"/>
                    <a:gd name="connsiteY9" fmla="*/ 135434 h 454926"/>
                    <a:gd name="connsiteX10" fmla="*/ 445685 w 510500"/>
                    <a:gd name="connsiteY10" fmla="*/ 157659 h 454926"/>
                    <a:gd name="connsiteX11" fmla="*/ 486960 w 510500"/>
                    <a:gd name="connsiteY11" fmla="*/ 183059 h 454926"/>
                    <a:gd name="connsiteX12" fmla="*/ 509185 w 510500"/>
                    <a:gd name="connsiteY12" fmla="*/ 227509 h 454926"/>
                    <a:gd name="connsiteX13" fmla="*/ 506010 w 510500"/>
                    <a:gd name="connsiteY13" fmla="*/ 449759 h 454926"/>
                    <a:gd name="connsiteX14" fmla="*/ 4360 w 510500"/>
                    <a:gd name="connsiteY14" fmla="*/ 443409 h 454926"/>
                    <a:gd name="connsiteX0" fmla="*/ 6473 w 512613"/>
                    <a:gd name="connsiteY0" fmla="*/ 443409 h 454926"/>
                    <a:gd name="connsiteX1" fmla="*/ 9648 w 512613"/>
                    <a:gd name="connsiteY1" fmla="*/ 208459 h 454926"/>
                    <a:gd name="connsiteX2" fmla="*/ 73148 w 512613"/>
                    <a:gd name="connsiteY2" fmla="*/ 154484 h 454926"/>
                    <a:gd name="connsiteX3" fmla="*/ 174748 w 512613"/>
                    <a:gd name="connsiteY3" fmla="*/ 148134 h 454926"/>
                    <a:gd name="connsiteX4" fmla="*/ 190623 w 512613"/>
                    <a:gd name="connsiteY4" fmla="*/ 90984 h 454926"/>
                    <a:gd name="connsiteX5" fmla="*/ 203323 w 512613"/>
                    <a:gd name="connsiteY5" fmla="*/ 11609 h 454926"/>
                    <a:gd name="connsiteX6" fmla="*/ 314448 w 512613"/>
                    <a:gd name="connsiteY6" fmla="*/ 8434 h 454926"/>
                    <a:gd name="connsiteX7" fmla="*/ 314448 w 512613"/>
                    <a:gd name="connsiteY7" fmla="*/ 87809 h 454926"/>
                    <a:gd name="connsiteX8" fmla="*/ 336673 w 512613"/>
                    <a:gd name="connsiteY8" fmla="*/ 135434 h 454926"/>
                    <a:gd name="connsiteX9" fmla="*/ 447798 w 512613"/>
                    <a:gd name="connsiteY9" fmla="*/ 157659 h 454926"/>
                    <a:gd name="connsiteX10" fmla="*/ 489073 w 512613"/>
                    <a:gd name="connsiteY10" fmla="*/ 183059 h 454926"/>
                    <a:gd name="connsiteX11" fmla="*/ 511298 w 512613"/>
                    <a:gd name="connsiteY11" fmla="*/ 227509 h 454926"/>
                    <a:gd name="connsiteX12" fmla="*/ 508123 w 512613"/>
                    <a:gd name="connsiteY12" fmla="*/ 449759 h 454926"/>
                    <a:gd name="connsiteX13" fmla="*/ 6473 w 512613"/>
                    <a:gd name="connsiteY13" fmla="*/ 443409 h 454926"/>
                    <a:gd name="connsiteX0" fmla="*/ 4049 w 510189"/>
                    <a:gd name="connsiteY0" fmla="*/ 443409 h 454926"/>
                    <a:gd name="connsiteX1" fmla="*/ 7224 w 510189"/>
                    <a:gd name="connsiteY1" fmla="*/ 208459 h 454926"/>
                    <a:gd name="connsiteX2" fmla="*/ 70724 w 510189"/>
                    <a:gd name="connsiteY2" fmla="*/ 154484 h 454926"/>
                    <a:gd name="connsiteX3" fmla="*/ 172324 w 510189"/>
                    <a:gd name="connsiteY3" fmla="*/ 148134 h 454926"/>
                    <a:gd name="connsiteX4" fmla="*/ 188199 w 510189"/>
                    <a:gd name="connsiteY4" fmla="*/ 90984 h 454926"/>
                    <a:gd name="connsiteX5" fmla="*/ 200899 w 510189"/>
                    <a:gd name="connsiteY5" fmla="*/ 11609 h 454926"/>
                    <a:gd name="connsiteX6" fmla="*/ 312024 w 510189"/>
                    <a:gd name="connsiteY6" fmla="*/ 8434 h 454926"/>
                    <a:gd name="connsiteX7" fmla="*/ 312024 w 510189"/>
                    <a:gd name="connsiteY7" fmla="*/ 87809 h 454926"/>
                    <a:gd name="connsiteX8" fmla="*/ 334249 w 510189"/>
                    <a:gd name="connsiteY8" fmla="*/ 135434 h 454926"/>
                    <a:gd name="connsiteX9" fmla="*/ 445374 w 510189"/>
                    <a:gd name="connsiteY9" fmla="*/ 157659 h 454926"/>
                    <a:gd name="connsiteX10" fmla="*/ 486649 w 510189"/>
                    <a:gd name="connsiteY10" fmla="*/ 183059 h 454926"/>
                    <a:gd name="connsiteX11" fmla="*/ 508874 w 510189"/>
                    <a:gd name="connsiteY11" fmla="*/ 227509 h 454926"/>
                    <a:gd name="connsiteX12" fmla="*/ 505699 w 510189"/>
                    <a:gd name="connsiteY12" fmla="*/ 449759 h 454926"/>
                    <a:gd name="connsiteX13" fmla="*/ 4049 w 510189"/>
                    <a:gd name="connsiteY13" fmla="*/ 443409 h 454926"/>
                    <a:gd name="connsiteX0" fmla="*/ 4049 w 510189"/>
                    <a:gd name="connsiteY0" fmla="*/ 443409 h 454926"/>
                    <a:gd name="connsiteX1" fmla="*/ 7224 w 510189"/>
                    <a:gd name="connsiteY1" fmla="*/ 208459 h 454926"/>
                    <a:gd name="connsiteX2" fmla="*/ 70724 w 510189"/>
                    <a:gd name="connsiteY2" fmla="*/ 154484 h 454926"/>
                    <a:gd name="connsiteX3" fmla="*/ 172324 w 510189"/>
                    <a:gd name="connsiteY3" fmla="*/ 148134 h 454926"/>
                    <a:gd name="connsiteX4" fmla="*/ 188199 w 510189"/>
                    <a:gd name="connsiteY4" fmla="*/ 90984 h 454926"/>
                    <a:gd name="connsiteX5" fmla="*/ 200899 w 510189"/>
                    <a:gd name="connsiteY5" fmla="*/ 11609 h 454926"/>
                    <a:gd name="connsiteX6" fmla="*/ 312024 w 510189"/>
                    <a:gd name="connsiteY6" fmla="*/ 8434 h 454926"/>
                    <a:gd name="connsiteX7" fmla="*/ 312024 w 510189"/>
                    <a:gd name="connsiteY7" fmla="*/ 87809 h 454926"/>
                    <a:gd name="connsiteX8" fmla="*/ 334249 w 510189"/>
                    <a:gd name="connsiteY8" fmla="*/ 135434 h 454926"/>
                    <a:gd name="connsiteX9" fmla="*/ 445374 w 510189"/>
                    <a:gd name="connsiteY9" fmla="*/ 157659 h 454926"/>
                    <a:gd name="connsiteX10" fmla="*/ 508874 w 510189"/>
                    <a:gd name="connsiteY10" fmla="*/ 227509 h 454926"/>
                    <a:gd name="connsiteX11" fmla="*/ 505699 w 510189"/>
                    <a:gd name="connsiteY11" fmla="*/ 449759 h 454926"/>
                    <a:gd name="connsiteX12" fmla="*/ 4049 w 510189"/>
                    <a:gd name="connsiteY12" fmla="*/ 443409 h 454926"/>
                    <a:gd name="connsiteX0" fmla="*/ 4049 w 510189"/>
                    <a:gd name="connsiteY0" fmla="*/ 443409 h 454926"/>
                    <a:gd name="connsiteX1" fmla="*/ 7224 w 510189"/>
                    <a:gd name="connsiteY1" fmla="*/ 208459 h 454926"/>
                    <a:gd name="connsiteX2" fmla="*/ 70724 w 510189"/>
                    <a:gd name="connsiteY2" fmla="*/ 154484 h 454926"/>
                    <a:gd name="connsiteX3" fmla="*/ 172324 w 510189"/>
                    <a:gd name="connsiteY3" fmla="*/ 148134 h 454926"/>
                    <a:gd name="connsiteX4" fmla="*/ 188199 w 510189"/>
                    <a:gd name="connsiteY4" fmla="*/ 90984 h 454926"/>
                    <a:gd name="connsiteX5" fmla="*/ 200899 w 510189"/>
                    <a:gd name="connsiteY5" fmla="*/ 11609 h 454926"/>
                    <a:gd name="connsiteX6" fmla="*/ 312024 w 510189"/>
                    <a:gd name="connsiteY6" fmla="*/ 8434 h 454926"/>
                    <a:gd name="connsiteX7" fmla="*/ 312024 w 510189"/>
                    <a:gd name="connsiteY7" fmla="*/ 87809 h 454926"/>
                    <a:gd name="connsiteX8" fmla="*/ 334249 w 510189"/>
                    <a:gd name="connsiteY8" fmla="*/ 135434 h 454926"/>
                    <a:gd name="connsiteX9" fmla="*/ 445374 w 510189"/>
                    <a:gd name="connsiteY9" fmla="*/ 157659 h 454926"/>
                    <a:gd name="connsiteX10" fmla="*/ 508874 w 510189"/>
                    <a:gd name="connsiteY10" fmla="*/ 227509 h 454926"/>
                    <a:gd name="connsiteX11" fmla="*/ 505699 w 510189"/>
                    <a:gd name="connsiteY11" fmla="*/ 449759 h 454926"/>
                    <a:gd name="connsiteX12" fmla="*/ 4049 w 510189"/>
                    <a:gd name="connsiteY12" fmla="*/ 443409 h 454926"/>
                    <a:gd name="connsiteX0" fmla="*/ 5987 w 512127"/>
                    <a:gd name="connsiteY0" fmla="*/ 443409 h 454926"/>
                    <a:gd name="connsiteX1" fmla="*/ 2812 w 512127"/>
                    <a:gd name="connsiteY1" fmla="*/ 217984 h 454926"/>
                    <a:gd name="connsiteX2" fmla="*/ 72662 w 512127"/>
                    <a:gd name="connsiteY2" fmla="*/ 154484 h 454926"/>
                    <a:gd name="connsiteX3" fmla="*/ 174262 w 512127"/>
                    <a:gd name="connsiteY3" fmla="*/ 148134 h 454926"/>
                    <a:gd name="connsiteX4" fmla="*/ 190137 w 512127"/>
                    <a:gd name="connsiteY4" fmla="*/ 90984 h 454926"/>
                    <a:gd name="connsiteX5" fmla="*/ 202837 w 512127"/>
                    <a:gd name="connsiteY5" fmla="*/ 11609 h 454926"/>
                    <a:gd name="connsiteX6" fmla="*/ 313962 w 512127"/>
                    <a:gd name="connsiteY6" fmla="*/ 8434 h 454926"/>
                    <a:gd name="connsiteX7" fmla="*/ 313962 w 512127"/>
                    <a:gd name="connsiteY7" fmla="*/ 87809 h 454926"/>
                    <a:gd name="connsiteX8" fmla="*/ 336187 w 512127"/>
                    <a:gd name="connsiteY8" fmla="*/ 135434 h 454926"/>
                    <a:gd name="connsiteX9" fmla="*/ 447312 w 512127"/>
                    <a:gd name="connsiteY9" fmla="*/ 157659 h 454926"/>
                    <a:gd name="connsiteX10" fmla="*/ 510812 w 512127"/>
                    <a:gd name="connsiteY10" fmla="*/ 227509 h 454926"/>
                    <a:gd name="connsiteX11" fmla="*/ 507637 w 512127"/>
                    <a:gd name="connsiteY11" fmla="*/ 449759 h 454926"/>
                    <a:gd name="connsiteX12" fmla="*/ 5987 w 512127"/>
                    <a:gd name="connsiteY12" fmla="*/ 443409 h 454926"/>
                    <a:gd name="connsiteX0" fmla="*/ 9762 w 515902"/>
                    <a:gd name="connsiteY0" fmla="*/ 443409 h 454926"/>
                    <a:gd name="connsiteX1" fmla="*/ 6587 w 515902"/>
                    <a:gd name="connsiteY1" fmla="*/ 217984 h 454926"/>
                    <a:gd name="connsiteX2" fmla="*/ 76437 w 515902"/>
                    <a:gd name="connsiteY2" fmla="*/ 154484 h 454926"/>
                    <a:gd name="connsiteX3" fmla="*/ 178037 w 515902"/>
                    <a:gd name="connsiteY3" fmla="*/ 148134 h 454926"/>
                    <a:gd name="connsiteX4" fmla="*/ 193912 w 515902"/>
                    <a:gd name="connsiteY4" fmla="*/ 90984 h 454926"/>
                    <a:gd name="connsiteX5" fmla="*/ 206612 w 515902"/>
                    <a:gd name="connsiteY5" fmla="*/ 11609 h 454926"/>
                    <a:gd name="connsiteX6" fmla="*/ 317737 w 515902"/>
                    <a:gd name="connsiteY6" fmla="*/ 8434 h 454926"/>
                    <a:gd name="connsiteX7" fmla="*/ 317737 w 515902"/>
                    <a:gd name="connsiteY7" fmla="*/ 87809 h 454926"/>
                    <a:gd name="connsiteX8" fmla="*/ 339962 w 515902"/>
                    <a:gd name="connsiteY8" fmla="*/ 135434 h 454926"/>
                    <a:gd name="connsiteX9" fmla="*/ 451087 w 515902"/>
                    <a:gd name="connsiteY9" fmla="*/ 157659 h 454926"/>
                    <a:gd name="connsiteX10" fmla="*/ 514587 w 515902"/>
                    <a:gd name="connsiteY10" fmla="*/ 227509 h 454926"/>
                    <a:gd name="connsiteX11" fmla="*/ 511412 w 515902"/>
                    <a:gd name="connsiteY11" fmla="*/ 449759 h 454926"/>
                    <a:gd name="connsiteX12" fmla="*/ 9762 w 515902"/>
                    <a:gd name="connsiteY12" fmla="*/ 443409 h 454926"/>
                    <a:gd name="connsiteX0" fmla="*/ 9762 w 515902"/>
                    <a:gd name="connsiteY0" fmla="*/ 443409 h 454926"/>
                    <a:gd name="connsiteX1" fmla="*/ 6587 w 515902"/>
                    <a:gd name="connsiteY1" fmla="*/ 217984 h 454926"/>
                    <a:gd name="connsiteX2" fmla="*/ 76437 w 515902"/>
                    <a:gd name="connsiteY2" fmla="*/ 154484 h 454926"/>
                    <a:gd name="connsiteX3" fmla="*/ 178037 w 515902"/>
                    <a:gd name="connsiteY3" fmla="*/ 148134 h 454926"/>
                    <a:gd name="connsiteX4" fmla="*/ 193912 w 515902"/>
                    <a:gd name="connsiteY4" fmla="*/ 90984 h 454926"/>
                    <a:gd name="connsiteX5" fmla="*/ 206612 w 515902"/>
                    <a:gd name="connsiteY5" fmla="*/ 11609 h 454926"/>
                    <a:gd name="connsiteX6" fmla="*/ 317737 w 515902"/>
                    <a:gd name="connsiteY6" fmla="*/ 8434 h 454926"/>
                    <a:gd name="connsiteX7" fmla="*/ 317737 w 515902"/>
                    <a:gd name="connsiteY7" fmla="*/ 87809 h 454926"/>
                    <a:gd name="connsiteX8" fmla="*/ 339962 w 515902"/>
                    <a:gd name="connsiteY8" fmla="*/ 135434 h 454926"/>
                    <a:gd name="connsiteX9" fmla="*/ 451087 w 515902"/>
                    <a:gd name="connsiteY9" fmla="*/ 157659 h 454926"/>
                    <a:gd name="connsiteX10" fmla="*/ 514587 w 515902"/>
                    <a:gd name="connsiteY10" fmla="*/ 227509 h 454926"/>
                    <a:gd name="connsiteX11" fmla="*/ 511412 w 515902"/>
                    <a:gd name="connsiteY11" fmla="*/ 449759 h 454926"/>
                    <a:gd name="connsiteX12" fmla="*/ 9762 w 515902"/>
                    <a:gd name="connsiteY12" fmla="*/ 443409 h 454926"/>
                    <a:gd name="connsiteX0" fmla="*/ 9762 w 515902"/>
                    <a:gd name="connsiteY0" fmla="*/ 443409 h 454926"/>
                    <a:gd name="connsiteX1" fmla="*/ 6587 w 515902"/>
                    <a:gd name="connsiteY1" fmla="*/ 217984 h 454926"/>
                    <a:gd name="connsiteX2" fmla="*/ 76437 w 515902"/>
                    <a:gd name="connsiteY2" fmla="*/ 154484 h 454926"/>
                    <a:gd name="connsiteX3" fmla="*/ 193912 w 515902"/>
                    <a:gd name="connsiteY3" fmla="*/ 90984 h 454926"/>
                    <a:gd name="connsiteX4" fmla="*/ 206612 w 515902"/>
                    <a:gd name="connsiteY4" fmla="*/ 11609 h 454926"/>
                    <a:gd name="connsiteX5" fmla="*/ 317737 w 515902"/>
                    <a:gd name="connsiteY5" fmla="*/ 8434 h 454926"/>
                    <a:gd name="connsiteX6" fmla="*/ 317737 w 515902"/>
                    <a:gd name="connsiteY6" fmla="*/ 87809 h 454926"/>
                    <a:gd name="connsiteX7" fmla="*/ 339962 w 515902"/>
                    <a:gd name="connsiteY7" fmla="*/ 135434 h 454926"/>
                    <a:gd name="connsiteX8" fmla="*/ 451087 w 515902"/>
                    <a:gd name="connsiteY8" fmla="*/ 157659 h 454926"/>
                    <a:gd name="connsiteX9" fmla="*/ 514587 w 515902"/>
                    <a:gd name="connsiteY9" fmla="*/ 227509 h 454926"/>
                    <a:gd name="connsiteX10" fmla="*/ 511412 w 515902"/>
                    <a:gd name="connsiteY10" fmla="*/ 449759 h 454926"/>
                    <a:gd name="connsiteX11" fmla="*/ 9762 w 515902"/>
                    <a:gd name="connsiteY11" fmla="*/ 443409 h 454926"/>
                    <a:gd name="connsiteX0" fmla="*/ 9762 w 515902"/>
                    <a:gd name="connsiteY0" fmla="*/ 446099 h 457616"/>
                    <a:gd name="connsiteX1" fmla="*/ 6587 w 515902"/>
                    <a:gd name="connsiteY1" fmla="*/ 220674 h 457616"/>
                    <a:gd name="connsiteX2" fmla="*/ 76437 w 515902"/>
                    <a:gd name="connsiteY2" fmla="*/ 157174 h 457616"/>
                    <a:gd name="connsiteX3" fmla="*/ 190737 w 515902"/>
                    <a:gd name="connsiteY3" fmla="*/ 138124 h 457616"/>
                    <a:gd name="connsiteX4" fmla="*/ 206612 w 515902"/>
                    <a:gd name="connsiteY4" fmla="*/ 14299 h 457616"/>
                    <a:gd name="connsiteX5" fmla="*/ 317737 w 515902"/>
                    <a:gd name="connsiteY5" fmla="*/ 11124 h 457616"/>
                    <a:gd name="connsiteX6" fmla="*/ 317737 w 515902"/>
                    <a:gd name="connsiteY6" fmla="*/ 90499 h 457616"/>
                    <a:gd name="connsiteX7" fmla="*/ 339962 w 515902"/>
                    <a:gd name="connsiteY7" fmla="*/ 138124 h 457616"/>
                    <a:gd name="connsiteX8" fmla="*/ 451087 w 515902"/>
                    <a:gd name="connsiteY8" fmla="*/ 160349 h 457616"/>
                    <a:gd name="connsiteX9" fmla="*/ 514587 w 515902"/>
                    <a:gd name="connsiteY9" fmla="*/ 230199 h 457616"/>
                    <a:gd name="connsiteX10" fmla="*/ 511412 w 515902"/>
                    <a:gd name="connsiteY10" fmla="*/ 452449 h 457616"/>
                    <a:gd name="connsiteX11" fmla="*/ 9762 w 515902"/>
                    <a:gd name="connsiteY11" fmla="*/ 446099 h 457616"/>
                    <a:gd name="connsiteX0" fmla="*/ 9762 w 515902"/>
                    <a:gd name="connsiteY0" fmla="*/ 446099 h 457616"/>
                    <a:gd name="connsiteX1" fmla="*/ 6587 w 515902"/>
                    <a:gd name="connsiteY1" fmla="*/ 220674 h 457616"/>
                    <a:gd name="connsiteX2" fmla="*/ 76437 w 515902"/>
                    <a:gd name="connsiteY2" fmla="*/ 157174 h 457616"/>
                    <a:gd name="connsiteX3" fmla="*/ 190737 w 515902"/>
                    <a:gd name="connsiteY3" fmla="*/ 138124 h 457616"/>
                    <a:gd name="connsiteX4" fmla="*/ 206612 w 515902"/>
                    <a:gd name="connsiteY4" fmla="*/ 14299 h 457616"/>
                    <a:gd name="connsiteX5" fmla="*/ 317737 w 515902"/>
                    <a:gd name="connsiteY5" fmla="*/ 11124 h 457616"/>
                    <a:gd name="connsiteX6" fmla="*/ 317737 w 515902"/>
                    <a:gd name="connsiteY6" fmla="*/ 90499 h 457616"/>
                    <a:gd name="connsiteX7" fmla="*/ 451087 w 515902"/>
                    <a:gd name="connsiteY7" fmla="*/ 160349 h 457616"/>
                    <a:gd name="connsiteX8" fmla="*/ 514587 w 515902"/>
                    <a:gd name="connsiteY8" fmla="*/ 230199 h 457616"/>
                    <a:gd name="connsiteX9" fmla="*/ 511412 w 515902"/>
                    <a:gd name="connsiteY9" fmla="*/ 452449 h 457616"/>
                    <a:gd name="connsiteX10" fmla="*/ 9762 w 515902"/>
                    <a:gd name="connsiteY10" fmla="*/ 446099 h 457616"/>
                    <a:gd name="connsiteX0" fmla="*/ 9762 w 515902"/>
                    <a:gd name="connsiteY0" fmla="*/ 447482 h 458999"/>
                    <a:gd name="connsiteX1" fmla="*/ 6587 w 515902"/>
                    <a:gd name="connsiteY1" fmla="*/ 222057 h 458999"/>
                    <a:gd name="connsiteX2" fmla="*/ 76437 w 515902"/>
                    <a:gd name="connsiteY2" fmla="*/ 158557 h 458999"/>
                    <a:gd name="connsiteX3" fmla="*/ 190737 w 515902"/>
                    <a:gd name="connsiteY3" fmla="*/ 139507 h 458999"/>
                    <a:gd name="connsiteX4" fmla="*/ 206612 w 515902"/>
                    <a:gd name="connsiteY4" fmla="*/ 15682 h 458999"/>
                    <a:gd name="connsiteX5" fmla="*/ 317737 w 515902"/>
                    <a:gd name="connsiteY5" fmla="*/ 12507 h 458999"/>
                    <a:gd name="connsiteX6" fmla="*/ 330437 w 515902"/>
                    <a:gd name="connsiteY6" fmla="*/ 114107 h 458999"/>
                    <a:gd name="connsiteX7" fmla="*/ 451087 w 515902"/>
                    <a:gd name="connsiteY7" fmla="*/ 161732 h 458999"/>
                    <a:gd name="connsiteX8" fmla="*/ 514587 w 515902"/>
                    <a:gd name="connsiteY8" fmla="*/ 231582 h 458999"/>
                    <a:gd name="connsiteX9" fmla="*/ 511412 w 515902"/>
                    <a:gd name="connsiteY9" fmla="*/ 453832 h 458999"/>
                    <a:gd name="connsiteX10" fmla="*/ 9762 w 515902"/>
                    <a:gd name="connsiteY10" fmla="*/ 447482 h 458999"/>
                    <a:gd name="connsiteX0" fmla="*/ 9762 w 515902"/>
                    <a:gd name="connsiteY0" fmla="*/ 446348 h 457865"/>
                    <a:gd name="connsiteX1" fmla="*/ 6587 w 515902"/>
                    <a:gd name="connsiteY1" fmla="*/ 220923 h 457865"/>
                    <a:gd name="connsiteX2" fmla="*/ 76437 w 515902"/>
                    <a:gd name="connsiteY2" fmla="*/ 157423 h 457865"/>
                    <a:gd name="connsiteX3" fmla="*/ 200262 w 515902"/>
                    <a:gd name="connsiteY3" fmla="*/ 119323 h 457865"/>
                    <a:gd name="connsiteX4" fmla="*/ 206612 w 515902"/>
                    <a:gd name="connsiteY4" fmla="*/ 14548 h 457865"/>
                    <a:gd name="connsiteX5" fmla="*/ 317737 w 515902"/>
                    <a:gd name="connsiteY5" fmla="*/ 11373 h 457865"/>
                    <a:gd name="connsiteX6" fmla="*/ 330437 w 515902"/>
                    <a:gd name="connsiteY6" fmla="*/ 112973 h 457865"/>
                    <a:gd name="connsiteX7" fmla="*/ 451087 w 515902"/>
                    <a:gd name="connsiteY7" fmla="*/ 160598 h 457865"/>
                    <a:gd name="connsiteX8" fmla="*/ 514587 w 515902"/>
                    <a:gd name="connsiteY8" fmla="*/ 230448 h 457865"/>
                    <a:gd name="connsiteX9" fmla="*/ 511412 w 515902"/>
                    <a:gd name="connsiteY9" fmla="*/ 452698 h 457865"/>
                    <a:gd name="connsiteX10" fmla="*/ 9762 w 515902"/>
                    <a:gd name="connsiteY10" fmla="*/ 446348 h 457865"/>
                    <a:gd name="connsiteX0" fmla="*/ 8840 w 514980"/>
                    <a:gd name="connsiteY0" fmla="*/ 446348 h 457865"/>
                    <a:gd name="connsiteX1" fmla="*/ 5665 w 514980"/>
                    <a:gd name="connsiteY1" fmla="*/ 220923 h 457865"/>
                    <a:gd name="connsiteX2" fmla="*/ 62412 w 514980"/>
                    <a:gd name="connsiteY2" fmla="*/ 133367 h 457865"/>
                    <a:gd name="connsiteX3" fmla="*/ 199340 w 514980"/>
                    <a:gd name="connsiteY3" fmla="*/ 119323 h 457865"/>
                    <a:gd name="connsiteX4" fmla="*/ 205690 w 514980"/>
                    <a:gd name="connsiteY4" fmla="*/ 14548 h 457865"/>
                    <a:gd name="connsiteX5" fmla="*/ 316815 w 514980"/>
                    <a:gd name="connsiteY5" fmla="*/ 11373 h 457865"/>
                    <a:gd name="connsiteX6" fmla="*/ 329515 w 514980"/>
                    <a:gd name="connsiteY6" fmla="*/ 112973 h 457865"/>
                    <a:gd name="connsiteX7" fmla="*/ 450165 w 514980"/>
                    <a:gd name="connsiteY7" fmla="*/ 160598 h 457865"/>
                    <a:gd name="connsiteX8" fmla="*/ 513665 w 514980"/>
                    <a:gd name="connsiteY8" fmla="*/ 230448 h 457865"/>
                    <a:gd name="connsiteX9" fmla="*/ 510490 w 514980"/>
                    <a:gd name="connsiteY9" fmla="*/ 452698 h 457865"/>
                    <a:gd name="connsiteX10" fmla="*/ 8840 w 514980"/>
                    <a:gd name="connsiteY10" fmla="*/ 446348 h 457865"/>
                    <a:gd name="connsiteX0" fmla="*/ 8840 w 514980"/>
                    <a:gd name="connsiteY0" fmla="*/ 445015 h 456532"/>
                    <a:gd name="connsiteX1" fmla="*/ 5665 w 514980"/>
                    <a:gd name="connsiteY1" fmla="*/ 219590 h 456532"/>
                    <a:gd name="connsiteX2" fmla="*/ 62412 w 514980"/>
                    <a:gd name="connsiteY2" fmla="*/ 132034 h 456532"/>
                    <a:gd name="connsiteX3" fmla="*/ 186237 w 514980"/>
                    <a:gd name="connsiteY3" fmla="*/ 93934 h 456532"/>
                    <a:gd name="connsiteX4" fmla="*/ 205690 w 514980"/>
                    <a:gd name="connsiteY4" fmla="*/ 13215 h 456532"/>
                    <a:gd name="connsiteX5" fmla="*/ 316815 w 514980"/>
                    <a:gd name="connsiteY5" fmla="*/ 10040 h 456532"/>
                    <a:gd name="connsiteX6" fmla="*/ 329515 w 514980"/>
                    <a:gd name="connsiteY6" fmla="*/ 111640 h 456532"/>
                    <a:gd name="connsiteX7" fmla="*/ 450165 w 514980"/>
                    <a:gd name="connsiteY7" fmla="*/ 159265 h 456532"/>
                    <a:gd name="connsiteX8" fmla="*/ 513665 w 514980"/>
                    <a:gd name="connsiteY8" fmla="*/ 229115 h 456532"/>
                    <a:gd name="connsiteX9" fmla="*/ 510490 w 514980"/>
                    <a:gd name="connsiteY9" fmla="*/ 451365 h 456532"/>
                    <a:gd name="connsiteX10" fmla="*/ 8840 w 514980"/>
                    <a:gd name="connsiteY10" fmla="*/ 445015 h 456532"/>
                    <a:gd name="connsiteX0" fmla="*/ 8840 w 514980"/>
                    <a:gd name="connsiteY0" fmla="*/ 445015 h 456532"/>
                    <a:gd name="connsiteX1" fmla="*/ 5665 w 514980"/>
                    <a:gd name="connsiteY1" fmla="*/ 219590 h 456532"/>
                    <a:gd name="connsiteX2" fmla="*/ 62412 w 514980"/>
                    <a:gd name="connsiteY2" fmla="*/ 132034 h 456532"/>
                    <a:gd name="connsiteX3" fmla="*/ 186237 w 514980"/>
                    <a:gd name="connsiteY3" fmla="*/ 93934 h 456532"/>
                    <a:gd name="connsiteX4" fmla="*/ 205690 w 514980"/>
                    <a:gd name="connsiteY4" fmla="*/ 13215 h 456532"/>
                    <a:gd name="connsiteX5" fmla="*/ 316815 w 514980"/>
                    <a:gd name="connsiteY5" fmla="*/ 10040 h 456532"/>
                    <a:gd name="connsiteX6" fmla="*/ 329515 w 514980"/>
                    <a:gd name="connsiteY6" fmla="*/ 111640 h 456532"/>
                    <a:gd name="connsiteX7" fmla="*/ 461084 w 514980"/>
                    <a:gd name="connsiteY7" fmla="*/ 146143 h 456532"/>
                    <a:gd name="connsiteX8" fmla="*/ 513665 w 514980"/>
                    <a:gd name="connsiteY8" fmla="*/ 229115 h 456532"/>
                    <a:gd name="connsiteX9" fmla="*/ 510490 w 514980"/>
                    <a:gd name="connsiteY9" fmla="*/ 451365 h 456532"/>
                    <a:gd name="connsiteX10" fmla="*/ 8840 w 514980"/>
                    <a:gd name="connsiteY10" fmla="*/ 445015 h 456532"/>
                    <a:gd name="connsiteX0" fmla="*/ 8840 w 514980"/>
                    <a:gd name="connsiteY0" fmla="*/ 444105 h 455622"/>
                    <a:gd name="connsiteX1" fmla="*/ 5665 w 514980"/>
                    <a:gd name="connsiteY1" fmla="*/ 218680 h 455622"/>
                    <a:gd name="connsiteX2" fmla="*/ 62412 w 514980"/>
                    <a:gd name="connsiteY2" fmla="*/ 131124 h 455622"/>
                    <a:gd name="connsiteX3" fmla="*/ 186237 w 514980"/>
                    <a:gd name="connsiteY3" fmla="*/ 93024 h 455622"/>
                    <a:gd name="connsiteX4" fmla="*/ 205690 w 514980"/>
                    <a:gd name="connsiteY4" fmla="*/ 12305 h 455622"/>
                    <a:gd name="connsiteX5" fmla="*/ 316815 w 514980"/>
                    <a:gd name="connsiteY5" fmla="*/ 9130 h 455622"/>
                    <a:gd name="connsiteX6" fmla="*/ 351353 w 514980"/>
                    <a:gd name="connsiteY6" fmla="*/ 97608 h 455622"/>
                    <a:gd name="connsiteX7" fmla="*/ 461084 w 514980"/>
                    <a:gd name="connsiteY7" fmla="*/ 145233 h 455622"/>
                    <a:gd name="connsiteX8" fmla="*/ 513665 w 514980"/>
                    <a:gd name="connsiteY8" fmla="*/ 228205 h 455622"/>
                    <a:gd name="connsiteX9" fmla="*/ 510490 w 514980"/>
                    <a:gd name="connsiteY9" fmla="*/ 450455 h 455622"/>
                    <a:gd name="connsiteX10" fmla="*/ 8840 w 514980"/>
                    <a:gd name="connsiteY10" fmla="*/ 444105 h 455622"/>
                    <a:gd name="connsiteX0" fmla="*/ 8840 w 514980"/>
                    <a:gd name="connsiteY0" fmla="*/ 442755 h 454272"/>
                    <a:gd name="connsiteX1" fmla="*/ 5665 w 514980"/>
                    <a:gd name="connsiteY1" fmla="*/ 217330 h 454272"/>
                    <a:gd name="connsiteX2" fmla="*/ 62412 w 514980"/>
                    <a:gd name="connsiteY2" fmla="*/ 129774 h 454272"/>
                    <a:gd name="connsiteX3" fmla="*/ 186237 w 514980"/>
                    <a:gd name="connsiteY3" fmla="*/ 91674 h 454272"/>
                    <a:gd name="connsiteX4" fmla="*/ 205690 w 514980"/>
                    <a:gd name="connsiteY4" fmla="*/ 10955 h 454272"/>
                    <a:gd name="connsiteX5" fmla="*/ 325550 w 514980"/>
                    <a:gd name="connsiteY5" fmla="*/ 9967 h 454272"/>
                    <a:gd name="connsiteX6" fmla="*/ 351353 w 514980"/>
                    <a:gd name="connsiteY6" fmla="*/ 96258 h 454272"/>
                    <a:gd name="connsiteX7" fmla="*/ 461084 w 514980"/>
                    <a:gd name="connsiteY7" fmla="*/ 143883 h 454272"/>
                    <a:gd name="connsiteX8" fmla="*/ 513665 w 514980"/>
                    <a:gd name="connsiteY8" fmla="*/ 226855 h 454272"/>
                    <a:gd name="connsiteX9" fmla="*/ 510490 w 514980"/>
                    <a:gd name="connsiteY9" fmla="*/ 449105 h 454272"/>
                    <a:gd name="connsiteX10" fmla="*/ 8840 w 514980"/>
                    <a:gd name="connsiteY10" fmla="*/ 442755 h 454272"/>
                    <a:gd name="connsiteX0" fmla="*/ 8840 w 514980"/>
                    <a:gd name="connsiteY0" fmla="*/ 442755 h 454272"/>
                    <a:gd name="connsiteX1" fmla="*/ 5665 w 514980"/>
                    <a:gd name="connsiteY1" fmla="*/ 217330 h 454272"/>
                    <a:gd name="connsiteX2" fmla="*/ 62412 w 514980"/>
                    <a:gd name="connsiteY2" fmla="*/ 129774 h 454272"/>
                    <a:gd name="connsiteX3" fmla="*/ 186237 w 514980"/>
                    <a:gd name="connsiteY3" fmla="*/ 91674 h 454272"/>
                    <a:gd name="connsiteX4" fmla="*/ 205690 w 514980"/>
                    <a:gd name="connsiteY4" fmla="*/ 10955 h 454272"/>
                    <a:gd name="connsiteX5" fmla="*/ 325550 w 514980"/>
                    <a:gd name="connsiteY5" fmla="*/ 9967 h 454272"/>
                    <a:gd name="connsiteX6" fmla="*/ 351353 w 514980"/>
                    <a:gd name="connsiteY6" fmla="*/ 96258 h 454272"/>
                    <a:gd name="connsiteX7" fmla="*/ 461084 w 514980"/>
                    <a:gd name="connsiteY7" fmla="*/ 143883 h 454272"/>
                    <a:gd name="connsiteX8" fmla="*/ 513665 w 514980"/>
                    <a:gd name="connsiteY8" fmla="*/ 226855 h 454272"/>
                    <a:gd name="connsiteX9" fmla="*/ 510490 w 514980"/>
                    <a:gd name="connsiteY9" fmla="*/ 449105 h 454272"/>
                    <a:gd name="connsiteX10" fmla="*/ 8840 w 514980"/>
                    <a:gd name="connsiteY10" fmla="*/ 442755 h 454272"/>
                    <a:gd name="connsiteX0" fmla="*/ 8840 w 514980"/>
                    <a:gd name="connsiteY0" fmla="*/ 442755 h 454272"/>
                    <a:gd name="connsiteX1" fmla="*/ 5665 w 514980"/>
                    <a:gd name="connsiteY1" fmla="*/ 217330 h 454272"/>
                    <a:gd name="connsiteX2" fmla="*/ 62412 w 514980"/>
                    <a:gd name="connsiteY2" fmla="*/ 129774 h 454272"/>
                    <a:gd name="connsiteX3" fmla="*/ 186237 w 514980"/>
                    <a:gd name="connsiteY3" fmla="*/ 91674 h 454272"/>
                    <a:gd name="connsiteX4" fmla="*/ 205690 w 514980"/>
                    <a:gd name="connsiteY4" fmla="*/ 10955 h 454272"/>
                    <a:gd name="connsiteX5" fmla="*/ 325550 w 514980"/>
                    <a:gd name="connsiteY5" fmla="*/ 9967 h 454272"/>
                    <a:gd name="connsiteX6" fmla="*/ 351353 w 514980"/>
                    <a:gd name="connsiteY6" fmla="*/ 96258 h 454272"/>
                    <a:gd name="connsiteX7" fmla="*/ 461084 w 514980"/>
                    <a:gd name="connsiteY7" fmla="*/ 143883 h 454272"/>
                    <a:gd name="connsiteX8" fmla="*/ 513665 w 514980"/>
                    <a:gd name="connsiteY8" fmla="*/ 226855 h 454272"/>
                    <a:gd name="connsiteX9" fmla="*/ 510490 w 514980"/>
                    <a:gd name="connsiteY9" fmla="*/ 449105 h 454272"/>
                    <a:gd name="connsiteX10" fmla="*/ 8840 w 514980"/>
                    <a:gd name="connsiteY10" fmla="*/ 442755 h 454272"/>
                    <a:gd name="connsiteX0" fmla="*/ 8840 w 514980"/>
                    <a:gd name="connsiteY0" fmla="*/ 442755 h 454272"/>
                    <a:gd name="connsiteX1" fmla="*/ 5665 w 514980"/>
                    <a:gd name="connsiteY1" fmla="*/ 217330 h 454272"/>
                    <a:gd name="connsiteX2" fmla="*/ 62412 w 514980"/>
                    <a:gd name="connsiteY2" fmla="*/ 129774 h 454272"/>
                    <a:gd name="connsiteX3" fmla="*/ 186237 w 514980"/>
                    <a:gd name="connsiteY3" fmla="*/ 91674 h 454272"/>
                    <a:gd name="connsiteX4" fmla="*/ 205690 w 514980"/>
                    <a:gd name="connsiteY4" fmla="*/ 10955 h 454272"/>
                    <a:gd name="connsiteX5" fmla="*/ 325550 w 514980"/>
                    <a:gd name="connsiteY5" fmla="*/ 9967 h 454272"/>
                    <a:gd name="connsiteX6" fmla="*/ 351353 w 514980"/>
                    <a:gd name="connsiteY6" fmla="*/ 96258 h 454272"/>
                    <a:gd name="connsiteX7" fmla="*/ 461084 w 514980"/>
                    <a:gd name="connsiteY7" fmla="*/ 143883 h 454272"/>
                    <a:gd name="connsiteX8" fmla="*/ 513665 w 514980"/>
                    <a:gd name="connsiteY8" fmla="*/ 226855 h 454272"/>
                    <a:gd name="connsiteX9" fmla="*/ 510490 w 514980"/>
                    <a:gd name="connsiteY9" fmla="*/ 449105 h 454272"/>
                    <a:gd name="connsiteX10" fmla="*/ 8840 w 514980"/>
                    <a:gd name="connsiteY10" fmla="*/ 442755 h 454272"/>
                    <a:gd name="connsiteX0" fmla="*/ 8840 w 514980"/>
                    <a:gd name="connsiteY0" fmla="*/ 436996 h 448513"/>
                    <a:gd name="connsiteX1" fmla="*/ 5665 w 514980"/>
                    <a:gd name="connsiteY1" fmla="*/ 211571 h 448513"/>
                    <a:gd name="connsiteX2" fmla="*/ 62412 w 514980"/>
                    <a:gd name="connsiteY2" fmla="*/ 124015 h 448513"/>
                    <a:gd name="connsiteX3" fmla="*/ 186237 w 514980"/>
                    <a:gd name="connsiteY3" fmla="*/ 85915 h 448513"/>
                    <a:gd name="connsiteX4" fmla="*/ 205690 w 514980"/>
                    <a:gd name="connsiteY4" fmla="*/ 5196 h 448513"/>
                    <a:gd name="connsiteX5" fmla="*/ 325550 w 514980"/>
                    <a:gd name="connsiteY5" fmla="*/ 4208 h 448513"/>
                    <a:gd name="connsiteX6" fmla="*/ 351353 w 514980"/>
                    <a:gd name="connsiteY6" fmla="*/ 90499 h 448513"/>
                    <a:gd name="connsiteX7" fmla="*/ 461084 w 514980"/>
                    <a:gd name="connsiteY7" fmla="*/ 138124 h 448513"/>
                    <a:gd name="connsiteX8" fmla="*/ 513665 w 514980"/>
                    <a:gd name="connsiteY8" fmla="*/ 221096 h 448513"/>
                    <a:gd name="connsiteX9" fmla="*/ 510490 w 514980"/>
                    <a:gd name="connsiteY9" fmla="*/ 443346 h 448513"/>
                    <a:gd name="connsiteX10" fmla="*/ 8840 w 514980"/>
                    <a:gd name="connsiteY10" fmla="*/ 436996 h 448513"/>
                    <a:gd name="connsiteX0" fmla="*/ 8840 w 514980"/>
                    <a:gd name="connsiteY0" fmla="*/ 436996 h 448513"/>
                    <a:gd name="connsiteX1" fmla="*/ 5665 w 514980"/>
                    <a:gd name="connsiteY1" fmla="*/ 211571 h 448513"/>
                    <a:gd name="connsiteX2" fmla="*/ 62412 w 514980"/>
                    <a:gd name="connsiteY2" fmla="*/ 124015 h 448513"/>
                    <a:gd name="connsiteX3" fmla="*/ 186237 w 514980"/>
                    <a:gd name="connsiteY3" fmla="*/ 85915 h 448513"/>
                    <a:gd name="connsiteX4" fmla="*/ 205690 w 514980"/>
                    <a:gd name="connsiteY4" fmla="*/ 5196 h 448513"/>
                    <a:gd name="connsiteX5" fmla="*/ 325550 w 514980"/>
                    <a:gd name="connsiteY5" fmla="*/ 4208 h 448513"/>
                    <a:gd name="connsiteX6" fmla="*/ 351353 w 514980"/>
                    <a:gd name="connsiteY6" fmla="*/ 90499 h 448513"/>
                    <a:gd name="connsiteX7" fmla="*/ 461084 w 514980"/>
                    <a:gd name="connsiteY7" fmla="*/ 138124 h 448513"/>
                    <a:gd name="connsiteX8" fmla="*/ 513665 w 514980"/>
                    <a:gd name="connsiteY8" fmla="*/ 221096 h 448513"/>
                    <a:gd name="connsiteX9" fmla="*/ 510490 w 514980"/>
                    <a:gd name="connsiteY9" fmla="*/ 443346 h 448513"/>
                    <a:gd name="connsiteX10" fmla="*/ 8840 w 514980"/>
                    <a:gd name="connsiteY10" fmla="*/ 436996 h 448513"/>
                    <a:gd name="connsiteX0" fmla="*/ 8840 w 514980"/>
                    <a:gd name="connsiteY0" fmla="*/ 436996 h 448513"/>
                    <a:gd name="connsiteX1" fmla="*/ 5665 w 514980"/>
                    <a:gd name="connsiteY1" fmla="*/ 211571 h 448513"/>
                    <a:gd name="connsiteX2" fmla="*/ 62412 w 514980"/>
                    <a:gd name="connsiteY2" fmla="*/ 124015 h 448513"/>
                    <a:gd name="connsiteX3" fmla="*/ 186237 w 514980"/>
                    <a:gd name="connsiteY3" fmla="*/ 85915 h 448513"/>
                    <a:gd name="connsiteX4" fmla="*/ 205690 w 514980"/>
                    <a:gd name="connsiteY4" fmla="*/ 5196 h 448513"/>
                    <a:gd name="connsiteX5" fmla="*/ 325550 w 514980"/>
                    <a:gd name="connsiteY5" fmla="*/ 4208 h 448513"/>
                    <a:gd name="connsiteX6" fmla="*/ 351353 w 514980"/>
                    <a:gd name="connsiteY6" fmla="*/ 90499 h 448513"/>
                    <a:gd name="connsiteX7" fmla="*/ 461084 w 514980"/>
                    <a:gd name="connsiteY7" fmla="*/ 138124 h 448513"/>
                    <a:gd name="connsiteX8" fmla="*/ 513665 w 514980"/>
                    <a:gd name="connsiteY8" fmla="*/ 221096 h 448513"/>
                    <a:gd name="connsiteX9" fmla="*/ 510490 w 514980"/>
                    <a:gd name="connsiteY9" fmla="*/ 443346 h 448513"/>
                    <a:gd name="connsiteX10" fmla="*/ 8840 w 514980"/>
                    <a:gd name="connsiteY10" fmla="*/ 436996 h 448513"/>
                    <a:gd name="connsiteX0" fmla="*/ 8840 w 514980"/>
                    <a:gd name="connsiteY0" fmla="*/ 436996 h 448513"/>
                    <a:gd name="connsiteX1" fmla="*/ 5665 w 514980"/>
                    <a:gd name="connsiteY1" fmla="*/ 211571 h 448513"/>
                    <a:gd name="connsiteX2" fmla="*/ 62412 w 514980"/>
                    <a:gd name="connsiteY2" fmla="*/ 124015 h 448513"/>
                    <a:gd name="connsiteX3" fmla="*/ 168766 w 514980"/>
                    <a:gd name="connsiteY3" fmla="*/ 88102 h 448513"/>
                    <a:gd name="connsiteX4" fmla="*/ 205690 w 514980"/>
                    <a:gd name="connsiteY4" fmla="*/ 5196 h 448513"/>
                    <a:gd name="connsiteX5" fmla="*/ 325550 w 514980"/>
                    <a:gd name="connsiteY5" fmla="*/ 4208 h 448513"/>
                    <a:gd name="connsiteX6" fmla="*/ 351353 w 514980"/>
                    <a:gd name="connsiteY6" fmla="*/ 90499 h 448513"/>
                    <a:gd name="connsiteX7" fmla="*/ 461084 w 514980"/>
                    <a:gd name="connsiteY7" fmla="*/ 138124 h 448513"/>
                    <a:gd name="connsiteX8" fmla="*/ 513665 w 514980"/>
                    <a:gd name="connsiteY8" fmla="*/ 221096 h 448513"/>
                    <a:gd name="connsiteX9" fmla="*/ 510490 w 514980"/>
                    <a:gd name="connsiteY9" fmla="*/ 443346 h 448513"/>
                    <a:gd name="connsiteX10" fmla="*/ 8840 w 514980"/>
                    <a:gd name="connsiteY10" fmla="*/ 436996 h 448513"/>
                    <a:gd name="connsiteX0" fmla="*/ 8840 w 514980"/>
                    <a:gd name="connsiteY0" fmla="*/ 440628 h 452145"/>
                    <a:gd name="connsiteX1" fmla="*/ 5665 w 514980"/>
                    <a:gd name="connsiteY1" fmla="*/ 215203 h 452145"/>
                    <a:gd name="connsiteX2" fmla="*/ 62412 w 514980"/>
                    <a:gd name="connsiteY2" fmla="*/ 127647 h 452145"/>
                    <a:gd name="connsiteX3" fmla="*/ 168766 w 514980"/>
                    <a:gd name="connsiteY3" fmla="*/ 91734 h 452145"/>
                    <a:gd name="connsiteX4" fmla="*/ 179484 w 514980"/>
                    <a:gd name="connsiteY4" fmla="*/ 4454 h 452145"/>
                    <a:gd name="connsiteX5" fmla="*/ 325550 w 514980"/>
                    <a:gd name="connsiteY5" fmla="*/ 7840 h 452145"/>
                    <a:gd name="connsiteX6" fmla="*/ 351353 w 514980"/>
                    <a:gd name="connsiteY6" fmla="*/ 94131 h 452145"/>
                    <a:gd name="connsiteX7" fmla="*/ 461084 w 514980"/>
                    <a:gd name="connsiteY7" fmla="*/ 141756 h 452145"/>
                    <a:gd name="connsiteX8" fmla="*/ 513665 w 514980"/>
                    <a:gd name="connsiteY8" fmla="*/ 224728 h 452145"/>
                    <a:gd name="connsiteX9" fmla="*/ 510490 w 514980"/>
                    <a:gd name="connsiteY9" fmla="*/ 446978 h 452145"/>
                    <a:gd name="connsiteX10" fmla="*/ 8840 w 514980"/>
                    <a:gd name="connsiteY10" fmla="*/ 440628 h 452145"/>
                    <a:gd name="connsiteX0" fmla="*/ 8840 w 514980"/>
                    <a:gd name="connsiteY0" fmla="*/ 442422 h 453939"/>
                    <a:gd name="connsiteX1" fmla="*/ 5665 w 514980"/>
                    <a:gd name="connsiteY1" fmla="*/ 216997 h 453939"/>
                    <a:gd name="connsiteX2" fmla="*/ 62412 w 514980"/>
                    <a:gd name="connsiteY2" fmla="*/ 129441 h 453939"/>
                    <a:gd name="connsiteX3" fmla="*/ 168766 w 514980"/>
                    <a:gd name="connsiteY3" fmla="*/ 93528 h 453939"/>
                    <a:gd name="connsiteX4" fmla="*/ 179484 w 514980"/>
                    <a:gd name="connsiteY4" fmla="*/ 6248 h 453939"/>
                    <a:gd name="connsiteX5" fmla="*/ 351756 w 514980"/>
                    <a:gd name="connsiteY5" fmla="*/ 886 h 453939"/>
                    <a:gd name="connsiteX6" fmla="*/ 351353 w 514980"/>
                    <a:gd name="connsiteY6" fmla="*/ 95925 h 453939"/>
                    <a:gd name="connsiteX7" fmla="*/ 461084 w 514980"/>
                    <a:gd name="connsiteY7" fmla="*/ 143550 h 453939"/>
                    <a:gd name="connsiteX8" fmla="*/ 513665 w 514980"/>
                    <a:gd name="connsiteY8" fmla="*/ 226522 h 453939"/>
                    <a:gd name="connsiteX9" fmla="*/ 510490 w 514980"/>
                    <a:gd name="connsiteY9" fmla="*/ 448772 h 453939"/>
                    <a:gd name="connsiteX10" fmla="*/ 8840 w 514980"/>
                    <a:gd name="connsiteY10" fmla="*/ 442422 h 453939"/>
                    <a:gd name="connsiteX0" fmla="*/ 8840 w 514980"/>
                    <a:gd name="connsiteY0" fmla="*/ 442422 h 453939"/>
                    <a:gd name="connsiteX1" fmla="*/ 5665 w 514980"/>
                    <a:gd name="connsiteY1" fmla="*/ 216997 h 453939"/>
                    <a:gd name="connsiteX2" fmla="*/ 62412 w 514980"/>
                    <a:gd name="connsiteY2" fmla="*/ 129441 h 453939"/>
                    <a:gd name="connsiteX3" fmla="*/ 168766 w 514980"/>
                    <a:gd name="connsiteY3" fmla="*/ 93528 h 453939"/>
                    <a:gd name="connsiteX4" fmla="*/ 179484 w 514980"/>
                    <a:gd name="connsiteY4" fmla="*/ 6248 h 453939"/>
                    <a:gd name="connsiteX5" fmla="*/ 351756 w 514980"/>
                    <a:gd name="connsiteY5" fmla="*/ 886 h 453939"/>
                    <a:gd name="connsiteX6" fmla="*/ 366640 w 514980"/>
                    <a:gd name="connsiteY6" fmla="*/ 100299 h 453939"/>
                    <a:gd name="connsiteX7" fmla="*/ 461084 w 514980"/>
                    <a:gd name="connsiteY7" fmla="*/ 143550 h 453939"/>
                    <a:gd name="connsiteX8" fmla="*/ 513665 w 514980"/>
                    <a:gd name="connsiteY8" fmla="*/ 226522 h 453939"/>
                    <a:gd name="connsiteX9" fmla="*/ 510490 w 514980"/>
                    <a:gd name="connsiteY9" fmla="*/ 448772 h 453939"/>
                    <a:gd name="connsiteX10" fmla="*/ 8840 w 514980"/>
                    <a:gd name="connsiteY10" fmla="*/ 442422 h 453939"/>
                    <a:gd name="connsiteX0" fmla="*/ 8840 w 514980"/>
                    <a:gd name="connsiteY0" fmla="*/ 442422 h 450476"/>
                    <a:gd name="connsiteX1" fmla="*/ 5665 w 514980"/>
                    <a:gd name="connsiteY1" fmla="*/ 216997 h 450476"/>
                    <a:gd name="connsiteX2" fmla="*/ 62412 w 514980"/>
                    <a:gd name="connsiteY2" fmla="*/ 129441 h 450476"/>
                    <a:gd name="connsiteX3" fmla="*/ 168766 w 514980"/>
                    <a:gd name="connsiteY3" fmla="*/ 93528 h 450476"/>
                    <a:gd name="connsiteX4" fmla="*/ 179484 w 514980"/>
                    <a:gd name="connsiteY4" fmla="*/ 6248 h 450476"/>
                    <a:gd name="connsiteX5" fmla="*/ 351756 w 514980"/>
                    <a:gd name="connsiteY5" fmla="*/ 886 h 450476"/>
                    <a:gd name="connsiteX6" fmla="*/ 366640 w 514980"/>
                    <a:gd name="connsiteY6" fmla="*/ 100299 h 450476"/>
                    <a:gd name="connsiteX7" fmla="*/ 461084 w 514980"/>
                    <a:gd name="connsiteY7" fmla="*/ 143550 h 450476"/>
                    <a:gd name="connsiteX8" fmla="*/ 513665 w 514980"/>
                    <a:gd name="connsiteY8" fmla="*/ 226522 h 450476"/>
                    <a:gd name="connsiteX9" fmla="*/ 510490 w 514980"/>
                    <a:gd name="connsiteY9" fmla="*/ 448772 h 450476"/>
                    <a:gd name="connsiteX10" fmla="*/ 8840 w 514980"/>
                    <a:gd name="connsiteY10" fmla="*/ 442422 h 450476"/>
                    <a:gd name="connsiteX0" fmla="*/ 8840 w 514980"/>
                    <a:gd name="connsiteY0" fmla="*/ 442422 h 448772"/>
                    <a:gd name="connsiteX1" fmla="*/ 5665 w 514980"/>
                    <a:gd name="connsiteY1" fmla="*/ 216997 h 448772"/>
                    <a:gd name="connsiteX2" fmla="*/ 62412 w 514980"/>
                    <a:gd name="connsiteY2" fmla="*/ 129441 h 448772"/>
                    <a:gd name="connsiteX3" fmla="*/ 168766 w 514980"/>
                    <a:gd name="connsiteY3" fmla="*/ 93528 h 448772"/>
                    <a:gd name="connsiteX4" fmla="*/ 179484 w 514980"/>
                    <a:gd name="connsiteY4" fmla="*/ 6248 h 448772"/>
                    <a:gd name="connsiteX5" fmla="*/ 351756 w 514980"/>
                    <a:gd name="connsiteY5" fmla="*/ 886 h 448772"/>
                    <a:gd name="connsiteX6" fmla="*/ 366640 w 514980"/>
                    <a:gd name="connsiteY6" fmla="*/ 100299 h 448772"/>
                    <a:gd name="connsiteX7" fmla="*/ 461084 w 514980"/>
                    <a:gd name="connsiteY7" fmla="*/ 143550 h 448772"/>
                    <a:gd name="connsiteX8" fmla="*/ 513665 w 514980"/>
                    <a:gd name="connsiteY8" fmla="*/ 226522 h 448772"/>
                    <a:gd name="connsiteX9" fmla="*/ 510490 w 514980"/>
                    <a:gd name="connsiteY9" fmla="*/ 448772 h 448772"/>
                    <a:gd name="connsiteX10" fmla="*/ 8840 w 514980"/>
                    <a:gd name="connsiteY10" fmla="*/ 442422 h 448772"/>
                    <a:gd name="connsiteX0" fmla="*/ 8840 w 514980"/>
                    <a:gd name="connsiteY0" fmla="*/ 442422 h 448772"/>
                    <a:gd name="connsiteX1" fmla="*/ 5665 w 514980"/>
                    <a:gd name="connsiteY1" fmla="*/ 216997 h 448772"/>
                    <a:gd name="connsiteX2" fmla="*/ 62412 w 514980"/>
                    <a:gd name="connsiteY2" fmla="*/ 129441 h 448772"/>
                    <a:gd name="connsiteX3" fmla="*/ 168766 w 514980"/>
                    <a:gd name="connsiteY3" fmla="*/ 93528 h 448772"/>
                    <a:gd name="connsiteX4" fmla="*/ 179484 w 514980"/>
                    <a:gd name="connsiteY4" fmla="*/ 6248 h 448772"/>
                    <a:gd name="connsiteX5" fmla="*/ 351756 w 514980"/>
                    <a:gd name="connsiteY5" fmla="*/ 886 h 448772"/>
                    <a:gd name="connsiteX6" fmla="*/ 357905 w 514980"/>
                    <a:gd name="connsiteY6" fmla="*/ 98112 h 448772"/>
                    <a:gd name="connsiteX7" fmla="*/ 461084 w 514980"/>
                    <a:gd name="connsiteY7" fmla="*/ 143550 h 448772"/>
                    <a:gd name="connsiteX8" fmla="*/ 513665 w 514980"/>
                    <a:gd name="connsiteY8" fmla="*/ 226522 h 448772"/>
                    <a:gd name="connsiteX9" fmla="*/ 510490 w 514980"/>
                    <a:gd name="connsiteY9" fmla="*/ 448772 h 448772"/>
                    <a:gd name="connsiteX10" fmla="*/ 8840 w 514980"/>
                    <a:gd name="connsiteY10" fmla="*/ 442422 h 448772"/>
                    <a:gd name="connsiteX0" fmla="*/ 8840 w 514980"/>
                    <a:gd name="connsiteY0" fmla="*/ 442422 h 448772"/>
                    <a:gd name="connsiteX1" fmla="*/ 5665 w 514980"/>
                    <a:gd name="connsiteY1" fmla="*/ 216997 h 448772"/>
                    <a:gd name="connsiteX2" fmla="*/ 62412 w 514980"/>
                    <a:gd name="connsiteY2" fmla="*/ 129441 h 448772"/>
                    <a:gd name="connsiteX3" fmla="*/ 168766 w 514980"/>
                    <a:gd name="connsiteY3" fmla="*/ 93528 h 448772"/>
                    <a:gd name="connsiteX4" fmla="*/ 179484 w 514980"/>
                    <a:gd name="connsiteY4" fmla="*/ 6248 h 448772"/>
                    <a:gd name="connsiteX5" fmla="*/ 351756 w 514980"/>
                    <a:gd name="connsiteY5" fmla="*/ 886 h 448772"/>
                    <a:gd name="connsiteX6" fmla="*/ 357905 w 514980"/>
                    <a:gd name="connsiteY6" fmla="*/ 98112 h 448772"/>
                    <a:gd name="connsiteX7" fmla="*/ 454533 w 514980"/>
                    <a:gd name="connsiteY7" fmla="*/ 136989 h 448772"/>
                    <a:gd name="connsiteX8" fmla="*/ 513665 w 514980"/>
                    <a:gd name="connsiteY8" fmla="*/ 226522 h 448772"/>
                    <a:gd name="connsiteX9" fmla="*/ 510490 w 514980"/>
                    <a:gd name="connsiteY9" fmla="*/ 448772 h 448772"/>
                    <a:gd name="connsiteX10" fmla="*/ 8840 w 514980"/>
                    <a:gd name="connsiteY10" fmla="*/ 442422 h 448772"/>
                    <a:gd name="connsiteX0" fmla="*/ 8840 w 514980"/>
                    <a:gd name="connsiteY0" fmla="*/ 442422 h 448772"/>
                    <a:gd name="connsiteX1" fmla="*/ 5665 w 514980"/>
                    <a:gd name="connsiteY1" fmla="*/ 216997 h 448772"/>
                    <a:gd name="connsiteX2" fmla="*/ 62412 w 514980"/>
                    <a:gd name="connsiteY2" fmla="*/ 129441 h 448772"/>
                    <a:gd name="connsiteX3" fmla="*/ 168766 w 514980"/>
                    <a:gd name="connsiteY3" fmla="*/ 93528 h 448772"/>
                    <a:gd name="connsiteX4" fmla="*/ 179484 w 514980"/>
                    <a:gd name="connsiteY4" fmla="*/ 6248 h 448772"/>
                    <a:gd name="connsiteX5" fmla="*/ 351756 w 514980"/>
                    <a:gd name="connsiteY5" fmla="*/ 886 h 448772"/>
                    <a:gd name="connsiteX6" fmla="*/ 357905 w 514980"/>
                    <a:gd name="connsiteY6" fmla="*/ 98112 h 448772"/>
                    <a:gd name="connsiteX7" fmla="*/ 454533 w 514980"/>
                    <a:gd name="connsiteY7" fmla="*/ 136989 h 448772"/>
                    <a:gd name="connsiteX8" fmla="*/ 513665 w 514980"/>
                    <a:gd name="connsiteY8" fmla="*/ 226522 h 448772"/>
                    <a:gd name="connsiteX9" fmla="*/ 510490 w 514980"/>
                    <a:gd name="connsiteY9" fmla="*/ 448772 h 448772"/>
                    <a:gd name="connsiteX10" fmla="*/ 8840 w 514980"/>
                    <a:gd name="connsiteY10" fmla="*/ 442422 h 448772"/>
                    <a:gd name="connsiteX0" fmla="*/ 8840 w 514980"/>
                    <a:gd name="connsiteY0" fmla="*/ 442422 h 448772"/>
                    <a:gd name="connsiteX1" fmla="*/ 5665 w 514980"/>
                    <a:gd name="connsiteY1" fmla="*/ 216997 h 448772"/>
                    <a:gd name="connsiteX2" fmla="*/ 62412 w 514980"/>
                    <a:gd name="connsiteY2" fmla="*/ 129441 h 448772"/>
                    <a:gd name="connsiteX3" fmla="*/ 168766 w 514980"/>
                    <a:gd name="connsiteY3" fmla="*/ 93528 h 448772"/>
                    <a:gd name="connsiteX4" fmla="*/ 179484 w 514980"/>
                    <a:gd name="connsiteY4" fmla="*/ 6248 h 448772"/>
                    <a:gd name="connsiteX5" fmla="*/ 351756 w 514980"/>
                    <a:gd name="connsiteY5" fmla="*/ 886 h 448772"/>
                    <a:gd name="connsiteX6" fmla="*/ 357905 w 514980"/>
                    <a:gd name="connsiteY6" fmla="*/ 98112 h 448772"/>
                    <a:gd name="connsiteX7" fmla="*/ 454533 w 514980"/>
                    <a:gd name="connsiteY7" fmla="*/ 136989 h 448772"/>
                    <a:gd name="connsiteX8" fmla="*/ 513665 w 514980"/>
                    <a:gd name="connsiteY8" fmla="*/ 226522 h 448772"/>
                    <a:gd name="connsiteX9" fmla="*/ 510490 w 514980"/>
                    <a:gd name="connsiteY9" fmla="*/ 448772 h 448772"/>
                    <a:gd name="connsiteX10" fmla="*/ 8840 w 514980"/>
                    <a:gd name="connsiteY10" fmla="*/ 442422 h 448772"/>
                    <a:gd name="connsiteX0" fmla="*/ 8840 w 514980"/>
                    <a:gd name="connsiteY0" fmla="*/ 442422 h 448772"/>
                    <a:gd name="connsiteX1" fmla="*/ 5665 w 514980"/>
                    <a:gd name="connsiteY1" fmla="*/ 216997 h 448772"/>
                    <a:gd name="connsiteX2" fmla="*/ 62412 w 514980"/>
                    <a:gd name="connsiteY2" fmla="*/ 129441 h 448772"/>
                    <a:gd name="connsiteX3" fmla="*/ 168766 w 514980"/>
                    <a:gd name="connsiteY3" fmla="*/ 93528 h 448772"/>
                    <a:gd name="connsiteX4" fmla="*/ 179484 w 514980"/>
                    <a:gd name="connsiteY4" fmla="*/ 6248 h 448772"/>
                    <a:gd name="connsiteX5" fmla="*/ 351756 w 514980"/>
                    <a:gd name="connsiteY5" fmla="*/ 886 h 448772"/>
                    <a:gd name="connsiteX6" fmla="*/ 353538 w 514980"/>
                    <a:gd name="connsiteY6" fmla="*/ 98112 h 448772"/>
                    <a:gd name="connsiteX7" fmla="*/ 454533 w 514980"/>
                    <a:gd name="connsiteY7" fmla="*/ 136989 h 448772"/>
                    <a:gd name="connsiteX8" fmla="*/ 513665 w 514980"/>
                    <a:gd name="connsiteY8" fmla="*/ 226522 h 448772"/>
                    <a:gd name="connsiteX9" fmla="*/ 510490 w 514980"/>
                    <a:gd name="connsiteY9" fmla="*/ 448772 h 448772"/>
                    <a:gd name="connsiteX10" fmla="*/ 8840 w 514980"/>
                    <a:gd name="connsiteY10" fmla="*/ 442422 h 448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14980" h="448772">
                      <a:moveTo>
                        <a:pt x="8840" y="442422"/>
                      </a:moveTo>
                      <a:cubicBezTo>
                        <a:pt x="-1214" y="377864"/>
                        <a:pt x="-3264" y="269160"/>
                        <a:pt x="5665" y="216997"/>
                      </a:cubicBezTo>
                      <a:cubicBezTo>
                        <a:pt x="14594" y="164834"/>
                        <a:pt x="35229" y="150019"/>
                        <a:pt x="62412" y="129441"/>
                      </a:cubicBezTo>
                      <a:cubicBezTo>
                        <a:pt x="89595" y="108863"/>
                        <a:pt x="149254" y="114060"/>
                        <a:pt x="168766" y="93528"/>
                      </a:cubicBezTo>
                      <a:cubicBezTo>
                        <a:pt x="188278" y="72996"/>
                        <a:pt x="189023" y="43922"/>
                        <a:pt x="179484" y="6248"/>
                      </a:cubicBezTo>
                      <a:cubicBezTo>
                        <a:pt x="202703" y="-7370"/>
                        <a:pt x="323111" y="6352"/>
                        <a:pt x="351756" y="886"/>
                      </a:cubicBezTo>
                      <a:cubicBezTo>
                        <a:pt x="354195" y="39159"/>
                        <a:pt x="342961" y="75428"/>
                        <a:pt x="353538" y="98112"/>
                      </a:cubicBezTo>
                      <a:cubicBezTo>
                        <a:pt x="364115" y="120796"/>
                        <a:pt x="427845" y="115587"/>
                        <a:pt x="454533" y="136989"/>
                      </a:cubicBezTo>
                      <a:cubicBezTo>
                        <a:pt x="481221" y="158391"/>
                        <a:pt x="503611" y="177839"/>
                        <a:pt x="513665" y="226522"/>
                      </a:cubicBezTo>
                      <a:cubicBezTo>
                        <a:pt x="516840" y="276264"/>
                        <a:pt x="513665" y="323360"/>
                        <a:pt x="510490" y="448772"/>
                      </a:cubicBezTo>
                      <a:lnTo>
                        <a:pt x="8840" y="442422"/>
                      </a:lnTo>
                      <a:close/>
                    </a:path>
                  </a:pathLst>
                </a:custGeom>
                <a:grpFill/>
                <a:ln w="571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260" name="Oval 259">
                  <a:extLst>
                    <a:ext uri="{FF2B5EF4-FFF2-40B4-BE49-F238E27FC236}">
                      <a16:creationId xmlns:a16="http://schemas.microsoft.com/office/drawing/2014/main" id="{C8593B0C-5330-D443-A37B-085262805F25}"/>
                    </a:ext>
                  </a:extLst>
                </p:cNvPr>
                <p:cNvSpPr/>
                <p:nvPr/>
              </p:nvSpPr>
              <p:spPr>
                <a:xfrm>
                  <a:off x="1971467" y="3508300"/>
                  <a:ext cx="282088" cy="336550"/>
                </a:xfrm>
                <a:prstGeom prst="ellipse">
                  <a:avLst/>
                </a:prstGeom>
                <a:grpFill/>
                <a:ln w="571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grpSp>
          <p:grpSp>
            <p:nvGrpSpPr>
              <p:cNvPr id="256" name="Group 255">
                <a:extLst>
                  <a:ext uri="{FF2B5EF4-FFF2-40B4-BE49-F238E27FC236}">
                    <a16:creationId xmlns:a16="http://schemas.microsoft.com/office/drawing/2014/main" id="{6A3CD39F-A7C2-4C48-8679-1EED32D8E728}"/>
                  </a:ext>
                </a:extLst>
              </p:cNvPr>
              <p:cNvGrpSpPr/>
              <p:nvPr/>
            </p:nvGrpSpPr>
            <p:grpSpPr>
              <a:xfrm>
                <a:off x="1553120" y="3388644"/>
                <a:ext cx="633802" cy="938165"/>
                <a:chOff x="1806977" y="3500843"/>
                <a:chExt cx="539989" cy="738018"/>
              </a:xfrm>
            </p:grpSpPr>
            <p:sp>
              <p:nvSpPr>
                <p:cNvPr id="257" name="Freeform 256">
                  <a:extLst>
                    <a:ext uri="{FF2B5EF4-FFF2-40B4-BE49-F238E27FC236}">
                      <a16:creationId xmlns:a16="http://schemas.microsoft.com/office/drawing/2014/main" id="{771C38C5-5BD3-A14E-ACF2-EA4ECEDCF4A4}"/>
                    </a:ext>
                  </a:extLst>
                </p:cNvPr>
                <p:cNvSpPr/>
                <p:nvPr/>
              </p:nvSpPr>
              <p:spPr>
                <a:xfrm>
                  <a:off x="1806977" y="3782373"/>
                  <a:ext cx="539989" cy="456488"/>
                </a:xfrm>
                <a:custGeom>
                  <a:avLst/>
                  <a:gdLst>
                    <a:gd name="connsiteX0" fmla="*/ 36807 w 576731"/>
                    <a:gd name="connsiteY0" fmla="*/ 449906 h 505924"/>
                    <a:gd name="connsiteX1" fmla="*/ 39982 w 576731"/>
                    <a:gd name="connsiteY1" fmla="*/ 214956 h 505924"/>
                    <a:gd name="connsiteX2" fmla="*/ 55857 w 576731"/>
                    <a:gd name="connsiteY2" fmla="*/ 176856 h 505924"/>
                    <a:gd name="connsiteX3" fmla="*/ 103482 w 576731"/>
                    <a:gd name="connsiteY3" fmla="*/ 160981 h 505924"/>
                    <a:gd name="connsiteX4" fmla="*/ 205082 w 576731"/>
                    <a:gd name="connsiteY4" fmla="*/ 154631 h 505924"/>
                    <a:gd name="connsiteX5" fmla="*/ 230482 w 576731"/>
                    <a:gd name="connsiteY5" fmla="*/ 151456 h 505924"/>
                    <a:gd name="connsiteX6" fmla="*/ 233657 w 576731"/>
                    <a:gd name="connsiteY6" fmla="*/ 18106 h 505924"/>
                    <a:gd name="connsiteX7" fmla="*/ 344782 w 576731"/>
                    <a:gd name="connsiteY7" fmla="*/ 14931 h 505924"/>
                    <a:gd name="connsiteX8" fmla="*/ 344782 w 576731"/>
                    <a:gd name="connsiteY8" fmla="*/ 145106 h 505924"/>
                    <a:gd name="connsiteX9" fmla="*/ 386057 w 576731"/>
                    <a:gd name="connsiteY9" fmla="*/ 151456 h 505924"/>
                    <a:gd name="connsiteX10" fmla="*/ 478132 w 576731"/>
                    <a:gd name="connsiteY10" fmla="*/ 164156 h 505924"/>
                    <a:gd name="connsiteX11" fmla="*/ 519407 w 576731"/>
                    <a:gd name="connsiteY11" fmla="*/ 189556 h 505924"/>
                    <a:gd name="connsiteX12" fmla="*/ 541632 w 576731"/>
                    <a:gd name="connsiteY12" fmla="*/ 234006 h 505924"/>
                    <a:gd name="connsiteX13" fmla="*/ 538457 w 576731"/>
                    <a:gd name="connsiteY13" fmla="*/ 488006 h 505924"/>
                    <a:gd name="connsiteX14" fmla="*/ 36807 w 576731"/>
                    <a:gd name="connsiteY14" fmla="*/ 449906 h 505924"/>
                    <a:gd name="connsiteX0" fmla="*/ 5769 w 545693"/>
                    <a:gd name="connsiteY0" fmla="*/ 449906 h 505924"/>
                    <a:gd name="connsiteX1" fmla="*/ 8944 w 545693"/>
                    <a:gd name="connsiteY1" fmla="*/ 214956 h 505924"/>
                    <a:gd name="connsiteX2" fmla="*/ 24819 w 545693"/>
                    <a:gd name="connsiteY2" fmla="*/ 176856 h 505924"/>
                    <a:gd name="connsiteX3" fmla="*/ 72444 w 545693"/>
                    <a:gd name="connsiteY3" fmla="*/ 160981 h 505924"/>
                    <a:gd name="connsiteX4" fmla="*/ 174044 w 545693"/>
                    <a:gd name="connsiteY4" fmla="*/ 154631 h 505924"/>
                    <a:gd name="connsiteX5" fmla="*/ 199444 w 545693"/>
                    <a:gd name="connsiteY5" fmla="*/ 151456 h 505924"/>
                    <a:gd name="connsiteX6" fmla="*/ 202619 w 545693"/>
                    <a:gd name="connsiteY6" fmla="*/ 18106 h 505924"/>
                    <a:gd name="connsiteX7" fmla="*/ 313744 w 545693"/>
                    <a:gd name="connsiteY7" fmla="*/ 14931 h 505924"/>
                    <a:gd name="connsiteX8" fmla="*/ 313744 w 545693"/>
                    <a:gd name="connsiteY8" fmla="*/ 145106 h 505924"/>
                    <a:gd name="connsiteX9" fmla="*/ 355019 w 545693"/>
                    <a:gd name="connsiteY9" fmla="*/ 151456 h 505924"/>
                    <a:gd name="connsiteX10" fmla="*/ 447094 w 545693"/>
                    <a:gd name="connsiteY10" fmla="*/ 164156 h 505924"/>
                    <a:gd name="connsiteX11" fmla="*/ 488369 w 545693"/>
                    <a:gd name="connsiteY11" fmla="*/ 189556 h 505924"/>
                    <a:gd name="connsiteX12" fmla="*/ 510594 w 545693"/>
                    <a:gd name="connsiteY12" fmla="*/ 234006 h 505924"/>
                    <a:gd name="connsiteX13" fmla="*/ 507419 w 545693"/>
                    <a:gd name="connsiteY13" fmla="*/ 488006 h 505924"/>
                    <a:gd name="connsiteX14" fmla="*/ 5769 w 545693"/>
                    <a:gd name="connsiteY14" fmla="*/ 449906 h 505924"/>
                    <a:gd name="connsiteX0" fmla="*/ 21286 w 561210"/>
                    <a:gd name="connsiteY0" fmla="*/ 449906 h 508025"/>
                    <a:gd name="connsiteX1" fmla="*/ 24461 w 561210"/>
                    <a:gd name="connsiteY1" fmla="*/ 214956 h 508025"/>
                    <a:gd name="connsiteX2" fmla="*/ 40336 w 561210"/>
                    <a:gd name="connsiteY2" fmla="*/ 176856 h 508025"/>
                    <a:gd name="connsiteX3" fmla="*/ 87961 w 561210"/>
                    <a:gd name="connsiteY3" fmla="*/ 160981 h 508025"/>
                    <a:gd name="connsiteX4" fmla="*/ 189561 w 561210"/>
                    <a:gd name="connsiteY4" fmla="*/ 154631 h 508025"/>
                    <a:gd name="connsiteX5" fmla="*/ 214961 w 561210"/>
                    <a:gd name="connsiteY5" fmla="*/ 151456 h 508025"/>
                    <a:gd name="connsiteX6" fmla="*/ 218136 w 561210"/>
                    <a:gd name="connsiteY6" fmla="*/ 18106 h 508025"/>
                    <a:gd name="connsiteX7" fmla="*/ 329261 w 561210"/>
                    <a:gd name="connsiteY7" fmla="*/ 14931 h 508025"/>
                    <a:gd name="connsiteX8" fmla="*/ 329261 w 561210"/>
                    <a:gd name="connsiteY8" fmla="*/ 145106 h 508025"/>
                    <a:gd name="connsiteX9" fmla="*/ 370536 w 561210"/>
                    <a:gd name="connsiteY9" fmla="*/ 151456 h 508025"/>
                    <a:gd name="connsiteX10" fmla="*/ 462611 w 561210"/>
                    <a:gd name="connsiteY10" fmla="*/ 164156 h 508025"/>
                    <a:gd name="connsiteX11" fmla="*/ 503886 w 561210"/>
                    <a:gd name="connsiteY11" fmla="*/ 189556 h 508025"/>
                    <a:gd name="connsiteX12" fmla="*/ 526111 w 561210"/>
                    <a:gd name="connsiteY12" fmla="*/ 234006 h 508025"/>
                    <a:gd name="connsiteX13" fmla="*/ 522936 w 561210"/>
                    <a:gd name="connsiteY13" fmla="*/ 488006 h 508025"/>
                    <a:gd name="connsiteX14" fmla="*/ 21286 w 561210"/>
                    <a:gd name="connsiteY14" fmla="*/ 449906 h 508025"/>
                    <a:gd name="connsiteX0" fmla="*/ 21286 w 561210"/>
                    <a:gd name="connsiteY0" fmla="*/ 449906 h 508025"/>
                    <a:gd name="connsiteX1" fmla="*/ 24461 w 561210"/>
                    <a:gd name="connsiteY1" fmla="*/ 214956 h 508025"/>
                    <a:gd name="connsiteX2" fmla="*/ 40336 w 561210"/>
                    <a:gd name="connsiteY2" fmla="*/ 176856 h 508025"/>
                    <a:gd name="connsiteX3" fmla="*/ 87961 w 561210"/>
                    <a:gd name="connsiteY3" fmla="*/ 160981 h 508025"/>
                    <a:gd name="connsiteX4" fmla="*/ 189561 w 561210"/>
                    <a:gd name="connsiteY4" fmla="*/ 154631 h 508025"/>
                    <a:gd name="connsiteX5" fmla="*/ 214961 w 561210"/>
                    <a:gd name="connsiteY5" fmla="*/ 151456 h 508025"/>
                    <a:gd name="connsiteX6" fmla="*/ 218136 w 561210"/>
                    <a:gd name="connsiteY6" fmla="*/ 18106 h 508025"/>
                    <a:gd name="connsiteX7" fmla="*/ 329261 w 561210"/>
                    <a:gd name="connsiteY7" fmla="*/ 14931 h 508025"/>
                    <a:gd name="connsiteX8" fmla="*/ 329261 w 561210"/>
                    <a:gd name="connsiteY8" fmla="*/ 145106 h 508025"/>
                    <a:gd name="connsiteX9" fmla="*/ 370536 w 561210"/>
                    <a:gd name="connsiteY9" fmla="*/ 151456 h 508025"/>
                    <a:gd name="connsiteX10" fmla="*/ 462611 w 561210"/>
                    <a:gd name="connsiteY10" fmla="*/ 164156 h 508025"/>
                    <a:gd name="connsiteX11" fmla="*/ 503886 w 561210"/>
                    <a:gd name="connsiteY11" fmla="*/ 189556 h 508025"/>
                    <a:gd name="connsiteX12" fmla="*/ 526111 w 561210"/>
                    <a:gd name="connsiteY12" fmla="*/ 234006 h 508025"/>
                    <a:gd name="connsiteX13" fmla="*/ 522936 w 561210"/>
                    <a:gd name="connsiteY13" fmla="*/ 488006 h 508025"/>
                    <a:gd name="connsiteX14" fmla="*/ 21286 w 561210"/>
                    <a:gd name="connsiteY14" fmla="*/ 449906 h 508025"/>
                    <a:gd name="connsiteX0" fmla="*/ 4360 w 544284"/>
                    <a:gd name="connsiteY0" fmla="*/ 449906 h 508025"/>
                    <a:gd name="connsiteX1" fmla="*/ 7535 w 544284"/>
                    <a:gd name="connsiteY1" fmla="*/ 214956 h 508025"/>
                    <a:gd name="connsiteX2" fmla="*/ 23410 w 544284"/>
                    <a:gd name="connsiteY2" fmla="*/ 176856 h 508025"/>
                    <a:gd name="connsiteX3" fmla="*/ 71035 w 544284"/>
                    <a:gd name="connsiteY3" fmla="*/ 160981 h 508025"/>
                    <a:gd name="connsiteX4" fmla="*/ 172635 w 544284"/>
                    <a:gd name="connsiteY4" fmla="*/ 154631 h 508025"/>
                    <a:gd name="connsiteX5" fmla="*/ 198035 w 544284"/>
                    <a:gd name="connsiteY5" fmla="*/ 151456 h 508025"/>
                    <a:gd name="connsiteX6" fmla="*/ 201210 w 544284"/>
                    <a:gd name="connsiteY6" fmla="*/ 18106 h 508025"/>
                    <a:gd name="connsiteX7" fmla="*/ 312335 w 544284"/>
                    <a:gd name="connsiteY7" fmla="*/ 14931 h 508025"/>
                    <a:gd name="connsiteX8" fmla="*/ 312335 w 544284"/>
                    <a:gd name="connsiteY8" fmla="*/ 145106 h 508025"/>
                    <a:gd name="connsiteX9" fmla="*/ 353610 w 544284"/>
                    <a:gd name="connsiteY9" fmla="*/ 151456 h 508025"/>
                    <a:gd name="connsiteX10" fmla="*/ 445685 w 544284"/>
                    <a:gd name="connsiteY10" fmla="*/ 164156 h 508025"/>
                    <a:gd name="connsiteX11" fmla="*/ 486960 w 544284"/>
                    <a:gd name="connsiteY11" fmla="*/ 189556 h 508025"/>
                    <a:gd name="connsiteX12" fmla="*/ 509185 w 544284"/>
                    <a:gd name="connsiteY12" fmla="*/ 234006 h 508025"/>
                    <a:gd name="connsiteX13" fmla="*/ 506010 w 544284"/>
                    <a:gd name="connsiteY13" fmla="*/ 488006 h 508025"/>
                    <a:gd name="connsiteX14" fmla="*/ 4360 w 544284"/>
                    <a:gd name="connsiteY14" fmla="*/ 449906 h 508025"/>
                    <a:gd name="connsiteX0" fmla="*/ 4360 w 544284"/>
                    <a:gd name="connsiteY0" fmla="*/ 449906 h 500804"/>
                    <a:gd name="connsiteX1" fmla="*/ 7535 w 544284"/>
                    <a:gd name="connsiteY1" fmla="*/ 214956 h 500804"/>
                    <a:gd name="connsiteX2" fmla="*/ 23410 w 544284"/>
                    <a:gd name="connsiteY2" fmla="*/ 176856 h 500804"/>
                    <a:gd name="connsiteX3" fmla="*/ 71035 w 544284"/>
                    <a:gd name="connsiteY3" fmla="*/ 160981 h 500804"/>
                    <a:gd name="connsiteX4" fmla="*/ 172635 w 544284"/>
                    <a:gd name="connsiteY4" fmla="*/ 154631 h 500804"/>
                    <a:gd name="connsiteX5" fmla="*/ 198035 w 544284"/>
                    <a:gd name="connsiteY5" fmla="*/ 151456 h 500804"/>
                    <a:gd name="connsiteX6" fmla="*/ 201210 w 544284"/>
                    <a:gd name="connsiteY6" fmla="*/ 18106 h 500804"/>
                    <a:gd name="connsiteX7" fmla="*/ 312335 w 544284"/>
                    <a:gd name="connsiteY7" fmla="*/ 14931 h 500804"/>
                    <a:gd name="connsiteX8" fmla="*/ 312335 w 544284"/>
                    <a:gd name="connsiteY8" fmla="*/ 145106 h 500804"/>
                    <a:gd name="connsiteX9" fmla="*/ 353610 w 544284"/>
                    <a:gd name="connsiteY9" fmla="*/ 151456 h 500804"/>
                    <a:gd name="connsiteX10" fmla="*/ 445685 w 544284"/>
                    <a:gd name="connsiteY10" fmla="*/ 164156 h 500804"/>
                    <a:gd name="connsiteX11" fmla="*/ 486960 w 544284"/>
                    <a:gd name="connsiteY11" fmla="*/ 189556 h 500804"/>
                    <a:gd name="connsiteX12" fmla="*/ 509185 w 544284"/>
                    <a:gd name="connsiteY12" fmla="*/ 234006 h 500804"/>
                    <a:gd name="connsiteX13" fmla="*/ 506010 w 544284"/>
                    <a:gd name="connsiteY13" fmla="*/ 488006 h 500804"/>
                    <a:gd name="connsiteX14" fmla="*/ 4360 w 544284"/>
                    <a:gd name="connsiteY14" fmla="*/ 449906 h 500804"/>
                    <a:gd name="connsiteX0" fmla="*/ 4360 w 544284"/>
                    <a:gd name="connsiteY0" fmla="*/ 449906 h 500804"/>
                    <a:gd name="connsiteX1" fmla="*/ 7535 w 544284"/>
                    <a:gd name="connsiteY1" fmla="*/ 214956 h 500804"/>
                    <a:gd name="connsiteX2" fmla="*/ 23410 w 544284"/>
                    <a:gd name="connsiteY2" fmla="*/ 176856 h 500804"/>
                    <a:gd name="connsiteX3" fmla="*/ 71035 w 544284"/>
                    <a:gd name="connsiteY3" fmla="*/ 160981 h 500804"/>
                    <a:gd name="connsiteX4" fmla="*/ 172635 w 544284"/>
                    <a:gd name="connsiteY4" fmla="*/ 154631 h 500804"/>
                    <a:gd name="connsiteX5" fmla="*/ 198035 w 544284"/>
                    <a:gd name="connsiteY5" fmla="*/ 151456 h 500804"/>
                    <a:gd name="connsiteX6" fmla="*/ 201210 w 544284"/>
                    <a:gd name="connsiteY6" fmla="*/ 18106 h 500804"/>
                    <a:gd name="connsiteX7" fmla="*/ 312335 w 544284"/>
                    <a:gd name="connsiteY7" fmla="*/ 14931 h 500804"/>
                    <a:gd name="connsiteX8" fmla="*/ 312335 w 544284"/>
                    <a:gd name="connsiteY8" fmla="*/ 145106 h 500804"/>
                    <a:gd name="connsiteX9" fmla="*/ 353610 w 544284"/>
                    <a:gd name="connsiteY9" fmla="*/ 151456 h 500804"/>
                    <a:gd name="connsiteX10" fmla="*/ 445685 w 544284"/>
                    <a:gd name="connsiteY10" fmla="*/ 164156 h 500804"/>
                    <a:gd name="connsiteX11" fmla="*/ 486960 w 544284"/>
                    <a:gd name="connsiteY11" fmla="*/ 189556 h 500804"/>
                    <a:gd name="connsiteX12" fmla="*/ 509185 w 544284"/>
                    <a:gd name="connsiteY12" fmla="*/ 234006 h 500804"/>
                    <a:gd name="connsiteX13" fmla="*/ 506010 w 544284"/>
                    <a:gd name="connsiteY13" fmla="*/ 488006 h 500804"/>
                    <a:gd name="connsiteX14" fmla="*/ 4360 w 544284"/>
                    <a:gd name="connsiteY14" fmla="*/ 449906 h 500804"/>
                    <a:gd name="connsiteX0" fmla="*/ 4360 w 519024"/>
                    <a:gd name="connsiteY0" fmla="*/ 449906 h 500804"/>
                    <a:gd name="connsiteX1" fmla="*/ 7535 w 519024"/>
                    <a:gd name="connsiteY1" fmla="*/ 214956 h 500804"/>
                    <a:gd name="connsiteX2" fmla="*/ 23410 w 519024"/>
                    <a:gd name="connsiteY2" fmla="*/ 176856 h 500804"/>
                    <a:gd name="connsiteX3" fmla="*/ 71035 w 519024"/>
                    <a:gd name="connsiteY3" fmla="*/ 160981 h 500804"/>
                    <a:gd name="connsiteX4" fmla="*/ 172635 w 519024"/>
                    <a:gd name="connsiteY4" fmla="*/ 154631 h 500804"/>
                    <a:gd name="connsiteX5" fmla="*/ 198035 w 519024"/>
                    <a:gd name="connsiteY5" fmla="*/ 151456 h 500804"/>
                    <a:gd name="connsiteX6" fmla="*/ 201210 w 519024"/>
                    <a:gd name="connsiteY6" fmla="*/ 18106 h 500804"/>
                    <a:gd name="connsiteX7" fmla="*/ 312335 w 519024"/>
                    <a:gd name="connsiteY7" fmla="*/ 14931 h 500804"/>
                    <a:gd name="connsiteX8" fmla="*/ 312335 w 519024"/>
                    <a:gd name="connsiteY8" fmla="*/ 145106 h 500804"/>
                    <a:gd name="connsiteX9" fmla="*/ 353610 w 519024"/>
                    <a:gd name="connsiteY9" fmla="*/ 151456 h 500804"/>
                    <a:gd name="connsiteX10" fmla="*/ 445685 w 519024"/>
                    <a:gd name="connsiteY10" fmla="*/ 164156 h 500804"/>
                    <a:gd name="connsiteX11" fmla="*/ 486960 w 519024"/>
                    <a:gd name="connsiteY11" fmla="*/ 189556 h 500804"/>
                    <a:gd name="connsiteX12" fmla="*/ 509185 w 519024"/>
                    <a:gd name="connsiteY12" fmla="*/ 234006 h 500804"/>
                    <a:gd name="connsiteX13" fmla="*/ 506010 w 519024"/>
                    <a:gd name="connsiteY13" fmla="*/ 488006 h 500804"/>
                    <a:gd name="connsiteX14" fmla="*/ 4360 w 519024"/>
                    <a:gd name="connsiteY14" fmla="*/ 449906 h 500804"/>
                    <a:gd name="connsiteX0" fmla="*/ 4360 w 519024"/>
                    <a:gd name="connsiteY0" fmla="*/ 449906 h 488006"/>
                    <a:gd name="connsiteX1" fmla="*/ 7535 w 519024"/>
                    <a:gd name="connsiteY1" fmla="*/ 214956 h 488006"/>
                    <a:gd name="connsiteX2" fmla="*/ 23410 w 519024"/>
                    <a:gd name="connsiteY2" fmla="*/ 176856 h 488006"/>
                    <a:gd name="connsiteX3" fmla="*/ 71035 w 519024"/>
                    <a:gd name="connsiteY3" fmla="*/ 160981 h 488006"/>
                    <a:gd name="connsiteX4" fmla="*/ 172635 w 519024"/>
                    <a:gd name="connsiteY4" fmla="*/ 154631 h 488006"/>
                    <a:gd name="connsiteX5" fmla="*/ 198035 w 519024"/>
                    <a:gd name="connsiteY5" fmla="*/ 151456 h 488006"/>
                    <a:gd name="connsiteX6" fmla="*/ 201210 w 519024"/>
                    <a:gd name="connsiteY6" fmla="*/ 18106 h 488006"/>
                    <a:gd name="connsiteX7" fmla="*/ 312335 w 519024"/>
                    <a:gd name="connsiteY7" fmla="*/ 14931 h 488006"/>
                    <a:gd name="connsiteX8" fmla="*/ 312335 w 519024"/>
                    <a:gd name="connsiteY8" fmla="*/ 145106 h 488006"/>
                    <a:gd name="connsiteX9" fmla="*/ 353610 w 519024"/>
                    <a:gd name="connsiteY9" fmla="*/ 151456 h 488006"/>
                    <a:gd name="connsiteX10" fmla="*/ 445685 w 519024"/>
                    <a:gd name="connsiteY10" fmla="*/ 164156 h 488006"/>
                    <a:gd name="connsiteX11" fmla="*/ 486960 w 519024"/>
                    <a:gd name="connsiteY11" fmla="*/ 189556 h 488006"/>
                    <a:gd name="connsiteX12" fmla="*/ 509185 w 519024"/>
                    <a:gd name="connsiteY12" fmla="*/ 234006 h 488006"/>
                    <a:gd name="connsiteX13" fmla="*/ 506010 w 519024"/>
                    <a:gd name="connsiteY13" fmla="*/ 488006 h 488006"/>
                    <a:gd name="connsiteX14" fmla="*/ 4360 w 519024"/>
                    <a:gd name="connsiteY14" fmla="*/ 449906 h 488006"/>
                    <a:gd name="connsiteX0" fmla="*/ 4360 w 523534"/>
                    <a:gd name="connsiteY0" fmla="*/ 449906 h 472131"/>
                    <a:gd name="connsiteX1" fmla="*/ 7535 w 523534"/>
                    <a:gd name="connsiteY1" fmla="*/ 214956 h 472131"/>
                    <a:gd name="connsiteX2" fmla="*/ 23410 w 523534"/>
                    <a:gd name="connsiteY2" fmla="*/ 176856 h 472131"/>
                    <a:gd name="connsiteX3" fmla="*/ 71035 w 523534"/>
                    <a:gd name="connsiteY3" fmla="*/ 160981 h 472131"/>
                    <a:gd name="connsiteX4" fmla="*/ 172635 w 523534"/>
                    <a:gd name="connsiteY4" fmla="*/ 154631 h 472131"/>
                    <a:gd name="connsiteX5" fmla="*/ 198035 w 523534"/>
                    <a:gd name="connsiteY5" fmla="*/ 151456 h 472131"/>
                    <a:gd name="connsiteX6" fmla="*/ 201210 w 523534"/>
                    <a:gd name="connsiteY6" fmla="*/ 18106 h 472131"/>
                    <a:gd name="connsiteX7" fmla="*/ 312335 w 523534"/>
                    <a:gd name="connsiteY7" fmla="*/ 14931 h 472131"/>
                    <a:gd name="connsiteX8" fmla="*/ 312335 w 523534"/>
                    <a:gd name="connsiteY8" fmla="*/ 145106 h 472131"/>
                    <a:gd name="connsiteX9" fmla="*/ 353610 w 523534"/>
                    <a:gd name="connsiteY9" fmla="*/ 151456 h 472131"/>
                    <a:gd name="connsiteX10" fmla="*/ 445685 w 523534"/>
                    <a:gd name="connsiteY10" fmla="*/ 164156 h 472131"/>
                    <a:gd name="connsiteX11" fmla="*/ 486960 w 523534"/>
                    <a:gd name="connsiteY11" fmla="*/ 189556 h 472131"/>
                    <a:gd name="connsiteX12" fmla="*/ 509185 w 523534"/>
                    <a:gd name="connsiteY12" fmla="*/ 234006 h 472131"/>
                    <a:gd name="connsiteX13" fmla="*/ 512360 w 523534"/>
                    <a:gd name="connsiteY13" fmla="*/ 472131 h 472131"/>
                    <a:gd name="connsiteX14" fmla="*/ 4360 w 523534"/>
                    <a:gd name="connsiteY14" fmla="*/ 449906 h 472131"/>
                    <a:gd name="connsiteX0" fmla="*/ 4360 w 513675"/>
                    <a:gd name="connsiteY0" fmla="*/ 449906 h 472131"/>
                    <a:gd name="connsiteX1" fmla="*/ 7535 w 513675"/>
                    <a:gd name="connsiteY1" fmla="*/ 214956 h 472131"/>
                    <a:gd name="connsiteX2" fmla="*/ 23410 w 513675"/>
                    <a:gd name="connsiteY2" fmla="*/ 176856 h 472131"/>
                    <a:gd name="connsiteX3" fmla="*/ 71035 w 513675"/>
                    <a:gd name="connsiteY3" fmla="*/ 160981 h 472131"/>
                    <a:gd name="connsiteX4" fmla="*/ 172635 w 513675"/>
                    <a:gd name="connsiteY4" fmla="*/ 154631 h 472131"/>
                    <a:gd name="connsiteX5" fmla="*/ 198035 w 513675"/>
                    <a:gd name="connsiteY5" fmla="*/ 151456 h 472131"/>
                    <a:gd name="connsiteX6" fmla="*/ 201210 w 513675"/>
                    <a:gd name="connsiteY6" fmla="*/ 18106 h 472131"/>
                    <a:gd name="connsiteX7" fmla="*/ 312335 w 513675"/>
                    <a:gd name="connsiteY7" fmla="*/ 14931 h 472131"/>
                    <a:gd name="connsiteX8" fmla="*/ 312335 w 513675"/>
                    <a:gd name="connsiteY8" fmla="*/ 145106 h 472131"/>
                    <a:gd name="connsiteX9" fmla="*/ 353610 w 513675"/>
                    <a:gd name="connsiteY9" fmla="*/ 151456 h 472131"/>
                    <a:gd name="connsiteX10" fmla="*/ 445685 w 513675"/>
                    <a:gd name="connsiteY10" fmla="*/ 164156 h 472131"/>
                    <a:gd name="connsiteX11" fmla="*/ 486960 w 513675"/>
                    <a:gd name="connsiteY11" fmla="*/ 189556 h 472131"/>
                    <a:gd name="connsiteX12" fmla="*/ 509185 w 513675"/>
                    <a:gd name="connsiteY12" fmla="*/ 234006 h 472131"/>
                    <a:gd name="connsiteX13" fmla="*/ 512360 w 513675"/>
                    <a:gd name="connsiteY13" fmla="*/ 472131 h 472131"/>
                    <a:gd name="connsiteX14" fmla="*/ 4360 w 513675"/>
                    <a:gd name="connsiteY14" fmla="*/ 449906 h 472131"/>
                    <a:gd name="connsiteX0" fmla="*/ 4360 w 513675"/>
                    <a:gd name="connsiteY0" fmla="*/ 446969 h 469194"/>
                    <a:gd name="connsiteX1" fmla="*/ 7535 w 513675"/>
                    <a:gd name="connsiteY1" fmla="*/ 212019 h 469194"/>
                    <a:gd name="connsiteX2" fmla="*/ 23410 w 513675"/>
                    <a:gd name="connsiteY2" fmla="*/ 173919 h 469194"/>
                    <a:gd name="connsiteX3" fmla="*/ 71035 w 513675"/>
                    <a:gd name="connsiteY3" fmla="*/ 158044 h 469194"/>
                    <a:gd name="connsiteX4" fmla="*/ 172635 w 513675"/>
                    <a:gd name="connsiteY4" fmla="*/ 151694 h 469194"/>
                    <a:gd name="connsiteX5" fmla="*/ 188510 w 513675"/>
                    <a:gd name="connsiteY5" fmla="*/ 94544 h 469194"/>
                    <a:gd name="connsiteX6" fmla="*/ 201210 w 513675"/>
                    <a:gd name="connsiteY6" fmla="*/ 15169 h 469194"/>
                    <a:gd name="connsiteX7" fmla="*/ 312335 w 513675"/>
                    <a:gd name="connsiteY7" fmla="*/ 11994 h 469194"/>
                    <a:gd name="connsiteX8" fmla="*/ 312335 w 513675"/>
                    <a:gd name="connsiteY8" fmla="*/ 142169 h 469194"/>
                    <a:gd name="connsiteX9" fmla="*/ 353610 w 513675"/>
                    <a:gd name="connsiteY9" fmla="*/ 148519 h 469194"/>
                    <a:gd name="connsiteX10" fmla="*/ 445685 w 513675"/>
                    <a:gd name="connsiteY10" fmla="*/ 161219 h 469194"/>
                    <a:gd name="connsiteX11" fmla="*/ 486960 w 513675"/>
                    <a:gd name="connsiteY11" fmla="*/ 186619 h 469194"/>
                    <a:gd name="connsiteX12" fmla="*/ 509185 w 513675"/>
                    <a:gd name="connsiteY12" fmla="*/ 231069 h 469194"/>
                    <a:gd name="connsiteX13" fmla="*/ 512360 w 513675"/>
                    <a:gd name="connsiteY13" fmla="*/ 469194 h 469194"/>
                    <a:gd name="connsiteX14" fmla="*/ 4360 w 513675"/>
                    <a:gd name="connsiteY14" fmla="*/ 446969 h 469194"/>
                    <a:gd name="connsiteX0" fmla="*/ 4360 w 513675"/>
                    <a:gd name="connsiteY0" fmla="*/ 443409 h 465634"/>
                    <a:gd name="connsiteX1" fmla="*/ 7535 w 513675"/>
                    <a:gd name="connsiteY1" fmla="*/ 208459 h 465634"/>
                    <a:gd name="connsiteX2" fmla="*/ 23410 w 513675"/>
                    <a:gd name="connsiteY2" fmla="*/ 170359 h 465634"/>
                    <a:gd name="connsiteX3" fmla="*/ 71035 w 513675"/>
                    <a:gd name="connsiteY3" fmla="*/ 154484 h 465634"/>
                    <a:gd name="connsiteX4" fmla="*/ 172635 w 513675"/>
                    <a:gd name="connsiteY4" fmla="*/ 148134 h 465634"/>
                    <a:gd name="connsiteX5" fmla="*/ 188510 w 513675"/>
                    <a:gd name="connsiteY5" fmla="*/ 90984 h 465634"/>
                    <a:gd name="connsiteX6" fmla="*/ 201210 w 513675"/>
                    <a:gd name="connsiteY6" fmla="*/ 11609 h 465634"/>
                    <a:gd name="connsiteX7" fmla="*/ 312335 w 513675"/>
                    <a:gd name="connsiteY7" fmla="*/ 8434 h 465634"/>
                    <a:gd name="connsiteX8" fmla="*/ 312335 w 513675"/>
                    <a:gd name="connsiteY8" fmla="*/ 87809 h 465634"/>
                    <a:gd name="connsiteX9" fmla="*/ 353610 w 513675"/>
                    <a:gd name="connsiteY9" fmla="*/ 144959 h 465634"/>
                    <a:gd name="connsiteX10" fmla="*/ 445685 w 513675"/>
                    <a:gd name="connsiteY10" fmla="*/ 157659 h 465634"/>
                    <a:gd name="connsiteX11" fmla="*/ 486960 w 513675"/>
                    <a:gd name="connsiteY11" fmla="*/ 183059 h 465634"/>
                    <a:gd name="connsiteX12" fmla="*/ 509185 w 513675"/>
                    <a:gd name="connsiteY12" fmla="*/ 227509 h 465634"/>
                    <a:gd name="connsiteX13" fmla="*/ 512360 w 513675"/>
                    <a:gd name="connsiteY13" fmla="*/ 465634 h 465634"/>
                    <a:gd name="connsiteX14" fmla="*/ 4360 w 513675"/>
                    <a:gd name="connsiteY14" fmla="*/ 443409 h 465634"/>
                    <a:gd name="connsiteX0" fmla="*/ 4360 w 513675"/>
                    <a:gd name="connsiteY0" fmla="*/ 443409 h 465634"/>
                    <a:gd name="connsiteX1" fmla="*/ 7535 w 513675"/>
                    <a:gd name="connsiteY1" fmla="*/ 208459 h 465634"/>
                    <a:gd name="connsiteX2" fmla="*/ 23410 w 513675"/>
                    <a:gd name="connsiteY2" fmla="*/ 170359 h 465634"/>
                    <a:gd name="connsiteX3" fmla="*/ 71035 w 513675"/>
                    <a:gd name="connsiteY3" fmla="*/ 154484 h 465634"/>
                    <a:gd name="connsiteX4" fmla="*/ 172635 w 513675"/>
                    <a:gd name="connsiteY4" fmla="*/ 148134 h 465634"/>
                    <a:gd name="connsiteX5" fmla="*/ 188510 w 513675"/>
                    <a:gd name="connsiteY5" fmla="*/ 90984 h 465634"/>
                    <a:gd name="connsiteX6" fmla="*/ 201210 w 513675"/>
                    <a:gd name="connsiteY6" fmla="*/ 11609 h 465634"/>
                    <a:gd name="connsiteX7" fmla="*/ 312335 w 513675"/>
                    <a:gd name="connsiteY7" fmla="*/ 8434 h 465634"/>
                    <a:gd name="connsiteX8" fmla="*/ 312335 w 513675"/>
                    <a:gd name="connsiteY8" fmla="*/ 87809 h 465634"/>
                    <a:gd name="connsiteX9" fmla="*/ 334560 w 513675"/>
                    <a:gd name="connsiteY9" fmla="*/ 135434 h 465634"/>
                    <a:gd name="connsiteX10" fmla="*/ 445685 w 513675"/>
                    <a:gd name="connsiteY10" fmla="*/ 157659 h 465634"/>
                    <a:gd name="connsiteX11" fmla="*/ 486960 w 513675"/>
                    <a:gd name="connsiteY11" fmla="*/ 183059 h 465634"/>
                    <a:gd name="connsiteX12" fmla="*/ 509185 w 513675"/>
                    <a:gd name="connsiteY12" fmla="*/ 227509 h 465634"/>
                    <a:gd name="connsiteX13" fmla="*/ 512360 w 513675"/>
                    <a:gd name="connsiteY13" fmla="*/ 465634 h 465634"/>
                    <a:gd name="connsiteX14" fmla="*/ 4360 w 513675"/>
                    <a:gd name="connsiteY14" fmla="*/ 443409 h 465634"/>
                    <a:gd name="connsiteX0" fmla="*/ 4360 w 510500"/>
                    <a:gd name="connsiteY0" fmla="*/ 443409 h 449759"/>
                    <a:gd name="connsiteX1" fmla="*/ 7535 w 510500"/>
                    <a:gd name="connsiteY1" fmla="*/ 208459 h 449759"/>
                    <a:gd name="connsiteX2" fmla="*/ 23410 w 510500"/>
                    <a:gd name="connsiteY2" fmla="*/ 170359 h 449759"/>
                    <a:gd name="connsiteX3" fmla="*/ 71035 w 510500"/>
                    <a:gd name="connsiteY3" fmla="*/ 154484 h 449759"/>
                    <a:gd name="connsiteX4" fmla="*/ 172635 w 510500"/>
                    <a:gd name="connsiteY4" fmla="*/ 148134 h 449759"/>
                    <a:gd name="connsiteX5" fmla="*/ 188510 w 510500"/>
                    <a:gd name="connsiteY5" fmla="*/ 90984 h 449759"/>
                    <a:gd name="connsiteX6" fmla="*/ 201210 w 510500"/>
                    <a:gd name="connsiteY6" fmla="*/ 11609 h 449759"/>
                    <a:gd name="connsiteX7" fmla="*/ 312335 w 510500"/>
                    <a:gd name="connsiteY7" fmla="*/ 8434 h 449759"/>
                    <a:gd name="connsiteX8" fmla="*/ 312335 w 510500"/>
                    <a:gd name="connsiteY8" fmla="*/ 87809 h 449759"/>
                    <a:gd name="connsiteX9" fmla="*/ 334560 w 510500"/>
                    <a:gd name="connsiteY9" fmla="*/ 135434 h 449759"/>
                    <a:gd name="connsiteX10" fmla="*/ 445685 w 510500"/>
                    <a:gd name="connsiteY10" fmla="*/ 157659 h 449759"/>
                    <a:gd name="connsiteX11" fmla="*/ 486960 w 510500"/>
                    <a:gd name="connsiteY11" fmla="*/ 183059 h 449759"/>
                    <a:gd name="connsiteX12" fmla="*/ 509185 w 510500"/>
                    <a:gd name="connsiteY12" fmla="*/ 227509 h 449759"/>
                    <a:gd name="connsiteX13" fmla="*/ 506010 w 510500"/>
                    <a:gd name="connsiteY13" fmla="*/ 449759 h 449759"/>
                    <a:gd name="connsiteX14" fmla="*/ 4360 w 510500"/>
                    <a:gd name="connsiteY14" fmla="*/ 443409 h 449759"/>
                    <a:gd name="connsiteX0" fmla="*/ 4360 w 510500"/>
                    <a:gd name="connsiteY0" fmla="*/ 443409 h 454926"/>
                    <a:gd name="connsiteX1" fmla="*/ 7535 w 510500"/>
                    <a:gd name="connsiteY1" fmla="*/ 208459 h 454926"/>
                    <a:gd name="connsiteX2" fmla="*/ 23410 w 510500"/>
                    <a:gd name="connsiteY2" fmla="*/ 170359 h 454926"/>
                    <a:gd name="connsiteX3" fmla="*/ 71035 w 510500"/>
                    <a:gd name="connsiteY3" fmla="*/ 154484 h 454926"/>
                    <a:gd name="connsiteX4" fmla="*/ 172635 w 510500"/>
                    <a:gd name="connsiteY4" fmla="*/ 148134 h 454926"/>
                    <a:gd name="connsiteX5" fmla="*/ 188510 w 510500"/>
                    <a:gd name="connsiteY5" fmla="*/ 90984 h 454926"/>
                    <a:gd name="connsiteX6" fmla="*/ 201210 w 510500"/>
                    <a:gd name="connsiteY6" fmla="*/ 11609 h 454926"/>
                    <a:gd name="connsiteX7" fmla="*/ 312335 w 510500"/>
                    <a:gd name="connsiteY7" fmla="*/ 8434 h 454926"/>
                    <a:gd name="connsiteX8" fmla="*/ 312335 w 510500"/>
                    <a:gd name="connsiteY8" fmla="*/ 87809 h 454926"/>
                    <a:gd name="connsiteX9" fmla="*/ 334560 w 510500"/>
                    <a:gd name="connsiteY9" fmla="*/ 135434 h 454926"/>
                    <a:gd name="connsiteX10" fmla="*/ 445685 w 510500"/>
                    <a:gd name="connsiteY10" fmla="*/ 157659 h 454926"/>
                    <a:gd name="connsiteX11" fmla="*/ 486960 w 510500"/>
                    <a:gd name="connsiteY11" fmla="*/ 183059 h 454926"/>
                    <a:gd name="connsiteX12" fmla="*/ 509185 w 510500"/>
                    <a:gd name="connsiteY12" fmla="*/ 227509 h 454926"/>
                    <a:gd name="connsiteX13" fmla="*/ 506010 w 510500"/>
                    <a:gd name="connsiteY13" fmla="*/ 449759 h 454926"/>
                    <a:gd name="connsiteX14" fmla="*/ 4360 w 510500"/>
                    <a:gd name="connsiteY14" fmla="*/ 443409 h 454926"/>
                    <a:gd name="connsiteX0" fmla="*/ 6473 w 512613"/>
                    <a:gd name="connsiteY0" fmla="*/ 443409 h 454926"/>
                    <a:gd name="connsiteX1" fmla="*/ 9648 w 512613"/>
                    <a:gd name="connsiteY1" fmla="*/ 208459 h 454926"/>
                    <a:gd name="connsiteX2" fmla="*/ 73148 w 512613"/>
                    <a:gd name="connsiteY2" fmla="*/ 154484 h 454926"/>
                    <a:gd name="connsiteX3" fmla="*/ 174748 w 512613"/>
                    <a:gd name="connsiteY3" fmla="*/ 148134 h 454926"/>
                    <a:gd name="connsiteX4" fmla="*/ 190623 w 512613"/>
                    <a:gd name="connsiteY4" fmla="*/ 90984 h 454926"/>
                    <a:gd name="connsiteX5" fmla="*/ 203323 w 512613"/>
                    <a:gd name="connsiteY5" fmla="*/ 11609 h 454926"/>
                    <a:gd name="connsiteX6" fmla="*/ 314448 w 512613"/>
                    <a:gd name="connsiteY6" fmla="*/ 8434 h 454926"/>
                    <a:gd name="connsiteX7" fmla="*/ 314448 w 512613"/>
                    <a:gd name="connsiteY7" fmla="*/ 87809 h 454926"/>
                    <a:gd name="connsiteX8" fmla="*/ 336673 w 512613"/>
                    <a:gd name="connsiteY8" fmla="*/ 135434 h 454926"/>
                    <a:gd name="connsiteX9" fmla="*/ 447798 w 512613"/>
                    <a:gd name="connsiteY9" fmla="*/ 157659 h 454926"/>
                    <a:gd name="connsiteX10" fmla="*/ 489073 w 512613"/>
                    <a:gd name="connsiteY10" fmla="*/ 183059 h 454926"/>
                    <a:gd name="connsiteX11" fmla="*/ 511298 w 512613"/>
                    <a:gd name="connsiteY11" fmla="*/ 227509 h 454926"/>
                    <a:gd name="connsiteX12" fmla="*/ 508123 w 512613"/>
                    <a:gd name="connsiteY12" fmla="*/ 449759 h 454926"/>
                    <a:gd name="connsiteX13" fmla="*/ 6473 w 512613"/>
                    <a:gd name="connsiteY13" fmla="*/ 443409 h 454926"/>
                    <a:gd name="connsiteX0" fmla="*/ 4049 w 510189"/>
                    <a:gd name="connsiteY0" fmla="*/ 443409 h 454926"/>
                    <a:gd name="connsiteX1" fmla="*/ 7224 w 510189"/>
                    <a:gd name="connsiteY1" fmla="*/ 208459 h 454926"/>
                    <a:gd name="connsiteX2" fmla="*/ 70724 w 510189"/>
                    <a:gd name="connsiteY2" fmla="*/ 154484 h 454926"/>
                    <a:gd name="connsiteX3" fmla="*/ 172324 w 510189"/>
                    <a:gd name="connsiteY3" fmla="*/ 148134 h 454926"/>
                    <a:gd name="connsiteX4" fmla="*/ 188199 w 510189"/>
                    <a:gd name="connsiteY4" fmla="*/ 90984 h 454926"/>
                    <a:gd name="connsiteX5" fmla="*/ 200899 w 510189"/>
                    <a:gd name="connsiteY5" fmla="*/ 11609 h 454926"/>
                    <a:gd name="connsiteX6" fmla="*/ 312024 w 510189"/>
                    <a:gd name="connsiteY6" fmla="*/ 8434 h 454926"/>
                    <a:gd name="connsiteX7" fmla="*/ 312024 w 510189"/>
                    <a:gd name="connsiteY7" fmla="*/ 87809 h 454926"/>
                    <a:gd name="connsiteX8" fmla="*/ 334249 w 510189"/>
                    <a:gd name="connsiteY8" fmla="*/ 135434 h 454926"/>
                    <a:gd name="connsiteX9" fmla="*/ 445374 w 510189"/>
                    <a:gd name="connsiteY9" fmla="*/ 157659 h 454926"/>
                    <a:gd name="connsiteX10" fmla="*/ 486649 w 510189"/>
                    <a:gd name="connsiteY10" fmla="*/ 183059 h 454926"/>
                    <a:gd name="connsiteX11" fmla="*/ 508874 w 510189"/>
                    <a:gd name="connsiteY11" fmla="*/ 227509 h 454926"/>
                    <a:gd name="connsiteX12" fmla="*/ 505699 w 510189"/>
                    <a:gd name="connsiteY12" fmla="*/ 449759 h 454926"/>
                    <a:gd name="connsiteX13" fmla="*/ 4049 w 510189"/>
                    <a:gd name="connsiteY13" fmla="*/ 443409 h 454926"/>
                    <a:gd name="connsiteX0" fmla="*/ 4049 w 510189"/>
                    <a:gd name="connsiteY0" fmla="*/ 443409 h 454926"/>
                    <a:gd name="connsiteX1" fmla="*/ 7224 w 510189"/>
                    <a:gd name="connsiteY1" fmla="*/ 208459 h 454926"/>
                    <a:gd name="connsiteX2" fmla="*/ 70724 w 510189"/>
                    <a:gd name="connsiteY2" fmla="*/ 154484 h 454926"/>
                    <a:gd name="connsiteX3" fmla="*/ 172324 w 510189"/>
                    <a:gd name="connsiteY3" fmla="*/ 148134 h 454926"/>
                    <a:gd name="connsiteX4" fmla="*/ 188199 w 510189"/>
                    <a:gd name="connsiteY4" fmla="*/ 90984 h 454926"/>
                    <a:gd name="connsiteX5" fmla="*/ 200899 w 510189"/>
                    <a:gd name="connsiteY5" fmla="*/ 11609 h 454926"/>
                    <a:gd name="connsiteX6" fmla="*/ 312024 w 510189"/>
                    <a:gd name="connsiteY6" fmla="*/ 8434 h 454926"/>
                    <a:gd name="connsiteX7" fmla="*/ 312024 w 510189"/>
                    <a:gd name="connsiteY7" fmla="*/ 87809 h 454926"/>
                    <a:gd name="connsiteX8" fmla="*/ 334249 w 510189"/>
                    <a:gd name="connsiteY8" fmla="*/ 135434 h 454926"/>
                    <a:gd name="connsiteX9" fmla="*/ 445374 w 510189"/>
                    <a:gd name="connsiteY9" fmla="*/ 157659 h 454926"/>
                    <a:gd name="connsiteX10" fmla="*/ 508874 w 510189"/>
                    <a:gd name="connsiteY10" fmla="*/ 227509 h 454926"/>
                    <a:gd name="connsiteX11" fmla="*/ 505699 w 510189"/>
                    <a:gd name="connsiteY11" fmla="*/ 449759 h 454926"/>
                    <a:gd name="connsiteX12" fmla="*/ 4049 w 510189"/>
                    <a:gd name="connsiteY12" fmla="*/ 443409 h 454926"/>
                    <a:gd name="connsiteX0" fmla="*/ 4049 w 510189"/>
                    <a:gd name="connsiteY0" fmla="*/ 443409 h 454926"/>
                    <a:gd name="connsiteX1" fmla="*/ 7224 w 510189"/>
                    <a:gd name="connsiteY1" fmla="*/ 208459 h 454926"/>
                    <a:gd name="connsiteX2" fmla="*/ 70724 w 510189"/>
                    <a:gd name="connsiteY2" fmla="*/ 154484 h 454926"/>
                    <a:gd name="connsiteX3" fmla="*/ 172324 w 510189"/>
                    <a:gd name="connsiteY3" fmla="*/ 148134 h 454926"/>
                    <a:gd name="connsiteX4" fmla="*/ 188199 w 510189"/>
                    <a:gd name="connsiteY4" fmla="*/ 90984 h 454926"/>
                    <a:gd name="connsiteX5" fmla="*/ 200899 w 510189"/>
                    <a:gd name="connsiteY5" fmla="*/ 11609 h 454926"/>
                    <a:gd name="connsiteX6" fmla="*/ 312024 w 510189"/>
                    <a:gd name="connsiteY6" fmla="*/ 8434 h 454926"/>
                    <a:gd name="connsiteX7" fmla="*/ 312024 w 510189"/>
                    <a:gd name="connsiteY7" fmla="*/ 87809 h 454926"/>
                    <a:gd name="connsiteX8" fmla="*/ 334249 w 510189"/>
                    <a:gd name="connsiteY8" fmla="*/ 135434 h 454926"/>
                    <a:gd name="connsiteX9" fmla="*/ 445374 w 510189"/>
                    <a:gd name="connsiteY9" fmla="*/ 157659 h 454926"/>
                    <a:gd name="connsiteX10" fmla="*/ 508874 w 510189"/>
                    <a:gd name="connsiteY10" fmla="*/ 227509 h 454926"/>
                    <a:gd name="connsiteX11" fmla="*/ 505699 w 510189"/>
                    <a:gd name="connsiteY11" fmla="*/ 449759 h 454926"/>
                    <a:gd name="connsiteX12" fmla="*/ 4049 w 510189"/>
                    <a:gd name="connsiteY12" fmla="*/ 443409 h 454926"/>
                    <a:gd name="connsiteX0" fmla="*/ 5987 w 512127"/>
                    <a:gd name="connsiteY0" fmla="*/ 443409 h 454926"/>
                    <a:gd name="connsiteX1" fmla="*/ 2812 w 512127"/>
                    <a:gd name="connsiteY1" fmla="*/ 217984 h 454926"/>
                    <a:gd name="connsiteX2" fmla="*/ 72662 w 512127"/>
                    <a:gd name="connsiteY2" fmla="*/ 154484 h 454926"/>
                    <a:gd name="connsiteX3" fmla="*/ 174262 w 512127"/>
                    <a:gd name="connsiteY3" fmla="*/ 148134 h 454926"/>
                    <a:gd name="connsiteX4" fmla="*/ 190137 w 512127"/>
                    <a:gd name="connsiteY4" fmla="*/ 90984 h 454926"/>
                    <a:gd name="connsiteX5" fmla="*/ 202837 w 512127"/>
                    <a:gd name="connsiteY5" fmla="*/ 11609 h 454926"/>
                    <a:gd name="connsiteX6" fmla="*/ 313962 w 512127"/>
                    <a:gd name="connsiteY6" fmla="*/ 8434 h 454926"/>
                    <a:gd name="connsiteX7" fmla="*/ 313962 w 512127"/>
                    <a:gd name="connsiteY7" fmla="*/ 87809 h 454926"/>
                    <a:gd name="connsiteX8" fmla="*/ 336187 w 512127"/>
                    <a:gd name="connsiteY8" fmla="*/ 135434 h 454926"/>
                    <a:gd name="connsiteX9" fmla="*/ 447312 w 512127"/>
                    <a:gd name="connsiteY9" fmla="*/ 157659 h 454926"/>
                    <a:gd name="connsiteX10" fmla="*/ 510812 w 512127"/>
                    <a:gd name="connsiteY10" fmla="*/ 227509 h 454926"/>
                    <a:gd name="connsiteX11" fmla="*/ 507637 w 512127"/>
                    <a:gd name="connsiteY11" fmla="*/ 449759 h 454926"/>
                    <a:gd name="connsiteX12" fmla="*/ 5987 w 512127"/>
                    <a:gd name="connsiteY12" fmla="*/ 443409 h 454926"/>
                    <a:gd name="connsiteX0" fmla="*/ 9762 w 515902"/>
                    <a:gd name="connsiteY0" fmla="*/ 443409 h 454926"/>
                    <a:gd name="connsiteX1" fmla="*/ 6587 w 515902"/>
                    <a:gd name="connsiteY1" fmla="*/ 217984 h 454926"/>
                    <a:gd name="connsiteX2" fmla="*/ 76437 w 515902"/>
                    <a:gd name="connsiteY2" fmla="*/ 154484 h 454926"/>
                    <a:gd name="connsiteX3" fmla="*/ 178037 w 515902"/>
                    <a:gd name="connsiteY3" fmla="*/ 148134 h 454926"/>
                    <a:gd name="connsiteX4" fmla="*/ 193912 w 515902"/>
                    <a:gd name="connsiteY4" fmla="*/ 90984 h 454926"/>
                    <a:gd name="connsiteX5" fmla="*/ 206612 w 515902"/>
                    <a:gd name="connsiteY5" fmla="*/ 11609 h 454926"/>
                    <a:gd name="connsiteX6" fmla="*/ 317737 w 515902"/>
                    <a:gd name="connsiteY6" fmla="*/ 8434 h 454926"/>
                    <a:gd name="connsiteX7" fmla="*/ 317737 w 515902"/>
                    <a:gd name="connsiteY7" fmla="*/ 87809 h 454926"/>
                    <a:gd name="connsiteX8" fmla="*/ 339962 w 515902"/>
                    <a:gd name="connsiteY8" fmla="*/ 135434 h 454926"/>
                    <a:gd name="connsiteX9" fmla="*/ 451087 w 515902"/>
                    <a:gd name="connsiteY9" fmla="*/ 157659 h 454926"/>
                    <a:gd name="connsiteX10" fmla="*/ 514587 w 515902"/>
                    <a:gd name="connsiteY10" fmla="*/ 227509 h 454926"/>
                    <a:gd name="connsiteX11" fmla="*/ 511412 w 515902"/>
                    <a:gd name="connsiteY11" fmla="*/ 449759 h 454926"/>
                    <a:gd name="connsiteX12" fmla="*/ 9762 w 515902"/>
                    <a:gd name="connsiteY12" fmla="*/ 443409 h 454926"/>
                    <a:gd name="connsiteX0" fmla="*/ 9762 w 515902"/>
                    <a:gd name="connsiteY0" fmla="*/ 443409 h 454926"/>
                    <a:gd name="connsiteX1" fmla="*/ 6587 w 515902"/>
                    <a:gd name="connsiteY1" fmla="*/ 217984 h 454926"/>
                    <a:gd name="connsiteX2" fmla="*/ 76437 w 515902"/>
                    <a:gd name="connsiteY2" fmla="*/ 154484 h 454926"/>
                    <a:gd name="connsiteX3" fmla="*/ 178037 w 515902"/>
                    <a:gd name="connsiteY3" fmla="*/ 148134 h 454926"/>
                    <a:gd name="connsiteX4" fmla="*/ 193912 w 515902"/>
                    <a:gd name="connsiteY4" fmla="*/ 90984 h 454926"/>
                    <a:gd name="connsiteX5" fmla="*/ 206612 w 515902"/>
                    <a:gd name="connsiteY5" fmla="*/ 11609 h 454926"/>
                    <a:gd name="connsiteX6" fmla="*/ 317737 w 515902"/>
                    <a:gd name="connsiteY6" fmla="*/ 8434 h 454926"/>
                    <a:gd name="connsiteX7" fmla="*/ 317737 w 515902"/>
                    <a:gd name="connsiteY7" fmla="*/ 87809 h 454926"/>
                    <a:gd name="connsiteX8" fmla="*/ 339962 w 515902"/>
                    <a:gd name="connsiteY8" fmla="*/ 135434 h 454926"/>
                    <a:gd name="connsiteX9" fmla="*/ 451087 w 515902"/>
                    <a:gd name="connsiteY9" fmla="*/ 157659 h 454926"/>
                    <a:gd name="connsiteX10" fmla="*/ 514587 w 515902"/>
                    <a:gd name="connsiteY10" fmla="*/ 227509 h 454926"/>
                    <a:gd name="connsiteX11" fmla="*/ 511412 w 515902"/>
                    <a:gd name="connsiteY11" fmla="*/ 449759 h 454926"/>
                    <a:gd name="connsiteX12" fmla="*/ 9762 w 515902"/>
                    <a:gd name="connsiteY12" fmla="*/ 443409 h 454926"/>
                    <a:gd name="connsiteX0" fmla="*/ 9762 w 515902"/>
                    <a:gd name="connsiteY0" fmla="*/ 443409 h 454926"/>
                    <a:gd name="connsiteX1" fmla="*/ 6587 w 515902"/>
                    <a:gd name="connsiteY1" fmla="*/ 217984 h 454926"/>
                    <a:gd name="connsiteX2" fmla="*/ 76437 w 515902"/>
                    <a:gd name="connsiteY2" fmla="*/ 154484 h 454926"/>
                    <a:gd name="connsiteX3" fmla="*/ 193912 w 515902"/>
                    <a:gd name="connsiteY3" fmla="*/ 90984 h 454926"/>
                    <a:gd name="connsiteX4" fmla="*/ 206612 w 515902"/>
                    <a:gd name="connsiteY4" fmla="*/ 11609 h 454926"/>
                    <a:gd name="connsiteX5" fmla="*/ 317737 w 515902"/>
                    <a:gd name="connsiteY5" fmla="*/ 8434 h 454926"/>
                    <a:gd name="connsiteX6" fmla="*/ 317737 w 515902"/>
                    <a:gd name="connsiteY6" fmla="*/ 87809 h 454926"/>
                    <a:gd name="connsiteX7" fmla="*/ 339962 w 515902"/>
                    <a:gd name="connsiteY7" fmla="*/ 135434 h 454926"/>
                    <a:gd name="connsiteX8" fmla="*/ 451087 w 515902"/>
                    <a:gd name="connsiteY8" fmla="*/ 157659 h 454926"/>
                    <a:gd name="connsiteX9" fmla="*/ 514587 w 515902"/>
                    <a:gd name="connsiteY9" fmla="*/ 227509 h 454926"/>
                    <a:gd name="connsiteX10" fmla="*/ 511412 w 515902"/>
                    <a:gd name="connsiteY10" fmla="*/ 449759 h 454926"/>
                    <a:gd name="connsiteX11" fmla="*/ 9762 w 515902"/>
                    <a:gd name="connsiteY11" fmla="*/ 443409 h 454926"/>
                    <a:gd name="connsiteX0" fmla="*/ 9762 w 515902"/>
                    <a:gd name="connsiteY0" fmla="*/ 446099 h 457616"/>
                    <a:gd name="connsiteX1" fmla="*/ 6587 w 515902"/>
                    <a:gd name="connsiteY1" fmla="*/ 220674 h 457616"/>
                    <a:gd name="connsiteX2" fmla="*/ 76437 w 515902"/>
                    <a:gd name="connsiteY2" fmla="*/ 157174 h 457616"/>
                    <a:gd name="connsiteX3" fmla="*/ 190737 w 515902"/>
                    <a:gd name="connsiteY3" fmla="*/ 138124 h 457616"/>
                    <a:gd name="connsiteX4" fmla="*/ 206612 w 515902"/>
                    <a:gd name="connsiteY4" fmla="*/ 14299 h 457616"/>
                    <a:gd name="connsiteX5" fmla="*/ 317737 w 515902"/>
                    <a:gd name="connsiteY5" fmla="*/ 11124 h 457616"/>
                    <a:gd name="connsiteX6" fmla="*/ 317737 w 515902"/>
                    <a:gd name="connsiteY6" fmla="*/ 90499 h 457616"/>
                    <a:gd name="connsiteX7" fmla="*/ 339962 w 515902"/>
                    <a:gd name="connsiteY7" fmla="*/ 138124 h 457616"/>
                    <a:gd name="connsiteX8" fmla="*/ 451087 w 515902"/>
                    <a:gd name="connsiteY8" fmla="*/ 160349 h 457616"/>
                    <a:gd name="connsiteX9" fmla="*/ 514587 w 515902"/>
                    <a:gd name="connsiteY9" fmla="*/ 230199 h 457616"/>
                    <a:gd name="connsiteX10" fmla="*/ 511412 w 515902"/>
                    <a:gd name="connsiteY10" fmla="*/ 452449 h 457616"/>
                    <a:gd name="connsiteX11" fmla="*/ 9762 w 515902"/>
                    <a:gd name="connsiteY11" fmla="*/ 446099 h 457616"/>
                    <a:gd name="connsiteX0" fmla="*/ 9762 w 515902"/>
                    <a:gd name="connsiteY0" fmla="*/ 446099 h 457616"/>
                    <a:gd name="connsiteX1" fmla="*/ 6587 w 515902"/>
                    <a:gd name="connsiteY1" fmla="*/ 220674 h 457616"/>
                    <a:gd name="connsiteX2" fmla="*/ 76437 w 515902"/>
                    <a:gd name="connsiteY2" fmla="*/ 157174 h 457616"/>
                    <a:gd name="connsiteX3" fmla="*/ 190737 w 515902"/>
                    <a:gd name="connsiteY3" fmla="*/ 138124 h 457616"/>
                    <a:gd name="connsiteX4" fmla="*/ 206612 w 515902"/>
                    <a:gd name="connsiteY4" fmla="*/ 14299 h 457616"/>
                    <a:gd name="connsiteX5" fmla="*/ 317737 w 515902"/>
                    <a:gd name="connsiteY5" fmla="*/ 11124 h 457616"/>
                    <a:gd name="connsiteX6" fmla="*/ 317737 w 515902"/>
                    <a:gd name="connsiteY6" fmla="*/ 90499 h 457616"/>
                    <a:gd name="connsiteX7" fmla="*/ 451087 w 515902"/>
                    <a:gd name="connsiteY7" fmla="*/ 160349 h 457616"/>
                    <a:gd name="connsiteX8" fmla="*/ 514587 w 515902"/>
                    <a:gd name="connsiteY8" fmla="*/ 230199 h 457616"/>
                    <a:gd name="connsiteX9" fmla="*/ 511412 w 515902"/>
                    <a:gd name="connsiteY9" fmla="*/ 452449 h 457616"/>
                    <a:gd name="connsiteX10" fmla="*/ 9762 w 515902"/>
                    <a:gd name="connsiteY10" fmla="*/ 446099 h 457616"/>
                    <a:gd name="connsiteX0" fmla="*/ 9762 w 515902"/>
                    <a:gd name="connsiteY0" fmla="*/ 447482 h 458999"/>
                    <a:gd name="connsiteX1" fmla="*/ 6587 w 515902"/>
                    <a:gd name="connsiteY1" fmla="*/ 222057 h 458999"/>
                    <a:gd name="connsiteX2" fmla="*/ 76437 w 515902"/>
                    <a:gd name="connsiteY2" fmla="*/ 158557 h 458999"/>
                    <a:gd name="connsiteX3" fmla="*/ 190737 w 515902"/>
                    <a:gd name="connsiteY3" fmla="*/ 139507 h 458999"/>
                    <a:gd name="connsiteX4" fmla="*/ 206612 w 515902"/>
                    <a:gd name="connsiteY4" fmla="*/ 15682 h 458999"/>
                    <a:gd name="connsiteX5" fmla="*/ 317737 w 515902"/>
                    <a:gd name="connsiteY5" fmla="*/ 12507 h 458999"/>
                    <a:gd name="connsiteX6" fmla="*/ 330437 w 515902"/>
                    <a:gd name="connsiteY6" fmla="*/ 114107 h 458999"/>
                    <a:gd name="connsiteX7" fmla="*/ 451087 w 515902"/>
                    <a:gd name="connsiteY7" fmla="*/ 161732 h 458999"/>
                    <a:gd name="connsiteX8" fmla="*/ 514587 w 515902"/>
                    <a:gd name="connsiteY8" fmla="*/ 231582 h 458999"/>
                    <a:gd name="connsiteX9" fmla="*/ 511412 w 515902"/>
                    <a:gd name="connsiteY9" fmla="*/ 453832 h 458999"/>
                    <a:gd name="connsiteX10" fmla="*/ 9762 w 515902"/>
                    <a:gd name="connsiteY10" fmla="*/ 447482 h 458999"/>
                    <a:gd name="connsiteX0" fmla="*/ 9762 w 515902"/>
                    <a:gd name="connsiteY0" fmla="*/ 446348 h 457865"/>
                    <a:gd name="connsiteX1" fmla="*/ 6587 w 515902"/>
                    <a:gd name="connsiteY1" fmla="*/ 220923 h 457865"/>
                    <a:gd name="connsiteX2" fmla="*/ 76437 w 515902"/>
                    <a:gd name="connsiteY2" fmla="*/ 157423 h 457865"/>
                    <a:gd name="connsiteX3" fmla="*/ 200262 w 515902"/>
                    <a:gd name="connsiteY3" fmla="*/ 119323 h 457865"/>
                    <a:gd name="connsiteX4" fmla="*/ 206612 w 515902"/>
                    <a:gd name="connsiteY4" fmla="*/ 14548 h 457865"/>
                    <a:gd name="connsiteX5" fmla="*/ 317737 w 515902"/>
                    <a:gd name="connsiteY5" fmla="*/ 11373 h 457865"/>
                    <a:gd name="connsiteX6" fmla="*/ 330437 w 515902"/>
                    <a:gd name="connsiteY6" fmla="*/ 112973 h 457865"/>
                    <a:gd name="connsiteX7" fmla="*/ 451087 w 515902"/>
                    <a:gd name="connsiteY7" fmla="*/ 160598 h 457865"/>
                    <a:gd name="connsiteX8" fmla="*/ 514587 w 515902"/>
                    <a:gd name="connsiteY8" fmla="*/ 230448 h 457865"/>
                    <a:gd name="connsiteX9" fmla="*/ 511412 w 515902"/>
                    <a:gd name="connsiteY9" fmla="*/ 452698 h 457865"/>
                    <a:gd name="connsiteX10" fmla="*/ 9762 w 515902"/>
                    <a:gd name="connsiteY10" fmla="*/ 446348 h 457865"/>
                    <a:gd name="connsiteX0" fmla="*/ 9762 w 515902"/>
                    <a:gd name="connsiteY0" fmla="*/ 446681 h 458198"/>
                    <a:gd name="connsiteX1" fmla="*/ 6587 w 515902"/>
                    <a:gd name="connsiteY1" fmla="*/ 221256 h 458198"/>
                    <a:gd name="connsiteX2" fmla="*/ 76437 w 515902"/>
                    <a:gd name="connsiteY2" fmla="*/ 157756 h 458198"/>
                    <a:gd name="connsiteX3" fmla="*/ 200262 w 515902"/>
                    <a:gd name="connsiteY3" fmla="*/ 119656 h 458198"/>
                    <a:gd name="connsiteX4" fmla="*/ 206612 w 515902"/>
                    <a:gd name="connsiteY4" fmla="*/ 14881 h 458198"/>
                    <a:gd name="connsiteX5" fmla="*/ 317737 w 515902"/>
                    <a:gd name="connsiteY5" fmla="*/ 11706 h 458198"/>
                    <a:gd name="connsiteX6" fmla="*/ 311502 w 515902"/>
                    <a:gd name="connsiteY6" fmla="*/ 118302 h 458198"/>
                    <a:gd name="connsiteX7" fmla="*/ 451087 w 515902"/>
                    <a:gd name="connsiteY7" fmla="*/ 160931 h 458198"/>
                    <a:gd name="connsiteX8" fmla="*/ 514587 w 515902"/>
                    <a:gd name="connsiteY8" fmla="*/ 230781 h 458198"/>
                    <a:gd name="connsiteX9" fmla="*/ 511412 w 515902"/>
                    <a:gd name="connsiteY9" fmla="*/ 453031 h 458198"/>
                    <a:gd name="connsiteX10" fmla="*/ 9762 w 515902"/>
                    <a:gd name="connsiteY10" fmla="*/ 446681 h 458198"/>
                    <a:gd name="connsiteX0" fmla="*/ 9762 w 515902"/>
                    <a:gd name="connsiteY0" fmla="*/ 446681 h 458198"/>
                    <a:gd name="connsiteX1" fmla="*/ 6587 w 515902"/>
                    <a:gd name="connsiteY1" fmla="*/ 221256 h 458198"/>
                    <a:gd name="connsiteX2" fmla="*/ 76437 w 515902"/>
                    <a:gd name="connsiteY2" fmla="*/ 157756 h 458198"/>
                    <a:gd name="connsiteX3" fmla="*/ 200262 w 515902"/>
                    <a:gd name="connsiteY3" fmla="*/ 119656 h 458198"/>
                    <a:gd name="connsiteX4" fmla="*/ 206612 w 515902"/>
                    <a:gd name="connsiteY4" fmla="*/ 14881 h 458198"/>
                    <a:gd name="connsiteX5" fmla="*/ 301506 w 515902"/>
                    <a:gd name="connsiteY5" fmla="*/ 11706 h 458198"/>
                    <a:gd name="connsiteX6" fmla="*/ 311502 w 515902"/>
                    <a:gd name="connsiteY6" fmla="*/ 118302 h 458198"/>
                    <a:gd name="connsiteX7" fmla="*/ 451087 w 515902"/>
                    <a:gd name="connsiteY7" fmla="*/ 160931 h 458198"/>
                    <a:gd name="connsiteX8" fmla="*/ 514587 w 515902"/>
                    <a:gd name="connsiteY8" fmla="*/ 230781 h 458198"/>
                    <a:gd name="connsiteX9" fmla="*/ 511412 w 515902"/>
                    <a:gd name="connsiteY9" fmla="*/ 453031 h 458198"/>
                    <a:gd name="connsiteX10" fmla="*/ 9762 w 515902"/>
                    <a:gd name="connsiteY10" fmla="*/ 446681 h 458198"/>
                    <a:gd name="connsiteX0" fmla="*/ 9762 w 515902"/>
                    <a:gd name="connsiteY0" fmla="*/ 446681 h 458198"/>
                    <a:gd name="connsiteX1" fmla="*/ 6587 w 515902"/>
                    <a:gd name="connsiteY1" fmla="*/ 221256 h 458198"/>
                    <a:gd name="connsiteX2" fmla="*/ 76437 w 515902"/>
                    <a:gd name="connsiteY2" fmla="*/ 157756 h 458198"/>
                    <a:gd name="connsiteX3" fmla="*/ 200262 w 515902"/>
                    <a:gd name="connsiteY3" fmla="*/ 119656 h 458198"/>
                    <a:gd name="connsiteX4" fmla="*/ 206612 w 515902"/>
                    <a:gd name="connsiteY4" fmla="*/ 14881 h 458198"/>
                    <a:gd name="connsiteX5" fmla="*/ 301506 w 515902"/>
                    <a:gd name="connsiteY5" fmla="*/ 11706 h 458198"/>
                    <a:gd name="connsiteX6" fmla="*/ 311502 w 515902"/>
                    <a:gd name="connsiteY6" fmla="*/ 118302 h 458198"/>
                    <a:gd name="connsiteX7" fmla="*/ 442972 w 515902"/>
                    <a:gd name="connsiteY7" fmla="*/ 180912 h 458198"/>
                    <a:gd name="connsiteX8" fmla="*/ 514587 w 515902"/>
                    <a:gd name="connsiteY8" fmla="*/ 230781 h 458198"/>
                    <a:gd name="connsiteX9" fmla="*/ 511412 w 515902"/>
                    <a:gd name="connsiteY9" fmla="*/ 453031 h 458198"/>
                    <a:gd name="connsiteX10" fmla="*/ 9762 w 515902"/>
                    <a:gd name="connsiteY10" fmla="*/ 446681 h 458198"/>
                    <a:gd name="connsiteX0" fmla="*/ 9762 w 511905"/>
                    <a:gd name="connsiteY0" fmla="*/ 446681 h 458198"/>
                    <a:gd name="connsiteX1" fmla="*/ 6587 w 511905"/>
                    <a:gd name="connsiteY1" fmla="*/ 221256 h 458198"/>
                    <a:gd name="connsiteX2" fmla="*/ 76437 w 511905"/>
                    <a:gd name="connsiteY2" fmla="*/ 157756 h 458198"/>
                    <a:gd name="connsiteX3" fmla="*/ 200262 w 511905"/>
                    <a:gd name="connsiteY3" fmla="*/ 119656 h 458198"/>
                    <a:gd name="connsiteX4" fmla="*/ 206612 w 511905"/>
                    <a:gd name="connsiteY4" fmla="*/ 14881 h 458198"/>
                    <a:gd name="connsiteX5" fmla="*/ 301506 w 511905"/>
                    <a:gd name="connsiteY5" fmla="*/ 11706 h 458198"/>
                    <a:gd name="connsiteX6" fmla="*/ 311502 w 511905"/>
                    <a:gd name="connsiteY6" fmla="*/ 118302 h 458198"/>
                    <a:gd name="connsiteX7" fmla="*/ 442972 w 511905"/>
                    <a:gd name="connsiteY7" fmla="*/ 180912 h 458198"/>
                    <a:gd name="connsiteX8" fmla="*/ 498357 w 511905"/>
                    <a:gd name="connsiteY8" fmla="*/ 250762 h 458198"/>
                    <a:gd name="connsiteX9" fmla="*/ 511412 w 511905"/>
                    <a:gd name="connsiteY9" fmla="*/ 453031 h 458198"/>
                    <a:gd name="connsiteX10" fmla="*/ 9762 w 511905"/>
                    <a:gd name="connsiteY10" fmla="*/ 446681 h 458198"/>
                    <a:gd name="connsiteX0" fmla="*/ 9762 w 511905"/>
                    <a:gd name="connsiteY0" fmla="*/ 446681 h 458198"/>
                    <a:gd name="connsiteX1" fmla="*/ 6587 w 511905"/>
                    <a:gd name="connsiteY1" fmla="*/ 221256 h 458198"/>
                    <a:gd name="connsiteX2" fmla="*/ 76437 w 511905"/>
                    <a:gd name="connsiteY2" fmla="*/ 157756 h 458198"/>
                    <a:gd name="connsiteX3" fmla="*/ 200262 w 511905"/>
                    <a:gd name="connsiteY3" fmla="*/ 119656 h 458198"/>
                    <a:gd name="connsiteX4" fmla="*/ 206612 w 511905"/>
                    <a:gd name="connsiteY4" fmla="*/ 14881 h 458198"/>
                    <a:gd name="connsiteX5" fmla="*/ 301506 w 511905"/>
                    <a:gd name="connsiteY5" fmla="*/ 11706 h 458198"/>
                    <a:gd name="connsiteX6" fmla="*/ 311502 w 511905"/>
                    <a:gd name="connsiteY6" fmla="*/ 118302 h 458198"/>
                    <a:gd name="connsiteX7" fmla="*/ 437562 w 511905"/>
                    <a:gd name="connsiteY7" fmla="*/ 198396 h 458198"/>
                    <a:gd name="connsiteX8" fmla="*/ 498357 w 511905"/>
                    <a:gd name="connsiteY8" fmla="*/ 250762 h 458198"/>
                    <a:gd name="connsiteX9" fmla="*/ 511412 w 511905"/>
                    <a:gd name="connsiteY9" fmla="*/ 453031 h 458198"/>
                    <a:gd name="connsiteX10" fmla="*/ 9762 w 511905"/>
                    <a:gd name="connsiteY10" fmla="*/ 446681 h 458198"/>
                    <a:gd name="connsiteX0" fmla="*/ 9762 w 511905"/>
                    <a:gd name="connsiteY0" fmla="*/ 446681 h 458198"/>
                    <a:gd name="connsiteX1" fmla="*/ 6587 w 511905"/>
                    <a:gd name="connsiteY1" fmla="*/ 221256 h 458198"/>
                    <a:gd name="connsiteX2" fmla="*/ 76437 w 511905"/>
                    <a:gd name="connsiteY2" fmla="*/ 157756 h 458198"/>
                    <a:gd name="connsiteX3" fmla="*/ 200262 w 511905"/>
                    <a:gd name="connsiteY3" fmla="*/ 119656 h 458198"/>
                    <a:gd name="connsiteX4" fmla="*/ 206612 w 511905"/>
                    <a:gd name="connsiteY4" fmla="*/ 14881 h 458198"/>
                    <a:gd name="connsiteX5" fmla="*/ 301506 w 511905"/>
                    <a:gd name="connsiteY5" fmla="*/ 11706 h 458198"/>
                    <a:gd name="connsiteX6" fmla="*/ 311502 w 511905"/>
                    <a:gd name="connsiteY6" fmla="*/ 118302 h 458198"/>
                    <a:gd name="connsiteX7" fmla="*/ 451087 w 511905"/>
                    <a:gd name="connsiteY7" fmla="*/ 188406 h 458198"/>
                    <a:gd name="connsiteX8" fmla="*/ 498357 w 511905"/>
                    <a:gd name="connsiteY8" fmla="*/ 250762 h 458198"/>
                    <a:gd name="connsiteX9" fmla="*/ 511412 w 511905"/>
                    <a:gd name="connsiteY9" fmla="*/ 453031 h 458198"/>
                    <a:gd name="connsiteX10" fmla="*/ 9762 w 511905"/>
                    <a:gd name="connsiteY10" fmla="*/ 446681 h 458198"/>
                    <a:gd name="connsiteX0" fmla="*/ 9762 w 511905"/>
                    <a:gd name="connsiteY0" fmla="*/ 447695 h 459212"/>
                    <a:gd name="connsiteX1" fmla="*/ 6587 w 511905"/>
                    <a:gd name="connsiteY1" fmla="*/ 222270 h 459212"/>
                    <a:gd name="connsiteX2" fmla="*/ 76437 w 511905"/>
                    <a:gd name="connsiteY2" fmla="*/ 158770 h 459212"/>
                    <a:gd name="connsiteX3" fmla="*/ 200262 w 511905"/>
                    <a:gd name="connsiteY3" fmla="*/ 120670 h 459212"/>
                    <a:gd name="connsiteX4" fmla="*/ 206612 w 511905"/>
                    <a:gd name="connsiteY4" fmla="*/ 15895 h 459212"/>
                    <a:gd name="connsiteX5" fmla="*/ 301506 w 511905"/>
                    <a:gd name="connsiteY5" fmla="*/ 12720 h 459212"/>
                    <a:gd name="connsiteX6" fmla="*/ 311502 w 511905"/>
                    <a:gd name="connsiteY6" fmla="*/ 134302 h 459212"/>
                    <a:gd name="connsiteX7" fmla="*/ 451087 w 511905"/>
                    <a:gd name="connsiteY7" fmla="*/ 189420 h 459212"/>
                    <a:gd name="connsiteX8" fmla="*/ 498357 w 511905"/>
                    <a:gd name="connsiteY8" fmla="*/ 251776 h 459212"/>
                    <a:gd name="connsiteX9" fmla="*/ 511412 w 511905"/>
                    <a:gd name="connsiteY9" fmla="*/ 454045 h 459212"/>
                    <a:gd name="connsiteX10" fmla="*/ 9762 w 511905"/>
                    <a:gd name="connsiteY10" fmla="*/ 447695 h 459212"/>
                    <a:gd name="connsiteX0" fmla="*/ 4227 w 522600"/>
                    <a:gd name="connsiteY0" fmla="*/ 455188 h 463021"/>
                    <a:gd name="connsiteX1" fmla="*/ 17282 w 522600"/>
                    <a:gd name="connsiteY1" fmla="*/ 222270 h 463021"/>
                    <a:gd name="connsiteX2" fmla="*/ 87132 w 522600"/>
                    <a:gd name="connsiteY2" fmla="*/ 158770 h 463021"/>
                    <a:gd name="connsiteX3" fmla="*/ 210957 w 522600"/>
                    <a:gd name="connsiteY3" fmla="*/ 120670 h 463021"/>
                    <a:gd name="connsiteX4" fmla="*/ 217307 w 522600"/>
                    <a:gd name="connsiteY4" fmla="*/ 15895 h 463021"/>
                    <a:gd name="connsiteX5" fmla="*/ 312201 w 522600"/>
                    <a:gd name="connsiteY5" fmla="*/ 12720 h 463021"/>
                    <a:gd name="connsiteX6" fmla="*/ 322197 w 522600"/>
                    <a:gd name="connsiteY6" fmla="*/ 134302 h 463021"/>
                    <a:gd name="connsiteX7" fmla="*/ 461782 w 522600"/>
                    <a:gd name="connsiteY7" fmla="*/ 189420 h 463021"/>
                    <a:gd name="connsiteX8" fmla="*/ 509052 w 522600"/>
                    <a:gd name="connsiteY8" fmla="*/ 251776 h 463021"/>
                    <a:gd name="connsiteX9" fmla="*/ 522107 w 522600"/>
                    <a:gd name="connsiteY9" fmla="*/ 454045 h 463021"/>
                    <a:gd name="connsiteX10" fmla="*/ 4227 w 522600"/>
                    <a:gd name="connsiteY10" fmla="*/ 455188 h 463021"/>
                    <a:gd name="connsiteX0" fmla="*/ 4227 w 522600"/>
                    <a:gd name="connsiteY0" fmla="*/ 455188 h 457596"/>
                    <a:gd name="connsiteX1" fmla="*/ 17282 w 522600"/>
                    <a:gd name="connsiteY1" fmla="*/ 222270 h 457596"/>
                    <a:gd name="connsiteX2" fmla="*/ 87132 w 522600"/>
                    <a:gd name="connsiteY2" fmla="*/ 158770 h 457596"/>
                    <a:gd name="connsiteX3" fmla="*/ 210957 w 522600"/>
                    <a:gd name="connsiteY3" fmla="*/ 120670 h 457596"/>
                    <a:gd name="connsiteX4" fmla="*/ 217307 w 522600"/>
                    <a:gd name="connsiteY4" fmla="*/ 15895 h 457596"/>
                    <a:gd name="connsiteX5" fmla="*/ 312201 w 522600"/>
                    <a:gd name="connsiteY5" fmla="*/ 12720 h 457596"/>
                    <a:gd name="connsiteX6" fmla="*/ 322197 w 522600"/>
                    <a:gd name="connsiteY6" fmla="*/ 134302 h 457596"/>
                    <a:gd name="connsiteX7" fmla="*/ 461782 w 522600"/>
                    <a:gd name="connsiteY7" fmla="*/ 189420 h 457596"/>
                    <a:gd name="connsiteX8" fmla="*/ 509052 w 522600"/>
                    <a:gd name="connsiteY8" fmla="*/ 251776 h 457596"/>
                    <a:gd name="connsiteX9" fmla="*/ 522107 w 522600"/>
                    <a:gd name="connsiteY9" fmla="*/ 454045 h 457596"/>
                    <a:gd name="connsiteX10" fmla="*/ 4227 w 522600"/>
                    <a:gd name="connsiteY10" fmla="*/ 455188 h 457596"/>
                    <a:gd name="connsiteX0" fmla="*/ 12757 w 531130"/>
                    <a:gd name="connsiteY0" fmla="*/ 455188 h 457596"/>
                    <a:gd name="connsiteX1" fmla="*/ 6876 w 531130"/>
                    <a:gd name="connsiteY1" fmla="*/ 237256 h 457596"/>
                    <a:gd name="connsiteX2" fmla="*/ 95662 w 531130"/>
                    <a:gd name="connsiteY2" fmla="*/ 158770 h 457596"/>
                    <a:gd name="connsiteX3" fmla="*/ 219487 w 531130"/>
                    <a:gd name="connsiteY3" fmla="*/ 120670 h 457596"/>
                    <a:gd name="connsiteX4" fmla="*/ 225837 w 531130"/>
                    <a:gd name="connsiteY4" fmla="*/ 15895 h 457596"/>
                    <a:gd name="connsiteX5" fmla="*/ 320731 w 531130"/>
                    <a:gd name="connsiteY5" fmla="*/ 12720 h 457596"/>
                    <a:gd name="connsiteX6" fmla="*/ 330727 w 531130"/>
                    <a:gd name="connsiteY6" fmla="*/ 134302 h 457596"/>
                    <a:gd name="connsiteX7" fmla="*/ 470312 w 531130"/>
                    <a:gd name="connsiteY7" fmla="*/ 189420 h 457596"/>
                    <a:gd name="connsiteX8" fmla="*/ 517582 w 531130"/>
                    <a:gd name="connsiteY8" fmla="*/ 251776 h 457596"/>
                    <a:gd name="connsiteX9" fmla="*/ 530637 w 531130"/>
                    <a:gd name="connsiteY9" fmla="*/ 454045 h 457596"/>
                    <a:gd name="connsiteX10" fmla="*/ 12757 w 531130"/>
                    <a:gd name="connsiteY10" fmla="*/ 455188 h 457596"/>
                    <a:gd name="connsiteX0" fmla="*/ 7226 w 536419"/>
                    <a:gd name="connsiteY0" fmla="*/ 447695 h 456315"/>
                    <a:gd name="connsiteX1" fmla="*/ 12165 w 536419"/>
                    <a:gd name="connsiteY1" fmla="*/ 237256 h 456315"/>
                    <a:gd name="connsiteX2" fmla="*/ 100951 w 536419"/>
                    <a:gd name="connsiteY2" fmla="*/ 158770 h 456315"/>
                    <a:gd name="connsiteX3" fmla="*/ 224776 w 536419"/>
                    <a:gd name="connsiteY3" fmla="*/ 120670 h 456315"/>
                    <a:gd name="connsiteX4" fmla="*/ 231126 w 536419"/>
                    <a:gd name="connsiteY4" fmla="*/ 15895 h 456315"/>
                    <a:gd name="connsiteX5" fmla="*/ 326020 w 536419"/>
                    <a:gd name="connsiteY5" fmla="*/ 12720 h 456315"/>
                    <a:gd name="connsiteX6" fmla="*/ 336016 w 536419"/>
                    <a:gd name="connsiteY6" fmla="*/ 134302 h 456315"/>
                    <a:gd name="connsiteX7" fmla="*/ 475601 w 536419"/>
                    <a:gd name="connsiteY7" fmla="*/ 189420 h 456315"/>
                    <a:gd name="connsiteX8" fmla="*/ 522871 w 536419"/>
                    <a:gd name="connsiteY8" fmla="*/ 251776 h 456315"/>
                    <a:gd name="connsiteX9" fmla="*/ 535926 w 536419"/>
                    <a:gd name="connsiteY9" fmla="*/ 454045 h 456315"/>
                    <a:gd name="connsiteX10" fmla="*/ 7226 w 536419"/>
                    <a:gd name="connsiteY10" fmla="*/ 447695 h 456315"/>
                    <a:gd name="connsiteX0" fmla="*/ 7226 w 528834"/>
                    <a:gd name="connsiteY0" fmla="*/ 447695 h 456315"/>
                    <a:gd name="connsiteX1" fmla="*/ 12165 w 528834"/>
                    <a:gd name="connsiteY1" fmla="*/ 237256 h 456315"/>
                    <a:gd name="connsiteX2" fmla="*/ 100951 w 528834"/>
                    <a:gd name="connsiteY2" fmla="*/ 158770 h 456315"/>
                    <a:gd name="connsiteX3" fmla="*/ 224776 w 528834"/>
                    <a:gd name="connsiteY3" fmla="*/ 120670 h 456315"/>
                    <a:gd name="connsiteX4" fmla="*/ 231126 w 528834"/>
                    <a:gd name="connsiteY4" fmla="*/ 15895 h 456315"/>
                    <a:gd name="connsiteX5" fmla="*/ 326020 w 528834"/>
                    <a:gd name="connsiteY5" fmla="*/ 12720 h 456315"/>
                    <a:gd name="connsiteX6" fmla="*/ 336016 w 528834"/>
                    <a:gd name="connsiteY6" fmla="*/ 134302 h 456315"/>
                    <a:gd name="connsiteX7" fmla="*/ 475601 w 528834"/>
                    <a:gd name="connsiteY7" fmla="*/ 189420 h 456315"/>
                    <a:gd name="connsiteX8" fmla="*/ 522871 w 528834"/>
                    <a:gd name="connsiteY8" fmla="*/ 251776 h 456315"/>
                    <a:gd name="connsiteX9" fmla="*/ 527811 w 528834"/>
                    <a:gd name="connsiteY9" fmla="*/ 454045 h 456315"/>
                    <a:gd name="connsiteX10" fmla="*/ 7226 w 528834"/>
                    <a:gd name="connsiteY10" fmla="*/ 447695 h 456315"/>
                    <a:gd name="connsiteX0" fmla="*/ 7226 w 528834"/>
                    <a:gd name="connsiteY0" fmla="*/ 447695 h 456315"/>
                    <a:gd name="connsiteX1" fmla="*/ 12165 w 528834"/>
                    <a:gd name="connsiteY1" fmla="*/ 237256 h 456315"/>
                    <a:gd name="connsiteX2" fmla="*/ 100951 w 528834"/>
                    <a:gd name="connsiteY2" fmla="*/ 158770 h 456315"/>
                    <a:gd name="connsiteX3" fmla="*/ 224776 w 528834"/>
                    <a:gd name="connsiteY3" fmla="*/ 120670 h 456315"/>
                    <a:gd name="connsiteX4" fmla="*/ 231126 w 528834"/>
                    <a:gd name="connsiteY4" fmla="*/ 15895 h 456315"/>
                    <a:gd name="connsiteX5" fmla="*/ 326020 w 528834"/>
                    <a:gd name="connsiteY5" fmla="*/ 12720 h 456315"/>
                    <a:gd name="connsiteX6" fmla="*/ 336016 w 528834"/>
                    <a:gd name="connsiteY6" fmla="*/ 134302 h 456315"/>
                    <a:gd name="connsiteX7" fmla="*/ 462076 w 528834"/>
                    <a:gd name="connsiteY7" fmla="*/ 184425 h 456315"/>
                    <a:gd name="connsiteX8" fmla="*/ 522871 w 528834"/>
                    <a:gd name="connsiteY8" fmla="*/ 251776 h 456315"/>
                    <a:gd name="connsiteX9" fmla="*/ 527811 w 528834"/>
                    <a:gd name="connsiteY9" fmla="*/ 454045 h 456315"/>
                    <a:gd name="connsiteX10" fmla="*/ 7226 w 528834"/>
                    <a:gd name="connsiteY10" fmla="*/ 447695 h 456315"/>
                    <a:gd name="connsiteX0" fmla="*/ 8515 w 530123"/>
                    <a:gd name="connsiteY0" fmla="*/ 447695 h 456315"/>
                    <a:gd name="connsiteX1" fmla="*/ 10749 w 530123"/>
                    <a:gd name="connsiteY1" fmla="*/ 244749 h 456315"/>
                    <a:gd name="connsiteX2" fmla="*/ 102240 w 530123"/>
                    <a:gd name="connsiteY2" fmla="*/ 158770 h 456315"/>
                    <a:gd name="connsiteX3" fmla="*/ 226065 w 530123"/>
                    <a:gd name="connsiteY3" fmla="*/ 120670 h 456315"/>
                    <a:gd name="connsiteX4" fmla="*/ 232415 w 530123"/>
                    <a:gd name="connsiteY4" fmla="*/ 15895 h 456315"/>
                    <a:gd name="connsiteX5" fmla="*/ 327309 w 530123"/>
                    <a:gd name="connsiteY5" fmla="*/ 12720 h 456315"/>
                    <a:gd name="connsiteX6" fmla="*/ 337305 w 530123"/>
                    <a:gd name="connsiteY6" fmla="*/ 134302 h 456315"/>
                    <a:gd name="connsiteX7" fmla="*/ 463365 w 530123"/>
                    <a:gd name="connsiteY7" fmla="*/ 184425 h 456315"/>
                    <a:gd name="connsiteX8" fmla="*/ 524160 w 530123"/>
                    <a:gd name="connsiteY8" fmla="*/ 251776 h 456315"/>
                    <a:gd name="connsiteX9" fmla="*/ 529100 w 530123"/>
                    <a:gd name="connsiteY9" fmla="*/ 454045 h 456315"/>
                    <a:gd name="connsiteX10" fmla="*/ 8515 w 530123"/>
                    <a:gd name="connsiteY10" fmla="*/ 447695 h 456315"/>
                    <a:gd name="connsiteX0" fmla="*/ 7671 w 529279"/>
                    <a:gd name="connsiteY0" fmla="*/ 447695 h 456315"/>
                    <a:gd name="connsiteX1" fmla="*/ 9905 w 529279"/>
                    <a:gd name="connsiteY1" fmla="*/ 244749 h 456315"/>
                    <a:gd name="connsiteX2" fmla="*/ 87870 w 529279"/>
                    <a:gd name="connsiteY2" fmla="*/ 166263 h 456315"/>
                    <a:gd name="connsiteX3" fmla="*/ 225221 w 529279"/>
                    <a:gd name="connsiteY3" fmla="*/ 120670 h 456315"/>
                    <a:gd name="connsiteX4" fmla="*/ 231571 w 529279"/>
                    <a:gd name="connsiteY4" fmla="*/ 15895 h 456315"/>
                    <a:gd name="connsiteX5" fmla="*/ 326465 w 529279"/>
                    <a:gd name="connsiteY5" fmla="*/ 12720 h 456315"/>
                    <a:gd name="connsiteX6" fmla="*/ 336461 w 529279"/>
                    <a:gd name="connsiteY6" fmla="*/ 134302 h 456315"/>
                    <a:gd name="connsiteX7" fmla="*/ 462521 w 529279"/>
                    <a:gd name="connsiteY7" fmla="*/ 184425 h 456315"/>
                    <a:gd name="connsiteX8" fmla="*/ 523316 w 529279"/>
                    <a:gd name="connsiteY8" fmla="*/ 251776 h 456315"/>
                    <a:gd name="connsiteX9" fmla="*/ 528256 w 529279"/>
                    <a:gd name="connsiteY9" fmla="*/ 454045 h 456315"/>
                    <a:gd name="connsiteX10" fmla="*/ 7671 w 529279"/>
                    <a:gd name="connsiteY10" fmla="*/ 447695 h 456315"/>
                    <a:gd name="connsiteX0" fmla="*/ 7671 w 529279"/>
                    <a:gd name="connsiteY0" fmla="*/ 447558 h 456178"/>
                    <a:gd name="connsiteX1" fmla="*/ 9905 w 529279"/>
                    <a:gd name="connsiteY1" fmla="*/ 244612 h 456178"/>
                    <a:gd name="connsiteX2" fmla="*/ 87870 w 529279"/>
                    <a:gd name="connsiteY2" fmla="*/ 166126 h 456178"/>
                    <a:gd name="connsiteX3" fmla="*/ 206285 w 529279"/>
                    <a:gd name="connsiteY3" fmla="*/ 118035 h 456178"/>
                    <a:gd name="connsiteX4" fmla="*/ 231571 w 529279"/>
                    <a:gd name="connsiteY4" fmla="*/ 15758 h 456178"/>
                    <a:gd name="connsiteX5" fmla="*/ 326465 w 529279"/>
                    <a:gd name="connsiteY5" fmla="*/ 12583 h 456178"/>
                    <a:gd name="connsiteX6" fmla="*/ 336461 w 529279"/>
                    <a:gd name="connsiteY6" fmla="*/ 134165 h 456178"/>
                    <a:gd name="connsiteX7" fmla="*/ 462521 w 529279"/>
                    <a:gd name="connsiteY7" fmla="*/ 184288 h 456178"/>
                    <a:gd name="connsiteX8" fmla="*/ 523316 w 529279"/>
                    <a:gd name="connsiteY8" fmla="*/ 251639 h 456178"/>
                    <a:gd name="connsiteX9" fmla="*/ 528256 w 529279"/>
                    <a:gd name="connsiteY9" fmla="*/ 453908 h 456178"/>
                    <a:gd name="connsiteX10" fmla="*/ 7671 w 529279"/>
                    <a:gd name="connsiteY10" fmla="*/ 447558 h 456178"/>
                    <a:gd name="connsiteX0" fmla="*/ 14544 w 536152"/>
                    <a:gd name="connsiteY0" fmla="*/ 447558 h 456178"/>
                    <a:gd name="connsiteX1" fmla="*/ 5958 w 536152"/>
                    <a:gd name="connsiteY1" fmla="*/ 247109 h 456178"/>
                    <a:gd name="connsiteX2" fmla="*/ 94743 w 536152"/>
                    <a:gd name="connsiteY2" fmla="*/ 166126 h 456178"/>
                    <a:gd name="connsiteX3" fmla="*/ 213158 w 536152"/>
                    <a:gd name="connsiteY3" fmla="*/ 118035 h 456178"/>
                    <a:gd name="connsiteX4" fmla="*/ 238444 w 536152"/>
                    <a:gd name="connsiteY4" fmla="*/ 15758 h 456178"/>
                    <a:gd name="connsiteX5" fmla="*/ 333338 w 536152"/>
                    <a:gd name="connsiteY5" fmla="*/ 12583 h 456178"/>
                    <a:gd name="connsiteX6" fmla="*/ 343334 w 536152"/>
                    <a:gd name="connsiteY6" fmla="*/ 134165 h 456178"/>
                    <a:gd name="connsiteX7" fmla="*/ 469394 w 536152"/>
                    <a:gd name="connsiteY7" fmla="*/ 184288 h 456178"/>
                    <a:gd name="connsiteX8" fmla="*/ 530189 w 536152"/>
                    <a:gd name="connsiteY8" fmla="*/ 251639 h 456178"/>
                    <a:gd name="connsiteX9" fmla="*/ 535129 w 536152"/>
                    <a:gd name="connsiteY9" fmla="*/ 453908 h 456178"/>
                    <a:gd name="connsiteX10" fmla="*/ 14544 w 536152"/>
                    <a:gd name="connsiteY10" fmla="*/ 447558 h 456178"/>
                    <a:gd name="connsiteX0" fmla="*/ 7226 w 542359"/>
                    <a:gd name="connsiteY0" fmla="*/ 450055 h 456488"/>
                    <a:gd name="connsiteX1" fmla="*/ 12165 w 542359"/>
                    <a:gd name="connsiteY1" fmla="*/ 247109 h 456488"/>
                    <a:gd name="connsiteX2" fmla="*/ 100950 w 542359"/>
                    <a:gd name="connsiteY2" fmla="*/ 166126 h 456488"/>
                    <a:gd name="connsiteX3" fmla="*/ 219365 w 542359"/>
                    <a:gd name="connsiteY3" fmla="*/ 118035 h 456488"/>
                    <a:gd name="connsiteX4" fmla="*/ 244651 w 542359"/>
                    <a:gd name="connsiteY4" fmla="*/ 15758 h 456488"/>
                    <a:gd name="connsiteX5" fmla="*/ 339545 w 542359"/>
                    <a:gd name="connsiteY5" fmla="*/ 12583 h 456488"/>
                    <a:gd name="connsiteX6" fmla="*/ 349541 w 542359"/>
                    <a:gd name="connsiteY6" fmla="*/ 134165 h 456488"/>
                    <a:gd name="connsiteX7" fmla="*/ 475601 w 542359"/>
                    <a:gd name="connsiteY7" fmla="*/ 184288 h 456488"/>
                    <a:gd name="connsiteX8" fmla="*/ 536396 w 542359"/>
                    <a:gd name="connsiteY8" fmla="*/ 251639 h 456488"/>
                    <a:gd name="connsiteX9" fmla="*/ 541336 w 542359"/>
                    <a:gd name="connsiteY9" fmla="*/ 453908 h 456488"/>
                    <a:gd name="connsiteX10" fmla="*/ 7226 w 542359"/>
                    <a:gd name="connsiteY10" fmla="*/ 450055 h 456488"/>
                    <a:gd name="connsiteX0" fmla="*/ 7226 w 542359"/>
                    <a:gd name="connsiteY0" fmla="*/ 450055 h 456488"/>
                    <a:gd name="connsiteX1" fmla="*/ 12165 w 542359"/>
                    <a:gd name="connsiteY1" fmla="*/ 247109 h 456488"/>
                    <a:gd name="connsiteX2" fmla="*/ 100950 w 542359"/>
                    <a:gd name="connsiteY2" fmla="*/ 166126 h 456488"/>
                    <a:gd name="connsiteX3" fmla="*/ 219365 w 542359"/>
                    <a:gd name="connsiteY3" fmla="*/ 118035 h 456488"/>
                    <a:gd name="connsiteX4" fmla="*/ 244651 w 542359"/>
                    <a:gd name="connsiteY4" fmla="*/ 15758 h 456488"/>
                    <a:gd name="connsiteX5" fmla="*/ 331430 w 542359"/>
                    <a:gd name="connsiteY5" fmla="*/ 12583 h 456488"/>
                    <a:gd name="connsiteX6" fmla="*/ 349541 w 542359"/>
                    <a:gd name="connsiteY6" fmla="*/ 134165 h 456488"/>
                    <a:gd name="connsiteX7" fmla="*/ 475601 w 542359"/>
                    <a:gd name="connsiteY7" fmla="*/ 184288 h 456488"/>
                    <a:gd name="connsiteX8" fmla="*/ 536396 w 542359"/>
                    <a:gd name="connsiteY8" fmla="*/ 251639 h 456488"/>
                    <a:gd name="connsiteX9" fmla="*/ 541336 w 542359"/>
                    <a:gd name="connsiteY9" fmla="*/ 453908 h 456488"/>
                    <a:gd name="connsiteX10" fmla="*/ 7226 w 542359"/>
                    <a:gd name="connsiteY10" fmla="*/ 450055 h 456488"/>
                    <a:gd name="connsiteX0" fmla="*/ 7226 w 542359"/>
                    <a:gd name="connsiteY0" fmla="*/ 450055 h 456488"/>
                    <a:gd name="connsiteX1" fmla="*/ 12165 w 542359"/>
                    <a:gd name="connsiteY1" fmla="*/ 247109 h 456488"/>
                    <a:gd name="connsiteX2" fmla="*/ 100950 w 542359"/>
                    <a:gd name="connsiteY2" fmla="*/ 166126 h 456488"/>
                    <a:gd name="connsiteX3" fmla="*/ 219365 w 542359"/>
                    <a:gd name="connsiteY3" fmla="*/ 118035 h 456488"/>
                    <a:gd name="connsiteX4" fmla="*/ 244651 w 542359"/>
                    <a:gd name="connsiteY4" fmla="*/ 15758 h 456488"/>
                    <a:gd name="connsiteX5" fmla="*/ 331430 w 542359"/>
                    <a:gd name="connsiteY5" fmla="*/ 12583 h 456488"/>
                    <a:gd name="connsiteX6" fmla="*/ 349541 w 542359"/>
                    <a:gd name="connsiteY6" fmla="*/ 134165 h 456488"/>
                    <a:gd name="connsiteX7" fmla="*/ 483716 w 542359"/>
                    <a:gd name="connsiteY7" fmla="*/ 179293 h 456488"/>
                    <a:gd name="connsiteX8" fmla="*/ 536396 w 542359"/>
                    <a:gd name="connsiteY8" fmla="*/ 251639 h 456488"/>
                    <a:gd name="connsiteX9" fmla="*/ 541336 w 542359"/>
                    <a:gd name="connsiteY9" fmla="*/ 453908 h 456488"/>
                    <a:gd name="connsiteX10" fmla="*/ 7226 w 542359"/>
                    <a:gd name="connsiteY10" fmla="*/ 450055 h 456488"/>
                    <a:gd name="connsiteX0" fmla="*/ 6630 w 541763"/>
                    <a:gd name="connsiteY0" fmla="*/ 450055 h 456488"/>
                    <a:gd name="connsiteX1" fmla="*/ 11569 w 541763"/>
                    <a:gd name="connsiteY1" fmla="*/ 247109 h 456488"/>
                    <a:gd name="connsiteX2" fmla="*/ 89534 w 541763"/>
                    <a:gd name="connsiteY2" fmla="*/ 166126 h 456488"/>
                    <a:gd name="connsiteX3" fmla="*/ 218769 w 541763"/>
                    <a:gd name="connsiteY3" fmla="*/ 118035 h 456488"/>
                    <a:gd name="connsiteX4" fmla="*/ 244055 w 541763"/>
                    <a:gd name="connsiteY4" fmla="*/ 15758 h 456488"/>
                    <a:gd name="connsiteX5" fmla="*/ 330834 w 541763"/>
                    <a:gd name="connsiteY5" fmla="*/ 12583 h 456488"/>
                    <a:gd name="connsiteX6" fmla="*/ 348945 w 541763"/>
                    <a:gd name="connsiteY6" fmla="*/ 134165 h 456488"/>
                    <a:gd name="connsiteX7" fmla="*/ 483120 w 541763"/>
                    <a:gd name="connsiteY7" fmla="*/ 179293 h 456488"/>
                    <a:gd name="connsiteX8" fmla="*/ 535800 w 541763"/>
                    <a:gd name="connsiteY8" fmla="*/ 251639 h 456488"/>
                    <a:gd name="connsiteX9" fmla="*/ 540740 w 541763"/>
                    <a:gd name="connsiteY9" fmla="*/ 453908 h 456488"/>
                    <a:gd name="connsiteX10" fmla="*/ 6630 w 541763"/>
                    <a:gd name="connsiteY10" fmla="*/ 450055 h 456488"/>
                    <a:gd name="connsiteX0" fmla="*/ 4856 w 539989"/>
                    <a:gd name="connsiteY0" fmla="*/ 450055 h 456488"/>
                    <a:gd name="connsiteX1" fmla="*/ 15205 w 539989"/>
                    <a:gd name="connsiteY1" fmla="*/ 227128 h 456488"/>
                    <a:gd name="connsiteX2" fmla="*/ 87760 w 539989"/>
                    <a:gd name="connsiteY2" fmla="*/ 166126 h 456488"/>
                    <a:gd name="connsiteX3" fmla="*/ 216995 w 539989"/>
                    <a:gd name="connsiteY3" fmla="*/ 118035 h 456488"/>
                    <a:gd name="connsiteX4" fmla="*/ 242281 w 539989"/>
                    <a:gd name="connsiteY4" fmla="*/ 15758 h 456488"/>
                    <a:gd name="connsiteX5" fmla="*/ 329060 w 539989"/>
                    <a:gd name="connsiteY5" fmla="*/ 12583 h 456488"/>
                    <a:gd name="connsiteX6" fmla="*/ 347171 w 539989"/>
                    <a:gd name="connsiteY6" fmla="*/ 134165 h 456488"/>
                    <a:gd name="connsiteX7" fmla="*/ 481346 w 539989"/>
                    <a:gd name="connsiteY7" fmla="*/ 179293 h 456488"/>
                    <a:gd name="connsiteX8" fmla="*/ 534026 w 539989"/>
                    <a:gd name="connsiteY8" fmla="*/ 251639 h 456488"/>
                    <a:gd name="connsiteX9" fmla="*/ 538966 w 539989"/>
                    <a:gd name="connsiteY9" fmla="*/ 453908 h 456488"/>
                    <a:gd name="connsiteX10" fmla="*/ 4856 w 539989"/>
                    <a:gd name="connsiteY10" fmla="*/ 450055 h 4564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39989" h="456488">
                      <a:moveTo>
                        <a:pt x="4856" y="450055"/>
                      </a:moveTo>
                      <a:cubicBezTo>
                        <a:pt x="-5198" y="385497"/>
                        <a:pt x="1388" y="274449"/>
                        <a:pt x="15205" y="227128"/>
                      </a:cubicBezTo>
                      <a:cubicBezTo>
                        <a:pt x="29022" y="179807"/>
                        <a:pt x="54128" y="184308"/>
                        <a:pt x="87760" y="166126"/>
                      </a:cubicBezTo>
                      <a:cubicBezTo>
                        <a:pt x="121392" y="147944"/>
                        <a:pt x="191242" y="143096"/>
                        <a:pt x="216995" y="118035"/>
                      </a:cubicBezTo>
                      <a:cubicBezTo>
                        <a:pt x="242748" y="92974"/>
                        <a:pt x="223604" y="33333"/>
                        <a:pt x="242281" y="15758"/>
                      </a:cubicBezTo>
                      <a:cubicBezTo>
                        <a:pt x="260958" y="-1817"/>
                        <a:pt x="311578" y="-7151"/>
                        <a:pt x="329060" y="12583"/>
                      </a:cubicBezTo>
                      <a:cubicBezTo>
                        <a:pt x="346542" y="32317"/>
                        <a:pt x="321790" y="106380"/>
                        <a:pt x="347171" y="134165"/>
                      </a:cubicBezTo>
                      <a:cubicBezTo>
                        <a:pt x="372552" y="161950"/>
                        <a:pt x="450204" y="159714"/>
                        <a:pt x="481346" y="179293"/>
                      </a:cubicBezTo>
                      <a:cubicBezTo>
                        <a:pt x="512489" y="198872"/>
                        <a:pt x="523972" y="202956"/>
                        <a:pt x="534026" y="251639"/>
                      </a:cubicBezTo>
                      <a:cubicBezTo>
                        <a:pt x="537201" y="301381"/>
                        <a:pt x="542141" y="328496"/>
                        <a:pt x="538966" y="453908"/>
                      </a:cubicBezTo>
                      <a:cubicBezTo>
                        <a:pt x="307191" y="461845"/>
                        <a:pt x="250800" y="448827"/>
                        <a:pt x="4856" y="450055"/>
                      </a:cubicBezTo>
                      <a:close/>
                    </a:path>
                  </a:pathLst>
                </a:custGeom>
                <a:solidFill>
                  <a:schemeClr val="bg1"/>
                </a:solidFill>
                <a:ln w="57150">
                  <a:solidFill>
                    <a:schemeClr val="tx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258" name="Oval 257">
                  <a:extLst>
                    <a:ext uri="{FF2B5EF4-FFF2-40B4-BE49-F238E27FC236}">
                      <a16:creationId xmlns:a16="http://schemas.microsoft.com/office/drawing/2014/main" id="{5AE7A7D9-B830-384C-A920-C866D9D8D04B}"/>
                    </a:ext>
                  </a:extLst>
                </p:cNvPr>
                <p:cNvSpPr/>
                <p:nvPr/>
              </p:nvSpPr>
              <p:spPr>
                <a:xfrm>
                  <a:off x="1964431" y="3500843"/>
                  <a:ext cx="259337" cy="299858"/>
                </a:xfrm>
                <a:prstGeom prst="ellipse">
                  <a:avLst/>
                </a:prstGeom>
                <a:solidFill>
                  <a:schemeClr val="bg1"/>
                </a:solidFill>
                <a:ln w="57150">
                  <a:solidFill>
                    <a:schemeClr val="tx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grpSp>
        </p:grpSp>
        <p:grpSp>
          <p:nvGrpSpPr>
            <p:cNvPr id="249" name="Group 248">
              <a:extLst>
                <a:ext uri="{FF2B5EF4-FFF2-40B4-BE49-F238E27FC236}">
                  <a16:creationId xmlns:a16="http://schemas.microsoft.com/office/drawing/2014/main" id="{73C2F7F0-7BB9-644E-A850-1EB1334528E2}"/>
                </a:ext>
              </a:extLst>
            </p:cNvPr>
            <p:cNvGrpSpPr/>
            <p:nvPr/>
          </p:nvGrpSpPr>
          <p:grpSpPr>
            <a:xfrm>
              <a:off x="2495712" y="4589934"/>
              <a:ext cx="1256698" cy="510604"/>
              <a:chOff x="2495712" y="4589934"/>
              <a:chExt cx="1256698" cy="510604"/>
            </a:xfrm>
            <a:solidFill>
              <a:schemeClr val="tx1">
                <a:lumMod val="50000"/>
              </a:schemeClr>
            </a:solidFill>
          </p:grpSpPr>
          <p:sp>
            <p:nvSpPr>
              <p:cNvPr id="251" name="Rounded Rectangle 250">
                <a:extLst>
                  <a:ext uri="{FF2B5EF4-FFF2-40B4-BE49-F238E27FC236}">
                    <a16:creationId xmlns:a16="http://schemas.microsoft.com/office/drawing/2014/main" id="{64929541-1315-1643-A9D5-118014504E6D}"/>
                  </a:ext>
                </a:extLst>
              </p:cNvPr>
              <p:cNvSpPr/>
              <p:nvPr/>
            </p:nvSpPr>
            <p:spPr>
              <a:xfrm>
                <a:off x="2495712" y="4589934"/>
                <a:ext cx="1256697" cy="251941"/>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252" name="Rectangle 251">
                <a:extLst>
                  <a:ext uri="{FF2B5EF4-FFF2-40B4-BE49-F238E27FC236}">
                    <a16:creationId xmlns:a16="http://schemas.microsoft.com/office/drawing/2014/main" id="{9B7DFFBC-E198-1349-A34B-BB29E92DA754}"/>
                  </a:ext>
                </a:extLst>
              </p:cNvPr>
              <p:cNvSpPr/>
              <p:nvPr/>
            </p:nvSpPr>
            <p:spPr>
              <a:xfrm>
                <a:off x="2498725" y="4797790"/>
                <a:ext cx="1253685" cy="13315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253" name="Rectangle 252">
                <a:extLst>
                  <a:ext uri="{FF2B5EF4-FFF2-40B4-BE49-F238E27FC236}">
                    <a16:creationId xmlns:a16="http://schemas.microsoft.com/office/drawing/2014/main" id="{A07AC8CC-4BD4-184A-9767-4F5FEA8BC22A}"/>
                  </a:ext>
                </a:extLst>
              </p:cNvPr>
              <p:cNvSpPr/>
              <p:nvPr/>
            </p:nvSpPr>
            <p:spPr>
              <a:xfrm>
                <a:off x="2546350" y="4923041"/>
                <a:ext cx="109152" cy="17749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254" name="Rectangle 253">
                <a:extLst>
                  <a:ext uri="{FF2B5EF4-FFF2-40B4-BE49-F238E27FC236}">
                    <a16:creationId xmlns:a16="http://schemas.microsoft.com/office/drawing/2014/main" id="{AD68C385-4B31-AD4D-B802-7A56D4596ABE}"/>
                  </a:ext>
                </a:extLst>
              </p:cNvPr>
              <p:cNvSpPr/>
              <p:nvPr/>
            </p:nvSpPr>
            <p:spPr>
              <a:xfrm>
                <a:off x="3610945" y="4923041"/>
                <a:ext cx="109152" cy="17749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grpSp>
        <p:sp>
          <p:nvSpPr>
            <p:cNvPr id="250" name="Trapezoid 249">
              <a:extLst>
                <a:ext uri="{FF2B5EF4-FFF2-40B4-BE49-F238E27FC236}">
                  <a16:creationId xmlns:a16="http://schemas.microsoft.com/office/drawing/2014/main" id="{68AB789D-123C-C244-9533-9262582FFBF8}"/>
                </a:ext>
              </a:extLst>
            </p:cNvPr>
            <p:cNvSpPr/>
            <p:nvPr/>
          </p:nvSpPr>
          <p:spPr>
            <a:xfrm>
              <a:off x="2655502" y="4181475"/>
              <a:ext cx="958850" cy="363303"/>
            </a:xfrm>
            <a:prstGeom prst="trapezoid">
              <a:avLst/>
            </a:prstGeom>
            <a:solidFill>
              <a:schemeClr val="tx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grpSp>
      <p:sp>
        <p:nvSpPr>
          <p:cNvPr id="262" name="TextBox 261">
            <a:extLst>
              <a:ext uri="{FF2B5EF4-FFF2-40B4-BE49-F238E27FC236}">
                <a16:creationId xmlns:a16="http://schemas.microsoft.com/office/drawing/2014/main" id="{2F7CC445-AE78-3E46-88CC-7A80F9D6E5FB}"/>
              </a:ext>
            </a:extLst>
          </p:cNvPr>
          <p:cNvSpPr txBox="1"/>
          <p:nvPr/>
        </p:nvSpPr>
        <p:spPr>
          <a:xfrm>
            <a:off x="4055782" y="4997606"/>
            <a:ext cx="3276859" cy="584775"/>
          </a:xfrm>
          <a:prstGeom prst="rect">
            <a:avLst/>
          </a:prstGeom>
          <a:noFill/>
        </p:spPr>
        <p:txBody>
          <a:bodyPr wrap="none" rtlCol="0">
            <a:spAutoFit/>
          </a:bodyPr>
          <a:lstStyle/>
          <a:p>
            <a:pPr algn="ctr"/>
            <a:r>
              <a:rPr lang="en-US" sz="1600" dirty="0"/>
              <a:t>100 most similar patients returned</a:t>
            </a:r>
          </a:p>
          <a:p>
            <a:pPr algn="ctr"/>
            <a:r>
              <a:rPr lang="en-US" sz="1600" dirty="0"/>
              <a:t>in 100 milliseconds</a:t>
            </a:r>
          </a:p>
        </p:txBody>
      </p:sp>
    </p:spTree>
    <p:extLst>
      <p:ext uri="{BB962C8B-B14F-4D97-AF65-F5344CB8AC3E}">
        <p14:creationId xmlns:p14="http://schemas.microsoft.com/office/powerpoint/2010/main" val="33969658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8" name="Straight Connector 7"/>
          <p:cNvCxnSpPr/>
          <p:nvPr/>
        </p:nvCxnSpPr>
        <p:spPr>
          <a:xfrm>
            <a:off x="5203645" y="1376344"/>
            <a:ext cx="3318553" cy="0"/>
          </a:xfrm>
          <a:prstGeom prst="line">
            <a:avLst/>
          </a:prstGeom>
          <a:ln>
            <a:solidFill>
              <a:schemeClr val="tx1"/>
            </a:solidFill>
          </a:ln>
        </p:spPr>
        <p:style>
          <a:lnRef idx="2">
            <a:schemeClr val="accent1"/>
          </a:lnRef>
          <a:fillRef idx="0">
            <a:schemeClr val="accent1"/>
          </a:fillRef>
          <a:effectRef idx="1">
            <a:schemeClr val="accent1"/>
          </a:effectRef>
          <a:fontRef idx="minor">
            <a:schemeClr val="tx1"/>
          </a:fontRef>
        </p:style>
      </p:cxnSp>
      <p:sp>
        <p:nvSpPr>
          <p:cNvPr id="5" name="Title 4"/>
          <p:cNvSpPr>
            <a:spLocks noGrp="1"/>
          </p:cNvSpPr>
          <p:nvPr>
            <p:ph type="title"/>
          </p:nvPr>
        </p:nvSpPr>
        <p:spPr/>
        <p:txBody>
          <a:bodyPr/>
          <a:lstStyle/>
          <a:p>
            <a:r>
              <a:rPr lang="en-US" b="1" dirty="0"/>
              <a:t>Hello, my name is</a:t>
            </a:r>
            <a:endParaRPr lang="en-US" b="1" u="sng" dirty="0"/>
          </a:p>
        </p:txBody>
      </p:sp>
      <p:sp>
        <p:nvSpPr>
          <p:cNvPr id="2" name="TextBox 1"/>
          <p:cNvSpPr txBox="1"/>
          <p:nvPr/>
        </p:nvSpPr>
        <p:spPr>
          <a:xfrm rot="20950083">
            <a:off x="5978222" y="404864"/>
            <a:ext cx="1444293" cy="1166164"/>
          </a:xfrm>
          <a:prstGeom prst="rect">
            <a:avLst/>
          </a:prstGeom>
          <a:noFill/>
          <a:ln>
            <a:noFill/>
          </a:ln>
        </p:spPr>
        <p:txBody>
          <a:bodyPr vert="horz" wrap="none" lIns="0" tIns="0" rIns="0" bIns="0" rtlCol="0" anchor="ctr" anchorCtr="0">
            <a:noAutofit/>
          </a:bodyPr>
          <a:lstStyle/>
          <a:p>
            <a:r>
              <a:rPr lang="en-US" sz="6504" b="1" dirty="0">
                <a:latin typeface="Apple Chancery" charset="0"/>
                <a:ea typeface="Apple Chancery" charset="0"/>
                <a:cs typeface="Apple Chancery" charset="0"/>
              </a:rPr>
              <a:t>Dan</a:t>
            </a:r>
          </a:p>
        </p:txBody>
      </p:sp>
      <p:pic>
        <p:nvPicPr>
          <p:cNvPr id="7" name="Picture 4"/>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12061055" y="5529934"/>
            <a:ext cx="1965292" cy="2178850"/>
          </a:xfrm>
          <a:prstGeom prst="rect">
            <a:avLst/>
          </a:prstGeom>
          <a:noFill/>
          <a:ln w="9525">
            <a:noFill/>
            <a:miter lim="800000"/>
            <a:headEnd/>
            <a:tailEnd/>
          </a:ln>
        </p:spPr>
      </p:pic>
      <p:sp>
        <p:nvSpPr>
          <p:cNvPr id="12" name="TextBox 11"/>
          <p:cNvSpPr txBox="1"/>
          <p:nvPr/>
        </p:nvSpPr>
        <p:spPr>
          <a:xfrm>
            <a:off x="893135" y="2069711"/>
            <a:ext cx="11287020" cy="4909036"/>
          </a:xfrm>
          <a:prstGeom prst="rect">
            <a:avLst/>
          </a:prstGeom>
          <a:noFill/>
        </p:spPr>
        <p:txBody>
          <a:bodyPr wrap="square" rtlCol="0">
            <a:spAutoFit/>
          </a:bodyPr>
          <a:lstStyle/>
          <a:p>
            <a:pPr marL="457200" indent="-457200">
              <a:spcAft>
                <a:spcPts val="600"/>
              </a:spcAft>
              <a:buFont typeface="Arial" charset="0"/>
              <a:buChar char="•"/>
            </a:pPr>
            <a:r>
              <a:rPr lang="en-US" sz="3200" dirty="0"/>
              <a:t>Distinguished Engineer in AI and </a:t>
            </a:r>
            <a:r>
              <a:rPr lang="en-US" sz="3200" b="1" dirty="0"/>
              <a:t>Graph Technologies</a:t>
            </a:r>
          </a:p>
          <a:p>
            <a:pPr marL="457200" indent="-457200">
              <a:spcAft>
                <a:spcPts val="600"/>
              </a:spcAft>
              <a:buFont typeface="Arial" charset="0"/>
              <a:buChar char="•"/>
            </a:pPr>
            <a:r>
              <a:rPr lang="en-US" sz="3200" dirty="0"/>
              <a:t>Co-founder of "NoSQL Now!" conference</a:t>
            </a:r>
          </a:p>
          <a:p>
            <a:pPr marL="457200" indent="-457200">
              <a:spcAft>
                <a:spcPts val="600"/>
              </a:spcAft>
              <a:buFont typeface="Arial" charset="0"/>
              <a:buChar char="•"/>
            </a:pPr>
            <a:r>
              <a:rPr lang="en-US" sz="3200" dirty="0"/>
              <a:t>Co-author of "</a:t>
            </a:r>
            <a:r>
              <a:rPr lang="en-US" sz="3200" i="1" dirty="0"/>
              <a:t>Making Sense of NoSQL</a:t>
            </a:r>
            <a:r>
              <a:rPr lang="en-US" sz="3200" dirty="0"/>
              <a:t>" (w. Ann Kelly) and “</a:t>
            </a:r>
            <a:r>
              <a:rPr lang="en-US" sz="3200" i="1" dirty="0"/>
              <a:t>State of Healthcare Technology</a:t>
            </a:r>
            <a:r>
              <a:rPr lang="en-US" sz="3200" dirty="0"/>
              <a:t>”</a:t>
            </a:r>
          </a:p>
          <a:p>
            <a:pPr marL="457200" indent="-457200">
              <a:spcAft>
                <a:spcPts val="600"/>
              </a:spcAft>
              <a:buFont typeface="Arial" charset="0"/>
              <a:buChar char="•"/>
            </a:pPr>
            <a:r>
              <a:rPr lang="en-US" sz="3200" dirty="0"/>
              <a:t>20+ years of working with NoSQL </a:t>
            </a:r>
          </a:p>
          <a:p>
            <a:pPr marL="457200" indent="-457200">
              <a:spcAft>
                <a:spcPts val="600"/>
              </a:spcAft>
              <a:buFont typeface="Arial" charset="0"/>
              <a:buChar char="•"/>
            </a:pPr>
            <a:r>
              <a:rPr lang="en-US" sz="3200" dirty="0"/>
              <a:t>Background in solution architecture, knowledge representation for AI, data strategy, NLP, mentoring and curriculum design for technology solutions</a:t>
            </a:r>
          </a:p>
          <a:p>
            <a:pPr marL="457200" indent="-457200">
              <a:spcAft>
                <a:spcPts val="600"/>
              </a:spcAft>
              <a:buFont typeface="Arial" charset="0"/>
              <a:buChar char="•"/>
            </a:pPr>
            <a:r>
              <a:rPr lang="en-US" sz="3200" dirty="0"/>
              <a:t>STEM curriculum volunteer</a:t>
            </a:r>
          </a:p>
        </p:txBody>
      </p:sp>
      <p:sp>
        <p:nvSpPr>
          <p:cNvPr id="4" name="TextBox 3">
            <a:extLst>
              <a:ext uri="{FF2B5EF4-FFF2-40B4-BE49-F238E27FC236}">
                <a16:creationId xmlns:a16="http://schemas.microsoft.com/office/drawing/2014/main" id="{2BDB040D-727E-8B46-95A2-6E291F84B833}"/>
              </a:ext>
            </a:extLst>
          </p:cNvPr>
          <p:cNvSpPr txBox="1"/>
          <p:nvPr/>
        </p:nvSpPr>
        <p:spPr>
          <a:xfrm>
            <a:off x="1378783" y="7570241"/>
            <a:ext cx="9005454" cy="836896"/>
          </a:xfrm>
          <a:prstGeom prst="rect">
            <a:avLst/>
          </a:prstGeom>
          <a:noFill/>
        </p:spPr>
        <p:txBody>
          <a:bodyPr wrap="square" rtlCol="0">
            <a:spAutoFit/>
          </a:bodyPr>
          <a:lstStyle/>
          <a:p>
            <a:r>
              <a:rPr lang="en-US" b="1" dirty="0"/>
              <a:t>Personal Mission: </a:t>
            </a:r>
            <a:r>
              <a:rPr lang="en-US" dirty="0"/>
              <a:t>Help organizations objectively match business problems to emerging technology with </a:t>
            </a:r>
            <a:r>
              <a:rPr lang="en-US" b="1" dirty="0">
                <a:solidFill>
                  <a:srgbClr val="E87722"/>
                </a:solidFill>
              </a:rPr>
              <a:t>storytelling</a:t>
            </a:r>
            <a:endParaRPr lang="en-US" dirty="0">
              <a:solidFill>
                <a:srgbClr val="E87722"/>
              </a:solidFill>
            </a:endParaRPr>
          </a:p>
        </p:txBody>
      </p:sp>
      <p:pic>
        <p:nvPicPr>
          <p:cNvPr id="2050" name="Picture 2" descr="State of Healthcare Technology">
            <a:extLst>
              <a:ext uri="{FF2B5EF4-FFF2-40B4-BE49-F238E27FC236}">
                <a16:creationId xmlns:a16="http://schemas.microsoft.com/office/drawing/2014/main" id="{D341D5C8-0584-E14E-8435-307482F120ED}"/>
              </a:ext>
            </a:extLst>
          </p:cNvPr>
          <p:cNvPicPr>
            <a:picLocks noChangeAspect="1" noChangeArrowheads="1"/>
          </p:cNvPicPr>
          <p:nvPr/>
        </p:nvPicPr>
        <p:blipFill rotWithShape="1">
          <a:blip r:embed="rId4" cstate="screen">
            <a:extLst>
              <a:ext uri="{28A0092B-C50C-407E-A947-70E740481C1C}">
                <a14:useLocalDpi xmlns:a14="http://schemas.microsoft.com/office/drawing/2010/main"/>
              </a:ext>
            </a:extLst>
          </a:blip>
          <a:srcRect/>
          <a:stretch/>
        </p:blipFill>
        <p:spPr bwMode="auto">
          <a:xfrm>
            <a:off x="14421265" y="5504105"/>
            <a:ext cx="1603219" cy="2204679"/>
          </a:xfrm>
          <a:prstGeom prst="rect">
            <a:avLst/>
          </a:prstGeom>
          <a:noFill/>
          <a:extLst>
            <a:ext uri="{909E8E84-426E-40DD-AFC4-6F175D3DCCD1}">
              <a14:hiddenFill xmlns:a14="http://schemas.microsoft.com/office/drawing/2010/main">
                <a:solidFill>
                  <a:srgbClr val="FFFFFF"/>
                </a:solidFill>
              </a14:hiddenFill>
            </a:ext>
          </a:extLst>
        </p:spPr>
      </p:pic>
      <p:pic>
        <p:nvPicPr>
          <p:cNvPr id="2052" name="Picture 4" descr="Dan McCreary - Optum Technology Innovation">
            <a:extLst>
              <a:ext uri="{FF2B5EF4-FFF2-40B4-BE49-F238E27FC236}">
                <a16:creationId xmlns:a16="http://schemas.microsoft.com/office/drawing/2014/main" id="{57195F1E-34F9-CB44-847A-BA49C2113BA8}"/>
              </a:ext>
            </a:extLst>
          </p:cNvPr>
          <p:cNvPicPr>
            <a:picLocks noChangeAspect="1" noChangeArrowheads="1"/>
          </p:cNvPicPr>
          <p:nvPr/>
        </p:nvPicPr>
        <p:blipFill rotWithShape="1">
          <a:blip r:embed="rId5" cstate="screen">
            <a:extLst>
              <a:ext uri="{28A0092B-C50C-407E-A947-70E740481C1C}">
                <a14:useLocalDpi xmlns:a14="http://schemas.microsoft.com/office/drawing/2010/main"/>
              </a:ext>
            </a:extLst>
          </a:blip>
          <a:srcRect/>
          <a:stretch/>
        </p:blipFill>
        <p:spPr bwMode="auto">
          <a:xfrm>
            <a:off x="13043701" y="2684569"/>
            <a:ext cx="2278252" cy="21788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0889914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1095B7C-CB32-3B42-A33F-C5C40BB228A6}"/>
              </a:ext>
            </a:extLst>
          </p:cNvPr>
          <p:cNvSpPr>
            <a:spLocks noGrp="1"/>
          </p:cNvSpPr>
          <p:nvPr>
            <p:ph type="title"/>
          </p:nvPr>
        </p:nvSpPr>
        <p:spPr>
          <a:ln w="12700">
            <a:miter lim="400000"/>
          </a:ln>
        </p:spPr>
        <p:txBody>
          <a:bodyPr vert="horz" wrap="square" lIns="0" tIns="0" rIns="0" bIns="0" rtlCol="0" anchor="ctr" anchorCtr="0">
            <a:noAutofit/>
          </a:bodyPr>
          <a:lstStyle/>
          <a:p>
            <a:pPr defTabSz="894078">
              <a:lnSpc>
                <a:spcPct val="70000"/>
              </a:lnSpc>
              <a:spcBef>
                <a:spcPct val="0"/>
              </a:spcBef>
              <a:buSzTx/>
            </a:pPr>
            <a:r>
              <a:rPr lang="en-US" b="1" kern="1200" dirty="0">
                <a:ln w="6350">
                  <a:noFill/>
                </a:ln>
              </a:rPr>
              <a:t>Dense (Image) to Sparse (Clinical) Processing </a:t>
            </a:r>
          </a:p>
        </p:txBody>
      </p:sp>
      <p:sp>
        <p:nvSpPr>
          <p:cNvPr id="3" name="Text Placeholder 2">
            <a:extLst>
              <a:ext uri="{FF2B5EF4-FFF2-40B4-BE49-F238E27FC236}">
                <a16:creationId xmlns:a16="http://schemas.microsoft.com/office/drawing/2014/main" id="{38A2DD6A-74A8-9947-A018-6226F92B5674}"/>
              </a:ext>
            </a:extLst>
          </p:cNvPr>
          <p:cNvSpPr>
            <a:spLocks noGrp="1"/>
          </p:cNvSpPr>
          <p:nvPr>
            <p:ph type="body" idx="1"/>
          </p:nvPr>
        </p:nvSpPr>
        <p:spPr>
          <a:xfrm>
            <a:off x="609547" y="7993262"/>
            <a:ext cx="16662507" cy="769708"/>
          </a:xfrm>
        </p:spPr>
        <p:txBody>
          <a:bodyPr>
            <a:normAutofit/>
          </a:bodyPr>
          <a:lstStyle/>
          <a:p>
            <a:pPr marL="0" indent="0" algn="ctr">
              <a:buNone/>
            </a:pPr>
            <a:r>
              <a:rPr lang="en-US" b="1" dirty="0"/>
              <a:t>Sparse Matrix problems are ideal for graph representation.</a:t>
            </a:r>
          </a:p>
        </p:txBody>
      </p:sp>
      <p:sp>
        <p:nvSpPr>
          <p:cNvPr id="4" name="Slide Number Placeholder 3">
            <a:extLst>
              <a:ext uri="{FF2B5EF4-FFF2-40B4-BE49-F238E27FC236}">
                <a16:creationId xmlns:a16="http://schemas.microsoft.com/office/drawing/2014/main" id="{62A4CFF8-2A16-9F49-B66E-28AE647FD08A}"/>
              </a:ext>
            </a:extLst>
          </p:cNvPr>
          <p:cNvSpPr>
            <a:spLocks noGrp="1"/>
          </p:cNvSpPr>
          <p:nvPr>
            <p:ph type="sldNum" idx="12"/>
          </p:nvPr>
        </p:nvSpPr>
        <p:spPr/>
        <p:txBody>
          <a:bodyPr/>
          <a:lstStyle/>
          <a:p>
            <a:pPr defTabSz="1341150">
              <a:defRPr/>
            </a:pPr>
            <a:fld id="{00000000-1234-1234-1234-123412341234}" type="slidenum">
              <a:rPr lang="en" sz="1760">
                <a:solidFill>
                  <a:prstClr val="black">
                    <a:tint val="75000"/>
                  </a:prstClr>
                </a:solidFill>
                <a:latin typeface="Calibri" panose="020F0502020204030204"/>
              </a:rPr>
              <a:pPr defTabSz="1341150">
                <a:defRPr/>
              </a:pPr>
              <a:t>30</a:t>
            </a:fld>
            <a:endParaRPr lang="en" sz="1760">
              <a:solidFill>
                <a:prstClr val="black">
                  <a:tint val="75000"/>
                </a:prstClr>
              </a:solidFill>
              <a:latin typeface="Calibri" panose="020F0502020204030204"/>
            </a:endParaRPr>
          </a:p>
        </p:txBody>
      </p:sp>
      <p:pic>
        <p:nvPicPr>
          <p:cNvPr id="5122" name="Picture 2" descr="Image-1 Introduction to Digital Images">
            <a:extLst>
              <a:ext uri="{FF2B5EF4-FFF2-40B4-BE49-F238E27FC236}">
                <a16:creationId xmlns:a16="http://schemas.microsoft.com/office/drawing/2014/main" id="{31B4170A-2BE4-5140-B124-94F44A1D0C98}"/>
              </a:ext>
            </a:extLst>
          </p:cNvPr>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1608976" y="3268665"/>
            <a:ext cx="4356100" cy="1866899"/>
          </a:xfrm>
          <a:prstGeom prst="rect">
            <a:avLst/>
          </a:prstGeom>
          <a:noFill/>
          <a:extLst>
            <a:ext uri="{909E8E84-426E-40DD-AFC4-6F175D3DCCD1}">
              <a14:hiddenFill xmlns:a14="http://schemas.microsoft.com/office/drawing/2010/main">
                <a:solidFill>
                  <a:srgbClr val="FFFFFF"/>
                </a:solidFill>
              </a14:hiddenFill>
            </a:ext>
          </a:extLst>
        </p:spPr>
      </p:pic>
      <p:sp>
        <p:nvSpPr>
          <p:cNvPr id="5" name="TextBox 4">
            <a:extLst>
              <a:ext uri="{FF2B5EF4-FFF2-40B4-BE49-F238E27FC236}">
                <a16:creationId xmlns:a16="http://schemas.microsoft.com/office/drawing/2014/main" id="{F8C57F94-843E-B049-947A-2A4AB2E06B1C}"/>
              </a:ext>
            </a:extLst>
          </p:cNvPr>
          <p:cNvSpPr txBox="1"/>
          <p:nvPr/>
        </p:nvSpPr>
        <p:spPr>
          <a:xfrm>
            <a:off x="1290101" y="5679673"/>
            <a:ext cx="5251304" cy="1175899"/>
          </a:xfrm>
          <a:prstGeom prst="rect">
            <a:avLst/>
          </a:prstGeom>
          <a:noFill/>
        </p:spPr>
        <p:txBody>
          <a:bodyPr wrap="square" rtlCol="0">
            <a:spAutoFit/>
          </a:bodyPr>
          <a:lstStyle/>
          <a:p>
            <a:pPr defTabSz="1341150">
              <a:defRPr/>
            </a:pPr>
            <a:r>
              <a:rPr lang="en-US" sz="2347" dirty="0">
                <a:solidFill>
                  <a:prstClr val="black"/>
                </a:solidFill>
                <a:latin typeface="Calibri" panose="020F0502020204030204"/>
              </a:rPr>
              <a:t>For an image matrix, almost very point in the array has non-zero values for the RGB or grayscale intensity.</a:t>
            </a:r>
          </a:p>
        </p:txBody>
      </p:sp>
      <p:sp>
        <p:nvSpPr>
          <p:cNvPr id="6" name="TextBox 5">
            <a:extLst>
              <a:ext uri="{FF2B5EF4-FFF2-40B4-BE49-F238E27FC236}">
                <a16:creationId xmlns:a16="http://schemas.microsoft.com/office/drawing/2014/main" id="{4DA580C2-195D-D245-A1D7-0BC7B8178E32}"/>
              </a:ext>
            </a:extLst>
          </p:cNvPr>
          <p:cNvSpPr txBox="1"/>
          <p:nvPr/>
        </p:nvSpPr>
        <p:spPr>
          <a:xfrm>
            <a:off x="2150249" y="2052534"/>
            <a:ext cx="3324500" cy="769441"/>
          </a:xfrm>
          <a:prstGeom prst="rect">
            <a:avLst/>
          </a:prstGeom>
          <a:noFill/>
        </p:spPr>
        <p:txBody>
          <a:bodyPr wrap="none" rtlCol="0">
            <a:spAutoFit/>
          </a:bodyPr>
          <a:lstStyle/>
          <a:p>
            <a:pPr defTabSz="1341150">
              <a:defRPr/>
            </a:pPr>
            <a:r>
              <a:rPr lang="en-US" sz="4400" b="1" dirty="0">
                <a:solidFill>
                  <a:prstClr val="black"/>
                </a:solidFill>
                <a:latin typeface="Calibri" panose="020F0502020204030204"/>
              </a:rPr>
              <a:t>Dense Matrix</a:t>
            </a:r>
          </a:p>
        </p:txBody>
      </p:sp>
      <p:sp>
        <p:nvSpPr>
          <p:cNvPr id="8" name="TextBox 7">
            <a:extLst>
              <a:ext uri="{FF2B5EF4-FFF2-40B4-BE49-F238E27FC236}">
                <a16:creationId xmlns:a16="http://schemas.microsoft.com/office/drawing/2014/main" id="{209B5BEF-81F3-054E-B42D-69E01EC9107C}"/>
              </a:ext>
            </a:extLst>
          </p:cNvPr>
          <p:cNvSpPr txBox="1"/>
          <p:nvPr/>
        </p:nvSpPr>
        <p:spPr>
          <a:xfrm>
            <a:off x="10003840" y="2013944"/>
            <a:ext cx="3423438" cy="769441"/>
          </a:xfrm>
          <a:prstGeom prst="rect">
            <a:avLst/>
          </a:prstGeom>
          <a:noFill/>
        </p:spPr>
        <p:txBody>
          <a:bodyPr wrap="none" rtlCol="0">
            <a:spAutoFit/>
          </a:bodyPr>
          <a:lstStyle/>
          <a:p>
            <a:pPr defTabSz="1341150">
              <a:defRPr/>
            </a:pPr>
            <a:r>
              <a:rPr lang="en-US" sz="4400" b="1" dirty="0">
                <a:solidFill>
                  <a:prstClr val="black"/>
                </a:solidFill>
                <a:latin typeface="Calibri" panose="020F0502020204030204"/>
              </a:rPr>
              <a:t>Sparse Matrix</a:t>
            </a:r>
          </a:p>
        </p:txBody>
      </p:sp>
      <p:graphicFrame>
        <p:nvGraphicFramePr>
          <p:cNvPr id="7" name="Table 8">
            <a:extLst>
              <a:ext uri="{FF2B5EF4-FFF2-40B4-BE49-F238E27FC236}">
                <a16:creationId xmlns:a16="http://schemas.microsoft.com/office/drawing/2014/main" id="{6B5D3FCE-2345-8E46-B27E-2933A239B179}"/>
              </a:ext>
            </a:extLst>
          </p:cNvPr>
          <p:cNvGraphicFramePr>
            <a:graphicFrameLocks noGrp="1"/>
          </p:cNvGraphicFramePr>
          <p:nvPr/>
        </p:nvGraphicFramePr>
        <p:xfrm>
          <a:off x="7914479" y="3872041"/>
          <a:ext cx="8677020" cy="2861955"/>
        </p:xfrm>
        <a:graphic>
          <a:graphicData uri="http://schemas.openxmlformats.org/drawingml/2006/table">
            <a:tbl>
              <a:tblPr firstRow="1" bandRow="1">
                <a:tableStyleId>{5FD0F851-EC5A-4D38-B0AD-8093EC10F338}</a:tableStyleId>
              </a:tblPr>
              <a:tblGrid>
                <a:gridCol w="2582973">
                  <a:extLst>
                    <a:ext uri="{9D8B030D-6E8A-4147-A177-3AD203B41FA5}">
                      <a16:colId xmlns:a16="http://schemas.microsoft.com/office/drawing/2014/main" val="4294579075"/>
                    </a:ext>
                  </a:extLst>
                </a:gridCol>
                <a:gridCol w="1164331">
                  <a:extLst>
                    <a:ext uri="{9D8B030D-6E8A-4147-A177-3AD203B41FA5}">
                      <a16:colId xmlns:a16="http://schemas.microsoft.com/office/drawing/2014/main" val="1201018329"/>
                    </a:ext>
                  </a:extLst>
                </a:gridCol>
                <a:gridCol w="1060998">
                  <a:extLst>
                    <a:ext uri="{9D8B030D-6E8A-4147-A177-3AD203B41FA5}">
                      <a16:colId xmlns:a16="http://schemas.microsoft.com/office/drawing/2014/main" val="2221701844"/>
                    </a:ext>
                  </a:extLst>
                </a:gridCol>
                <a:gridCol w="1225272">
                  <a:extLst>
                    <a:ext uri="{9D8B030D-6E8A-4147-A177-3AD203B41FA5}">
                      <a16:colId xmlns:a16="http://schemas.microsoft.com/office/drawing/2014/main" val="3094000525"/>
                    </a:ext>
                  </a:extLst>
                </a:gridCol>
                <a:gridCol w="1197275">
                  <a:extLst>
                    <a:ext uri="{9D8B030D-6E8A-4147-A177-3AD203B41FA5}">
                      <a16:colId xmlns:a16="http://schemas.microsoft.com/office/drawing/2014/main" val="1140971808"/>
                    </a:ext>
                  </a:extLst>
                </a:gridCol>
                <a:gridCol w="1446171">
                  <a:extLst>
                    <a:ext uri="{9D8B030D-6E8A-4147-A177-3AD203B41FA5}">
                      <a16:colId xmlns:a16="http://schemas.microsoft.com/office/drawing/2014/main" val="3427741795"/>
                    </a:ext>
                  </a:extLst>
                </a:gridCol>
              </a:tblGrid>
              <a:tr h="885723">
                <a:tc>
                  <a:txBody>
                    <a:bodyPr/>
                    <a:lstStyle/>
                    <a:p>
                      <a:endParaRPr lang="en-US" sz="1800"/>
                    </a:p>
                  </a:txBody>
                  <a:tcPr marL="91439" marR="9143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800" dirty="0"/>
                        <a:t>D64.9</a:t>
                      </a:r>
                    </a:p>
                  </a:txBody>
                  <a:tcPr marL="91439" marR="9143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800" dirty="0"/>
                        <a:t>F32.9</a:t>
                      </a:r>
                    </a:p>
                  </a:txBody>
                  <a:tcPr marL="91439" marR="9143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800" dirty="0"/>
                        <a:t>R53.83</a:t>
                      </a:r>
                    </a:p>
                  </a:txBody>
                  <a:tcPr marL="91439" marR="9143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800" dirty="0"/>
                        <a:t>I50.9</a:t>
                      </a:r>
                    </a:p>
                  </a:txBody>
                  <a:tcPr marL="91439" marR="9143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800" dirty="0"/>
                        <a:t>R50.9</a:t>
                      </a:r>
                    </a:p>
                  </a:txBody>
                  <a:tcPr marL="91439" marR="9143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731441495"/>
                  </a:ext>
                </a:extLst>
              </a:tr>
              <a:tr h="494058">
                <a:tc>
                  <a:txBody>
                    <a:bodyPr/>
                    <a:lstStyle/>
                    <a:p>
                      <a:r>
                        <a:rPr lang="en-US" sz="1800" dirty="0"/>
                        <a:t>Jane Doe</a:t>
                      </a:r>
                    </a:p>
                  </a:txBody>
                  <a:tcPr marL="91439" marR="9143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800" dirty="0">
                          <a:solidFill>
                            <a:schemeClr val="bg1">
                              <a:lumMod val="65000"/>
                            </a:schemeClr>
                          </a:solidFill>
                        </a:rPr>
                        <a:t>0</a:t>
                      </a:r>
                    </a:p>
                  </a:txBody>
                  <a:tcPr marL="91439" marR="9143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2100" b="1" dirty="0"/>
                        <a:t>1</a:t>
                      </a:r>
                    </a:p>
                  </a:txBody>
                  <a:tcPr marL="91439" marR="9143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ctr" defTabSz="1165860" rtl="0" eaLnBrk="1" fontAlgn="auto" latinLnBrk="0" hangingPunct="1">
                        <a:lnSpc>
                          <a:spcPct val="100000"/>
                        </a:lnSpc>
                        <a:spcBef>
                          <a:spcPts val="0"/>
                        </a:spcBef>
                        <a:spcAft>
                          <a:spcPts val="0"/>
                        </a:spcAft>
                        <a:buClrTx/>
                        <a:buSzTx/>
                        <a:buFontTx/>
                        <a:buNone/>
                        <a:tabLst/>
                        <a:defRPr/>
                      </a:pPr>
                      <a:r>
                        <a:rPr lang="en-US" sz="1800" dirty="0">
                          <a:solidFill>
                            <a:schemeClr val="bg1">
                              <a:lumMod val="65000"/>
                            </a:schemeClr>
                          </a:solidFill>
                        </a:rPr>
                        <a:t>0</a:t>
                      </a:r>
                    </a:p>
                  </a:txBody>
                  <a:tcPr marL="91439" marR="9143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ctr" defTabSz="1165860" rtl="0" eaLnBrk="1" fontAlgn="auto" latinLnBrk="0" hangingPunct="1">
                        <a:lnSpc>
                          <a:spcPct val="100000"/>
                        </a:lnSpc>
                        <a:spcBef>
                          <a:spcPts val="0"/>
                        </a:spcBef>
                        <a:spcAft>
                          <a:spcPts val="0"/>
                        </a:spcAft>
                        <a:buClrTx/>
                        <a:buSzTx/>
                        <a:buFontTx/>
                        <a:buNone/>
                        <a:tabLst/>
                        <a:defRPr/>
                      </a:pPr>
                      <a:r>
                        <a:rPr lang="en-US" sz="1800" dirty="0">
                          <a:solidFill>
                            <a:schemeClr val="bg1">
                              <a:lumMod val="65000"/>
                            </a:schemeClr>
                          </a:solidFill>
                        </a:rPr>
                        <a:t>0</a:t>
                      </a:r>
                    </a:p>
                  </a:txBody>
                  <a:tcPr marL="91439" marR="9143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ctr" defTabSz="1165860" rtl="0" eaLnBrk="1" fontAlgn="auto" latinLnBrk="0" hangingPunct="1">
                        <a:lnSpc>
                          <a:spcPct val="100000"/>
                        </a:lnSpc>
                        <a:spcBef>
                          <a:spcPts val="0"/>
                        </a:spcBef>
                        <a:spcAft>
                          <a:spcPts val="0"/>
                        </a:spcAft>
                        <a:buClrTx/>
                        <a:buSzTx/>
                        <a:buFontTx/>
                        <a:buNone/>
                        <a:tabLst/>
                        <a:defRPr/>
                      </a:pPr>
                      <a:r>
                        <a:rPr lang="en-US" sz="1800" dirty="0">
                          <a:solidFill>
                            <a:schemeClr val="bg1">
                              <a:lumMod val="65000"/>
                            </a:schemeClr>
                          </a:solidFill>
                        </a:rPr>
                        <a:t>0</a:t>
                      </a:r>
                    </a:p>
                  </a:txBody>
                  <a:tcPr marL="91439" marR="9143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370607140"/>
                  </a:ext>
                </a:extLst>
              </a:tr>
              <a:tr h="494058">
                <a:tc>
                  <a:txBody>
                    <a:bodyPr/>
                    <a:lstStyle/>
                    <a:p>
                      <a:r>
                        <a:rPr lang="en-US" sz="1800" dirty="0"/>
                        <a:t>Fred Smith</a:t>
                      </a:r>
                    </a:p>
                  </a:txBody>
                  <a:tcPr marL="91439" marR="9143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ctr" defTabSz="1165860" rtl="0" eaLnBrk="1" fontAlgn="auto" latinLnBrk="0" hangingPunct="1">
                        <a:lnSpc>
                          <a:spcPct val="100000"/>
                        </a:lnSpc>
                        <a:spcBef>
                          <a:spcPts val="0"/>
                        </a:spcBef>
                        <a:spcAft>
                          <a:spcPts val="0"/>
                        </a:spcAft>
                        <a:buClrTx/>
                        <a:buSzTx/>
                        <a:buFontTx/>
                        <a:buNone/>
                        <a:tabLst/>
                        <a:defRPr/>
                      </a:pPr>
                      <a:r>
                        <a:rPr lang="en-US" sz="1800" dirty="0">
                          <a:solidFill>
                            <a:schemeClr val="bg1">
                              <a:lumMod val="65000"/>
                            </a:schemeClr>
                          </a:solidFill>
                        </a:rPr>
                        <a:t>0</a:t>
                      </a:r>
                    </a:p>
                  </a:txBody>
                  <a:tcPr marL="91439" marR="9143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ctr" defTabSz="1165860" rtl="0" eaLnBrk="1" fontAlgn="auto" latinLnBrk="0" hangingPunct="1">
                        <a:lnSpc>
                          <a:spcPct val="100000"/>
                        </a:lnSpc>
                        <a:spcBef>
                          <a:spcPts val="0"/>
                        </a:spcBef>
                        <a:spcAft>
                          <a:spcPts val="0"/>
                        </a:spcAft>
                        <a:buClrTx/>
                        <a:buSzTx/>
                        <a:buFontTx/>
                        <a:buNone/>
                        <a:tabLst/>
                        <a:defRPr/>
                      </a:pPr>
                      <a:r>
                        <a:rPr lang="en-US" sz="1800" dirty="0">
                          <a:solidFill>
                            <a:schemeClr val="bg1">
                              <a:lumMod val="65000"/>
                            </a:schemeClr>
                          </a:solidFill>
                        </a:rPr>
                        <a:t>0</a:t>
                      </a:r>
                    </a:p>
                  </a:txBody>
                  <a:tcPr marL="91439" marR="9143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914400" rtl="0" eaLnBrk="1" latinLnBrk="0" hangingPunct="1"/>
                      <a:r>
                        <a:rPr lang="en-US" sz="2100" b="1" kern="1200" dirty="0">
                          <a:solidFill>
                            <a:schemeClr val="tx1"/>
                          </a:solidFill>
                          <a:latin typeface="+mn-lt"/>
                          <a:ea typeface="+mn-ea"/>
                          <a:cs typeface="+mn-cs"/>
                        </a:rPr>
                        <a:t>1</a:t>
                      </a:r>
                    </a:p>
                  </a:txBody>
                  <a:tcPr marL="91439" marR="9143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ctr" defTabSz="1165860" rtl="0" eaLnBrk="1" fontAlgn="auto" latinLnBrk="0" hangingPunct="1">
                        <a:lnSpc>
                          <a:spcPct val="100000"/>
                        </a:lnSpc>
                        <a:spcBef>
                          <a:spcPts val="0"/>
                        </a:spcBef>
                        <a:spcAft>
                          <a:spcPts val="0"/>
                        </a:spcAft>
                        <a:buClrTx/>
                        <a:buSzTx/>
                        <a:buFontTx/>
                        <a:buNone/>
                        <a:tabLst/>
                        <a:defRPr/>
                      </a:pPr>
                      <a:r>
                        <a:rPr lang="en-US" sz="1800" dirty="0">
                          <a:solidFill>
                            <a:schemeClr val="bg1">
                              <a:lumMod val="65000"/>
                            </a:schemeClr>
                          </a:solidFill>
                        </a:rPr>
                        <a:t>0</a:t>
                      </a:r>
                    </a:p>
                  </a:txBody>
                  <a:tcPr marL="91439" marR="9143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ctr" defTabSz="1165860" rtl="0" eaLnBrk="1" fontAlgn="auto" latinLnBrk="0" hangingPunct="1">
                        <a:lnSpc>
                          <a:spcPct val="100000"/>
                        </a:lnSpc>
                        <a:spcBef>
                          <a:spcPts val="0"/>
                        </a:spcBef>
                        <a:spcAft>
                          <a:spcPts val="0"/>
                        </a:spcAft>
                        <a:buClrTx/>
                        <a:buSzTx/>
                        <a:buFontTx/>
                        <a:buNone/>
                        <a:tabLst/>
                        <a:defRPr/>
                      </a:pPr>
                      <a:r>
                        <a:rPr lang="en-US" sz="1800" dirty="0">
                          <a:solidFill>
                            <a:schemeClr val="bg1">
                              <a:lumMod val="65000"/>
                            </a:schemeClr>
                          </a:solidFill>
                        </a:rPr>
                        <a:t>0</a:t>
                      </a:r>
                    </a:p>
                  </a:txBody>
                  <a:tcPr marL="91439" marR="9143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725543271"/>
                  </a:ext>
                </a:extLst>
              </a:tr>
              <a:tr h="494058">
                <a:tc>
                  <a:txBody>
                    <a:bodyPr/>
                    <a:lstStyle/>
                    <a:p>
                      <a:r>
                        <a:rPr lang="en-US" sz="1800" dirty="0"/>
                        <a:t>Susan Brown</a:t>
                      </a:r>
                    </a:p>
                  </a:txBody>
                  <a:tcPr marL="91439" marR="9143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ctr" defTabSz="1165860" rtl="0" eaLnBrk="1" fontAlgn="auto" latinLnBrk="0" hangingPunct="1">
                        <a:lnSpc>
                          <a:spcPct val="100000"/>
                        </a:lnSpc>
                        <a:spcBef>
                          <a:spcPts val="0"/>
                        </a:spcBef>
                        <a:spcAft>
                          <a:spcPts val="0"/>
                        </a:spcAft>
                        <a:buClrTx/>
                        <a:buSzTx/>
                        <a:buFontTx/>
                        <a:buNone/>
                        <a:tabLst/>
                        <a:defRPr/>
                      </a:pPr>
                      <a:r>
                        <a:rPr lang="en-US" sz="1800" dirty="0">
                          <a:solidFill>
                            <a:schemeClr val="bg1">
                              <a:lumMod val="65000"/>
                            </a:schemeClr>
                          </a:solidFill>
                        </a:rPr>
                        <a:t>0</a:t>
                      </a:r>
                    </a:p>
                  </a:txBody>
                  <a:tcPr marL="91439" marR="9143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ctr" defTabSz="1165860" rtl="0" eaLnBrk="1" fontAlgn="auto" latinLnBrk="0" hangingPunct="1">
                        <a:lnSpc>
                          <a:spcPct val="100000"/>
                        </a:lnSpc>
                        <a:spcBef>
                          <a:spcPts val="0"/>
                        </a:spcBef>
                        <a:spcAft>
                          <a:spcPts val="0"/>
                        </a:spcAft>
                        <a:buClrTx/>
                        <a:buSzTx/>
                        <a:buFontTx/>
                        <a:buNone/>
                        <a:tabLst/>
                        <a:defRPr/>
                      </a:pPr>
                      <a:r>
                        <a:rPr lang="en-US" sz="1800" dirty="0">
                          <a:solidFill>
                            <a:schemeClr val="bg1">
                              <a:lumMod val="65000"/>
                            </a:schemeClr>
                          </a:solidFill>
                        </a:rPr>
                        <a:t>0</a:t>
                      </a:r>
                    </a:p>
                  </a:txBody>
                  <a:tcPr marL="91439" marR="9143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ctr" defTabSz="1165860" rtl="0" eaLnBrk="1" fontAlgn="auto" latinLnBrk="0" hangingPunct="1">
                        <a:lnSpc>
                          <a:spcPct val="100000"/>
                        </a:lnSpc>
                        <a:spcBef>
                          <a:spcPts val="0"/>
                        </a:spcBef>
                        <a:spcAft>
                          <a:spcPts val="0"/>
                        </a:spcAft>
                        <a:buClrTx/>
                        <a:buSzTx/>
                        <a:buFontTx/>
                        <a:buNone/>
                        <a:tabLst/>
                        <a:defRPr/>
                      </a:pPr>
                      <a:r>
                        <a:rPr lang="en-US" sz="1800" dirty="0">
                          <a:solidFill>
                            <a:schemeClr val="bg1">
                              <a:lumMod val="65000"/>
                            </a:schemeClr>
                          </a:solidFill>
                        </a:rPr>
                        <a:t>0</a:t>
                      </a:r>
                    </a:p>
                  </a:txBody>
                  <a:tcPr marL="91439" marR="9143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ctr" defTabSz="1165860" rtl="0" eaLnBrk="1" fontAlgn="auto" latinLnBrk="0" hangingPunct="1">
                        <a:lnSpc>
                          <a:spcPct val="100000"/>
                        </a:lnSpc>
                        <a:spcBef>
                          <a:spcPts val="0"/>
                        </a:spcBef>
                        <a:spcAft>
                          <a:spcPts val="0"/>
                        </a:spcAft>
                        <a:buClrTx/>
                        <a:buSzTx/>
                        <a:buFontTx/>
                        <a:buNone/>
                        <a:tabLst/>
                        <a:defRPr/>
                      </a:pPr>
                      <a:r>
                        <a:rPr lang="en-US" sz="1800" dirty="0">
                          <a:solidFill>
                            <a:schemeClr val="bg1">
                              <a:lumMod val="65000"/>
                            </a:schemeClr>
                          </a:solidFill>
                        </a:rPr>
                        <a:t>0</a:t>
                      </a:r>
                    </a:p>
                  </a:txBody>
                  <a:tcPr marL="91439" marR="9143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914400" rtl="0" eaLnBrk="1" latinLnBrk="0" hangingPunct="1"/>
                      <a:r>
                        <a:rPr lang="en-US" sz="2100" b="1" kern="1200" dirty="0">
                          <a:solidFill>
                            <a:schemeClr val="tx1"/>
                          </a:solidFill>
                          <a:latin typeface="+mn-lt"/>
                          <a:ea typeface="+mn-ea"/>
                          <a:cs typeface="+mn-cs"/>
                        </a:rPr>
                        <a:t>1</a:t>
                      </a:r>
                    </a:p>
                  </a:txBody>
                  <a:tcPr marL="91439" marR="9143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015502817"/>
                  </a:ext>
                </a:extLst>
              </a:tr>
              <a:tr h="494058">
                <a:tc>
                  <a:txBody>
                    <a:bodyPr/>
                    <a:lstStyle/>
                    <a:p>
                      <a:r>
                        <a:rPr lang="en-US" sz="1800" dirty="0"/>
                        <a:t>Alex Johnson</a:t>
                      </a:r>
                    </a:p>
                  </a:txBody>
                  <a:tcPr marL="91439" marR="9143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ctr" defTabSz="1165860" rtl="0" eaLnBrk="1" fontAlgn="auto" latinLnBrk="0" hangingPunct="1">
                        <a:lnSpc>
                          <a:spcPct val="100000"/>
                        </a:lnSpc>
                        <a:spcBef>
                          <a:spcPts val="0"/>
                        </a:spcBef>
                        <a:spcAft>
                          <a:spcPts val="0"/>
                        </a:spcAft>
                        <a:buClrTx/>
                        <a:buSzTx/>
                        <a:buFontTx/>
                        <a:buNone/>
                        <a:tabLst/>
                        <a:defRPr/>
                      </a:pPr>
                      <a:r>
                        <a:rPr lang="en-US" sz="1800" dirty="0">
                          <a:solidFill>
                            <a:schemeClr val="bg1">
                              <a:lumMod val="65000"/>
                            </a:schemeClr>
                          </a:solidFill>
                        </a:rPr>
                        <a:t>0</a:t>
                      </a:r>
                    </a:p>
                  </a:txBody>
                  <a:tcPr marL="91439" marR="9143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ctr" defTabSz="1165860" rtl="0" eaLnBrk="1" fontAlgn="auto" latinLnBrk="0" hangingPunct="1">
                        <a:lnSpc>
                          <a:spcPct val="100000"/>
                        </a:lnSpc>
                        <a:spcBef>
                          <a:spcPts val="0"/>
                        </a:spcBef>
                        <a:spcAft>
                          <a:spcPts val="0"/>
                        </a:spcAft>
                        <a:buClrTx/>
                        <a:buSzTx/>
                        <a:buFontTx/>
                        <a:buNone/>
                        <a:tabLst/>
                        <a:defRPr/>
                      </a:pPr>
                      <a:r>
                        <a:rPr lang="en-US" sz="1800" dirty="0">
                          <a:solidFill>
                            <a:schemeClr val="bg1">
                              <a:lumMod val="65000"/>
                            </a:schemeClr>
                          </a:solidFill>
                        </a:rPr>
                        <a:t>0</a:t>
                      </a:r>
                    </a:p>
                  </a:txBody>
                  <a:tcPr marL="91439" marR="9143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ctr" defTabSz="1165860" rtl="0" eaLnBrk="1" fontAlgn="auto" latinLnBrk="0" hangingPunct="1">
                        <a:lnSpc>
                          <a:spcPct val="100000"/>
                        </a:lnSpc>
                        <a:spcBef>
                          <a:spcPts val="0"/>
                        </a:spcBef>
                        <a:spcAft>
                          <a:spcPts val="0"/>
                        </a:spcAft>
                        <a:buClrTx/>
                        <a:buSzTx/>
                        <a:buFontTx/>
                        <a:buNone/>
                        <a:tabLst/>
                        <a:defRPr/>
                      </a:pPr>
                      <a:r>
                        <a:rPr lang="en-US" sz="1800" dirty="0">
                          <a:solidFill>
                            <a:schemeClr val="bg1">
                              <a:lumMod val="65000"/>
                            </a:schemeClr>
                          </a:solidFill>
                        </a:rPr>
                        <a:t>0</a:t>
                      </a:r>
                    </a:p>
                  </a:txBody>
                  <a:tcPr marL="91439" marR="9143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914400" rtl="0" eaLnBrk="1" latinLnBrk="0" hangingPunct="1"/>
                      <a:r>
                        <a:rPr lang="en-US" sz="2100" b="1" kern="1200" dirty="0">
                          <a:solidFill>
                            <a:schemeClr val="tx1"/>
                          </a:solidFill>
                          <a:latin typeface="+mn-lt"/>
                          <a:ea typeface="+mn-ea"/>
                          <a:cs typeface="+mn-cs"/>
                        </a:rPr>
                        <a:t>1</a:t>
                      </a:r>
                    </a:p>
                  </a:txBody>
                  <a:tcPr marL="91439" marR="9143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ctr" defTabSz="1165860" rtl="0" eaLnBrk="1" fontAlgn="auto" latinLnBrk="0" hangingPunct="1">
                        <a:lnSpc>
                          <a:spcPct val="100000"/>
                        </a:lnSpc>
                        <a:spcBef>
                          <a:spcPts val="0"/>
                        </a:spcBef>
                        <a:spcAft>
                          <a:spcPts val="0"/>
                        </a:spcAft>
                        <a:buClrTx/>
                        <a:buSzTx/>
                        <a:buFontTx/>
                        <a:buNone/>
                        <a:tabLst/>
                        <a:defRPr/>
                      </a:pPr>
                      <a:r>
                        <a:rPr lang="en-US" sz="1800" dirty="0">
                          <a:solidFill>
                            <a:schemeClr val="bg1">
                              <a:lumMod val="65000"/>
                            </a:schemeClr>
                          </a:solidFill>
                        </a:rPr>
                        <a:t>0</a:t>
                      </a:r>
                    </a:p>
                  </a:txBody>
                  <a:tcPr marL="91439" marR="9143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468125184"/>
                  </a:ext>
                </a:extLst>
              </a:tr>
            </a:tbl>
          </a:graphicData>
        </a:graphic>
      </p:graphicFrame>
      <p:sp>
        <p:nvSpPr>
          <p:cNvPr id="9" name="TextBox 8">
            <a:extLst>
              <a:ext uri="{FF2B5EF4-FFF2-40B4-BE49-F238E27FC236}">
                <a16:creationId xmlns:a16="http://schemas.microsoft.com/office/drawing/2014/main" id="{CA6073FD-A557-824D-AB30-F1503B509FE2}"/>
              </a:ext>
            </a:extLst>
          </p:cNvPr>
          <p:cNvSpPr txBox="1"/>
          <p:nvPr/>
        </p:nvSpPr>
        <p:spPr>
          <a:xfrm>
            <a:off x="10573833" y="3263627"/>
            <a:ext cx="5775940" cy="498598"/>
          </a:xfrm>
          <a:prstGeom prst="rect">
            <a:avLst/>
          </a:prstGeom>
          <a:noFill/>
        </p:spPr>
        <p:txBody>
          <a:bodyPr wrap="none" rtlCol="0">
            <a:spAutoFit/>
          </a:bodyPr>
          <a:lstStyle/>
          <a:p>
            <a:pPr defTabSz="1341150">
              <a:defRPr/>
            </a:pPr>
            <a:r>
              <a:rPr lang="en-US" sz="2640" dirty="0">
                <a:solidFill>
                  <a:prstClr val="black"/>
                </a:solidFill>
                <a:latin typeface="Calibri" panose="020F0502020204030204"/>
              </a:rPr>
              <a:t>ICD-10 Diagnosis Codes (100K of them…)</a:t>
            </a:r>
          </a:p>
        </p:txBody>
      </p:sp>
      <p:sp>
        <p:nvSpPr>
          <p:cNvPr id="10" name="TextBox 9">
            <a:extLst>
              <a:ext uri="{FF2B5EF4-FFF2-40B4-BE49-F238E27FC236}">
                <a16:creationId xmlns:a16="http://schemas.microsoft.com/office/drawing/2014/main" id="{5285A3DB-070C-6E48-B640-9F0C41E96485}"/>
              </a:ext>
            </a:extLst>
          </p:cNvPr>
          <p:cNvSpPr txBox="1"/>
          <p:nvPr/>
        </p:nvSpPr>
        <p:spPr>
          <a:xfrm>
            <a:off x="10244374" y="6915094"/>
            <a:ext cx="3914085" cy="453522"/>
          </a:xfrm>
          <a:prstGeom prst="rect">
            <a:avLst/>
          </a:prstGeom>
          <a:noFill/>
        </p:spPr>
        <p:txBody>
          <a:bodyPr wrap="none" rtlCol="0">
            <a:spAutoFit/>
          </a:bodyPr>
          <a:lstStyle/>
          <a:p>
            <a:pPr defTabSz="1341150">
              <a:defRPr/>
            </a:pPr>
            <a:r>
              <a:rPr lang="en-US" sz="2347" dirty="0">
                <a:solidFill>
                  <a:prstClr val="black"/>
                </a:solidFill>
                <a:latin typeface="Calibri" panose="020F0502020204030204"/>
              </a:rPr>
              <a:t>99.999% of the values are zero</a:t>
            </a:r>
          </a:p>
        </p:txBody>
      </p:sp>
    </p:spTree>
    <p:extLst>
      <p:ext uri="{BB962C8B-B14F-4D97-AF65-F5344CB8AC3E}">
        <p14:creationId xmlns:p14="http://schemas.microsoft.com/office/powerpoint/2010/main" val="3739446213"/>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065DE5-3CC6-4B4E-8073-2F096F7CFB7C}"/>
              </a:ext>
            </a:extLst>
          </p:cNvPr>
          <p:cNvSpPr>
            <a:spLocks noGrp="1"/>
          </p:cNvSpPr>
          <p:nvPr>
            <p:ph type="title"/>
          </p:nvPr>
        </p:nvSpPr>
        <p:spPr/>
        <p:txBody>
          <a:bodyPr/>
          <a:lstStyle/>
          <a:p>
            <a:r>
              <a:rPr lang="en-US" dirty="0"/>
              <a:t>GPUs and SIMD are Ideal for “Euclidian” Geometry Problems</a:t>
            </a:r>
          </a:p>
        </p:txBody>
      </p:sp>
      <p:sp>
        <p:nvSpPr>
          <p:cNvPr id="3" name="Content Placeholder 2">
            <a:extLst>
              <a:ext uri="{FF2B5EF4-FFF2-40B4-BE49-F238E27FC236}">
                <a16:creationId xmlns:a16="http://schemas.microsoft.com/office/drawing/2014/main" id="{D870F96C-0E35-4D47-8D8B-EC8F2D23E3E7}"/>
              </a:ext>
            </a:extLst>
          </p:cNvPr>
          <p:cNvSpPr>
            <a:spLocks noGrp="1"/>
          </p:cNvSpPr>
          <p:nvPr>
            <p:ph sz="half" idx="1"/>
          </p:nvPr>
        </p:nvSpPr>
        <p:spPr>
          <a:xfrm>
            <a:off x="1139394" y="7511027"/>
            <a:ext cx="6647755" cy="1312606"/>
          </a:xfrm>
        </p:spPr>
        <p:txBody>
          <a:bodyPr/>
          <a:lstStyle/>
          <a:p>
            <a:r>
              <a:rPr lang="en-US" dirty="0"/>
              <a:t>Large number of instructions</a:t>
            </a:r>
          </a:p>
          <a:p>
            <a:r>
              <a:rPr lang="en-US" dirty="0"/>
              <a:t>X86 has over 1,500 instructions</a:t>
            </a:r>
          </a:p>
        </p:txBody>
      </p:sp>
      <p:sp>
        <p:nvSpPr>
          <p:cNvPr id="4" name="Content Placeholder 3">
            <a:extLst>
              <a:ext uri="{FF2B5EF4-FFF2-40B4-BE49-F238E27FC236}">
                <a16:creationId xmlns:a16="http://schemas.microsoft.com/office/drawing/2014/main" id="{326A0148-6111-3C45-8503-5AD690426179}"/>
              </a:ext>
            </a:extLst>
          </p:cNvPr>
          <p:cNvSpPr>
            <a:spLocks noGrp="1"/>
          </p:cNvSpPr>
          <p:nvPr>
            <p:ph sz="half" idx="2"/>
          </p:nvPr>
        </p:nvSpPr>
        <p:spPr>
          <a:xfrm>
            <a:off x="8805952" y="7538475"/>
            <a:ext cx="8302172" cy="1575285"/>
          </a:xfrm>
        </p:spPr>
        <p:txBody>
          <a:bodyPr/>
          <a:lstStyle/>
          <a:p>
            <a:r>
              <a:rPr lang="en-US" dirty="0"/>
              <a:t>GPUs have a single instruction that manipulates uniform data (SIMD)</a:t>
            </a:r>
          </a:p>
          <a:p>
            <a:r>
              <a:rPr lang="en-US" dirty="0"/>
              <a:t>All threads execute the exact same instruction</a:t>
            </a:r>
          </a:p>
        </p:txBody>
      </p:sp>
      <p:sp>
        <p:nvSpPr>
          <p:cNvPr id="5" name="Slide Number Placeholder 4">
            <a:extLst>
              <a:ext uri="{FF2B5EF4-FFF2-40B4-BE49-F238E27FC236}">
                <a16:creationId xmlns:a16="http://schemas.microsoft.com/office/drawing/2014/main" id="{5D32AA29-0ED5-0D4E-A78F-47B98FB78B4A}"/>
              </a:ext>
            </a:extLst>
          </p:cNvPr>
          <p:cNvSpPr>
            <a:spLocks noGrp="1"/>
          </p:cNvSpPr>
          <p:nvPr>
            <p:ph type="sldNum" sz="quarter" idx="12"/>
          </p:nvPr>
        </p:nvSpPr>
        <p:spPr/>
        <p:txBody>
          <a:bodyPr/>
          <a:lstStyle/>
          <a:p>
            <a:fld id="{3310D8EA-3107-4873-B9AB-DD7D3E79053A}" type="slidenum">
              <a:rPr lang="en-US" smtClean="0"/>
              <a:t>31</a:t>
            </a:fld>
            <a:endParaRPr lang="en-US"/>
          </a:p>
        </p:txBody>
      </p:sp>
      <p:sp>
        <p:nvSpPr>
          <p:cNvPr id="6" name="Text Placeholder 5">
            <a:extLst>
              <a:ext uri="{FF2B5EF4-FFF2-40B4-BE49-F238E27FC236}">
                <a16:creationId xmlns:a16="http://schemas.microsoft.com/office/drawing/2014/main" id="{99D8F561-B0FF-7049-B29D-FDF29B0BE0EA}"/>
              </a:ext>
            </a:extLst>
          </p:cNvPr>
          <p:cNvSpPr>
            <a:spLocks noGrp="1"/>
          </p:cNvSpPr>
          <p:nvPr>
            <p:ph type="body" idx="13"/>
          </p:nvPr>
        </p:nvSpPr>
        <p:spPr>
          <a:xfrm>
            <a:off x="726439" y="2082346"/>
            <a:ext cx="8070004" cy="721783"/>
          </a:xfrm>
        </p:spPr>
        <p:txBody>
          <a:bodyPr/>
          <a:lstStyle/>
          <a:p>
            <a:pPr algn="ctr"/>
            <a:r>
              <a:rPr lang="en-US" dirty="0"/>
              <a:t>CPU</a:t>
            </a:r>
          </a:p>
        </p:txBody>
      </p:sp>
      <p:sp>
        <p:nvSpPr>
          <p:cNvPr id="7" name="Text Placeholder 6">
            <a:extLst>
              <a:ext uri="{FF2B5EF4-FFF2-40B4-BE49-F238E27FC236}">
                <a16:creationId xmlns:a16="http://schemas.microsoft.com/office/drawing/2014/main" id="{3EEB252E-8851-824F-84B7-7CC349E742B8}"/>
              </a:ext>
            </a:extLst>
          </p:cNvPr>
          <p:cNvSpPr>
            <a:spLocks noGrp="1"/>
          </p:cNvSpPr>
          <p:nvPr>
            <p:ph type="body" sz="quarter" idx="3"/>
          </p:nvPr>
        </p:nvSpPr>
        <p:spPr>
          <a:xfrm>
            <a:off x="9052558" y="2082346"/>
            <a:ext cx="8270240" cy="721783"/>
          </a:xfrm>
        </p:spPr>
        <p:txBody>
          <a:bodyPr/>
          <a:lstStyle/>
          <a:p>
            <a:pPr algn="ctr"/>
            <a:r>
              <a:rPr lang="en-US" dirty="0"/>
              <a:t>GPU</a:t>
            </a:r>
          </a:p>
        </p:txBody>
      </p:sp>
      <p:pic>
        <p:nvPicPr>
          <p:cNvPr id="3074" name="Picture 2" descr="Difference Between GPU and CPU Architecture GPU architecture belongs to...  | Download Scientific Diagram">
            <a:extLst>
              <a:ext uri="{FF2B5EF4-FFF2-40B4-BE49-F238E27FC236}">
                <a16:creationId xmlns:a16="http://schemas.microsoft.com/office/drawing/2014/main" id="{B32F746F-16D6-A14F-BFE5-A156FDA2A7BF}"/>
              </a:ext>
            </a:extLst>
          </p:cNvPr>
          <p:cNvPicPr>
            <a:picLocks noChangeAspect="1" noChangeArrowheads="1"/>
          </p:cNvPicPr>
          <p:nvPr/>
        </p:nvPicPr>
        <p:blipFill rotWithShape="1">
          <a:blip r:embed="rId2" cstate="screen">
            <a:extLst>
              <a:ext uri="{28A0092B-C50C-407E-A947-70E740481C1C}">
                <a14:useLocalDpi xmlns:a14="http://schemas.microsoft.com/office/drawing/2010/main"/>
              </a:ext>
            </a:extLst>
          </a:blip>
          <a:srcRect/>
          <a:stretch/>
        </p:blipFill>
        <p:spPr bwMode="auto">
          <a:xfrm>
            <a:off x="2182119" y="2715347"/>
            <a:ext cx="5035803" cy="4621656"/>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2" descr="Difference Between GPU and CPU Architecture GPU architecture belongs to...  | Download Scientific Diagram">
            <a:extLst>
              <a:ext uri="{FF2B5EF4-FFF2-40B4-BE49-F238E27FC236}">
                <a16:creationId xmlns:a16="http://schemas.microsoft.com/office/drawing/2014/main" id="{DA74582F-2420-024E-803B-0B54AE5156A0}"/>
              </a:ext>
            </a:extLst>
          </p:cNvPr>
          <p:cNvPicPr>
            <a:picLocks noChangeAspect="1" noChangeArrowheads="1"/>
          </p:cNvPicPr>
          <p:nvPr/>
        </p:nvPicPr>
        <p:blipFill rotWithShape="1">
          <a:blip r:embed="rId3" cstate="screen">
            <a:extLst>
              <a:ext uri="{28A0092B-C50C-407E-A947-70E740481C1C}">
                <a14:useLocalDpi xmlns:a14="http://schemas.microsoft.com/office/drawing/2010/main"/>
              </a:ext>
            </a:extLst>
          </a:blip>
          <a:srcRect l="45315"/>
          <a:stretch/>
        </p:blipFill>
        <p:spPr bwMode="auto">
          <a:xfrm>
            <a:off x="10075142" y="2804129"/>
            <a:ext cx="5763793" cy="430459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51263648"/>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69887" y="458043"/>
            <a:ext cx="16555896" cy="1129322"/>
          </a:xfrm>
        </p:spPr>
        <p:txBody>
          <a:bodyPr>
            <a:normAutofit/>
          </a:bodyPr>
          <a:lstStyle/>
          <a:p>
            <a:r>
              <a:rPr lang="en-US" dirty="0"/>
              <a:t>Sample Graph Algorithms</a:t>
            </a:r>
          </a:p>
        </p:txBody>
      </p:sp>
      <p:sp>
        <p:nvSpPr>
          <p:cNvPr id="4" name="Slide Number Placeholder 3"/>
          <p:cNvSpPr>
            <a:spLocks noGrp="1"/>
          </p:cNvSpPr>
          <p:nvPr>
            <p:ph type="sldNum" sz="quarter" idx="12"/>
          </p:nvPr>
        </p:nvSpPr>
        <p:spPr/>
        <p:txBody>
          <a:bodyPr/>
          <a:lstStyle/>
          <a:p>
            <a:fld id="{00000000-1234-1234-1234-123412341234}" type="slidenum">
              <a:rPr lang="en" smtClean="0"/>
              <a:pPr/>
              <a:t>32</a:t>
            </a:fld>
            <a:endParaRPr lang="en"/>
          </a:p>
        </p:txBody>
      </p:sp>
      <p:sp>
        <p:nvSpPr>
          <p:cNvPr id="5" name="TextBox 4"/>
          <p:cNvSpPr txBox="1"/>
          <p:nvPr/>
        </p:nvSpPr>
        <p:spPr>
          <a:xfrm>
            <a:off x="1447189" y="2191609"/>
            <a:ext cx="3606733" cy="1265859"/>
          </a:xfrm>
          <a:prstGeom prst="rect">
            <a:avLst/>
          </a:prstGeom>
          <a:noFill/>
        </p:spPr>
        <p:txBody>
          <a:bodyPr wrap="square" rtlCol="0">
            <a:spAutoFit/>
          </a:bodyPr>
          <a:lstStyle/>
          <a:p>
            <a:r>
              <a:rPr lang="en-US" sz="3520" b="1" dirty="0"/>
              <a:t>Dependencies</a:t>
            </a:r>
          </a:p>
          <a:p>
            <a:pPr marL="342898" indent="-342898">
              <a:buFont typeface="Arial" charset="0"/>
              <a:buChar char="•"/>
            </a:pPr>
            <a:r>
              <a:rPr lang="en-US" sz="2053" dirty="0"/>
              <a:t>Failure chains</a:t>
            </a:r>
          </a:p>
          <a:p>
            <a:pPr marL="342898" indent="-342898">
              <a:buFont typeface="Arial" charset="0"/>
              <a:buChar char="•"/>
            </a:pPr>
            <a:r>
              <a:rPr lang="en-US" sz="2053" dirty="0"/>
              <a:t>Order of operations</a:t>
            </a:r>
          </a:p>
        </p:txBody>
      </p:sp>
      <p:sp>
        <p:nvSpPr>
          <p:cNvPr id="6" name="TextBox 5"/>
          <p:cNvSpPr txBox="1"/>
          <p:nvPr/>
        </p:nvSpPr>
        <p:spPr>
          <a:xfrm>
            <a:off x="7229141" y="2139840"/>
            <a:ext cx="3284185" cy="1581780"/>
          </a:xfrm>
          <a:prstGeom prst="rect">
            <a:avLst/>
          </a:prstGeom>
          <a:noFill/>
        </p:spPr>
        <p:txBody>
          <a:bodyPr wrap="square" rtlCol="0">
            <a:spAutoFit/>
          </a:bodyPr>
          <a:lstStyle/>
          <a:p>
            <a:r>
              <a:rPr lang="en-US" sz="3520" b="1" dirty="0"/>
              <a:t>Clustering</a:t>
            </a:r>
          </a:p>
          <a:p>
            <a:pPr marL="342898" indent="-342898">
              <a:buFont typeface="Arial" charset="0"/>
              <a:buChar char="•"/>
            </a:pPr>
            <a:r>
              <a:rPr lang="en-US" sz="2053" dirty="0"/>
              <a:t>Finding related items</a:t>
            </a:r>
          </a:p>
          <a:p>
            <a:pPr marL="342898" indent="-342898">
              <a:buFont typeface="Arial" charset="0"/>
              <a:buChar char="•"/>
            </a:pPr>
            <a:r>
              <a:rPr lang="en-US" sz="2053" dirty="0"/>
              <a:t>Friends, fraud networks</a:t>
            </a:r>
          </a:p>
          <a:p>
            <a:pPr marL="342898" indent="-342898">
              <a:buFont typeface="Arial" charset="0"/>
              <a:buChar char="•"/>
            </a:pPr>
            <a:r>
              <a:rPr lang="en-US" sz="2053" dirty="0"/>
              <a:t>Louvain centrality</a:t>
            </a:r>
          </a:p>
        </p:txBody>
      </p:sp>
      <p:sp>
        <p:nvSpPr>
          <p:cNvPr id="7" name="TextBox 6"/>
          <p:cNvSpPr txBox="1"/>
          <p:nvPr/>
        </p:nvSpPr>
        <p:spPr>
          <a:xfrm>
            <a:off x="11620523" y="2022075"/>
            <a:ext cx="3612990" cy="1581780"/>
          </a:xfrm>
          <a:prstGeom prst="rect">
            <a:avLst/>
          </a:prstGeom>
          <a:noFill/>
        </p:spPr>
        <p:txBody>
          <a:bodyPr wrap="square" rtlCol="0">
            <a:spAutoFit/>
          </a:bodyPr>
          <a:lstStyle/>
          <a:p>
            <a:r>
              <a:rPr lang="en-US" sz="3520" b="1" dirty="0"/>
              <a:t>Similarity</a:t>
            </a:r>
          </a:p>
          <a:p>
            <a:pPr marL="342898" indent="-342898">
              <a:buFont typeface="Arial" charset="0"/>
              <a:buChar char="•"/>
            </a:pPr>
            <a:r>
              <a:rPr lang="en-US" sz="2053" dirty="0"/>
              <a:t>Similar paths and patterns</a:t>
            </a:r>
          </a:p>
          <a:p>
            <a:pPr marL="342898" indent="-342898">
              <a:buFont typeface="Arial" charset="0"/>
              <a:buChar char="•"/>
            </a:pPr>
            <a:r>
              <a:rPr lang="en-US" sz="2053" dirty="0"/>
              <a:t>Cosine similarity</a:t>
            </a:r>
          </a:p>
          <a:p>
            <a:endParaRPr lang="en-US" sz="2053" dirty="0"/>
          </a:p>
        </p:txBody>
      </p:sp>
      <p:sp>
        <p:nvSpPr>
          <p:cNvPr id="8" name="TextBox 7"/>
          <p:cNvSpPr txBox="1"/>
          <p:nvPr/>
        </p:nvSpPr>
        <p:spPr>
          <a:xfrm>
            <a:off x="1207699" y="5814804"/>
            <a:ext cx="5421772" cy="1495922"/>
          </a:xfrm>
          <a:prstGeom prst="rect">
            <a:avLst/>
          </a:prstGeom>
          <a:noFill/>
        </p:spPr>
        <p:txBody>
          <a:bodyPr wrap="square" rtlCol="0">
            <a:spAutoFit/>
          </a:bodyPr>
          <a:lstStyle/>
          <a:p>
            <a:r>
              <a:rPr lang="en-US" sz="3520" b="1" dirty="0"/>
              <a:t>Matching/Categorizing</a:t>
            </a:r>
          </a:p>
          <a:p>
            <a:pPr marL="342898" indent="-342898">
              <a:buFont typeface="Arial" charset="0"/>
              <a:buChar char="•"/>
            </a:pPr>
            <a:r>
              <a:rPr lang="en-US" sz="2053" dirty="0"/>
              <a:t>Look for and tag specific patterns</a:t>
            </a:r>
          </a:p>
          <a:p>
            <a:endParaRPr lang="en-US" sz="3548" dirty="0"/>
          </a:p>
        </p:txBody>
      </p:sp>
      <p:sp>
        <p:nvSpPr>
          <p:cNvPr id="9" name="TextBox 8"/>
          <p:cNvSpPr txBox="1"/>
          <p:nvPr/>
        </p:nvSpPr>
        <p:spPr>
          <a:xfrm>
            <a:off x="7019587" y="5795158"/>
            <a:ext cx="3803932" cy="1581780"/>
          </a:xfrm>
          <a:prstGeom prst="rect">
            <a:avLst/>
          </a:prstGeom>
          <a:noFill/>
        </p:spPr>
        <p:txBody>
          <a:bodyPr wrap="square" rtlCol="0">
            <a:spAutoFit/>
          </a:bodyPr>
          <a:lstStyle/>
          <a:p>
            <a:r>
              <a:rPr lang="en-US" sz="3520" b="1" dirty="0"/>
              <a:t>Flow/Cost</a:t>
            </a:r>
          </a:p>
          <a:p>
            <a:pPr marL="342898" indent="-342898">
              <a:buFont typeface="Arial" charset="0"/>
              <a:buChar char="•"/>
            </a:pPr>
            <a:r>
              <a:rPr lang="en-US" sz="2053" dirty="0"/>
              <a:t>Optimize costs based on routing</a:t>
            </a:r>
          </a:p>
          <a:p>
            <a:pPr marL="342898" indent="-342898">
              <a:buFont typeface="Arial" charset="0"/>
              <a:buChar char="•"/>
            </a:pPr>
            <a:r>
              <a:rPr lang="en-US" sz="2053" dirty="0"/>
              <a:t>Path optimization</a:t>
            </a:r>
          </a:p>
        </p:txBody>
      </p:sp>
      <p:sp>
        <p:nvSpPr>
          <p:cNvPr id="10" name="TextBox 9"/>
          <p:cNvSpPr txBox="1"/>
          <p:nvPr/>
        </p:nvSpPr>
        <p:spPr>
          <a:xfrm>
            <a:off x="11464430" y="5858509"/>
            <a:ext cx="4296795" cy="1265859"/>
          </a:xfrm>
          <a:prstGeom prst="rect">
            <a:avLst/>
          </a:prstGeom>
          <a:noFill/>
        </p:spPr>
        <p:txBody>
          <a:bodyPr wrap="square" rtlCol="0">
            <a:spAutoFit/>
          </a:bodyPr>
          <a:lstStyle/>
          <a:p>
            <a:r>
              <a:rPr lang="en-US" sz="3520" b="1" dirty="0"/>
              <a:t>Centrality/Search</a:t>
            </a:r>
          </a:p>
          <a:p>
            <a:pPr marL="342898" indent="-342898">
              <a:buFont typeface="Arial" charset="0"/>
              <a:buChar char="•"/>
            </a:pPr>
            <a:r>
              <a:rPr lang="en-US" sz="2053" dirty="0"/>
              <a:t>Which nodes are the most connected or relevant?</a:t>
            </a:r>
          </a:p>
        </p:txBody>
      </p:sp>
      <p:sp>
        <p:nvSpPr>
          <p:cNvPr id="11" name="Rectangle 10"/>
          <p:cNvSpPr/>
          <p:nvPr/>
        </p:nvSpPr>
        <p:spPr>
          <a:xfrm>
            <a:off x="1898123" y="3736775"/>
            <a:ext cx="695325" cy="414338"/>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9" tIns="45720" rIns="91439" bIns="45720" numCol="1" spcCol="0" rtlCol="0" fromWordArt="0" anchor="ctr" anchorCtr="0" forceAA="0" compatLnSpc="1">
            <a:prstTxWarp prst="textNoShape">
              <a:avLst/>
            </a:prstTxWarp>
            <a:noAutofit/>
          </a:bodyPr>
          <a:lstStyle/>
          <a:p>
            <a:pPr algn="ctr"/>
            <a:r>
              <a:rPr lang="en-US" sz="1800" dirty="0">
                <a:solidFill>
                  <a:schemeClr val="tx1"/>
                </a:solidFill>
              </a:rPr>
              <a:t>API</a:t>
            </a:r>
          </a:p>
        </p:txBody>
      </p:sp>
      <p:sp>
        <p:nvSpPr>
          <p:cNvPr id="12" name="Rectangle 11"/>
          <p:cNvSpPr/>
          <p:nvPr/>
        </p:nvSpPr>
        <p:spPr>
          <a:xfrm>
            <a:off x="3297454" y="3736775"/>
            <a:ext cx="936057" cy="414338"/>
          </a:xfrm>
          <a:prstGeom prst="rect">
            <a:avLst/>
          </a:prstGeom>
          <a:solidFill>
            <a:srgbClr val="E8772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9" tIns="45720" rIns="91439" bIns="45720" numCol="1" spcCol="0" rtlCol="0" fromWordArt="0" anchor="ctr" anchorCtr="0" forceAA="0" compatLnSpc="1">
            <a:prstTxWarp prst="textNoShape">
              <a:avLst/>
            </a:prstTxWarp>
            <a:noAutofit/>
          </a:bodyPr>
          <a:lstStyle/>
          <a:p>
            <a:pPr algn="ctr"/>
            <a:r>
              <a:rPr lang="en-US" sz="1800" dirty="0"/>
              <a:t>Server</a:t>
            </a:r>
          </a:p>
        </p:txBody>
      </p:sp>
      <p:sp>
        <p:nvSpPr>
          <p:cNvPr id="13" name="Rectangle 12"/>
          <p:cNvSpPr/>
          <p:nvPr/>
        </p:nvSpPr>
        <p:spPr>
          <a:xfrm>
            <a:off x="4793901" y="3736264"/>
            <a:ext cx="695325" cy="414338"/>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9" tIns="45720" rIns="91439" bIns="45720" numCol="1" spcCol="0" rtlCol="0" fromWordArt="0" anchor="ctr" anchorCtr="0" forceAA="0" compatLnSpc="1">
            <a:prstTxWarp prst="textNoShape">
              <a:avLst/>
            </a:prstTxWarp>
            <a:noAutofit/>
          </a:bodyPr>
          <a:lstStyle/>
          <a:p>
            <a:pPr algn="ctr"/>
            <a:r>
              <a:rPr lang="en-US" sz="1800" dirty="0"/>
              <a:t>Auth</a:t>
            </a:r>
          </a:p>
        </p:txBody>
      </p:sp>
      <p:cxnSp>
        <p:nvCxnSpPr>
          <p:cNvPr id="15" name="Straight Arrow Connector 14"/>
          <p:cNvCxnSpPr>
            <a:cxnSpLocks/>
            <a:stCxn id="11" idx="3"/>
            <a:endCxn id="12" idx="1"/>
          </p:cNvCxnSpPr>
          <p:nvPr/>
        </p:nvCxnSpPr>
        <p:spPr>
          <a:xfrm>
            <a:off x="2593447" y="3943944"/>
            <a:ext cx="704006" cy="0"/>
          </a:xfrm>
          <a:prstGeom prst="straightConnector1">
            <a:avLst/>
          </a:prstGeom>
          <a:ln w="381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6" name="Straight Arrow Connector 15"/>
          <p:cNvCxnSpPr>
            <a:cxnSpLocks/>
            <a:stCxn id="12" idx="3"/>
            <a:endCxn id="13" idx="1"/>
          </p:cNvCxnSpPr>
          <p:nvPr/>
        </p:nvCxnSpPr>
        <p:spPr>
          <a:xfrm flipV="1">
            <a:off x="4233511" y="3943433"/>
            <a:ext cx="560390" cy="510"/>
          </a:xfrm>
          <a:prstGeom prst="straightConnector1">
            <a:avLst/>
          </a:prstGeom>
          <a:ln w="381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4" name="Oval 23"/>
          <p:cNvSpPr/>
          <p:nvPr/>
        </p:nvSpPr>
        <p:spPr>
          <a:xfrm>
            <a:off x="7494042" y="3865492"/>
            <a:ext cx="414338" cy="414338"/>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9" tIns="45720" rIns="91439" bIns="45720" numCol="1" spcCol="0" rtlCol="0" fromWordArt="0" anchor="ctr" anchorCtr="0" forceAA="0" compatLnSpc="1">
            <a:prstTxWarp prst="textNoShape">
              <a:avLst/>
            </a:prstTxWarp>
            <a:noAutofit/>
          </a:bodyPr>
          <a:lstStyle/>
          <a:p>
            <a:pPr algn="ctr"/>
            <a:endParaRPr lang="en-US" sz="1800" dirty="0" err="1"/>
          </a:p>
        </p:txBody>
      </p:sp>
      <p:sp>
        <p:nvSpPr>
          <p:cNvPr id="25" name="Oval 24"/>
          <p:cNvSpPr/>
          <p:nvPr/>
        </p:nvSpPr>
        <p:spPr>
          <a:xfrm>
            <a:off x="8241754" y="3870644"/>
            <a:ext cx="414338" cy="414338"/>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9" tIns="45720" rIns="91439" bIns="45720" numCol="1" spcCol="0" rtlCol="0" fromWordArt="0" anchor="ctr" anchorCtr="0" forceAA="0" compatLnSpc="1">
            <a:prstTxWarp prst="textNoShape">
              <a:avLst/>
            </a:prstTxWarp>
            <a:noAutofit/>
          </a:bodyPr>
          <a:lstStyle/>
          <a:p>
            <a:pPr algn="ctr"/>
            <a:endParaRPr lang="en-US" sz="1800" dirty="0" err="1"/>
          </a:p>
        </p:txBody>
      </p:sp>
      <p:sp>
        <p:nvSpPr>
          <p:cNvPr id="26" name="Oval 25"/>
          <p:cNvSpPr/>
          <p:nvPr/>
        </p:nvSpPr>
        <p:spPr>
          <a:xfrm>
            <a:off x="8987089" y="3865492"/>
            <a:ext cx="414338" cy="414338"/>
          </a:xfrm>
          <a:prstGeom prst="ellipse">
            <a:avLst/>
          </a:prstGeom>
          <a:solidFill>
            <a:srgbClr val="E8772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9" tIns="45720" rIns="91439" bIns="45720" numCol="1" spcCol="0" rtlCol="0" fromWordArt="0" anchor="ctr" anchorCtr="0" forceAA="0" compatLnSpc="1">
            <a:prstTxWarp prst="textNoShape">
              <a:avLst/>
            </a:prstTxWarp>
            <a:noAutofit/>
          </a:bodyPr>
          <a:lstStyle/>
          <a:p>
            <a:pPr algn="ctr"/>
            <a:endParaRPr lang="en-US" sz="1800" dirty="0" err="1"/>
          </a:p>
        </p:txBody>
      </p:sp>
      <p:cxnSp>
        <p:nvCxnSpPr>
          <p:cNvPr id="27" name="Straight Arrow Connector 26"/>
          <p:cNvCxnSpPr/>
          <p:nvPr/>
        </p:nvCxnSpPr>
        <p:spPr>
          <a:xfrm>
            <a:off x="7908381" y="4072661"/>
            <a:ext cx="333373" cy="0"/>
          </a:xfrm>
          <a:prstGeom prst="straightConnector1">
            <a:avLst/>
          </a:prstGeom>
          <a:ln w="381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8" name="Straight Arrow Connector 27"/>
          <p:cNvCxnSpPr/>
          <p:nvPr/>
        </p:nvCxnSpPr>
        <p:spPr>
          <a:xfrm>
            <a:off x="8656092" y="4072661"/>
            <a:ext cx="333373" cy="0"/>
          </a:xfrm>
          <a:prstGeom prst="straightConnector1">
            <a:avLst/>
          </a:prstGeom>
          <a:ln w="381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9" name="Oval 28"/>
          <p:cNvSpPr/>
          <p:nvPr/>
        </p:nvSpPr>
        <p:spPr>
          <a:xfrm>
            <a:off x="8696571" y="4916932"/>
            <a:ext cx="414338" cy="414338"/>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9" tIns="45720" rIns="91439" bIns="45720" numCol="1" spcCol="0" rtlCol="0" fromWordArt="0" anchor="ctr" anchorCtr="0" forceAA="0" compatLnSpc="1">
            <a:prstTxWarp prst="textNoShape">
              <a:avLst/>
            </a:prstTxWarp>
            <a:noAutofit/>
          </a:bodyPr>
          <a:lstStyle/>
          <a:p>
            <a:pPr algn="ctr"/>
            <a:endParaRPr lang="en-US" sz="1800" dirty="0" err="1"/>
          </a:p>
        </p:txBody>
      </p:sp>
      <p:sp>
        <p:nvSpPr>
          <p:cNvPr id="30" name="Oval 29"/>
          <p:cNvSpPr/>
          <p:nvPr/>
        </p:nvSpPr>
        <p:spPr>
          <a:xfrm>
            <a:off x="8151270" y="4381823"/>
            <a:ext cx="414338" cy="414338"/>
          </a:xfrm>
          <a:prstGeom prst="ellipse">
            <a:avLst/>
          </a:prstGeom>
          <a:solidFill>
            <a:srgbClr val="888B8D"/>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9" tIns="45720" rIns="91439" bIns="45720" numCol="1" spcCol="0" rtlCol="0" fromWordArt="0" anchor="ctr" anchorCtr="0" forceAA="0" compatLnSpc="1">
            <a:prstTxWarp prst="textNoShape">
              <a:avLst/>
            </a:prstTxWarp>
            <a:noAutofit/>
          </a:bodyPr>
          <a:lstStyle/>
          <a:p>
            <a:pPr algn="ctr"/>
            <a:endParaRPr lang="en-US" sz="1800" dirty="0" err="1"/>
          </a:p>
        </p:txBody>
      </p:sp>
      <p:cxnSp>
        <p:nvCxnSpPr>
          <p:cNvPr id="32" name="Straight Arrow Connector 31"/>
          <p:cNvCxnSpPr>
            <a:stCxn id="24" idx="5"/>
            <a:endCxn id="30" idx="1"/>
          </p:cNvCxnSpPr>
          <p:nvPr/>
        </p:nvCxnSpPr>
        <p:spPr>
          <a:xfrm>
            <a:off x="7847701" y="4219154"/>
            <a:ext cx="364247" cy="223348"/>
          </a:xfrm>
          <a:prstGeom prst="straightConnector1">
            <a:avLst/>
          </a:prstGeom>
          <a:ln w="381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5" name="Straight Arrow Connector 34"/>
          <p:cNvCxnSpPr>
            <a:stCxn id="30" idx="5"/>
            <a:endCxn id="29" idx="1"/>
          </p:cNvCxnSpPr>
          <p:nvPr/>
        </p:nvCxnSpPr>
        <p:spPr>
          <a:xfrm>
            <a:off x="8504930" y="4735484"/>
            <a:ext cx="252319" cy="242128"/>
          </a:xfrm>
          <a:prstGeom prst="straightConnector1">
            <a:avLst/>
          </a:prstGeom>
          <a:ln w="381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14" name="Group 13"/>
          <p:cNvGrpSpPr/>
          <p:nvPr/>
        </p:nvGrpSpPr>
        <p:grpSpPr>
          <a:xfrm>
            <a:off x="7785799" y="7964864"/>
            <a:ext cx="1969287" cy="975168"/>
            <a:chOff x="6949503" y="7434815"/>
            <a:chExt cx="1969287" cy="975167"/>
          </a:xfrm>
        </p:grpSpPr>
        <p:sp>
          <p:nvSpPr>
            <p:cNvPr id="42" name="Oval 41"/>
            <p:cNvSpPr/>
            <p:nvPr/>
          </p:nvSpPr>
          <p:spPr>
            <a:xfrm>
              <a:off x="6949503" y="7434815"/>
              <a:ext cx="414338" cy="414338"/>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9" tIns="45720" rIns="91439" bIns="45720" numCol="1" spcCol="0" rtlCol="0" fromWordArt="0" anchor="ctr" anchorCtr="0" forceAA="0" compatLnSpc="1">
              <a:prstTxWarp prst="textNoShape">
                <a:avLst/>
              </a:prstTxWarp>
              <a:noAutofit/>
            </a:bodyPr>
            <a:lstStyle/>
            <a:p>
              <a:pPr algn="ctr"/>
              <a:endParaRPr lang="en-US" sz="1800" dirty="0" err="1"/>
            </a:p>
          </p:txBody>
        </p:sp>
        <p:sp>
          <p:nvSpPr>
            <p:cNvPr id="43" name="Oval 42"/>
            <p:cNvSpPr/>
            <p:nvPr/>
          </p:nvSpPr>
          <p:spPr>
            <a:xfrm>
              <a:off x="7804372" y="7434815"/>
              <a:ext cx="414338" cy="414338"/>
            </a:xfrm>
            <a:prstGeom prst="ellipse">
              <a:avLst/>
            </a:prstGeom>
            <a:solidFill>
              <a:srgbClr val="E8772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9" tIns="45720" rIns="91439" bIns="45720" numCol="1" spcCol="0" rtlCol="0" fromWordArt="0" anchor="ctr" anchorCtr="0" forceAA="0" compatLnSpc="1">
              <a:prstTxWarp prst="textNoShape">
                <a:avLst/>
              </a:prstTxWarp>
              <a:noAutofit/>
            </a:bodyPr>
            <a:lstStyle/>
            <a:p>
              <a:pPr algn="ctr"/>
              <a:endParaRPr lang="en-US" sz="1800" dirty="0" err="1"/>
            </a:p>
          </p:txBody>
        </p:sp>
        <p:sp>
          <p:nvSpPr>
            <p:cNvPr id="44" name="Oval 43"/>
            <p:cNvSpPr/>
            <p:nvPr/>
          </p:nvSpPr>
          <p:spPr>
            <a:xfrm>
              <a:off x="8504452" y="7995644"/>
              <a:ext cx="414338" cy="414338"/>
            </a:xfrm>
            <a:prstGeom prst="ellipse">
              <a:avLst/>
            </a:prstGeom>
            <a:solidFill>
              <a:srgbClr val="888B8D"/>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9" tIns="45720" rIns="91439" bIns="45720" numCol="1" spcCol="0" rtlCol="0" fromWordArt="0" anchor="ctr" anchorCtr="0" forceAA="0" compatLnSpc="1">
              <a:prstTxWarp prst="textNoShape">
                <a:avLst/>
              </a:prstTxWarp>
              <a:noAutofit/>
            </a:bodyPr>
            <a:lstStyle/>
            <a:p>
              <a:pPr algn="ctr"/>
              <a:endParaRPr lang="en-US" sz="1800" dirty="0" err="1"/>
            </a:p>
          </p:txBody>
        </p:sp>
        <p:cxnSp>
          <p:nvCxnSpPr>
            <p:cNvPr id="45" name="Straight Arrow Connector 44"/>
            <p:cNvCxnSpPr>
              <a:stCxn id="42" idx="6"/>
              <a:endCxn id="43" idx="2"/>
            </p:cNvCxnSpPr>
            <p:nvPr/>
          </p:nvCxnSpPr>
          <p:spPr>
            <a:xfrm>
              <a:off x="7363841" y="7641984"/>
              <a:ext cx="440531" cy="0"/>
            </a:xfrm>
            <a:prstGeom prst="straightConnector1">
              <a:avLst/>
            </a:prstGeom>
            <a:ln w="381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8" name="Straight Arrow Connector 47"/>
            <p:cNvCxnSpPr>
              <a:stCxn id="43" idx="5"/>
              <a:endCxn id="44" idx="1"/>
            </p:cNvCxnSpPr>
            <p:nvPr/>
          </p:nvCxnSpPr>
          <p:spPr>
            <a:xfrm>
              <a:off x="8158032" y="7788475"/>
              <a:ext cx="407098" cy="267847"/>
            </a:xfrm>
            <a:prstGeom prst="straightConnector1">
              <a:avLst/>
            </a:prstGeom>
            <a:ln w="381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52" name="Straight Arrow Connector 51"/>
            <p:cNvCxnSpPr>
              <a:stCxn id="42" idx="5"/>
            </p:cNvCxnSpPr>
            <p:nvPr/>
          </p:nvCxnSpPr>
          <p:spPr>
            <a:xfrm>
              <a:off x="7303163" y="7788475"/>
              <a:ext cx="1197725" cy="508147"/>
            </a:xfrm>
            <a:prstGeom prst="straightConnector1">
              <a:avLst/>
            </a:prstGeom>
            <a:ln w="381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grpSp>
        <p:nvGrpSpPr>
          <p:cNvPr id="3" name="Group 2"/>
          <p:cNvGrpSpPr/>
          <p:nvPr/>
        </p:nvGrpSpPr>
        <p:grpSpPr>
          <a:xfrm>
            <a:off x="12441677" y="7430272"/>
            <a:ext cx="1857945" cy="1566025"/>
            <a:chOff x="10276683" y="6937766"/>
            <a:chExt cx="1857946" cy="1566025"/>
          </a:xfrm>
        </p:grpSpPr>
        <p:sp>
          <p:nvSpPr>
            <p:cNvPr id="58" name="Oval 57"/>
            <p:cNvSpPr/>
            <p:nvPr/>
          </p:nvSpPr>
          <p:spPr>
            <a:xfrm>
              <a:off x="10954766" y="7501469"/>
              <a:ext cx="414338" cy="414338"/>
            </a:xfrm>
            <a:prstGeom prst="ellipse">
              <a:avLst/>
            </a:prstGeom>
            <a:solidFill>
              <a:srgbClr val="E8772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9" tIns="45720" rIns="91439" bIns="45720" numCol="1" spcCol="0" rtlCol="0" fromWordArt="0" anchor="ctr" anchorCtr="0" forceAA="0" compatLnSpc="1">
              <a:prstTxWarp prst="textNoShape">
                <a:avLst/>
              </a:prstTxWarp>
              <a:noAutofit/>
            </a:bodyPr>
            <a:lstStyle/>
            <a:p>
              <a:pPr algn="ctr"/>
              <a:endParaRPr lang="en-US" sz="1800" dirty="0" err="1"/>
            </a:p>
          </p:txBody>
        </p:sp>
        <p:sp>
          <p:nvSpPr>
            <p:cNvPr id="59" name="Oval 58"/>
            <p:cNvSpPr/>
            <p:nvPr/>
          </p:nvSpPr>
          <p:spPr>
            <a:xfrm>
              <a:off x="11720291" y="6937766"/>
              <a:ext cx="414338" cy="414338"/>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9" tIns="45720" rIns="91439" bIns="45720" numCol="1" spcCol="0" rtlCol="0" fromWordArt="0" anchor="ctr" anchorCtr="0" forceAA="0" compatLnSpc="1">
              <a:prstTxWarp prst="textNoShape">
                <a:avLst/>
              </a:prstTxWarp>
              <a:noAutofit/>
            </a:bodyPr>
            <a:lstStyle/>
            <a:p>
              <a:pPr algn="ctr"/>
              <a:endParaRPr lang="en-US" sz="1800" dirty="0" err="1"/>
            </a:p>
          </p:txBody>
        </p:sp>
        <p:sp>
          <p:nvSpPr>
            <p:cNvPr id="60" name="Oval 59"/>
            <p:cNvSpPr/>
            <p:nvPr/>
          </p:nvSpPr>
          <p:spPr>
            <a:xfrm>
              <a:off x="11681051" y="8089453"/>
              <a:ext cx="414338" cy="414338"/>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9" tIns="45720" rIns="91439" bIns="45720" numCol="1" spcCol="0" rtlCol="0" fromWordArt="0" anchor="ctr" anchorCtr="0" forceAA="0" compatLnSpc="1">
              <a:prstTxWarp prst="textNoShape">
                <a:avLst/>
              </a:prstTxWarp>
              <a:noAutofit/>
            </a:bodyPr>
            <a:lstStyle/>
            <a:p>
              <a:pPr algn="ctr"/>
              <a:endParaRPr lang="en-US" sz="1800" dirty="0" err="1"/>
            </a:p>
          </p:txBody>
        </p:sp>
        <p:cxnSp>
          <p:nvCxnSpPr>
            <p:cNvPr id="61" name="Straight Arrow Connector 60"/>
            <p:cNvCxnSpPr>
              <a:stCxn id="58" idx="7"/>
              <a:endCxn id="59" idx="3"/>
            </p:cNvCxnSpPr>
            <p:nvPr/>
          </p:nvCxnSpPr>
          <p:spPr>
            <a:xfrm flipV="1">
              <a:off x="11308426" y="7291426"/>
              <a:ext cx="472543" cy="270721"/>
            </a:xfrm>
            <a:prstGeom prst="straightConnector1">
              <a:avLst/>
            </a:prstGeom>
            <a:ln w="381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5" name="Straight Arrow Connector 64"/>
            <p:cNvCxnSpPr>
              <a:stCxn id="58" idx="5"/>
              <a:endCxn id="60" idx="1"/>
            </p:cNvCxnSpPr>
            <p:nvPr/>
          </p:nvCxnSpPr>
          <p:spPr>
            <a:xfrm>
              <a:off x="11308426" y="7855129"/>
              <a:ext cx="433303" cy="295002"/>
            </a:xfrm>
            <a:prstGeom prst="straightConnector1">
              <a:avLst/>
            </a:prstGeom>
            <a:ln w="381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71" name="Oval 70"/>
            <p:cNvSpPr/>
            <p:nvPr/>
          </p:nvSpPr>
          <p:spPr>
            <a:xfrm>
              <a:off x="10276683" y="6937766"/>
              <a:ext cx="414338" cy="414338"/>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9" tIns="45720" rIns="91439" bIns="45720" numCol="1" spcCol="0" rtlCol="0" fromWordArt="0" anchor="ctr" anchorCtr="0" forceAA="0" compatLnSpc="1">
              <a:prstTxWarp prst="textNoShape">
                <a:avLst/>
              </a:prstTxWarp>
              <a:noAutofit/>
            </a:bodyPr>
            <a:lstStyle/>
            <a:p>
              <a:pPr algn="ctr"/>
              <a:endParaRPr lang="en-US" sz="1800" dirty="0" err="1"/>
            </a:p>
          </p:txBody>
        </p:sp>
        <p:sp>
          <p:nvSpPr>
            <p:cNvPr id="72" name="Oval 71"/>
            <p:cNvSpPr/>
            <p:nvPr/>
          </p:nvSpPr>
          <p:spPr>
            <a:xfrm>
              <a:off x="10276683" y="8025411"/>
              <a:ext cx="414338" cy="414338"/>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9" tIns="45720" rIns="91439" bIns="45720" numCol="1" spcCol="0" rtlCol="0" fromWordArt="0" anchor="ctr" anchorCtr="0" forceAA="0" compatLnSpc="1">
              <a:prstTxWarp prst="textNoShape">
                <a:avLst/>
              </a:prstTxWarp>
              <a:noAutofit/>
            </a:bodyPr>
            <a:lstStyle/>
            <a:p>
              <a:pPr algn="ctr"/>
              <a:endParaRPr lang="en-US" sz="1800" dirty="0" err="1"/>
            </a:p>
          </p:txBody>
        </p:sp>
        <p:cxnSp>
          <p:nvCxnSpPr>
            <p:cNvPr id="75" name="Straight Arrow Connector 74"/>
            <p:cNvCxnSpPr>
              <a:stCxn id="58" idx="3"/>
              <a:endCxn id="72" idx="7"/>
            </p:cNvCxnSpPr>
            <p:nvPr/>
          </p:nvCxnSpPr>
          <p:spPr>
            <a:xfrm flipH="1">
              <a:off x="10630343" y="7855129"/>
              <a:ext cx="385101" cy="230960"/>
            </a:xfrm>
            <a:prstGeom prst="straightConnector1">
              <a:avLst/>
            </a:prstGeom>
            <a:ln w="381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8" name="Straight Arrow Connector 77"/>
            <p:cNvCxnSpPr>
              <a:stCxn id="58" idx="1"/>
              <a:endCxn id="71" idx="5"/>
            </p:cNvCxnSpPr>
            <p:nvPr/>
          </p:nvCxnSpPr>
          <p:spPr>
            <a:xfrm flipH="1" flipV="1">
              <a:off x="10630343" y="7291426"/>
              <a:ext cx="385101" cy="270721"/>
            </a:xfrm>
            <a:prstGeom prst="straightConnector1">
              <a:avLst/>
            </a:prstGeom>
            <a:ln w="381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sp>
        <p:nvSpPr>
          <p:cNvPr id="83" name="Oval 82"/>
          <p:cNvSpPr/>
          <p:nvPr/>
        </p:nvSpPr>
        <p:spPr>
          <a:xfrm>
            <a:off x="11769041" y="3363817"/>
            <a:ext cx="414338" cy="414338"/>
          </a:xfrm>
          <a:prstGeom prst="ellipse">
            <a:avLst/>
          </a:prstGeom>
          <a:solidFill>
            <a:srgbClr val="E8772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9" tIns="45720" rIns="91439" bIns="45720" numCol="1" spcCol="0" rtlCol="0" fromWordArt="0" anchor="ctr" anchorCtr="0" forceAA="0" compatLnSpc="1">
            <a:prstTxWarp prst="textNoShape">
              <a:avLst/>
            </a:prstTxWarp>
            <a:noAutofit/>
          </a:bodyPr>
          <a:lstStyle/>
          <a:p>
            <a:pPr algn="ctr"/>
            <a:endParaRPr lang="en-US" sz="1800" dirty="0" err="1"/>
          </a:p>
        </p:txBody>
      </p:sp>
      <p:sp>
        <p:nvSpPr>
          <p:cNvPr id="84" name="Oval 83"/>
          <p:cNvSpPr/>
          <p:nvPr/>
        </p:nvSpPr>
        <p:spPr>
          <a:xfrm>
            <a:off x="11444618" y="4028199"/>
            <a:ext cx="414338" cy="414338"/>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9" tIns="45720" rIns="91439" bIns="45720" numCol="1" spcCol="0" rtlCol="0" fromWordArt="0" anchor="ctr" anchorCtr="0" forceAA="0" compatLnSpc="1">
            <a:prstTxWarp prst="textNoShape">
              <a:avLst/>
            </a:prstTxWarp>
            <a:noAutofit/>
          </a:bodyPr>
          <a:lstStyle/>
          <a:p>
            <a:pPr algn="ctr"/>
            <a:endParaRPr lang="en-US" sz="1800" dirty="0" err="1"/>
          </a:p>
        </p:txBody>
      </p:sp>
      <p:sp>
        <p:nvSpPr>
          <p:cNvPr id="85" name="Oval 84"/>
          <p:cNvSpPr/>
          <p:nvPr/>
        </p:nvSpPr>
        <p:spPr>
          <a:xfrm>
            <a:off x="12145891" y="4011982"/>
            <a:ext cx="414338" cy="414338"/>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9" tIns="45720" rIns="91439" bIns="45720" numCol="1" spcCol="0" rtlCol="0" fromWordArt="0" anchor="ctr" anchorCtr="0" forceAA="0" compatLnSpc="1">
            <a:prstTxWarp prst="textNoShape">
              <a:avLst/>
            </a:prstTxWarp>
            <a:noAutofit/>
          </a:bodyPr>
          <a:lstStyle/>
          <a:p>
            <a:pPr algn="ctr"/>
            <a:endParaRPr lang="en-US" sz="1800" dirty="0" err="1"/>
          </a:p>
        </p:txBody>
      </p:sp>
      <p:sp>
        <p:nvSpPr>
          <p:cNvPr id="86" name="Oval 85"/>
          <p:cNvSpPr/>
          <p:nvPr/>
        </p:nvSpPr>
        <p:spPr>
          <a:xfrm>
            <a:off x="11671977" y="4749064"/>
            <a:ext cx="414338" cy="414338"/>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9" tIns="45720" rIns="91439" bIns="45720" numCol="1" spcCol="0" rtlCol="0" fromWordArt="0" anchor="ctr" anchorCtr="0" forceAA="0" compatLnSpc="1">
            <a:prstTxWarp prst="textNoShape">
              <a:avLst/>
            </a:prstTxWarp>
            <a:noAutofit/>
          </a:bodyPr>
          <a:lstStyle/>
          <a:p>
            <a:pPr algn="ctr"/>
            <a:endParaRPr lang="en-US" sz="1800" dirty="0" err="1"/>
          </a:p>
        </p:txBody>
      </p:sp>
      <p:sp>
        <p:nvSpPr>
          <p:cNvPr id="87" name="Oval 86"/>
          <p:cNvSpPr/>
          <p:nvPr/>
        </p:nvSpPr>
        <p:spPr>
          <a:xfrm>
            <a:off x="12348835" y="4750899"/>
            <a:ext cx="414338" cy="414338"/>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9" tIns="45720" rIns="91439" bIns="45720" numCol="1" spcCol="0" rtlCol="0" fromWordArt="0" anchor="ctr" anchorCtr="0" forceAA="0" compatLnSpc="1">
            <a:prstTxWarp prst="textNoShape">
              <a:avLst/>
            </a:prstTxWarp>
            <a:noAutofit/>
          </a:bodyPr>
          <a:lstStyle/>
          <a:p>
            <a:pPr algn="ctr"/>
            <a:endParaRPr lang="en-US" sz="1800" dirty="0" err="1"/>
          </a:p>
        </p:txBody>
      </p:sp>
      <p:cxnSp>
        <p:nvCxnSpPr>
          <p:cNvPr id="88" name="Straight Arrow Connector 87"/>
          <p:cNvCxnSpPr>
            <a:stCxn id="83" idx="5"/>
            <a:endCxn id="85" idx="1"/>
          </p:cNvCxnSpPr>
          <p:nvPr/>
        </p:nvCxnSpPr>
        <p:spPr>
          <a:xfrm>
            <a:off x="12122703" y="3717478"/>
            <a:ext cx="83868" cy="355183"/>
          </a:xfrm>
          <a:prstGeom prst="straightConnector1">
            <a:avLst/>
          </a:prstGeom>
          <a:ln w="381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92" name="Straight Arrow Connector 91"/>
          <p:cNvCxnSpPr>
            <a:stCxn id="83" idx="3"/>
            <a:endCxn id="84" idx="0"/>
          </p:cNvCxnSpPr>
          <p:nvPr/>
        </p:nvCxnSpPr>
        <p:spPr>
          <a:xfrm flipH="1">
            <a:off x="11651787" y="3717476"/>
            <a:ext cx="177932" cy="310722"/>
          </a:xfrm>
          <a:prstGeom prst="straightConnector1">
            <a:avLst/>
          </a:prstGeom>
          <a:ln w="381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96" name="Straight Arrow Connector 95"/>
          <p:cNvCxnSpPr>
            <a:stCxn id="84" idx="4"/>
            <a:endCxn id="86" idx="1"/>
          </p:cNvCxnSpPr>
          <p:nvPr/>
        </p:nvCxnSpPr>
        <p:spPr>
          <a:xfrm>
            <a:off x="11651788" y="4442536"/>
            <a:ext cx="80869" cy="367206"/>
          </a:xfrm>
          <a:prstGeom prst="straightConnector1">
            <a:avLst/>
          </a:prstGeom>
          <a:ln w="381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99" name="Straight Arrow Connector 98"/>
          <p:cNvCxnSpPr>
            <a:endCxn id="87" idx="0"/>
          </p:cNvCxnSpPr>
          <p:nvPr/>
        </p:nvCxnSpPr>
        <p:spPr>
          <a:xfrm>
            <a:off x="12441162" y="4404133"/>
            <a:ext cx="114841" cy="346768"/>
          </a:xfrm>
          <a:prstGeom prst="straightConnector1">
            <a:avLst/>
          </a:prstGeom>
          <a:ln w="381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01" name="Straight Arrow Connector 100"/>
          <p:cNvCxnSpPr>
            <a:stCxn id="86" idx="6"/>
            <a:endCxn id="87" idx="2"/>
          </p:cNvCxnSpPr>
          <p:nvPr/>
        </p:nvCxnSpPr>
        <p:spPr>
          <a:xfrm>
            <a:off x="12086316" y="4956235"/>
            <a:ext cx="262519" cy="1835"/>
          </a:xfrm>
          <a:prstGeom prst="straightConnector1">
            <a:avLst/>
          </a:prstGeom>
          <a:ln w="381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06" name="Oval 105"/>
          <p:cNvSpPr/>
          <p:nvPr/>
        </p:nvSpPr>
        <p:spPr>
          <a:xfrm>
            <a:off x="13235976" y="3316024"/>
            <a:ext cx="414338" cy="414338"/>
          </a:xfrm>
          <a:prstGeom prst="ellipse">
            <a:avLst/>
          </a:prstGeom>
          <a:solidFill>
            <a:srgbClr val="E8772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9" tIns="45720" rIns="91439" bIns="45720" numCol="1" spcCol="0" rtlCol="0" fromWordArt="0" anchor="ctr" anchorCtr="0" forceAA="0" compatLnSpc="1">
            <a:prstTxWarp prst="textNoShape">
              <a:avLst/>
            </a:prstTxWarp>
            <a:noAutofit/>
          </a:bodyPr>
          <a:lstStyle/>
          <a:p>
            <a:pPr algn="ctr"/>
            <a:endParaRPr lang="en-US" sz="1800" dirty="0" err="1"/>
          </a:p>
        </p:txBody>
      </p:sp>
      <p:sp>
        <p:nvSpPr>
          <p:cNvPr id="107" name="Oval 106"/>
          <p:cNvSpPr/>
          <p:nvPr/>
        </p:nvSpPr>
        <p:spPr>
          <a:xfrm>
            <a:off x="12911554" y="3980406"/>
            <a:ext cx="414338" cy="414338"/>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9" tIns="45720" rIns="91439" bIns="45720" numCol="1" spcCol="0" rtlCol="0" fromWordArt="0" anchor="ctr" anchorCtr="0" forceAA="0" compatLnSpc="1">
            <a:prstTxWarp prst="textNoShape">
              <a:avLst/>
            </a:prstTxWarp>
            <a:noAutofit/>
          </a:bodyPr>
          <a:lstStyle/>
          <a:p>
            <a:pPr algn="ctr"/>
            <a:endParaRPr lang="en-US" sz="1800" dirty="0" err="1"/>
          </a:p>
        </p:txBody>
      </p:sp>
      <p:sp>
        <p:nvSpPr>
          <p:cNvPr id="108" name="Oval 107"/>
          <p:cNvSpPr/>
          <p:nvPr/>
        </p:nvSpPr>
        <p:spPr>
          <a:xfrm>
            <a:off x="13612828" y="3964189"/>
            <a:ext cx="414338" cy="414338"/>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9" tIns="45720" rIns="91439" bIns="45720" numCol="1" spcCol="0" rtlCol="0" fromWordArt="0" anchor="ctr" anchorCtr="0" forceAA="0" compatLnSpc="1">
            <a:prstTxWarp prst="textNoShape">
              <a:avLst/>
            </a:prstTxWarp>
            <a:noAutofit/>
          </a:bodyPr>
          <a:lstStyle/>
          <a:p>
            <a:pPr algn="ctr"/>
            <a:endParaRPr lang="en-US" sz="1800" dirty="0" err="1"/>
          </a:p>
        </p:txBody>
      </p:sp>
      <p:sp>
        <p:nvSpPr>
          <p:cNvPr id="109" name="Oval 108"/>
          <p:cNvSpPr/>
          <p:nvPr/>
        </p:nvSpPr>
        <p:spPr>
          <a:xfrm>
            <a:off x="13138914" y="4701272"/>
            <a:ext cx="414338" cy="414338"/>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9" tIns="45720" rIns="91439" bIns="45720" numCol="1" spcCol="0" rtlCol="0" fromWordArt="0" anchor="ctr" anchorCtr="0" forceAA="0" compatLnSpc="1">
            <a:prstTxWarp prst="textNoShape">
              <a:avLst/>
            </a:prstTxWarp>
            <a:noAutofit/>
          </a:bodyPr>
          <a:lstStyle/>
          <a:p>
            <a:pPr algn="ctr"/>
            <a:endParaRPr lang="en-US" sz="1800" dirty="0" err="1"/>
          </a:p>
        </p:txBody>
      </p:sp>
      <p:sp>
        <p:nvSpPr>
          <p:cNvPr id="110" name="Oval 109"/>
          <p:cNvSpPr/>
          <p:nvPr/>
        </p:nvSpPr>
        <p:spPr>
          <a:xfrm>
            <a:off x="13815770" y="4703106"/>
            <a:ext cx="414338" cy="414338"/>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9" tIns="45720" rIns="91439" bIns="45720" numCol="1" spcCol="0" rtlCol="0" fromWordArt="0" anchor="ctr" anchorCtr="0" forceAA="0" compatLnSpc="1">
            <a:prstTxWarp prst="textNoShape">
              <a:avLst/>
            </a:prstTxWarp>
            <a:noAutofit/>
          </a:bodyPr>
          <a:lstStyle/>
          <a:p>
            <a:pPr algn="ctr"/>
            <a:endParaRPr lang="en-US" sz="1800" dirty="0" err="1"/>
          </a:p>
        </p:txBody>
      </p:sp>
      <p:cxnSp>
        <p:nvCxnSpPr>
          <p:cNvPr id="111" name="Straight Arrow Connector 110"/>
          <p:cNvCxnSpPr/>
          <p:nvPr/>
        </p:nvCxnSpPr>
        <p:spPr>
          <a:xfrm>
            <a:off x="13589639" y="3669685"/>
            <a:ext cx="83868" cy="355183"/>
          </a:xfrm>
          <a:prstGeom prst="straightConnector1">
            <a:avLst/>
          </a:prstGeom>
          <a:ln w="381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12" name="Straight Arrow Connector 111"/>
          <p:cNvCxnSpPr/>
          <p:nvPr/>
        </p:nvCxnSpPr>
        <p:spPr>
          <a:xfrm flipH="1">
            <a:off x="13118722" y="3669684"/>
            <a:ext cx="177932" cy="310722"/>
          </a:xfrm>
          <a:prstGeom prst="straightConnector1">
            <a:avLst/>
          </a:prstGeom>
          <a:ln w="381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13" name="Straight Arrow Connector 112"/>
          <p:cNvCxnSpPr/>
          <p:nvPr/>
        </p:nvCxnSpPr>
        <p:spPr>
          <a:xfrm>
            <a:off x="13118723" y="4394744"/>
            <a:ext cx="80869" cy="367206"/>
          </a:xfrm>
          <a:prstGeom prst="straightConnector1">
            <a:avLst/>
          </a:prstGeom>
          <a:ln w="381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14" name="Straight Arrow Connector 113"/>
          <p:cNvCxnSpPr/>
          <p:nvPr/>
        </p:nvCxnSpPr>
        <p:spPr>
          <a:xfrm>
            <a:off x="13908099" y="4356340"/>
            <a:ext cx="114841" cy="346768"/>
          </a:xfrm>
          <a:prstGeom prst="straightConnector1">
            <a:avLst/>
          </a:prstGeom>
          <a:ln w="381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15" name="Straight Arrow Connector 114"/>
          <p:cNvCxnSpPr/>
          <p:nvPr/>
        </p:nvCxnSpPr>
        <p:spPr>
          <a:xfrm>
            <a:off x="13553252" y="4908443"/>
            <a:ext cx="262519" cy="1835"/>
          </a:xfrm>
          <a:prstGeom prst="straightConnector1">
            <a:avLst/>
          </a:prstGeom>
          <a:ln w="381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16" name="Oval 115"/>
          <p:cNvSpPr/>
          <p:nvPr/>
        </p:nvSpPr>
        <p:spPr>
          <a:xfrm>
            <a:off x="3206880" y="6917199"/>
            <a:ext cx="414338" cy="414338"/>
          </a:xfrm>
          <a:prstGeom prst="ellipse">
            <a:avLst/>
          </a:prstGeom>
          <a:solidFill>
            <a:srgbClr val="E8772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9" tIns="45720" rIns="91439" bIns="45720" numCol="1" spcCol="0" rtlCol="0" fromWordArt="0" anchor="ctr" anchorCtr="0" forceAA="0" compatLnSpc="1">
            <a:prstTxWarp prst="textNoShape">
              <a:avLst/>
            </a:prstTxWarp>
            <a:noAutofit/>
          </a:bodyPr>
          <a:lstStyle/>
          <a:p>
            <a:pPr algn="ctr"/>
            <a:endParaRPr lang="en-US" sz="1800" dirty="0" err="1"/>
          </a:p>
        </p:txBody>
      </p:sp>
      <p:sp>
        <p:nvSpPr>
          <p:cNvPr id="117" name="Oval 116"/>
          <p:cNvSpPr/>
          <p:nvPr/>
        </p:nvSpPr>
        <p:spPr>
          <a:xfrm>
            <a:off x="2882456" y="7581580"/>
            <a:ext cx="414338" cy="414338"/>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9" tIns="45720" rIns="91439" bIns="45720" numCol="1" spcCol="0" rtlCol="0" fromWordArt="0" anchor="ctr" anchorCtr="0" forceAA="0" compatLnSpc="1">
            <a:prstTxWarp prst="textNoShape">
              <a:avLst/>
            </a:prstTxWarp>
            <a:noAutofit/>
          </a:bodyPr>
          <a:lstStyle/>
          <a:p>
            <a:pPr algn="ctr"/>
            <a:endParaRPr lang="en-US" sz="1800" dirty="0" err="1"/>
          </a:p>
        </p:txBody>
      </p:sp>
      <p:sp>
        <p:nvSpPr>
          <p:cNvPr id="118" name="Oval 117"/>
          <p:cNvSpPr/>
          <p:nvPr/>
        </p:nvSpPr>
        <p:spPr>
          <a:xfrm>
            <a:off x="3583731" y="7565363"/>
            <a:ext cx="414338" cy="414338"/>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9" tIns="45720" rIns="91439" bIns="45720" numCol="1" spcCol="0" rtlCol="0" fromWordArt="0" anchor="ctr" anchorCtr="0" forceAA="0" compatLnSpc="1">
            <a:prstTxWarp prst="textNoShape">
              <a:avLst/>
            </a:prstTxWarp>
            <a:noAutofit/>
          </a:bodyPr>
          <a:lstStyle/>
          <a:p>
            <a:pPr algn="ctr"/>
            <a:endParaRPr lang="en-US" sz="1800" dirty="0" err="1"/>
          </a:p>
        </p:txBody>
      </p:sp>
      <p:sp>
        <p:nvSpPr>
          <p:cNvPr id="119" name="Oval 118"/>
          <p:cNvSpPr/>
          <p:nvPr/>
        </p:nvSpPr>
        <p:spPr>
          <a:xfrm>
            <a:off x="3109816" y="8302446"/>
            <a:ext cx="414338" cy="414338"/>
          </a:xfrm>
          <a:prstGeom prst="ellipse">
            <a:avLst/>
          </a:prstGeom>
          <a:solidFill>
            <a:srgbClr val="E8772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9" tIns="45720" rIns="91439" bIns="45720" numCol="1" spcCol="0" rtlCol="0" fromWordArt="0" anchor="ctr" anchorCtr="0" forceAA="0" compatLnSpc="1">
            <a:prstTxWarp prst="textNoShape">
              <a:avLst/>
            </a:prstTxWarp>
            <a:noAutofit/>
          </a:bodyPr>
          <a:lstStyle/>
          <a:p>
            <a:pPr algn="ctr"/>
            <a:endParaRPr lang="en-US" sz="1800" dirty="0" err="1"/>
          </a:p>
        </p:txBody>
      </p:sp>
      <p:sp>
        <p:nvSpPr>
          <p:cNvPr id="120" name="Oval 119"/>
          <p:cNvSpPr/>
          <p:nvPr/>
        </p:nvSpPr>
        <p:spPr>
          <a:xfrm>
            <a:off x="3786674" y="8304281"/>
            <a:ext cx="414338" cy="414338"/>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9" tIns="45720" rIns="91439" bIns="45720" numCol="1" spcCol="0" rtlCol="0" fromWordArt="0" anchor="ctr" anchorCtr="0" forceAA="0" compatLnSpc="1">
            <a:prstTxWarp prst="textNoShape">
              <a:avLst/>
            </a:prstTxWarp>
            <a:noAutofit/>
          </a:bodyPr>
          <a:lstStyle/>
          <a:p>
            <a:pPr algn="ctr"/>
            <a:endParaRPr lang="en-US" sz="1800" dirty="0" err="1"/>
          </a:p>
        </p:txBody>
      </p:sp>
      <p:cxnSp>
        <p:nvCxnSpPr>
          <p:cNvPr id="121" name="Straight Arrow Connector 120"/>
          <p:cNvCxnSpPr/>
          <p:nvPr/>
        </p:nvCxnSpPr>
        <p:spPr>
          <a:xfrm>
            <a:off x="3560542" y="7270860"/>
            <a:ext cx="83868" cy="355183"/>
          </a:xfrm>
          <a:prstGeom prst="straightConnector1">
            <a:avLst/>
          </a:prstGeom>
          <a:ln w="381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22" name="Straight Arrow Connector 121"/>
          <p:cNvCxnSpPr/>
          <p:nvPr/>
        </p:nvCxnSpPr>
        <p:spPr>
          <a:xfrm flipH="1">
            <a:off x="3089626" y="7270857"/>
            <a:ext cx="177932" cy="310722"/>
          </a:xfrm>
          <a:prstGeom prst="straightConnector1">
            <a:avLst/>
          </a:prstGeom>
          <a:ln w="381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23" name="Straight Arrow Connector 122"/>
          <p:cNvCxnSpPr/>
          <p:nvPr/>
        </p:nvCxnSpPr>
        <p:spPr>
          <a:xfrm>
            <a:off x="3089627" y="7995917"/>
            <a:ext cx="80869" cy="367206"/>
          </a:xfrm>
          <a:prstGeom prst="straightConnector1">
            <a:avLst/>
          </a:prstGeom>
          <a:ln w="381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24" name="Straight Arrow Connector 123"/>
          <p:cNvCxnSpPr/>
          <p:nvPr/>
        </p:nvCxnSpPr>
        <p:spPr>
          <a:xfrm>
            <a:off x="3879001" y="7957514"/>
            <a:ext cx="114841" cy="346768"/>
          </a:xfrm>
          <a:prstGeom prst="straightConnector1">
            <a:avLst/>
          </a:prstGeom>
          <a:ln w="381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25" name="Straight Arrow Connector 124"/>
          <p:cNvCxnSpPr/>
          <p:nvPr/>
        </p:nvCxnSpPr>
        <p:spPr>
          <a:xfrm>
            <a:off x="3524156" y="8509617"/>
            <a:ext cx="262519" cy="1835"/>
          </a:xfrm>
          <a:prstGeom prst="straightConnector1">
            <a:avLst/>
          </a:prstGeom>
          <a:ln w="381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27" name="Straight Arrow Connector 126"/>
          <p:cNvCxnSpPr>
            <a:stCxn id="29" idx="0"/>
            <a:endCxn id="26" idx="4"/>
          </p:cNvCxnSpPr>
          <p:nvPr/>
        </p:nvCxnSpPr>
        <p:spPr>
          <a:xfrm flipV="1">
            <a:off x="8903740" y="4279829"/>
            <a:ext cx="290517" cy="637102"/>
          </a:xfrm>
          <a:prstGeom prst="straightConnector1">
            <a:avLst/>
          </a:prstGeom>
          <a:ln w="381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77" name="Rectangle 76">
            <a:extLst>
              <a:ext uri="{FF2B5EF4-FFF2-40B4-BE49-F238E27FC236}">
                <a16:creationId xmlns:a16="http://schemas.microsoft.com/office/drawing/2014/main" id="{2A798BF4-C73F-924F-B920-83575889F2A6}"/>
              </a:ext>
            </a:extLst>
          </p:cNvPr>
          <p:cNvSpPr/>
          <p:nvPr/>
        </p:nvSpPr>
        <p:spPr>
          <a:xfrm>
            <a:off x="4793900" y="4335584"/>
            <a:ext cx="695325" cy="414338"/>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9" tIns="45720" rIns="91439" bIns="45720" numCol="1" spcCol="0" rtlCol="0" fromWordArt="0" anchor="ctr" anchorCtr="0" forceAA="0" compatLnSpc="1">
            <a:prstTxWarp prst="textNoShape">
              <a:avLst/>
            </a:prstTxWarp>
            <a:noAutofit/>
          </a:bodyPr>
          <a:lstStyle/>
          <a:p>
            <a:pPr algn="ctr"/>
            <a:r>
              <a:rPr lang="en-US" sz="1800" dirty="0"/>
              <a:t>Data</a:t>
            </a:r>
          </a:p>
        </p:txBody>
      </p:sp>
      <p:cxnSp>
        <p:nvCxnSpPr>
          <p:cNvPr id="79" name="Straight Arrow Connector 78">
            <a:extLst>
              <a:ext uri="{FF2B5EF4-FFF2-40B4-BE49-F238E27FC236}">
                <a16:creationId xmlns:a16="http://schemas.microsoft.com/office/drawing/2014/main" id="{4FC90FBA-ABB1-3E40-B2F5-8B841051ED05}"/>
              </a:ext>
            </a:extLst>
          </p:cNvPr>
          <p:cNvCxnSpPr>
            <a:cxnSpLocks/>
            <a:stCxn id="12" idx="3"/>
            <a:endCxn id="77" idx="1"/>
          </p:cNvCxnSpPr>
          <p:nvPr/>
        </p:nvCxnSpPr>
        <p:spPr>
          <a:xfrm>
            <a:off x="4233512" y="3943945"/>
            <a:ext cx="560388" cy="598809"/>
          </a:xfrm>
          <a:prstGeom prst="straightConnector1">
            <a:avLst/>
          </a:prstGeom>
          <a:ln w="381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53747657"/>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a:t>Knowledge Triangle</a:t>
            </a:r>
          </a:p>
        </p:txBody>
      </p:sp>
      <p:sp>
        <p:nvSpPr>
          <p:cNvPr id="3" name="Slide Number Placeholder 2"/>
          <p:cNvSpPr>
            <a:spLocks noGrp="1"/>
          </p:cNvSpPr>
          <p:nvPr>
            <p:ph type="sldNum" sz="quarter" idx="12"/>
          </p:nvPr>
        </p:nvSpPr>
        <p:spPr/>
        <p:txBody>
          <a:bodyPr/>
          <a:lstStyle/>
          <a:p>
            <a:fld id="{3310D8EA-3107-4873-B9AB-DD7D3E79053A}" type="slidenum">
              <a:rPr lang="en-US" smtClean="0"/>
              <a:t>33</a:t>
            </a:fld>
            <a:endParaRPr lang="en-US"/>
          </a:p>
        </p:txBody>
      </p:sp>
      <p:sp>
        <p:nvSpPr>
          <p:cNvPr id="5" name="TextBox 4"/>
          <p:cNvSpPr txBox="1"/>
          <p:nvPr/>
        </p:nvSpPr>
        <p:spPr>
          <a:xfrm>
            <a:off x="9598330" y="8899612"/>
            <a:ext cx="7629993" cy="464614"/>
          </a:xfrm>
          <a:prstGeom prst="rect">
            <a:avLst/>
          </a:prstGeom>
          <a:noFill/>
        </p:spPr>
        <p:txBody>
          <a:bodyPr wrap="square" rtlCol="0">
            <a:spAutoFit/>
          </a:bodyPr>
          <a:lstStyle/>
          <a:p>
            <a:r>
              <a:rPr lang="en-US" dirty="0"/>
              <a:t>https://</a:t>
            </a:r>
            <a:r>
              <a:rPr lang="en-US" dirty="0" err="1"/>
              <a:t>en.wikipedia.org</a:t>
            </a:r>
            <a:r>
              <a:rPr lang="en-US" dirty="0"/>
              <a:t>/wiki/</a:t>
            </a:r>
            <a:r>
              <a:rPr lang="en-US" dirty="0" err="1"/>
              <a:t>DIKW_pyramid</a:t>
            </a:r>
            <a:endParaRPr lang="en-US" dirty="0"/>
          </a:p>
        </p:txBody>
      </p:sp>
      <p:sp>
        <p:nvSpPr>
          <p:cNvPr id="9" name="TextBox 8"/>
          <p:cNvSpPr txBox="1"/>
          <p:nvPr/>
        </p:nvSpPr>
        <p:spPr>
          <a:xfrm>
            <a:off x="726438" y="2355646"/>
            <a:ext cx="8112291" cy="5447645"/>
          </a:xfrm>
          <a:prstGeom prst="rect">
            <a:avLst/>
          </a:prstGeom>
          <a:noFill/>
        </p:spPr>
        <p:txBody>
          <a:bodyPr wrap="square" rtlCol="0">
            <a:spAutoFit/>
          </a:bodyPr>
          <a:lstStyle/>
          <a:p>
            <a:pPr marL="457200" indent="-457200">
              <a:spcAft>
                <a:spcPts val="800"/>
              </a:spcAft>
              <a:buFont typeface="Arial" charset="0"/>
              <a:buChar char="•"/>
            </a:pPr>
            <a:r>
              <a:rPr lang="en-US" sz="2800" dirty="0"/>
              <a:t>The Knowledge Triangle (aka “DIKW” pyramid)</a:t>
            </a:r>
          </a:p>
          <a:p>
            <a:pPr marL="457200" indent="-457200">
              <a:spcAft>
                <a:spcPts val="800"/>
              </a:spcAft>
              <a:buFont typeface="Arial" charset="0"/>
              <a:buChar char="•"/>
            </a:pPr>
            <a:r>
              <a:rPr lang="en-US" sz="2800" dirty="0"/>
              <a:t>Diagram for representing the relationships between data, information, knowledge</a:t>
            </a:r>
          </a:p>
          <a:p>
            <a:pPr marL="457200" indent="-457200">
              <a:spcAft>
                <a:spcPts val="800"/>
              </a:spcAft>
              <a:buFont typeface="Arial" charset="0"/>
              <a:buChar char="•"/>
            </a:pPr>
            <a:r>
              <a:rPr lang="en-US" sz="2800" dirty="0"/>
              <a:t>Too often we focus on “Big Data” and not enough on connected knowledge and </a:t>
            </a:r>
            <a:r>
              <a:rPr lang="en-US" sz="2800" b="1" dirty="0"/>
              <a:t>transferrable</a:t>
            </a:r>
            <a:r>
              <a:rPr lang="en-US" sz="2800" dirty="0"/>
              <a:t> knowledge</a:t>
            </a:r>
          </a:p>
          <a:p>
            <a:pPr marL="457200" indent="-457200">
              <a:spcAft>
                <a:spcPts val="800"/>
              </a:spcAft>
              <a:buFont typeface="Arial" charset="0"/>
              <a:buChar char="•"/>
            </a:pPr>
            <a:r>
              <a:rPr lang="en-US" sz="2800" dirty="0"/>
              <a:t>Graphs are connected information concepts</a:t>
            </a:r>
          </a:p>
          <a:p>
            <a:pPr marL="457200" indent="-457200">
              <a:spcAft>
                <a:spcPts val="800"/>
              </a:spcAft>
              <a:buFont typeface="Arial" charset="0"/>
              <a:buChar char="•"/>
            </a:pPr>
            <a:r>
              <a:rPr lang="en-US" sz="2800" dirty="0"/>
              <a:t>Wisdom is reusable across multiple context</a:t>
            </a:r>
          </a:p>
          <a:p>
            <a:pPr marL="457200" indent="-457200">
              <a:spcAft>
                <a:spcPts val="800"/>
              </a:spcAft>
              <a:buFont typeface="Arial" charset="0"/>
              <a:buChar char="•"/>
            </a:pPr>
            <a:r>
              <a:rPr lang="en-US" sz="2800" dirty="0"/>
              <a:t>Can we capture knowledge in a form that can be reused across multiple domains?</a:t>
            </a:r>
          </a:p>
          <a:p>
            <a:pPr>
              <a:spcAft>
                <a:spcPts val="800"/>
              </a:spcAft>
            </a:pPr>
            <a:endParaRPr lang="en-US" sz="2800" dirty="0"/>
          </a:p>
        </p:txBody>
      </p:sp>
      <p:sp>
        <p:nvSpPr>
          <p:cNvPr id="11" name="Trapezoid 10"/>
          <p:cNvSpPr/>
          <p:nvPr/>
        </p:nvSpPr>
        <p:spPr>
          <a:xfrm>
            <a:off x="8855075" y="6603887"/>
            <a:ext cx="7613650" cy="1401308"/>
          </a:xfrm>
          <a:prstGeom prst="trapezoid">
            <a:avLst>
              <a:gd name="adj" fmla="val 62025"/>
            </a:avLst>
          </a:prstGeom>
          <a:solidFill>
            <a:schemeClr val="accent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b="1" dirty="0">
                <a:solidFill>
                  <a:schemeClr val="tx1"/>
                </a:solidFill>
              </a:rPr>
              <a:t>Data</a:t>
            </a:r>
            <a:r>
              <a:rPr lang="en-US" dirty="0"/>
              <a:t> - Binary, Codes, Data Lakes</a:t>
            </a:r>
          </a:p>
        </p:txBody>
      </p:sp>
      <p:sp>
        <p:nvSpPr>
          <p:cNvPr id="12" name="Trapezoid 11"/>
          <p:cNvSpPr/>
          <p:nvPr/>
        </p:nvSpPr>
        <p:spPr>
          <a:xfrm>
            <a:off x="9725562" y="5202579"/>
            <a:ext cx="5878366" cy="1401308"/>
          </a:xfrm>
          <a:prstGeom prst="trapezoid">
            <a:avLst>
              <a:gd name="adj" fmla="val 61688"/>
            </a:avLst>
          </a:prstGeom>
          <a:solidFill>
            <a:schemeClr val="accent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b="1" dirty="0">
                <a:solidFill>
                  <a:schemeClr val="tx1"/>
                </a:solidFill>
              </a:rPr>
              <a:t>Information - </a:t>
            </a:r>
            <a:r>
              <a:rPr lang="en-US" dirty="0">
                <a:solidFill>
                  <a:schemeClr val="bg1"/>
                </a:solidFill>
              </a:rPr>
              <a:t>Concepts</a:t>
            </a:r>
          </a:p>
        </p:txBody>
      </p:sp>
      <p:sp>
        <p:nvSpPr>
          <p:cNvPr id="17" name="Triangle 16"/>
          <p:cNvSpPr/>
          <p:nvPr/>
        </p:nvSpPr>
        <p:spPr>
          <a:xfrm>
            <a:off x="10598047" y="1970507"/>
            <a:ext cx="4137284" cy="3232071"/>
          </a:xfrm>
          <a:prstGeom prst="triangle">
            <a:avLst/>
          </a:prstGeom>
          <a:solidFill>
            <a:schemeClr val="bg1">
              <a:lumMod val="8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b="1" dirty="0">
                <a:solidFill>
                  <a:schemeClr val="tx1"/>
                </a:solidFill>
              </a:rPr>
              <a:t>Knowledge</a:t>
            </a:r>
            <a:r>
              <a:rPr lang="en-US" dirty="0">
                <a:solidFill>
                  <a:schemeClr val="tx1"/>
                </a:solidFill>
              </a:rPr>
              <a:t> Patterns Relationships</a:t>
            </a:r>
          </a:p>
        </p:txBody>
      </p:sp>
    </p:spTree>
    <p:extLst>
      <p:ext uri="{BB962C8B-B14F-4D97-AF65-F5344CB8AC3E}">
        <p14:creationId xmlns:p14="http://schemas.microsoft.com/office/powerpoint/2010/main" val="1922440174"/>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4" name="Picture 33"/>
          <p:cNvPicPr>
            <a:picLocks noChangeAspect="1"/>
          </p:cNvPicPr>
          <p:nvPr/>
        </p:nvPicPr>
        <p:blipFill>
          <a:blip r:embed="rId3"/>
          <a:stretch>
            <a:fillRect/>
          </a:stretch>
        </p:blipFill>
        <p:spPr>
          <a:xfrm>
            <a:off x="8014406" y="3271422"/>
            <a:ext cx="5640435" cy="1384161"/>
          </a:xfrm>
          <a:prstGeom prst="rect">
            <a:avLst/>
          </a:prstGeom>
          <a:solidFill>
            <a:schemeClr val="bg1">
              <a:lumMod val="95000"/>
              <a:alpha val="24000"/>
            </a:schemeClr>
          </a:solidFill>
          <a:ln>
            <a:solidFill>
              <a:schemeClr val="tx1"/>
            </a:solidFill>
          </a:ln>
        </p:spPr>
      </p:pic>
      <p:sp>
        <p:nvSpPr>
          <p:cNvPr id="2" name="Title 1"/>
          <p:cNvSpPr>
            <a:spLocks noGrp="1"/>
          </p:cNvSpPr>
          <p:nvPr>
            <p:ph type="title"/>
          </p:nvPr>
        </p:nvSpPr>
        <p:spPr>
          <a:xfrm>
            <a:off x="604598" y="782122"/>
            <a:ext cx="14427518" cy="796054"/>
          </a:xfrm>
        </p:spPr>
        <p:txBody>
          <a:bodyPr/>
          <a:lstStyle/>
          <a:p>
            <a:r>
              <a:rPr lang="en-US" b="1" dirty="0"/>
              <a:t>From Raw Data to Connected Knowledge</a:t>
            </a:r>
          </a:p>
        </p:txBody>
      </p:sp>
      <p:sp>
        <p:nvSpPr>
          <p:cNvPr id="5" name="Slide Number Placeholder 4"/>
          <p:cNvSpPr>
            <a:spLocks noGrp="1"/>
          </p:cNvSpPr>
          <p:nvPr>
            <p:ph type="sldNum" sz="quarter" idx="12"/>
          </p:nvPr>
        </p:nvSpPr>
        <p:spPr/>
        <p:txBody>
          <a:bodyPr/>
          <a:lstStyle/>
          <a:p>
            <a:fld id="{3310D8EA-3107-4873-B9AB-DD7D3E79053A}" type="slidenum">
              <a:rPr lang="en-US" smtClean="0"/>
              <a:t>34</a:t>
            </a:fld>
            <a:endParaRPr lang="en-US"/>
          </a:p>
        </p:txBody>
      </p:sp>
      <p:pic>
        <p:nvPicPr>
          <p:cNvPr id="7" name="Picture 6"/>
          <p:cNvPicPr>
            <a:picLocks noChangeAspect="1"/>
          </p:cNvPicPr>
          <p:nvPr/>
        </p:nvPicPr>
        <p:blipFill>
          <a:blip r:embed="rId4"/>
          <a:stretch>
            <a:fillRect/>
          </a:stretch>
        </p:blipFill>
        <p:spPr>
          <a:xfrm>
            <a:off x="7147494" y="6892653"/>
            <a:ext cx="7035624" cy="1435639"/>
          </a:xfrm>
          <a:prstGeom prst="rect">
            <a:avLst/>
          </a:prstGeom>
        </p:spPr>
      </p:pic>
      <p:sp>
        <p:nvSpPr>
          <p:cNvPr id="8" name="Up Arrow 7"/>
          <p:cNvSpPr/>
          <p:nvPr/>
        </p:nvSpPr>
        <p:spPr>
          <a:xfrm>
            <a:off x="9844039" y="6435452"/>
            <a:ext cx="1642533" cy="457200"/>
          </a:xfrm>
          <a:prstGeom prst="upArrow">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9" name="Rectangle 8"/>
          <p:cNvSpPr/>
          <p:nvPr/>
        </p:nvSpPr>
        <p:spPr>
          <a:xfrm>
            <a:off x="7383259" y="5083100"/>
            <a:ext cx="6586108" cy="138624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10" name="Up Arrow 9"/>
          <p:cNvSpPr/>
          <p:nvPr/>
        </p:nvSpPr>
        <p:spPr>
          <a:xfrm>
            <a:off x="9855048" y="4629161"/>
            <a:ext cx="1642533" cy="457200"/>
          </a:xfrm>
          <a:prstGeom prst="upArrow">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11" name="Rectangle 10"/>
          <p:cNvSpPr/>
          <p:nvPr/>
        </p:nvSpPr>
        <p:spPr>
          <a:xfrm>
            <a:off x="7981399" y="3273764"/>
            <a:ext cx="5640435" cy="1381819"/>
          </a:xfrm>
          <a:prstGeom prst="rect">
            <a:avLst/>
          </a:prstGeom>
          <a:solidFill>
            <a:schemeClr val="bg1">
              <a:lumMod val="95000"/>
              <a:alpha val="6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solidFill>
                <a:srgbClr val="E87722"/>
              </a:solidFill>
            </a:endParaRPr>
          </a:p>
        </p:txBody>
      </p:sp>
      <p:sp>
        <p:nvSpPr>
          <p:cNvPr id="14" name="TextBox 13"/>
          <p:cNvSpPr txBox="1"/>
          <p:nvPr/>
        </p:nvSpPr>
        <p:spPr>
          <a:xfrm>
            <a:off x="2918174" y="2658529"/>
            <a:ext cx="4182533" cy="836896"/>
          </a:xfrm>
          <a:prstGeom prst="rect">
            <a:avLst/>
          </a:prstGeom>
          <a:noFill/>
        </p:spPr>
        <p:txBody>
          <a:bodyPr wrap="square" rtlCol="0">
            <a:spAutoFit/>
          </a:bodyPr>
          <a:lstStyle/>
          <a:p>
            <a:r>
              <a:rPr lang="en-US" dirty="0"/>
              <a:t>Knowledge can be </a:t>
            </a:r>
            <a:r>
              <a:rPr lang="en-US" b="1" dirty="0"/>
              <a:t>reused</a:t>
            </a:r>
            <a:r>
              <a:rPr lang="en-US" dirty="0"/>
              <a:t> across multiple context</a:t>
            </a:r>
          </a:p>
        </p:txBody>
      </p:sp>
      <p:sp>
        <p:nvSpPr>
          <p:cNvPr id="15" name="TextBox 14"/>
          <p:cNvSpPr txBox="1"/>
          <p:nvPr/>
        </p:nvSpPr>
        <p:spPr>
          <a:xfrm>
            <a:off x="14298538" y="7194694"/>
            <a:ext cx="893193" cy="836896"/>
          </a:xfrm>
          <a:prstGeom prst="rect">
            <a:avLst/>
          </a:prstGeom>
          <a:noFill/>
        </p:spPr>
        <p:txBody>
          <a:bodyPr wrap="none" rtlCol="0">
            <a:spAutoFit/>
          </a:bodyPr>
          <a:lstStyle/>
          <a:p>
            <a:r>
              <a:rPr lang="en-US" b="1" dirty="0">
                <a:solidFill>
                  <a:schemeClr val="accent1"/>
                </a:solidFill>
              </a:rPr>
              <a:t>Data</a:t>
            </a:r>
          </a:p>
          <a:p>
            <a:r>
              <a:rPr lang="en-US" b="1" dirty="0">
                <a:solidFill>
                  <a:schemeClr val="accent1"/>
                </a:solidFill>
              </a:rPr>
              <a:t>Lake</a:t>
            </a:r>
          </a:p>
        </p:txBody>
      </p:sp>
      <p:sp>
        <p:nvSpPr>
          <p:cNvPr id="16" name="TextBox 15"/>
          <p:cNvSpPr txBox="1"/>
          <p:nvPr/>
        </p:nvSpPr>
        <p:spPr>
          <a:xfrm>
            <a:off x="14060593" y="5632461"/>
            <a:ext cx="1888659" cy="464614"/>
          </a:xfrm>
          <a:prstGeom prst="rect">
            <a:avLst/>
          </a:prstGeom>
          <a:noFill/>
        </p:spPr>
        <p:txBody>
          <a:bodyPr wrap="none" rtlCol="0">
            <a:spAutoFit/>
          </a:bodyPr>
          <a:lstStyle/>
          <a:p>
            <a:r>
              <a:rPr lang="en-US" b="1" dirty="0">
                <a:solidFill>
                  <a:schemeClr val="accent1"/>
                </a:solidFill>
              </a:rPr>
              <a:t>Information</a:t>
            </a:r>
          </a:p>
        </p:txBody>
      </p:sp>
      <p:sp>
        <p:nvSpPr>
          <p:cNvPr id="17" name="TextBox 16"/>
          <p:cNvSpPr txBox="1"/>
          <p:nvPr/>
        </p:nvSpPr>
        <p:spPr>
          <a:xfrm>
            <a:off x="13808423" y="3614793"/>
            <a:ext cx="1840568" cy="836896"/>
          </a:xfrm>
          <a:prstGeom prst="rect">
            <a:avLst/>
          </a:prstGeom>
          <a:noFill/>
        </p:spPr>
        <p:txBody>
          <a:bodyPr wrap="none" rtlCol="0">
            <a:spAutoFit/>
          </a:bodyPr>
          <a:lstStyle/>
          <a:p>
            <a:r>
              <a:rPr lang="en-US" b="1" dirty="0">
                <a:solidFill>
                  <a:schemeClr val="accent1"/>
                </a:solidFill>
              </a:rPr>
              <a:t>Knowledge</a:t>
            </a:r>
          </a:p>
          <a:p>
            <a:r>
              <a:rPr lang="en-US" b="1" dirty="0">
                <a:solidFill>
                  <a:schemeClr val="accent1"/>
                </a:solidFill>
              </a:rPr>
              <a:t>Graph</a:t>
            </a:r>
          </a:p>
        </p:txBody>
      </p:sp>
      <p:sp>
        <p:nvSpPr>
          <p:cNvPr id="19" name="TextBox 18"/>
          <p:cNvSpPr txBox="1"/>
          <p:nvPr/>
        </p:nvSpPr>
        <p:spPr>
          <a:xfrm>
            <a:off x="1861201" y="7512164"/>
            <a:ext cx="3568594" cy="1209177"/>
          </a:xfrm>
          <a:prstGeom prst="rect">
            <a:avLst/>
          </a:prstGeom>
          <a:noFill/>
        </p:spPr>
        <p:txBody>
          <a:bodyPr wrap="square" rtlCol="0">
            <a:spAutoFit/>
          </a:bodyPr>
          <a:lstStyle/>
          <a:p>
            <a:r>
              <a:rPr lang="en-US" sz="2400" dirty="0"/>
              <a:t>Raw data dumped from a database, log files or documents</a:t>
            </a:r>
          </a:p>
        </p:txBody>
      </p:sp>
      <p:sp>
        <p:nvSpPr>
          <p:cNvPr id="20" name="TextBox 19"/>
          <p:cNvSpPr txBox="1"/>
          <p:nvPr/>
        </p:nvSpPr>
        <p:spPr>
          <a:xfrm>
            <a:off x="7726819" y="5277125"/>
            <a:ext cx="1856534" cy="464614"/>
          </a:xfrm>
          <a:prstGeom prst="rect">
            <a:avLst/>
          </a:prstGeom>
          <a:noFill/>
        </p:spPr>
        <p:txBody>
          <a:bodyPr wrap="none" rtlCol="0">
            <a:spAutoFit/>
          </a:bodyPr>
          <a:lstStyle/>
          <a:p>
            <a:r>
              <a:rPr lang="en-US">
                <a:solidFill>
                  <a:schemeClr val="bg1"/>
                </a:solidFill>
              </a:rPr>
              <a:t>Tagged Text</a:t>
            </a:r>
            <a:endParaRPr lang="en-US" dirty="0">
              <a:solidFill>
                <a:schemeClr val="bg1"/>
              </a:solidFill>
            </a:endParaRPr>
          </a:p>
        </p:txBody>
      </p:sp>
      <p:sp>
        <p:nvSpPr>
          <p:cNvPr id="21" name="TextBox 20"/>
          <p:cNvSpPr txBox="1"/>
          <p:nvPr/>
        </p:nvSpPr>
        <p:spPr>
          <a:xfrm>
            <a:off x="8137379" y="3392799"/>
            <a:ext cx="2063385" cy="464614"/>
          </a:xfrm>
          <a:prstGeom prst="rect">
            <a:avLst/>
          </a:prstGeom>
          <a:noFill/>
        </p:spPr>
        <p:txBody>
          <a:bodyPr wrap="none" rtlCol="0">
            <a:spAutoFit/>
          </a:bodyPr>
          <a:lstStyle/>
          <a:p>
            <a:r>
              <a:rPr lang="en-US" b="1" dirty="0">
                <a:solidFill>
                  <a:srgbClr val="E87722"/>
                </a:solidFill>
              </a:rPr>
              <a:t>Connections</a:t>
            </a:r>
          </a:p>
        </p:txBody>
      </p:sp>
      <p:sp>
        <p:nvSpPr>
          <p:cNvPr id="22" name="TextBox 21"/>
          <p:cNvSpPr txBox="1"/>
          <p:nvPr/>
        </p:nvSpPr>
        <p:spPr>
          <a:xfrm>
            <a:off x="9737435" y="3919711"/>
            <a:ext cx="1787669" cy="464614"/>
          </a:xfrm>
          <a:prstGeom prst="rect">
            <a:avLst/>
          </a:prstGeom>
          <a:noFill/>
        </p:spPr>
        <p:txBody>
          <a:bodyPr wrap="none" rtlCol="0">
            <a:spAutoFit/>
          </a:bodyPr>
          <a:lstStyle/>
          <a:p>
            <a:r>
              <a:rPr lang="en-US" b="1" dirty="0">
                <a:solidFill>
                  <a:srgbClr val="E87722"/>
                </a:solidFill>
              </a:rPr>
              <a:t>Consistent</a:t>
            </a:r>
          </a:p>
        </p:txBody>
      </p:sp>
      <p:sp>
        <p:nvSpPr>
          <p:cNvPr id="23" name="TextBox 22"/>
          <p:cNvSpPr txBox="1"/>
          <p:nvPr/>
        </p:nvSpPr>
        <p:spPr>
          <a:xfrm>
            <a:off x="10944188" y="3495425"/>
            <a:ext cx="2236510" cy="464614"/>
          </a:xfrm>
          <a:prstGeom prst="rect">
            <a:avLst/>
          </a:prstGeom>
          <a:noFill/>
        </p:spPr>
        <p:txBody>
          <a:bodyPr wrap="none" rtlCol="0">
            <a:spAutoFit/>
          </a:bodyPr>
          <a:lstStyle/>
          <a:p>
            <a:r>
              <a:rPr lang="en-US" b="1" dirty="0">
                <a:solidFill>
                  <a:srgbClr val="E87722"/>
                </a:solidFill>
              </a:rPr>
              <a:t>De-duplicated</a:t>
            </a:r>
          </a:p>
        </p:txBody>
      </p:sp>
      <p:sp>
        <p:nvSpPr>
          <p:cNvPr id="24" name="TextBox 23"/>
          <p:cNvSpPr txBox="1"/>
          <p:nvPr/>
        </p:nvSpPr>
        <p:spPr>
          <a:xfrm>
            <a:off x="7646264" y="5792651"/>
            <a:ext cx="1635384" cy="464614"/>
          </a:xfrm>
          <a:prstGeom prst="rect">
            <a:avLst/>
          </a:prstGeom>
          <a:noFill/>
        </p:spPr>
        <p:txBody>
          <a:bodyPr wrap="none" rtlCol="0">
            <a:spAutoFit/>
          </a:bodyPr>
          <a:lstStyle/>
          <a:p>
            <a:r>
              <a:rPr lang="en-US" dirty="0">
                <a:solidFill>
                  <a:schemeClr val="bg1"/>
                </a:solidFill>
              </a:rPr>
              <a:t>Semantics</a:t>
            </a:r>
          </a:p>
        </p:txBody>
      </p:sp>
      <p:sp>
        <p:nvSpPr>
          <p:cNvPr id="25" name="TextBox 24"/>
          <p:cNvSpPr txBox="1"/>
          <p:nvPr/>
        </p:nvSpPr>
        <p:spPr>
          <a:xfrm>
            <a:off x="10091401" y="5273390"/>
            <a:ext cx="1499128" cy="464614"/>
          </a:xfrm>
          <a:prstGeom prst="rect">
            <a:avLst/>
          </a:prstGeom>
          <a:noFill/>
        </p:spPr>
        <p:txBody>
          <a:bodyPr wrap="none" rtlCol="0">
            <a:spAutoFit/>
          </a:bodyPr>
          <a:lstStyle/>
          <a:p>
            <a:r>
              <a:rPr lang="en-US" dirty="0">
                <a:solidFill>
                  <a:schemeClr val="bg1"/>
                </a:solidFill>
              </a:rPr>
              <a:t>Concepts</a:t>
            </a:r>
          </a:p>
        </p:txBody>
      </p:sp>
      <p:sp>
        <p:nvSpPr>
          <p:cNvPr id="26" name="TextBox 25"/>
          <p:cNvSpPr txBox="1"/>
          <p:nvPr/>
        </p:nvSpPr>
        <p:spPr>
          <a:xfrm>
            <a:off x="8565598" y="2539118"/>
            <a:ext cx="4081951" cy="464614"/>
          </a:xfrm>
          <a:prstGeom prst="rect">
            <a:avLst/>
          </a:prstGeom>
          <a:noFill/>
        </p:spPr>
        <p:txBody>
          <a:bodyPr wrap="none" rtlCol="0">
            <a:spAutoFit/>
          </a:bodyPr>
          <a:lstStyle/>
          <a:p>
            <a:r>
              <a:rPr lang="en-US" b="1" dirty="0">
                <a:solidFill>
                  <a:schemeClr val="bg1"/>
                </a:solidFill>
              </a:rPr>
              <a:t>Reusable</a:t>
            </a:r>
            <a:r>
              <a:rPr lang="en-US" dirty="0">
                <a:solidFill>
                  <a:schemeClr val="bg1"/>
                </a:solidFill>
              </a:rPr>
              <a:t> To New Problems</a:t>
            </a:r>
          </a:p>
        </p:txBody>
      </p:sp>
      <p:sp>
        <p:nvSpPr>
          <p:cNvPr id="27" name="TextBox 26"/>
          <p:cNvSpPr txBox="1"/>
          <p:nvPr/>
        </p:nvSpPr>
        <p:spPr>
          <a:xfrm>
            <a:off x="9865667" y="5759182"/>
            <a:ext cx="1568058" cy="464614"/>
          </a:xfrm>
          <a:prstGeom prst="rect">
            <a:avLst/>
          </a:prstGeom>
          <a:noFill/>
        </p:spPr>
        <p:txBody>
          <a:bodyPr wrap="none" rtlCol="0">
            <a:spAutoFit/>
          </a:bodyPr>
          <a:lstStyle/>
          <a:p>
            <a:r>
              <a:rPr lang="en-US">
                <a:solidFill>
                  <a:schemeClr val="bg1"/>
                </a:solidFill>
              </a:rPr>
              <a:t>Defintions</a:t>
            </a:r>
            <a:endParaRPr lang="en-US" dirty="0">
              <a:solidFill>
                <a:schemeClr val="bg1"/>
              </a:solidFill>
            </a:endParaRPr>
          </a:p>
        </p:txBody>
      </p:sp>
      <p:sp>
        <p:nvSpPr>
          <p:cNvPr id="28" name="TextBox 27"/>
          <p:cNvSpPr txBox="1"/>
          <p:nvPr/>
        </p:nvSpPr>
        <p:spPr>
          <a:xfrm>
            <a:off x="12150288" y="5263972"/>
            <a:ext cx="1163588" cy="464614"/>
          </a:xfrm>
          <a:prstGeom prst="rect">
            <a:avLst/>
          </a:prstGeom>
          <a:noFill/>
        </p:spPr>
        <p:txBody>
          <a:bodyPr wrap="none" rtlCol="0">
            <a:spAutoFit/>
          </a:bodyPr>
          <a:lstStyle/>
          <a:p>
            <a:r>
              <a:rPr lang="en-US">
                <a:solidFill>
                  <a:schemeClr val="bg1"/>
                </a:solidFill>
              </a:rPr>
              <a:t>Validity</a:t>
            </a:r>
            <a:endParaRPr lang="en-US" dirty="0">
              <a:solidFill>
                <a:schemeClr val="bg1"/>
              </a:solidFill>
            </a:endParaRPr>
          </a:p>
        </p:txBody>
      </p:sp>
      <p:sp>
        <p:nvSpPr>
          <p:cNvPr id="29" name="TextBox 28"/>
          <p:cNvSpPr txBox="1"/>
          <p:nvPr/>
        </p:nvSpPr>
        <p:spPr>
          <a:xfrm>
            <a:off x="11995919" y="5724342"/>
            <a:ext cx="1757212" cy="464614"/>
          </a:xfrm>
          <a:prstGeom prst="rect">
            <a:avLst/>
          </a:prstGeom>
          <a:noFill/>
        </p:spPr>
        <p:txBody>
          <a:bodyPr wrap="none" rtlCol="0">
            <a:spAutoFit/>
          </a:bodyPr>
          <a:lstStyle/>
          <a:p>
            <a:r>
              <a:rPr lang="en-US" dirty="0">
                <a:solidFill>
                  <a:schemeClr val="bg1"/>
                </a:solidFill>
              </a:rPr>
              <a:t>Searchable</a:t>
            </a:r>
          </a:p>
        </p:txBody>
      </p:sp>
      <p:cxnSp>
        <p:nvCxnSpPr>
          <p:cNvPr id="31" name="Straight Arrow Connector 30"/>
          <p:cNvCxnSpPr/>
          <p:nvPr/>
        </p:nvCxnSpPr>
        <p:spPr>
          <a:xfrm flipV="1">
            <a:off x="6082217" y="2612507"/>
            <a:ext cx="1283123" cy="5849782"/>
          </a:xfrm>
          <a:prstGeom prst="straightConnector1">
            <a:avLst/>
          </a:prstGeom>
          <a:ln w="76200" cap="rnd">
            <a:solidFill>
              <a:schemeClr val="accent2"/>
            </a:solidFill>
            <a:tailEnd type="triangle"/>
          </a:ln>
        </p:spPr>
        <p:style>
          <a:lnRef idx="1">
            <a:schemeClr val="accent1"/>
          </a:lnRef>
          <a:fillRef idx="0">
            <a:schemeClr val="accent1"/>
          </a:fillRef>
          <a:effectRef idx="0">
            <a:schemeClr val="accent1"/>
          </a:effectRef>
          <a:fontRef idx="minor">
            <a:schemeClr val="tx1"/>
          </a:fontRef>
        </p:style>
      </p:cxnSp>
      <p:sp>
        <p:nvSpPr>
          <p:cNvPr id="32" name="TextBox 31"/>
          <p:cNvSpPr txBox="1"/>
          <p:nvPr/>
        </p:nvSpPr>
        <p:spPr>
          <a:xfrm flipH="1">
            <a:off x="3257615" y="4892239"/>
            <a:ext cx="3532380" cy="1323439"/>
          </a:xfrm>
          <a:prstGeom prst="rect">
            <a:avLst/>
          </a:prstGeom>
          <a:noFill/>
        </p:spPr>
        <p:txBody>
          <a:bodyPr wrap="square" rtlCol="0">
            <a:spAutoFit/>
          </a:bodyPr>
          <a:lstStyle/>
          <a:p>
            <a:r>
              <a:rPr lang="en-US" sz="4000" b="1" dirty="0"/>
              <a:t>Continuous</a:t>
            </a:r>
          </a:p>
          <a:p>
            <a:r>
              <a:rPr lang="en-US" sz="4000" b="1" dirty="0"/>
              <a:t>Enrichment</a:t>
            </a:r>
          </a:p>
        </p:txBody>
      </p:sp>
    </p:spTree>
    <p:extLst>
      <p:ext uri="{BB962C8B-B14F-4D97-AF65-F5344CB8AC3E}">
        <p14:creationId xmlns:p14="http://schemas.microsoft.com/office/powerpoint/2010/main" val="1906918933"/>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A624165-BE25-8148-8772-FB6E554AC68A}"/>
              </a:ext>
            </a:extLst>
          </p:cNvPr>
          <p:cNvSpPr>
            <a:spLocks noGrp="1"/>
          </p:cNvSpPr>
          <p:nvPr>
            <p:ph type="title"/>
          </p:nvPr>
        </p:nvSpPr>
        <p:spPr/>
        <p:txBody>
          <a:bodyPr/>
          <a:lstStyle/>
          <a:p>
            <a:r>
              <a:rPr lang="en-US" dirty="0"/>
              <a:t>Data Lakes Today</a:t>
            </a:r>
          </a:p>
        </p:txBody>
      </p:sp>
      <p:sp>
        <p:nvSpPr>
          <p:cNvPr id="4" name="Slide Number Placeholder 3">
            <a:extLst>
              <a:ext uri="{FF2B5EF4-FFF2-40B4-BE49-F238E27FC236}">
                <a16:creationId xmlns:a16="http://schemas.microsoft.com/office/drawing/2014/main" id="{D18BBA95-3776-624B-9507-957AAECED4C4}"/>
              </a:ext>
            </a:extLst>
          </p:cNvPr>
          <p:cNvSpPr>
            <a:spLocks noGrp="1"/>
          </p:cNvSpPr>
          <p:nvPr>
            <p:ph type="sldNum" sz="quarter" idx="12"/>
          </p:nvPr>
        </p:nvSpPr>
        <p:spPr/>
        <p:txBody>
          <a:bodyPr/>
          <a:lstStyle/>
          <a:p>
            <a:fld id="{89680184-36F0-7340-B2B6-917CC4ADF00C}" type="slidenum">
              <a:rPr lang="en-US" smtClean="0"/>
              <a:t>35</a:t>
            </a:fld>
            <a:endParaRPr lang="en-US" dirty="0"/>
          </a:p>
        </p:txBody>
      </p:sp>
      <p:grpSp>
        <p:nvGrpSpPr>
          <p:cNvPr id="34" name="Group 33">
            <a:extLst>
              <a:ext uri="{FF2B5EF4-FFF2-40B4-BE49-F238E27FC236}">
                <a16:creationId xmlns:a16="http://schemas.microsoft.com/office/drawing/2014/main" id="{7671BEF4-CC99-2148-AC5D-084814BA2F83}"/>
              </a:ext>
            </a:extLst>
          </p:cNvPr>
          <p:cNvGrpSpPr/>
          <p:nvPr/>
        </p:nvGrpSpPr>
        <p:grpSpPr>
          <a:xfrm>
            <a:off x="4005672" y="6284369"/>
            <a:ext cx="8912309" cy="1960309"/>
            <a:chOff x="3248296" y="3373711"/>
            <a:chExt cx="4458790" cy="2072640"/>
          </a:xfrm>
        </p:grpSpPr>
        <p:sp>
          <p:nvSpPr>
            <p:cNvPr id="10" name="Can 9">
              <a:extLst>
                <a:ext uri="{FF2B5EF4-FFF2-40B4-BE49-F238E27FC236}">
                  <a16:creationId xmlns:a16="http://schemas.microsoft.com/office/drawing/2014/main" id="{5F1FAAAA-45A5-8F4E-A100-E24A7BA05C3B}"/>
                </a:ext>
              </a:extLst>
            </p:cNvPr>
            <p:cNvSpPr/>
            <p:nvPr/>
          </p:nvSpPr>
          <p:spPr>
            <a:xfrm>
              <a:off x="3248296" y="3373711"/>
              <a:ext cx="4458789" cy="2072640"/>
            </a:xfrm>
            <a:prstGeom prst="can">
              <a:avLst>
                <a:gd name="adj" fmla="val 18277"/>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548"/>
            </a:p>
          </p:txBody>
        </p:sp>
        <p:sp>
          <p:nvSpPr>
            <p:cNvPr id="7" name="Freeform 6">
              <a:extLst>
                <a:ext uri="{FF2B5EF4-FFF2-40B4-BE49-F238E27FC236}">
                  <a16:creationId xmlns:a16="http://schemas.microsoft.com/office/drawing/2014/main" id="{F1EC3FED-BFE3-6C44-A8CB-CDF57E7A34C7}"/>
                </a:ext>
              </a:extLst>
            </p:cNvPr>
            <p:cNvSpPr/>
            <p:nvPr/>
          </p:nvSpPr>
          <p:spPr>
            <a:xfrm>
              <a:off x="3248297" y="3861389"/>
              <a:ext cx="4458789" cy="319531"/>
            </a:xfrm>
            <a:custGeom>
              <a:avLst/>
              <a:gdLst>
                <a:gd name="connsiteX0" fmla="*/ 0 w 3717890"/>
                <a:gd name="connsiteY0" fmla="*/ 350729 h 412506"/>
                <a:gd name="connsiteX1" fmla="*/ 301450 w 3717890"/>
                <a:gd name="connsiteY1" fmla="*/ 99520 h 412506"/>
                <a:gd name="connsiteX2" fmla="*/ 512466 w 3717890"/>
                <a:gd name="connsiteY2" fmla="*/ 9085 h 412506"/>
                <a:gd name="connsiteX3" fmla="*/ 823965 w 3717890"/>
                <a:gd name="connsiteY3" fmla="*/ 159810 h 412506"/>
                <a:gd name="connsiteX4" fmla="*/ 1004835 w 3717890"/>
                <a:gd name="connsiteY4" fmla="*/ 370825 h 412506"/>
                <a:gd name="connsiteX5" fmla="*/ 1316334 w 3717890"/>
                <a:gd name="connsiteY5" fmla="*/ 400970 h 412506"/>
                <a:gd name="connsiteX6" fmla="*/ 1547446 w 3717890"/>
                <a:gd name="connsiteY6" fmla="*/ 230148 h 412506"/>
                <a:gd name="connsiteX7" fmla="*/ 1818751 w 3717890"/>
                <a:gd name="connsiteY7" fmla="*/ 19133 h 412506"/>
                <a:gd name="connsiteX8" fmla="*/ 2009670 w 3717890"/>
                <a:gd name="connsiteY8" fmla="*/ 29181 h 412506"/>
                <a:gd name="connsiteX9" fmla="*/ 2200589 w 3717890"/>
                <a:gd name="connsiteY9" fmla="*/ 189955 h 412506"/>
                <a:gd name="connsiteX10" fmla="*/ 2381459 w 3717890"/>
                <a:gd name="connsiteY10" fmla="*/ 370825 h 412506"/>
                <a:gd name="connsiteX11" fmla="*/ 2642716 w 3717890"/>
                <a:gd name="connsiteY11" fmla="*/ 400970 h 412506"/>
                <a:gd name="connsiteX12" fmla="*/ 2863780 w 3717890"/>
                <a:gd name="connsiteY12" fmla="*/ 230148 h 412506"/>
                <a:gd name="connsiteX13" fmla="*/ 3034602 w 3717890"/>
                <a:gd name="connsiteY13" fmla="*/ 69375 h 412506"/>
                <a:gd name="connsiteX14" fmla="*/ 3295859 w 3717890"/>
                <a:gd name="connsiteY14" fmla="*/ 29181 h 412506"/>
                <a:gd name="connsiteX15" fmla="*/ 3557116 w 3717890"/>
                <a:gd name="connsiteY15" fmla="*/ 179907 h 412506"/>
                <a:gd name="connsiteX16" fmla="*/ 3717890 w 3717890"/>
                <a:gd name="connsiteY16" fmla="*/ 390922 h 412506"/>
                <a:gd name="connsiteX0" fmla="*/ 0 w 3717890"/>
                <a:gd name="connsiteY0" fmla="*/ 350729 h 413492"/>
                <a:gd name="connsiteX1" fmla="*/ 301450 w 3717890"/>
                <a:gd name="connsiteY1" fmla="*/ 99520 h 413492"/>
                <a:gd name="connsiteX2" fmla="*/ 512466 w 3717890"/>
                <a:gd name="connsiteY2" fmla="*/ 9085 h 413492"/>
                <a:gd name="connsiteX3" fmla="*/ 801740 w 3717890"/>
                <a:gd name="connsiteY3" fmla="*/ 134410 h 413492"/>
                <a:gd name="connsiteX4" fmla="*/ 1004835 w 3717890"/>
                <a:gd name="connsiteY4" fmla="*/ 370825 h 413492"/>
                <a:gd name="connsiteX5" fmla="*/ 1316334 w 3717890"/>
                <a:gd name="connsiteY5" fmla="*/ 400970 h 413492"/>
                <a:gd name="connsiteX6" fmla="*/ 1547446 w 3717890"/>
                <a:gd name="connsiteY6" fmla="*/ 230148 h 413492"/>
                <a:gd name="connsiteX7" fmla="*/ 1818751 w 3717890"/>
                <a:gd name="connsiteY7" fmla="*/ 19133 h 413492"/>
                <a:gd name="connsiteX8" fmla="*/ 2009670 w 3717890"/>
                <a:gd name="connsiteY8" fmla="*/ 29181 h 413492"/>
                <a:gd name="connsiteX9" fmla="*/ 2200589 w 3717890"/>
                <a:gd name="connsiteY9" fmla="*/ 189955 h 413492"/>
                <a:gd name="connsiteX10" fmla="*/ 2381459 w 3717890"/>
                <a:gd name="connsiteY10" fmla="*/ 370825 h 413492"/>
                <a:gd name="connsiteX11" fmla="*/ 2642716 w 3717890"/>
                <a:gd name="connsiteY11" fmla="*/ 400970 h 413492"/>
                <a:gd name="connsiteX12" fmla="*/ 2863780 w 3717890"/>
                <a:gd name="connsiteY12" fmla="*/ 230148 h 413492"/>
                <a:gd name="connsiteX13" fmla="*/ 3034602 w 3717890"/>
                <a:gd name="connsiteY13" fmla="*/ 69375 h 413492"/>
                <a:gd name="connsiteX14" fmla="*/ 3295859 w 3717890"/>
                <a:gd name="connsiteY14" fmla="*/ 29181 h 413492"/>
                <a:gd name="connsiteX15" fmla="*/ 3557116 w 3717890"/>
                <a:gd name="connsiteY15" fmla="*/ 179907 h 413492"/>
                <a:gd name="connsiteX16" fmla="*/ 3717890 w 3717890"/>
                <a:gd name="connsiteY16" fmla="*/ 390922 h 413492"/>
                <a:gd name="connsiteX0" fmla="*/ 0 w 3717890"/>
                <a:gd name="connsiteY0" fmla="*/ 347339 h 413621"/>
                <a:gd name="connsiteX1" fmla="*/ 301450 w 3717890"/>
                <a:gd name="connsiteY1" fmla="*/ 96130 h 413621"/>
                <a:gd name="connsiteX2" fmla="*/ 512466 w 3717890"/>
                <a:gd name="connsiteY2" fmla="*/ 5695 h 413621"/>
                <a:gd name="connsiteX3" fmla="*/ 801740 w 3717890"/>
                <a:gd name="connsiteY3" fmla="*/ 131020 h 413621"/>
                <a:gd name="connsiteX4" fmla="*/ 1004835 w 3717890"/>
                <a:gd name="connsiteY4" fmla="*/ 367435 h 413621"/>
                <a:gd name="connsiteX5" fmla="*/ 1316334 w 3717890"/>
                <a:gd name="connsiteY5" fmla="*/ 397580 h 413621"/>
                <a:gd name="connsiteX6" fmla="*/ 1534746 w 3717890"/>
                <a:gd name="connsiteY6" fmla="*/ 179133 h 413621"/>
                <a:gd name="connsiteX7" fmla="*/ 1818751 w 3717890"/>
                <a:gd name="connsiteY7" fmla="*/ 15743 h 413621"/>
                <a:gd name="connsiteX8" fmla="*/ 2009670 w 3717890"/>
                <a:gd name="connsiteY8" fmla="*/ 25791 h 413621"/>
                <a:gd name="connsiteX9" fmla="*/ 2200589 w 3717890"/>
                <a:gd name="connsiteY9" fmla="*/ 186565 h 413621"/>
                <a:gd name="connsiteX10" fmla="*/ 2381459 w 3717890"/>
                <a:gd name="connsiteY10" fmla="*/ 367435 h 413621"/>
                <a:gd name="connsiteX11" fmla="*/ 2642716 w 3717890"/>
                <a:gd name="connsiteY11" fmla="*/ 397580 h 413621"/>
                <a:gd name="connsiteX12" fmla="*/ 2863780 w 3717890"/>
                <a:gd name="connsiteY12" fmla="*/ 226758 h 413621"/>
                <a:gd name="connsiteX13" fmla="*/ 3034602 w 3717890"/>
                <a:gd name="connsiteY13" fmla="*/ 65985 h 413621"/>
                <a:gd name="connsiteX14" fmla="*/ 3295859 w 3717890"/>
                <a:gd name="connsiteY14" fmla="*/ 25791 h 413621"/>
                <a:gd name="connsiteX15" fmla="*/ 3557116 w 3717890"/>
                <a:gd name="connsiteY15" fmla="*/ 176517 h 413621"/>
                <a:gd name="connsiteX16" fmla="*/ 3717890 w 3717890"/>
                <a:gd name="connsiteY16" fmla="*/ 387532 h 413621"/>
                <a:gd name="connsiteX0" fmla="*/ 0 w 3717890"/>
                <a:gd name="connsiteY0" fmla="*/ 347339 h 413621"/>
                <a:gd name="connsiteX1" fmla="*/ 301450 w 3717890"/>
                <a:gd name="connsiteY1" fmla="*/ 96130 h 413621"/>
                <a:gd name="connsiteX2" fmla="*/ 512466 w 3717890"/>
                <a:gd name="connsiteY2" fmla="*/ 5695 h 413621"/>
                <a:gd name="connsiteX3" fmla="*/ 801740 w 3717890"/>
                <a:gd name="connsiteY3" fmla="*/ 131020 h 413621"/>
                <a:gd name="connsiteX4" fmla="*/ 1004835 w 3717890"/>
                <a:gd name="connsiteY4" fmla="*/ 367435 h 413621"/>
                <a:gd name="connsiteX5" fmla="*/ 1316334 w 3717890"/>
                <a:gd name="connsiteY5" fmla="*/ 397580 h 413621"/>
                <a:gd name="connsiteX6" fmla="*/ 1534746 w 3717890"/>
                <a:gd name="connsiteY6" fmla="*/ 179133 h 413621"/>
                <a:gd name="connsiteX7" fmla="*/ 1818751 w 3717890"/>
                <a:gd name="connsiteY7" fmla="*/ 15743 h 413621"/>
                <a:gd name="connsiteX8" fmla="*/ 2009670 w 3717890"/>
                <a:gd name="connsiteY8" fmla="*/ 25791 h 413621"/>
                <a:gd name="connsiteX9" fmla="*/ 2200589 w 3717890"/>
                <a:gd name="connsiteY9" fmla="*/ 186565 h 413621"/>
                <a:gd name="connsiteX10" fmla="*/ 2381459 w 3717890"/>
                <a:gd name="connsiteY10" fmla="*/ 367435 h 413621"/>
                <a:gd name="connsiteX11" fmla="*/ 2642716 w 3717890"/>
                <a:gd name="connsiteY11" fmla="*/ 397580 h 413621"/>
                <a:gd name="connsiteX12" fmla="*/ 2863780 w 3717890"/>
                <a:gd name="connsiteY12" fmla="*/ 226758 h 413621"/>
                <a:gd name="connsiteX13" fmla="*/ 3034602 w 3717890"/>
                <a:gd name="connsiteY13" fmla="*/ 65985 h 413621"/>
                <a:gd name="connsiteX14" fmla="*/ 3295859 w 3717890"/>
                <a:gd name="connsiteY14" fmla="*/ 25791 h 413621"/>
                <a:gd name="connsiteX15" fmla="*/ 3557116 w 3717890"/>
                <a:gd name="connsiteY15" fmla="*/ 176517 h 413621"/>
                <a:gd name="connsiteX16" fmla="*/ 3717890 w 3717890"/>
                <a:gd name="connsiteY16" fmla="*/ 387532 h 413621"/>
                <a:gd name="connsiteX0" fmla="*/ 0 w 3717890"/>
                <a:gd name="connsiteY0" fmla="*/ 347339 h 413621"/>
                <a:gd name="connsiteX1" fmla="*/ 301450 w 3717890"/>
                <a:gd name="connsiteY1" fmla="*/ 96130 h 413621"/>
                <a:gd name="connsiteX2" fmla="*/ 512466 w 3717890"/>
                <a:gd name="connsiteY2" fmla="*/ 5695 h 413621"/>
                <a:gd name="connsiteX3" fmla="*/ 801740 w 3717890"/>
                <a:gd name="connsiteY3" fmla="*/ 131020 h 413621"/>
                <a:gd name="connsiteX4" fmla="*/ 1004835 w 3717890"/>
                <a:gd name="connsiteY4" fmla="*/ 367435 h 413621"/>
                <a:gd name="connsiteX5" fmla="*/ 1316334 w 3717890"/>
                <a:gd name="connsiteY5" fmla="*/ 397580 h 413621"/>
                <a:gd name="connsiteX6" fmla="*/ 1534746 w 3717890"/>
                <a:gd name="connsiteY6" fmla="*/ 179133 h 413621"/>
                <a:gd name="connsiteX7" fmla="*/ 1818751 w 3717890"/>
                <a:gd name="connsiteY7" fmla="*/ 15743 h 413621"/>
                <a:gd name="connsiteX8" fmla="*/ 2009670 w 3717890"/>
                <a:gd name="connsiteY8" fmla="*/ 25791 h 413621"/>
                <a:gd name="connsiteX9" fmla="*/ 2200589 w 3717890"/>
                <a:gd name="connsiteY9" fmla="*/ 186565 h 413621"/>
                <a:gd name="connsiteX10" fmla="*/ 2381459 w 3717890"/>
                <a:gd name="connsiteY10" fmla="*/ 367435 h 413621"/>
                <a:gd name="connsiteX11" fmla="*/ 2642716 w 3717890"/>
                <a:gd name="connsiteY11" fmla="*/ 397580 h 413621"/>
                <a:gd name="connsiteX12" fmla="*/ 2863780 w 3717890"/>
                <a:gd name="connsiteY12" fmla="*/ 226758 h 413621"/>
                <a:gd name="connsiteX13" fmla="*/ 3034602 w 3717890"/>
                <a:gd name="connsiteY13" fmla="*/ 65985 h 413621"/>
                <a:gd name="connsiteX14" fmla="*/ 3295859 w 3717890"/>
                <a:gd name="connsiteY14" fmla="*/ 25791 h 413621"/>
                <a:gd name="connsiteX15" fmla="*/ 3557116 w 3717890"/>
                <a:gd name="connsiteY15" fmla="*/ 176517 h 413621"/>
                <a:gd name="connsiteX16" fmla="*/ 3717890 w 3717890"/>
                <a:gd name="connsiteY16" fmla="*/ 387532 h 413621"/>
                <a:gd name="connsiteX0" fmla="*/ 0 w 3717890"/>
                <a:gd name="connsiteY0" fmla="*/ 342214 h 408496"/>
                <a:gd name="connsiteX1" fmla="*/ 301450 w 3717890"/>
                <a:gd name="connsiteY1" fmla="*/ 91005 h 408496"/>
                <a:gd name="connsiteX2" fmla="*/ 512466 w 3717890"/>
                <a:gd name="connsiteY2" fmla="*/ 570 h 408496"/>
                <a:gd name="connsiteX3" fmla="*/ 801740 w 3717890"/>
                <a:gd name="connsiteY3" fmla="*/ 125895 h 408496"/>
                <a:gd name="connsiteX4" fmla="*/ 1004835 w 3717890"/>
                <a:gd name="connsiteY4" fmla="*/ 362310 h 408496"/>
                <a:gd name="connsiteX5" fmla="*/ 1316334 w 3717890"/>
                <a:gd name="connsiteY5" fmla="*/ 392455 h 408496"/>
                <a:gd name="connsiteX6" fmla="*/ 1534746 w 3717890"/>
                <a:gd name="connsiteY6" fmla="*/ 174008 h 408496"/>
                <a:gd name="connsiteX7" fmla="*/ 1777476 w 3717890"/>
                <a:gd name="connsiteY7" fmla="*/ 26493 h 408496"/>
                <a:gd name="connsiteX8" fmla="*/ 2009670 w 3717890"/>
                <a:gd name="connsiteY8" fmla="*/ 20666 h 408496"/>
                <a:gd name="connsiteX9" fmla="*/ 2200589 w 3717890"/>
                <a:gd name="connsiteY9" fmla="*/ 181440 h 408496"/>
                <a:gd name="connsiteX10" fmla="*/ 2381459 w 3717890"/>
                <a:gd name="connsiteY10" fmla="*/ 362310 h 408496"/>
                <a:gd name="connsiteX11" fmla="*/ 2642716 w 3717890"/>
                <a:gd name="connsiteY11" fmla="*/ 392455 h 408496"/>
                <a:gd name="connsiteX12" fmla="*/ 2863780 w 3717890"/>
                <a:gd name="connsiteY12" fmla="*/ 221633 h 408496"/>
                <a:gd name="connsiteX13" fmla="*/ 3034602 w 3717890"/>
                <a:gd name="connsiteY13" fmla="*/ 60860 h 408496"/>
                <a:gd name="connsiteX14" fmla="*/ 3295859 w 3717890"/>
                <a:gd name="connsiteY14" fmla="*/ 20666 h 408496"/>
                <a:gd name="connsiteX15" fmla="*/ 3557116 w 3717890"/>
                <a:gd name="connsiteY15" fmla="*/ 171392 h 408496"/>
                <a:gd name="connsiteX16" fmla="*/ 3717890 w 3717890"/>
                <a:gd name="connsiteY16" fmla="*/ 382407 h 408496"/>
                <a:gd name="connsiteX0" fmla="*/ 0 w 3717890"/>
                <a:gd name="connsiteY0" fmla="*/ 338160 h 404442"/>
                <a:gd name="connsiteX1" fmla="*/ 301450 w 3717890"/>
                <a:gd name="connsiteY1" fmla="*/ 86951 h 404442"/>
                <a:gd name="connsiteX2" fmla="*/ 563266 w 3717890"/>
                <a:gd name="connsiteY2" fmla="*/ 2866 h 404442"/>
                <a:gd name="connsiteX3" fmla="*/ 801740 w 3717890"/>
                <a:gd name="connsiteY3" fmla="*/ 121841 h 404442"/>
                <a:gd name="connsiteX4" fmla="*/ 1004835 w 3717890"/>
                <a:gd name="connsiteY4" fmla="*/ 358256 h 404442"/>
                <a:gd name="connsiteX5" fmla="*/ 1316334 w 3717890"/>
                <a:gd name="connsiteY5" fmla="*/ 388401 h 404442"/>
                <a:gd name="connsiteX6" fmla="*/ 1534746 w 3717890"/>
                <a:gd name="connsiteY6" fmla="*/ 169954 h 404442"/>
                <a:gd name="connsiteX7" fmla="*/ 1777476 w 3717890"/>
                <a:gd name="connsiteY7" fmla="*/ 22439 h 404442"/>
                <a:gd name="connsiteX8" fmla="*/ 2009670 w 3717890"/>
                <a:gd name="connsiteY8" fmla="*/ 16612 h 404442"/>
                <a:gd name="connsiteX9" fmla="*/ 2200589 w 3717890"/>
                <a:gd name="connsiteY9" fmla="*/ 177386 h 404442"/>
                <a:gd name="connsiteX10" fmla="*/ 2381459 w 3717890"/>
                <a:gd name="connsiteY10" fmla="*/ 358256 h 404442"/>
                <a:gd name="connsiteX11" fmla="*/ 2642716 w 3717890"/>
                <a:gd name="connsiteY11" fmla="*/ 388401 h 404442"/>
                <a:gd name="connsiteX12" fmla="*/ 2863780 w 3717890"/>
                <a:gd name="connsiteY12" fmla="*/ 217579 h 404442"/>
                <a:gd name="connsiteX13" fmla="*/ 3034602 w 3717890"/>
                <a:gd name="connsiteY13" fmla="*/ 56806 h 404442"/>
                <a:gd name="connsiteX14" fmla="*/ 3295859 w 3717890"/>
                <a:gd name="connsiteY14" fmla="*/ 16612 h 404442"/>
                <a:gd name="connsiteX15" fmla="*/ 3557116 w 3717890"/>
                <a:gd name="connsiteY15" fmla="*/ 167338 h 404442"/>
                <a:gd name="connsiteX16" fmla="*/ 3717890 w 3717890"/>
                <a:gd name="connsiteY16" fmla="*/ 378353 h 404442"/>
                <a:gd name="connsiteX0" fmla="*/ 0 w 3717890"/>
                <a:gd name="connsiteY0" fmla="*/ 338160 h 404442"/>
                <a:gd name="connsiteX1" fmla="*/ 301450 w 3717890"/>
                <a:gd name="connsiteY1" fmla="*/ 86951 h 404442"/>
                <a:gd name="connsiteX2" fmla="*/ 563266 w 3717890"/>
                <a:gd name="connsiteY2" fmla="*/ 2866 h 404442"/>
                <a:gd name="connsiteX3" fmla="*/ 801740 w 3717890"/>
                <a:gd name="connsiteY3" fmla="*/ 121841 h 404442"/>
                <a:gd name="connsiteX4" fmla="*/ 1004835 w 3717890"/>
                <a:gd name="connsiteY4" fmla="*/ 358256 h 404442"/>
                <a:gd name="connsiteX5" fmla="*/ 1316334 w 3717890"/>
                <a:gd name="connsiteY5" fmla="*/ 388401 h 404442"/>
                <a:gd name="connsiteX6" fmla="*/ 1534746 w 3717890"/>
                <a:gd name="connsiteY6" fmla="*/ 169954 h 404442"/>
                <a:gd name="connsiteX7" fmla="*/ 1777476 w 3717890"/>
                <a:gd name="connsiteY7" fmla="*/ 22439 h 404442"/>
                <a:gd name="connsiteX8" fmla="*/ 2009670 w 3717890"/>
                <a:gd name="connsiteY8" fmla="*/ 16612 h 404442"/>
                <a:gd name="connsiteX9" fmla="*/ 2200589 w 3717890"/>
                <a:gd name="connsiteY9" fmla="*/ 177386 h 404442"/>
                <a:gd name="connsiteX10" fmla="*/ 2381459 w 3717890"/>
                <a:gd name="connsiteY10" fmla="*/ 358256 h 404442"/>
                <a:gd name="connsiteX11" fmla="*/ 2642716 w 3717890"/>
                <a:gd name="connsiteY11" fmla="*/ 388401 h 404442"/>
                <a:gd name="connsiteX12" fmla="*/ 2863780 w 3717890"/>
                <a:gd name="connsiteY12" fmla="*/ 217579 h 404442"/>
                <a:gd name="connsiteX13" fmla="*/ 3034602 w 3717890"/>
                <a:gd name="connsiteY13" fmla="*/ 56806 h 404442"/>
                <a:gd name="connsiteX14" fmla="*/ 3295859 w 3717890"/>
                <a:gd name="connsiteY14" fmla="*/ 16612 h 404442"/>
                <a:gd name="connsiteX15" fmla="*/ 3557116 w 3717890"/>
                <a:gd name="connsiteY15" fmla="*/ 167338 h 404442"/>
                <a:gd name="connsiteX16" fmla="*/ 3717890 w 3717890"/>
                <a:gd name="connsiteY16" fmla="*/ 378353 h 404442"/>
                <a:gd name="connsiteX0" fmla="*/ 0 w 3717890"/>
                <a:gd name="connsiteY0" fmla="*/ 349509 h 415791"/>
                <a:gd name="connsiteX1" fmla="*/ 301450 w 3717890"/>
                <a:gd name="connsiteY1" fmla="*/ 98300 h 415791"/>
                <a:gd name="connsiteX2" fmla="*/ 563266 w 3717890"/>
                <a:gd name="connsiteY2" fmla="*/ 14215 h 415791"/>
                <a:gd name="connsiteX3" fmla="*/ 801740 w 3717890"/>
                <a:gd name="connsiteY3" fmla="*/ 133190 h 415791"/>
                <a:gd name="connsiteX4" fmla="*/ 1004835 w 3717890"/>
                <a:gd name="connsiteY4" fmla="*/ 369605 h 415791"/>
                <a:gd name="connsiteX5" fmla="*/ 1316334 w 3717890"/>
                <a:gd name="connsiteY5" fmla="*/ 399750 h 415791"/>
                <a:gd name="connsiteX6" fmla="*/ 1534746 w 3717890"/>
                <a:gd name="connsiteY6" fmla="*/ 181303 h 415791"/>
                <a:gd name="connsiteX7" fmla="*/ 1790176 w 3717890"/>
                <a:gd name="connsiteY7" fmla="*/ 14738 h 415791"/>
                <a:gd name="connsiteX8" fmla="*/ 2009670 w 3717890"/>
                <a:gd name="connsiteY8" fmla="*/ 27961 h 415791"/>
                <a:gd name="connsiteX9" fmla="*/ 2200589 w 3717890"/>
                <a:gd name="connsiteY9" fmla="*/ 188735 h 415791"/>
                <a:gd name="connsiteX10" fmla="*/ 2381459 w 3717890"/>
                <a:gd name="connsiteY10" fmla="*/ 369605 h 415791"/>
                <a:gd name="connsiteX11" fmla="*/ 2642716 w 3717890"/>
                <a:gd name="connsiteY11" fmla="*/ 399750 h 415791"/>
                <a:gd name="connsiteX12" fmla="*/ 2863780 w 3717890"/>
                <a:gd name="connsiteY12" fmla="*/ 228928 h 415791"/>
                <a:gd name="connsiteX13" fmla="*/ 3034602 w 3717890"/>
                <a:gd name="connsiteY13" fmla="*/ 68155 h 415791"/>
                <a:gd name="connsiteX14" fmla="*/ 3295859 w 3717890"/>
                <a:gd name="connsiteY14" fmla="*/ 27961 h 415791"/>
                <a:gd name="connsiteX15" fmla="*/ 3557116 w 3717890"/>
                <a:gd name="connsiteY15" fmla="*/ 178687 h 415791"/>
                <a:gd name="connsiteX16" fmla="*/ 3717890 w 3717890"/>
                <a:gd name="connsiteY16" fmla="*/ 389702 h 415791"/>
                <a:gd name="connsiteX0" fmla="*/ 0 w 3717890"/>
                <a:gd name="connsiteY0" fmla="*/ 335938 h 402220"/>
                <a:gd name="connsiteX1" fmla="*/ 301450 w 3717890"/>
                <a:gd name="connsiteY1" fmla="*/ 84729 h 402220"/>
                <a:gd name="connsiteX2" fmla="*/ 563266 w 3717890"/>
                <a:gd name="connsiteY2" fmla="*/ 644 h 402220"/>
                <a:gd name="connsiteX3" fmla="*/ 801740 w 3717890"/>
                <a:gd name="connsiteY3" fmla="*/ 119619 h 402220"/>
                <a:gd name="connsiteX4" fmla="*/ 1004835 w 3717890"/>
                <a:gd name="connsiteY4" fmla="*/ 356034 h 402220"/>
                <a:gd name="connsiteX5" fmla="*/ 1316334 w 3717890"/>
                <a:gd name="connsiteY5" fmla="*/ 386179 h 402220"/>
                <a:gd name="connsiteX6" fmla="*/ 1534746 w 3717890"/>
                <a:gd name="connsiteY6" fmla="*/ 167732 h 402220"/>
                <a:gd name="connsiteX7" fmla="*/ 2009670 w 3717890"/>
                <a:gd name="connsiteY7" fmla="*/ 14390 h 402220"/>
                <a:gd name="connsiteX8" fmla="*/ 2200589 w 3717890"/>
                <a:gd name="connsiteY8" fmla="*/ 175164 h 402220"/>
                <a:gd name="connsiteX9" fmla="*/ 2381459 w 3717890"/>
                <a:gd name="connsiteY9" fmla="*/ 356034 h 402220"/>
                <a:gd name="connsiteX10" fmla="*/ 2642716 w 3717890"/>
                <a:gd name="connsiteY10" fmla="*/ 386179 h 402220"/>
                <a:gd name="connsiteX11" fmla="*/ 2863780 w 3717890"/>
                <a:gd name="connsiteY11" fmla="*/ 215357 h 402220"/>
                <a:gd name="connsiteX12" fmla="*/ 3034602 w 3717890"/>
                <a:gd name="connsiteY12" fmla="*/ 54584 h 402220"/>
                <a:gd name="connsiteX13" fmla="*/ 3295859 w 3717890"/>
                <a:gd name="connsiteY13" fmla="*/ 14390 h 402220"/>
                <a:gd name="connsiteX14" fmla="*/ 3557116 w 3717890"/>
                <a:gd name="connsiteY14" fmla="*/ 165116 h 402220"/>
                <a:gd name="connsiteX15" fmla="*/ 3717890 w 3717890"/>
                <a:gd name="connsiteY15" fmla="*/ 376131 h 402220"/>
                <a:gd name="connsiteX0" fmla="*/ 0 w 3717890"/>
                <a:gd name="connsiteY0" fmla="*/ 356482 h 422764"/>
                <a:gd name="connsiteX1" fmla="*/ 301450 w 3717890"/>
                <a:gd name="connsiteY1" fmla="*/ 105273 h 422764"/>
                <a:gd name="connsiteX2" fmla="*/ 563266 w 3717890"/>
                <a:gd name="connsiteY2" fmla="*/ 21188 h 422764"/>
                <a:gd name="connsiteX3" fmla="*/ 801740 w 3717890"/>
                <a:gd name="connsiteY3" fmla="*/ 140163 h 422764"/>
                <a:gd name="connsiteX4" fmla="*/ 1004835 w 3717890"/>
                <a:gd name="connsiteY4" fmla="*/ 376578 h 422764"/>
                <a:gd name="connsiteX5" fmla="*/ 1316334 w 3717890"/>
                <a:gd name="connsiteY5" fmla="*/ 406723 h 422764"/>
                <a:gd name="connsiteX6" fmla="*/ 1534746 w 3717890"/>
                <a:gd name="connsiteY6" fmla="*/ 188276 h 422764"/>
                <a:gd name="connsiteX7" fmla="*/ 1850920 w 3717890"/>
                <a:gd name="connsiteY7" fmla="*/ 9 h 422764"/>
                <a:gd name="connsiteX8" fmla="*/ 2200589 w 3717890"/>
                <a:gd name="connsiteY8" fmla="*/ 195708 h 422764"/>
                <a:gd name="connsiteX9" fmla="*/ 2381459 w 3717890"/>
                <a:gd name="connsiteY9" fmla="*/ 376578 h 422764"/>
                <a:gd name="connsiteX10" fmla="*/ 2642716 w 3717890"/>
                <a:gd name="connsiteY10" fmla="*/ 406723 h 422764"/>
                <a:gd name="connsiteX11" fmla="*/ 2863780 w 3717890"/>
                <a:gd name="connsiteY11" fmla="*/ 235901 h 422764"/>
                <a:gd name="connsiteX12" fmla="*/ 3034602 w 3717890"/>
                <a:gd name="connsiteY12" fmla="*/ 75128 h 422764"/>
                <a:gd name="connsiteX13" fmla="*/ 3295859 w 3717890"/>
                <a:gd name="connsiteY13" fmla="*/ 34934 h 422764"/>
                <a:gd name="connsiteX14" fmla="*/ 3557116 w 3717890"/>
                <a:gd name="connsiteY14" fmla="*/ 185660 h 422764"/>
                <a:gd name="connsiteX15" fmla="*/ 3717890 w 3717890"/>
                <a:gd name="connsiteY15" fmla="*/ 396675 h 422764"/>
                <a:gd name="connsiteX0" fmla="*/ 0 w 3717890"/>
                <a:gd name="connsiteY0" fmla="*/ 356586 h 422868"/>
                <a:gd name="connsiteX1" fmla="*/ 301450 w 3717890"/>
                <a:gd name="connsiteY1" fmla="*/ 105377 h 422868"/>
                <a:gd name="connsiteX2" fmla="*/ 563266 w 3717890"/>
                <a:gd name="connsiteY2" fmla="*/ 21292 h 422868"/>
                <a:gd name="connsiteX3" fmla="*/ 801740 w 3717890"/>
                <a:gd name="connsiteY3" fmla="*/ 140267 h 422868"/>
                <a:gd name="connsiteX4" fmla="*/ 1004835 w 3717890"/>
                <a:gd name="connsiteY4" fmla="*/ 376682 h 422868"/>
                <a:gd name="connsiteX5" fmla="*/ 1316334 w 3717890"/>
                <a:gd name="connsiteY5" fmla="*/ 406827 h 422868"/>
                <a:gd name="connsiteX6" fmla="*/ 1534746 w 3717890"/>
                <a:gd name="connsiteY6" fmla="*/ 188380 h 422868"/>
                <a:gd name="connsiteX7" fmla="*/ 1850920 w 3717890"/>
                <a:gd name="connsiteY7" fmla="*/ 113 h 422868"/>
                <a:gd name="connsiteX8" fmla="*/ 2200589 w 3717890"/>
                <a:gd name="connsiteY8" fmla="*/ 195812 h 422868"/>
                <a:gd name="connsiteX9" fmla="*/ 2381459 w 3717890"/>
                <a:gd name="connsiteY9" fmla="*/ 376682 h 422868"/>
                <a:gd name="connsiteX10" fmla="*/ 2642716 w 3717890"/>
                <a:gd name="connsiteY10" fmla="*/ 406827 h 422868"/>
                <a:gd name="connsiteX11" fmla="*/ 2863780 w 3717890"/>
                <a:gd name="connsiteY11" fmla="*/ 236005 h 422868"/>
                <a:gd name="connsiteX12" fmla="*/ 3034602 w 3717890"/>
                <a:gd name="connsiteY12" fmla="*/ 75232 h 422868"/>
                <a:gd name="connsiteX13" fmla="*/ 3295859 w 3717890"/>
                <a:gd name="connsiteY13" fmla="*/ 35038 h 422868"/>
                <a:gd name="connsiteX14" fmla="*/ 3557116 w 3717890"/>
                <a:gd name="connsiteY14" fmla="*/ 185764 h 422868"/>
                <a:gd name="connsiteX15" fmla="*/ 3717890 w 3717890"/>
                <a:gd name="connsiteY15" fmla="*/ 396779 h 422868"/>
                <a:gd name="connsiteX0" fmla="*/ 0 w 3717890"/>
                <a:gd name="connsiteY0" fmla="*/ 356483 h 422765"/>
                <a:gd name="connsiteX1" fmla="*/ 301450 w 3717890"/>
                <a:gd name="connsiteY1" fmla="*/ 105274 h 422765"/>
                <a:gd name="connsiteX2" fmla="*/ 563266 w 3717890"/>
                <a:gd name="connsiteY2" fmla="*/ 21189 h 422765"/>
                <a:gd name="connsiteX3" fmla="*/ 801740 w 3717890"/>
                <a:gd name="connsiteY3" fmla="*/ 140164 h 422765"/>
                <a:gd name="connsiteX4" fmla="*/ 1004835 w 3717890"/>
                <a:gd name="connsiteY4" fmla="*/ 376579 h 422765"/>
                <a:gd name="connsiteX5" fmla="*/ 1316334 w 3717890"/>
                <a:gd name="connsiteY5" fmla="*/ 406724 h 422765"/>
                <a:gd name="connsiteX6" fmla="*/ 1534746 w 3717890"/>
                <a:gd name="connsiteY6" fmla="*/ 188277 h 422765"/>
                <a:gd name="connsiteX7" fmla="*/ 1850920 w 3717890"/>
                <a:gd name="connsiteY7" fmla="*/ 10 h 422765"/>
                <a:gd name="connsiteX8" fmla="*/ 2200589 w 3717890"/>
                <a:gd name="connsiteY8" fmla="*/ 195709 h 422765"/>
                <a:gd name="connsiteX9" fmla="*/ 2381459 w 3717890"/>
                <a:gd name="connsiteY9" fmla="*/ 376579 h 422765"/>
                <a:gd name="connsiteX10" fmla="*/ 2642716 w 3717890"/>
                <a:gd name="connsiteY10" fmla="*/ 406724 h 422765"/>
                <a:gd name="connsiteX11" fmla="*/ 2863780 w 3717890"/>
                <a:gd name="connsiteY11" fmla="*/ 235902 h 422765"/>
                <a:gd name="connsiteX12" fmla="*/ 3034602 w 3717890"/>
                <a:gd name="connsiteY12" fmla="*/ 75129 h 422765"/>
                <a:gd name="connsiteX13" fmla="*/ 3295859 w 3717890"/>
                <a:gd name="connsiteY13" fmla="*/ 34935 h 422765"/>
                <a:gd name="connsiteX14" fmla="*/ 3557116 w 3717890"/>
                <a:gd name="connsiteY14" fmla="*/ 185661 h 422765"/>
                <a:gd name="connsiteX15" fmla="*/ 3717890 w 3717890"/>
                <a:gd name="connsiteY15" fmla="*/ 396676 h 422765"/>
                <a:gd name="connsiteX0" fmla="*/ 0 w 3717890"/>
                <a:gd name="connsiteY0" fmla="*/ 356483 h 417206"/>
                <a:gd name="connsiteX1" fmla="*/ 301450 w 3717890"/>
                <a:gd name="connsiteY1" fmla="*/ 105274 h 417206"/>
                <a:gd name="connsiteX2" fmla="*/ 563266 w 3717890"/>
                <a:gd name="connsiteY2" fmla="*/ 21189 h 417206"/>
                <a:gd name="connsiteX3" fmla="*/ 801740 w 3717890"/>
                <a:gd name="connsiteY3" fmla="*/ 140164 h 417206"/>
                <a:gd name="connsiteX4" fmla="*/ 1316334 w 3717890"/>
                <a:gd name="connsiteY4" fmla="*/ 406724 h 417206"/>
                <a:gd name="connsiteX5" fmla="*/ 1534746 w 3717890"/>
                <a:gd name="connsiteY5" fmla="*/ 188277 h 417206"/>
                <a:gd name="connsiteX6" fmla="*/ 1850920 w 3717890"/>
                <a:gd name="connsiteY6" fmla="*/ 10 h 417206"/>
                <a:gd name="connsiteX7" fmla="*/ 2200589 w 3717890"/>
                <a:gd name="connsiteY7" fmla="*/ 195709 h 417206"/>
                <a:gd name="connsiteX8" fmla="*/ 2381459 w 3717890"/>
                <a:gd name="connsiteY8" fmla="*/ 376579 h 417206"/>
                <a:gd name="connsiteX9" fmla="*/ 2642716 w 3717890"/>
                <a:gd name="connsiteY9" fmla="*/ 406724 h 417206"/>
                <a:gd name="connsiteX10" fmla="*/ 2863780 w 3717890"/>
                <a:gd name="connsiteY10" fmla="*/ 235902 h 417206"/>
                <a:gd name="connsiteX11" fmla="*/ 3034602 w 3717890"/>
                <a:gd name="connsiteY11" fmla="*/ 75129 h 417206"/>
                <a:gd name="connsiteX12" fmla="*/ 3295859 w 3717890"/>
                <a:gd name="connsiteY12" fmla="*/ 34935 h 417206"/>
                <a:gd name="connsiteX13" fmla="*/ 3557116 w 3717890"/>
                <a:gd name="connsiteY13" fmla="*/ 185661 h 417206"/>
                <a:gd name="connsiteX14" fmla="*/ 3717890 w 3717890"/>
                <a:gd name="connsiteY14" fmla="*/ 396676 h 417206"/>
                <a:gd name="connsiteX0" fmla="*/ 0 w 3717890"/>
                <a:gd name="connsiteY0" fmla="*/ 356483 h 417206"/>
                <a:gd name="connsiteX1" fmla="*/ 301450 w 3717890"/>
                <a:gd name="connsiteY1" fmla="*/ 105274 h 417206"/>
                <a:gd name="connsiteX2" fmla="*/ 563266 w 3717890"/>
                <a:gd name="connsiteY2" fmla="*/ 21189 h 417206"/>
                <a:gd name="connsiteX3" fmla="*/ 801740 w 3717890"/>
                <a:gd name="connsiteY3" fmla="*/ 140164 h 417206"/>
                <a:gd name="connsiteX4" fmla="*/ 1132184 w 3717890"/>
                <a:gd name="connsiteY4" fmla="*/ 409899 h 417206"/>
                <a:gd name="connsiteX5" fmla="*/ 1534746 w 3717890"/>
                <a:gd name="connsiteY5" fmla="*/ 188277 h 417206"/>
                <a:gd name="connsiteX6" fmla="*/ 1850920 w 3717890"/>
                <a:gd name="connsiteY6" fmla="*/ 10 h 417206"/>
                <a:gd name="connsiteX7" fmla="*/ 2200589 w 3717890"/>
                <a:gd name="connsiteY7" fmla="*/ 195709 h 417206"/>
                <a:gd name="connsiteX8" fmla="*/ 2381459 w 3717890"/>
                <a:gd name="connsiteY8" fmla="*/ 376579 h 417206"/>
                <a:gd name="connsiteX9" fmla="*/ 2642716 w 3717890"/>
                <a:gd name="connsiteY9" fmla="*/ 406724 h 417206"/>
                <a:gd name="connsiteX10" fmla="*/ 2863780 w 3717890"/>
                <a:gd name="connsiteY10" fmla="*/ 235902 h 417206"/>
                <a:gd name="connsiteX11" fmla="*/ 3034602 w 3717890"/>
                <a:gd name="connsiteY11" fmla="*/ 75129 h 417206"/>
                <a:gd name="connsiteX12" fmla="*/ 3295859 w 3717890"/>
                <a:gd name="connsiteY12" fmla="*/ 34935 h 417206"/>
                <a:gd name="connsiteX13" fmla="*/ 3557116 w 3717890"/>
                <a:gd name="connsiteY13" fmla="*/ 185661 h 417206"/>
                <a:gd name="connsiteX14" fmla="*/ 3717890 w 3717890"/>
                <a:gd name="connsiteY14" fmla="*/ 396676 h 417206"/>
                <a:gd name="connsiteX0" fmla="*/ 0 w 3717890"/>
                <a:gd name="connsiteY0" fmla="*/ 356483 h 417206"/>
                <a:gd name="connsiteX1" fmla="*/ 301450 w 3717890"/>
                <a:gd name="connsiteY1" fmla="*/ 105274 h 417206"/>
                <a:gd name="connsiteX2" fmla="*/ 563266 w 3717890"/>
                <a:gd name="connsiteY2" fmla="*/ 21189 h 417206"/>
                <a:gd name="connsiteX3" fmla="*/ 1132184 w 3717890"/>
                <a:gd name="connsiteY3" fmla="*/ 409899 h 417206"/>
                <a:gd name="connsiteX4" fmla="*/ 1534746 w 3717890"/>
                <a:gd name="connsiteY4" fmla="*/ 188277 h 417206"/>
                <a:gd name="connsiteX5" fmla="*/ 1850920 w 3717890"/>
                <a:gd name="connsiteY5" fmla="*/ 10 h 417206"/>
                <a:gd name="connsiteX6" fmla="*/ 2200589 w 3717890"/>
                <a:gd name="connsiteY6" fmla="*/ 195709 h 417206"/>
                <a:gd name="connsiteX7" fmla="*/ 2381459 w 3717890"/>
                <a:gd name="connsiteY7" fmla="*/ 376579 h 417206"/>
                <a:gd name="connsiteX8" fmla="*/ 2642716 w 3717890"/>
                <a:gd name="connsiteY8" fmla="*/ 406724 h 417206"/>
                <a:gd name="connsiteX9" fmla="*/ 2863780 w 3717890"/>
                <a:gd name="connsiteY9" fmla="*/ 235902 h 417206"/>
                <a:gd name="connsiteX10" fmla="*/ 3034602 w 3717890"/>
                <a:gd name="connsiteY10" fmla="*/ 75129 h 417206"/>
                <a:gd name="connsiteX11" fmla="*/ 3295859 w 3717890"/>
                <a:gd name="connsiteY11" fmla="*/ 34935 h 417206"/>
                <a:gd name="connsiteX12" fmla="*/ 3557116 w 3717890"/>
                <a:gd name="connsiteY12" fmla="*/ 185661 h 417206"/>
                <a:gd name="connsiteX13" fmla="*/ 3717890 w 3717890"/>
                <a:gd name="connsiteY13" fmla="*/ 396676 h 417206"/>
                <a:gd name="connsiteX0" fmla="*/ 0 w 3717890"/>
                <a:gd name="connsiteY0" fmla="*/ 356483 h 417206"/>
                <a:gd name="connsiteX1" fmla="*/ 563266 w 3717890"/>
                <a:gd name="connsiteY1" fmla="*/ 21189 h 417206"/>
                <a:gd name="connsiteX2" fmla="*/ 1132184 w 3717890"/>
                <a:gd name="connsiteY2" fmla="*/ 409899 h 417206"/>
                <a:gd name="connsiteX3" fmla="*/ 1534746 w 3717890"/>
                <a:gd name="connsiteY3" fmla="*/ 188277 h 417206"/>
                <a:gd name="connsiteX4" fmla="*/ 1850920 w 3717890"/>
                <a:gd name="connsiteY4" fmla="*/ 10 h 417206"/>
                <a:gd name="connsiteX5" fmla="*/ 2200589 w 3717890"/>
                <a:gd name="connsiteY5" fmla="*/ 195709 h 417206"/>
                <a:gd name="connsiteX6" fmla="*/ 2381459 w 3717890"/>
                <a:gd name="connsiteY6" fmla="*/ 376579 h 417206"/>
                <a:gd name="connsiteX7" fmla="*/ 2642716 w 3717890"/>
                <a:gd name="connsiteY7" fmla="*/ 406724 h 417206"/>
                <a:gd name="connsiteX8" fmla="*/ 2863780 w 3717890"/>
                <a:gd name="connsiteY8" fmla="*/ 235902 h 417206"/>
                <a:gd name="connsiteX9" fmla="*/ 3034602 w 3717890"/>
                <a:gd name="connsiteY9" fmla="*/ 75129 h 417206"/>
                <a:gd name="connsiteX10" fmla="*/ 3295859 w 3717890"/>
                <a:gd name="connsiteY10" fmla="*/ 34935 h 417206"/>
                <a:gd name="connsiteX11" fmla="*/ 3557116 w 3717890"/>
                <a:gd name="connsiteY11" fmla="*/ 185661 h 417206"/>
                <a:gd name="connsiteX12" fmla="*/ 3717890 w 3717890"/>
                <a:gd name="connsiteY12" fmla="*/ 396676 h 417206"/>
                <a:gd name="connsiteX0" fmla="*/ 0 w 3717890"/>
                <a:gd name="connsiteY0" fmla="*/ 361381 h 422104"/>
                <a:gd name="connsiteX1" fmla="*/ 563266 w 3717890"/>
                <a:gd name="connsiteY1" fmla="*/ 26087 h 422104"/>
                <a:gd name="connsiteX2" fmla="*/ 1132184 w 3717890"/>
                <a:gd name="connsiteY2" fmla="*/ 414797 h 422104"/>
                <a:gd name="connsiteX3" fmla="*/ 1850920 w 3717890"/>
                <a:gd name="connsiteY3" fmla="*/ 4908 h 422104"/>
                <a:gd name="connsiteX4" fmla="*/ 2200589 w 3717890"/>
                <a:gd name="connsiteY4" fmla="*/ 200607 h 422104"/>
                <a:gd name="connsiteX5" fmla="*/ 2381459 w 3717890"/>
                <a:gd name="connsiteY5" fmla="*/ 381477 h 422104"/>
                <a:gd name="connsiteX6" fmla="*/ 2642716 w 3717890"/>
                <a:gd name="connsiteY6" fmla="*/ 411622 h 422104"/>
                <a:gd name="connsiteX7" fmla="*/ 2863780 w 3717890"/>
                <a:gd name="connsiteY7" fmla="*/ 240800 h 422104"/>
                <a:gd name="connsiteX8" fmla="*/ 3034602 w 3717890"/>
                <a:gd name="connsiteY8" fmla="*/ 80027 h 422104"/>
                <a:gd name="connsiteX9" fmla="*/ 3295859 w 3717890"/>
                <a:gd name="connsiteY9" fmla="*/ 39833 h 422104"/>
                <a:gd name="connsiteX10" fmla="*/ 3557116 w 3717890"/>
                <a:gd name="connsiteY10" fmla="*/ 190559 h 422104"/>
                <a:gd name="connsiteX11" fmla="*/ 3717890 w 3717890"/>
                <a:gd name="connsiteY11" fmla="*/ 401574 h 422104"/>
                <a:gd name="connsiteX0" fmla="*/ 0 w 3717890"/>
                <a:gd name="connsiteY0" fmla="*/ 356546 h 426194"/>
                <a:gd name="connsiteX1" fmla="*/ 563266 w 3717890"/>
                <a:gd name="connsiteY1" fmla="*/ 21252 h 426194"/>
                <a:gd name="connsiteX2" fmla="*/ 1132184 w 3717890"/>
                <a:gd name="connsiteY2" fmla="*/ 409962 h 426194"/>
                <a:gd name="connsiteX3" fmla="*/ 1850920 w 3717890"/>
                <a:gd name="connsiteY3" fmla="*/ 73 h 426194"/>
                <a:gd name="connsiteX4" fmla="*/ 2381459 w 3717890"/>
                <a:gd name="connsiteY4" fmla="*/ 376642 h 426194"/>
                <a:gd name="connsiteX5" fmla="*/ 2642716 w 3717890"/>
                <a:gd name="connsiteY5" fmla="*/ 406787 h 426194"/>
                <a:gd name="connsiteX6" fmla="*/ 2863780 w 3717890"/>
                <a:gd name="connsiteY6" fmla="*/ 235965 h 426194"/>
                <a:gd name="connsiteX7" fmla="*/ 3034602 w 3717890"/>
                <a:gd name="connsiteY7" fmla="*/ 75192 h 426194"/>
                <a:gd name="connsiteX8" fmla="*/ 3295859 w 3717890"/>
                <a:gd name="connsiteY8" fmla="*/ 34998 h 426194"/>
                <a:gd name="connsiteX9" fmla="*/ 3557116 w 3717890"/>
                <a:gd name="connsiteY9" fmla="*/ 185724 h 426194"/>
                <a:gd name="connsiteX10" fmla="*/ 3717890 w 3717890"/>
                <a:gd name="connsiteY10" fmla="*/ 396739 h 426194"/>
                <a:gd name="connsiteX0" fmla="*/ 0 w 3717890"/>
                <a:gd name="connsiteY0" fmla="*/ 356475 h 443140"/>
                <a:gd name="connsiteX1" fmla="*/ 563266 w 3717890"/>
                <a:gd name="connsiteY1" fmla="*/ 21181 h 443140"/>
                <a:gd name="connsiteX2" fmla="*/ 1132184 w 3717890"/>
                <a:gd name="connsiteY2" fmla="*/ 409891 h 443140"/>
                <a:gd name="connsiteX3" fmla="*/ 1850920 w 3717890"/>
                <a:gd name="connsiteY3" fmla="*/ 2 h 443140"/>
                <a:gd name="connsiteX4" fmla="*/ 2527509 w 3717890"/>
                <a:gd name="connsiteY4" fmla="*/ 405146 h 443140"/>
                <a:gd name="connsiteX5" fmla="*/ 2642716 w 3717890"/>
                <a:gd name="connsiteY5" fmla="*/ 406716 h 443140"/>
                <a:gd name="connsiteX6" fmla="*/ 2863780 w 3717890"/>
                <a:gd name="connsiteY6" fmla="*/ 235894 h 443140"/>
                <a:gd name="connsiteX7" fmla="*/ 3034602 w 3717890"/>
                <a:gd name="connsiteY7" fmla="*/ 75121 h 443140"/>
                <a:gd name="connsiteX8" fmla="*/ 3295859 w 3717890"/>
                <a:gd name="connsiteY8" fmla="*/ 34927 h 443140"/>
                <a:gd name="connsiteX9" fmla="*/ 3557116 w 3717890"/>
                <a:gd name="connsiteY9" fmla="*/ 185653 h 443140"/>
                <a:gd name="connsiteX10" fmla="*/ 3717890 w 3717890"/>
                <a:gd name="connsiteY10" fmla="*/ 396668 h 443140"/>
                <a:gd name="connsiteX0" fmla="*/ 0 w 3717890"/>
                <a:gd name="connsiteY0" fmla="*/ 356475 h 411507"/>
                <a:gd name="connsiteX1" fmla="*/ 563266 w 3717890"/>
                <a:gd name="connsiteY1" fmla="*/ 21181 h 411507"/>
                <a:gd name="connsiteX2" fmla="*/ 1132184 w 3717890"/>
                <a:gd name="connsiteY2" fmla="*/ 409891 h 411507"/>
                <a:gd name="connsiteX3" fmla="*/ 1850920 w 3717890"/>
                <a:gd name="connsiteY3" fmla="*/ 2 h 411507"/>
                <a:gd name="connsiteX4" fmla="*/ 2527509 w 3717890"/>
                <a:gd name="connsiteY4" fmla="*/ 405146 h 411507"/>
                <a:gd name="connsiteX5" fmla="*/ 2863780 w 3717890"/>
                <a:gd name="connsiteY5" fmla="*/ 235894 h 411507"/>
                <a:gd name="connsiteX6" fmla="*/ 3034602 w 3717890"/>
                <a:gd name="connsiteY6" fmla="*/ 75121 h 411507"/>
                <a:gd name="connsiteX7" fmla="*/ 3295859 w 3717890"/>
                <a:gd name="connsiteY7" fmla="*/ 34927 h 411507"/>
                <a:gd name="connsiteX8" fmla="*/ 3557116 w 3717890"/>
                <a:gd name="connsiteY8" fmla="*/ 185653 h 411507"/>
                <a:gd name="connsiteX9" fmla="*/ 3717890 w 3717890"/>
                <a:gd name="connsiteY9" fmla="*/ 396668 h 411507"/>
                <a:gd name="connsiteX0" fmla="*/ 0 w 3717890"/>
                <a:gd name="connsiteY0" fmla="*/ 356475 h 411735"/>
                <a:gd name="connsiteX1" fmla="*/ 563266 w 3717890"/>
                <a:gd name="connsiteY1" fmla="*/ 21181 h 411735"/>
                <a:gd name="connsiteX2" fmla="*/ 1132184 w 3717890"/>
                <a:gd name="connsiteY2" fmla="*/ 409891 h 411735"/>
                <a:gd name="connsiteX3" fmla="*/ 1850920 w 3717890"/>
                <a:gd name="connsiteY3" fmla="*/ 2 h 411735"/>
                <a:gd name="connsiteX4" fmla="*/ 2527509 w 3717890"/>
                <a:gd name="connsiteY4" fmla="*/ 405146 h 411735"/>
                <a:gd name="connsiteX5" fmla="*/ 2863780 w 3717890"/>
                <a:gd name="connsiteY5" fmla="*/ 235894 h 411735"/>
                <a:gd name="connsiteX6" fmla="*/ 3295859 w 3717890"/>
                <a:gd name="connsiteY6" fmla="*/ 34927 h 411735"/>
                <a:gd name="connsiteX7" fmla="*/ 3557116 w 3717890"/>
                <a:gd name="connsiteY7" fmla="*/ 185653 h 411735"/>
                <a:gd name="connsiteX8" fmla="*/ 3717890 w 3717890"/>
                <a:gd name="connsiteY8" fmla="*/ 396668 h 411735"/>
                <a:gd name="connsiteX0" fmla="*/ 0 w 3717890"/>
                <a:gd name="connsiteY0" fmla="*/ 356475 h 409915"/>
                <a:gd name="connsiteX1" fmla="*/ 563266 w 3717890"/>
                <a:gd name="connsiteY1" fmla="*/ 21181 h 409915"/>
                <a:gd name="connsiteX2" fmla="*/ 1132184 w 3717890"/>
                <a:gd name="connsiteY2" fmla="*/ 409891 h 409915"/>
                <a:gd name="connsiteX3" fmla="*/ 1850920 w 3717890"/>
                <a:gd name="connsiteY3" fmla="*/ 2 h 409915"/>
                <a:gd name="connsiteX4" fmla="*/ 2527509 w 3717890"/>
                <a:gd name="connsiteY4" fmla="*/ 405146 h 409915"/>
                <a:gd name="connsiteX5" fmla="*/ 3295859 w 3717890"/>
                <a:gd name="connsiteY5" fmla="*/ 34927 h 409915"/>
                <a:gd name="connsiteX6" fmla="*/ 3557116 w 3717890"/>
                <a:gd name="connsiteY6" fmla="*/ 185653 h 409915"/>
                <a:gd name="connsiteX7" fmla="*/ 3717890 w 3717890"/>
                <a:gd name="connsiteY7" fmla="*/ 396668 h 409915"/>
                <a:gd name="connsiteX0" fmla="*/ 0 w 3717890"/>
                <a:gd name="connsiteY0" fmla="*/ 356475 h 409915"/>
                <a:gd name="connsiteX1" fmla="*/ 563266 w 3717890"/>
                <a:gd name="connsiteY1" fmla="*/ 21181 h 409915"/>
                <a:gd name="connsiteX2" fmla="*/ 1132184 w 3717890"/>
                <a:gd name="connsiteY2" fmla="*/ 409891 h 409915"/>
                <a:gd name="connsiteX3" fmla="*/ 1850920 w 3717890"/>
                <a:gd name="connsiteY3" fmla="*/ 2 h 409915"/>
                <a:gd name="connsiteX4" fmla="*/ 2527509 w 3717890"/>
                <a:gd name="connsiteY4" fmla="*/ 405146 h 409915"/>
                <a:gd name="connsiteX5" fmla="*/ 3168859 w 3717890"/>
                <a:gd name="connsiteY5" fmla="*/ 15877 h 409915"/>
                <a:gd name="connsiteX6" fmla="*/ 3557116 w 3717890"/>
                <a:gd name="connsiteY6" fmla="*/ 185653 h 409915"/>
                <a:gd name="connsiteX7" fmla="*/ 3717890 w 3717890"/>
                <a:gd name="connsiteY7" fmla="*/ 396668 h 409915"/>
                <a:gd name="connsiteX0" fmla="*/ 0 w 3717890"/>
                <a:gd name="connsiteY0" fmla="*/ 356475 h 409915"/>
                <a:gd name="connsiteX1" fmla="*/ 563266 w 3717890"/>
                <a:gd name="connsiteY1" fmla="*/ 21181 h 409915"/>
                <a:gd name="connsiteX2" fmla="*/ 1132184 w 3717890"/>
                <a:gd name="connsiteY2" fmla="*/ 409891 h 409915"/>
                <a:gd name="connsiteX3" fmla="*/ 1850920 w 3717890"/>
                <a:gd name="connsiteY3" fmla="*/ 2 h 409915"/>
                <a:gd name="connsiteX4" fmla="*/ 2527509 w 3717890"/>
                <a:gd name="connsiteY4" fmla="*/ 405146 h 409915"/>
                <a:gd name="connsiteX5" fmla="*/ 3168859 w 3717890"/>
                <a:gd name="connsiteY5" fmla="*/ 15877 h 409915"/>
                <a:gd name="connsiteX6" fmla="*/ 3557116 w 3717890"/>
                <a:gd name="connsiteY6" fmla="*/ 185653 h 409915"/>
                <a:gd name="connsiteX7" fmla="*/ 3717890 w 3717890"/>
                <a:gd name="connsiteY7" fmla="*/ 396668 h 409915"/>
                <a:gd name="connsiteX0" fmla="*/ 0 w 3717890"/>
                <a:gd name="connsiteY0" fmla="*/ 356475 h 409915"/>
                <a:gd name="connsiteX1" fmla="*/ 563266 w 3717890"/>
                <a:gd name="connsiteY1" fmla="*/ 21181 h 409915"/>
                <a:gd name="connsiteX2" fmla="*/ 1132184 w 3717890"/>
                <a:gd name="connsiteY2" fmla="*/ 409891 h 409915"/>
                <a:gd name="connsiteX3" fmla="*/ 1850920 w 3717890"/>
                <a:gd name="connsiteY3" fmla="*/ 2 h 409915"/>
                <a:gd name="connsiteX4" fmla="*/ 2527509 w 3717890"/>
                <a:gd name="connsiteY4" fmla="*/ 405146 h 409915"/>
                <a:gd name="connsiteX5" fmla="*/ 3168859 w 3717890"/>
                <a:gd name="connsiteY5" fmla="*/ 15877 h 409915"/>
                <a:gd name="connsiteX6" fmla="*/ 3557116 w 3717890"/>
                <a:gd name="connsiteY6" fmla="*/ 185653 h 409915"/>
                <a:gd name="connsiteX7" fmla="*/ 3717890 w 3717890"/>
                <a:gd name="connsiteY7" fmla="*/ 396668 h 409915"/>
                <a:gd name="connsiteX0" fmla="*/ 0 w 3717890"/>
                <a:gd name="connsiteY0" fmla="*/ 356475 h 409915"/>
                <a:gd name="connsiteX1" fmla="*/ 563266 w 3717890"/>
                <a:gd name="connsiteY1" fmla="*/ 21181 h 409915"/>
                <a:gd name="connsiteX2" fmla="*/ 1132184 w 3717890"/>
                <a:gd name="connsiteY2" fmla="*/ 409891 h 409915"/>
                <a:gd name="connsiteX3" fmla="*/ 1850920 w 3717890"/>
                <a:gd name="connsiteY3" fmla="*/ 2 h 409915"/>
                <a:gd name="connsiteX4" fmla="*/ 2527509 w 3717890"/>
                <a:gd name="connsiteY4" fmla="*/ 405146 h 409915"/>
                <a:gd name="connsiteX5" fmla="*/ 3168859 w 3717890"/>
                <a:gd name="connsiteY5" fmla="*/ 15877 h 409915"/>
                <a:gd name="connsiteX6" fmla="*/ 3717890 w 3717890"/>
                <a:gd name="connsiteY6" fmla="*/ 396668 h 409915"/>
                <a:gd name="connsiteX0" fmla="*/ 0 w 3695665"/>
                <a:gd name="connsiteY0" fmla="*/ 397750 h 409914"/>
                <a:gd name="connsiteX1" fmla="*/ 541041 w 3695665"/>
                <a:gd name="connsiteY1" fmla="*/ 21181 h 409914"/>
                <a:gd name="connsiteX2" fmla="*/ 1109959 w 3695665"/>
                <a:gd name="connsiteY2" fmla="*/ 409891 h 409914"/>
                <a:gd name="connsiteX3" fmla="*/ 1828695 w 3695665"/>
                <a:gd name="connsiteY3" fmla="*/ 2 h 409914"/>
                <a:gd name="connsiteX4" fmla="*/ 2505284 w 3695665"/>
                <a:gd name="connsiteY4" fmla="*/ 405146 h 409914"/>
                <a:gd name="connsiteX5" fmla="*/ 3146634 w 3695665"/>
                <a:gd name="connsiteY5" fmla="*/ 15877 h 409914"/>
                <a:gd name="connsiteX6" fmla="*/ 3695665 w 3695665"/>
                <a:gd name="connsiteY6" fmla="*/ 396668 h 409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695665" h="409914">
                  <a:moveTo>
                    <a:pt x="0" y="397750"/>
                  </a:moveTo>
                  <a:cubicBezTo>
                    <a:pt x="117347" y="327897"/>
                    <a:pt x="356048" y="19158"/>
                    <a:pt x="541041" y="21181"/>
                  </a:cubicBezTo>
                  <a:cubicBezTo>
                    <a:pt x="726034" y="23204"/>
                    <a:pt x="895350" y="413421"/>
                    <a:pt x="1109959" y="409891"/>
                  </a:cubicBezTo>
                  <a:cubicBezTo>
                    <a:pt x="1324568" y="406361"/>
                    <a:pt x="1596141" y="793"/>
                    <a:pt x="1828695" y="2"/>
                  </a:cubicBezTo>
                  <a:cubicBezTo>
                    <a:pt x="2061249" y="-789"/>
                    <a:pt x="2285628" y="402500"/>
                    <a:pt x="2505284" y="405146"/>
                  </a:cubicBezTo>
                  <a:cubicBezTo>
                    <a:pt x="2724940" y="407792"/>
                    <a:pt x="2948237" y="17290"/>
                    <a:pt x="3146634" y="15877"/>
                  </a:cubicBezTo>
                  <a:cubicBezTo>
                    <a:pt x="3345031" y="14464"/>
                    <a:pt x="3581284" y="317337"/>
                    <a:pt x="3695665" y="396668"/>
                  </a:cubicBezTo>
                </a:path>
              </a:pathLst>
            </a:custGeom>
            <a:noFill/>
            <a:ln w="762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548"/>
            </a:p>
          </p:txBody>
        </p:sp>
        <p:sp>
          <p:nvSpPr>
            <p:cNvPr id="8" name="Freeform 7">
              <a:extLst>
                <a:ext uri="{FF2B5EF4-FFF2-40B4-BE49-F238E27FC236}">
                  <a16:creationId xmlns:a16="http://schemas.microsoft.com/office/drawing/2014/main" id="{B3AAAC7C-9B0F-6848-BE5B-0C8FBAC9E065}"/>
                </a:ext>
              </a:extLst>
            </p:cNvPr>
            <p:cNvSpPr/>
            <p:nvPr/>
          </p:nvSpPr>
          <p:spPr>
            <a:xfrm>
              <a:off x="3248297" y="4368503"/>
              <a:ext cx="4458789" cy="319531"/>
            </a:xfrm>
            <a:custGeom>
              <a:avLst/>
              <a:gdLst>
                <a:gd name="connsiteX0" fmla="*/ 0 w 3717890"/>
                <a:gd name="connsiteY0" fmla="*/ 350729 h 412506"/>
                <a:gd name="connsiteX1" fmla="*/ 301450 w 3717890"/>
                <a:gd name="connsiteY1" fmla="*/ 99520 h 412506"/>
                <a:gd name="connsiteX2" fmla="*/ 512466 w 3717890"/>
                <a:gd name="connsiteY2" fmla="*/ 9085 h 412506"/>
                <a:gd name="connsiteX3" fmla="*/ 823965 w 3717890"/>
                <a:gd name="connsiteY3" fmla="*/ 159810 h 412506"/>
                <a:gd name="connsiteX4" fmla="*/ 1004835 w 3717890"/>
                <a:gd name="connsiteY4" fmla="*/ 370825 h 412506"/>
                <a:gd name="connsiteX5" fmla="*/ 1316334 w 3717890"/>
                <a:gd name="connsiteY5" fmla="*/ 400970 h 412506"/>
                <a:gd name="connsiteX6" fmla="*/ 1547446 w 3717890"/>
                <a:gd name="connsiteY6" fmla="*/ 230148 h 412506"/>
                <a:gd name="connsiteX7" fmla="*/ 1818751 w 3717890"/>
                <a:gd name="connsiteY7" fmla="*/ 19133 h 412506"/>
                <a:gd name="connsiteX8" fmla="*/ 2009670 w 3717890"/>
                <a:gd name="connsiteY8" fmla="*/ 29181 h 412506"/>
                <a:gd name="connsiteX9" fmla="*/ 2200589 w 3717890"/>
                <a:gd name="connsiteY9" fmla="*/ 189955 h 412506"/>
                <a:gd name="connsiteX10" fmla="*/ 2381459 w 3717890"/>
                <a:gd name="connsiteY10" fmla="*/ 370825 h 412506"/>
                <a:gd name="connsiteX11" fmla="*/ 2642716 w 3717890"/>
                <a:gd name="connsiteY11" fmla="*/ 400970 h 412506"/>
                <a:gd name="connsiteX12" fmla="*/ 2863780 w 3717890"/>
                <a:gd name="connsiteY12" fmla="*/ 230148 h 412506"/>
                <a:gd name="connsiteX13" fmla="*/ 3034602 w 3717890"/>
                <a:gd name="connsiteY13" fmla="*/ 69375 h 412506"/>
                <a:gd name="connsiteX14" fmla="*/ 3295859 w 3717890"/>
                <a:gd name="connsiteY14" fmla="*/ 29181 h 412506"/>
                <a:gd name="connsiteX15" fmla="*/ 3557116 w 3717890"/>
                <a:gd name="connsiteY15" fmla="*/ 179907 h 412506"/>
                <a:gd name="connsiteX16" fmla="*/ 3717890 w 3717890"/>
                <a:gd name="connsiteY16" fmla="*/ 390922 h 412506"/>
                <a:gd name="connsiteX0" fmla="*/ 0 w 3717890"/>
                <a:gd name="connsiteY0" fmla="*/ 350729 h 413492"/>
                <a:gd name="connsiteX1" fmla="*/ 301450 w 3717890"/>
                <a:gd name="connsiteY1" fmla="*/ 99520 h 413492"/>
                <a:gd name="connsiteX2" fmla="*/ 512466 w 3717890"/>
                <a:gd name="connsiteY2" fmla="*/ 9085 h 413492"/>
                <a:gd name="connsiteX3" fmla="*/ 801740 w 3717890"/>
                <a:gd name="connsiteY3" fmla="*/ 134410 h 413492"/>
                <a:gd name="connsiteX4" fmla="*/ 1004835 w 3717890"/>
                <a:gd name="connsiteY4" fmla="*/ 370825 h 413492"/>
                <a:gd name="connsiteX5" fmla="*/ 1316334 w 3717890"/>
                <a:gd name="connsiteY5" fmla="*/ 400970 h 413492"/>
                <a:gd name="connsiteX6" fmla="*/ 1547446 w 3717890"/>
                <a:gd name="connsiteY6" fmla="*/ 230148 h 413492"/>
                <a:gd name="connsiteX7" fmla="*/ 1818751 w 3717890"/>
                <a:gd name="connsiteY7" fmla="*/ 19133 h 413492"/>
                <a:gd name="connsiteX8" fmla="*/ 2009670 w 3717890"/>
                <a:gd name="connsiteY8" fmla="*/ 29181 h 413492"/>
                <a:gd name="connsiteX9" fmla="*/ 2200589 w 3717890"/>
                <a:gd name="connsiteY9" fmla="*/ 189955 h 413492"/>
                <a:gd name="connsiteX10" fmla="*/ 2381459 w 3717890"/>
                <a:gd name="connsiteY10" fmla="*/ 370825 h 413492"/>
                <a:gd name="connsiteX11" fmla="*/ 2642716 w 3717890"/>
                <a:gd name="connsiteY11" fmla="*/ 400970 h 413492"/>
                <a:gd name="connsiteX12" fmla="*/ 2863780 w 3717890"/>
                <a:gd name="connsiteY12" fmla="*/ 230148 h 413492"/>
                <a:gd name="connsiteX13" fmla="*/ 3034602 w 3717890"/>
                <a:gd name="connsiteY13" fmla="*/ 69375 h 413492"/>
                <a:gd name="connsiteX14" fmla="*/ 3295859 w 3717890"/>
                <a:gd name="connsiteY14" fmla="*/ 29181 h 413492"/>
                <a:gd name="connsiteX15" fmla="*/ 3557116 w 3717890"/>
                <a:gd name="connsiteY15" fmla="*/ 179907 h 413492"/>
                <a:gd name="connsiteX16" fmla="*/ 3717890 w 3717890"/>
                <a:gd name="connsiteY16" fmla="*/ 390922 h 413492"/>
                <a:gd name="connsiteX0" fmla="*/ 0 w 3717890"/>
                <a:gd name="connsiteY0" fmla="*/ 347339 h 413621"/>
                <a:gd name="connsiteX1" fmla="*/ 301450 w 3717890"/>
                <a:gd name="connsiteY1" fmla="*/ 96130 h 413621"/>
                <a:gd name="connsiteX2" fmla="*/ 512466 w 3717890"/>
                <a:gd name="connsiteY2" fmla="*/ 5695 h 413621"/>
                <a:gd name="connsiteX3" fmla="*/ 801740 w 3717890"/>
                <a:gd name="connsiteY3" fmla="*/ 131020 h 413621"/>
                <a:gd name="connsiteX4" fmla="*/ 1004835 w 3717890"/>
                <a:gd name="connsiteY4" fmla="*/ 367435 h 413621"/>
                <a:gd name="connsiteX5" fmla="*/ 1316334 w 3717890"/>
                <a:gd name="connsiteY5" fmla="*/ 397580 h 413621"/>
                <a:gd name="connsiteX6" fmla="*/ 1534746 w 3717890"/>
                <a:gd name="connsiteY6" fmla="*/ 179133 h 413621"/>
                <a:gd name="connsiteX7" fmla="*/ 1818751 w 3717890"/>
                <a:gd name="connsiteY7" fmla="*/ 15743 h 413621"/>
                <a:gd name="connsiteX8" fmla="*/ 2009670 w 3717890"/>
                <a:gd name="connsiteY8" fmla="*/ 25791 h 413621"/>
                <a:gd name="connsiteX9" fmla="*/ 2200589 w 3717890"/>
                <a:gd name="connsiteY9" fmla="*/ 186565 h 413621"/>
                <a:gd name="connsiteX10" fmla="*/ 2381459 w 3717890"/>
                <a:gd name="connsiteY10" fmla="*/ 367435 h 413621"/>
                <a:gd name="connsiteX11" fmla="*/ 2642716 w 3717890"/>
                <a:gd name="connsiteY11" fmla="*/ 397580 h 413621"/>
                <a:gd name="connsiteX12" fmla="*/ 2863780 w 3717890"/>
                <a:gd name="connsiteY12" fmla="*/ 226758 h 413621"/>
                <a:gd name="connsiteX13" fmla="*/ 3034602 w 3717890"/>
                <a:gd name="connsiteY13" fmla="*/ 65985 h 413621"/>
                <a:gd name="connsiteX14" fmla="*/ 3295859 w 3717890"/>
                <a:gd name="connsiteY14" fmla="*/ 25791 h 413621"/>
                <a:gd name="connsiteX15" fmla="*/ 3557116 w 3717890"/>
                <a:gd name="connsiteY15" fmla="*/ 176517 h 413621"/>
                <a:gd name="connsiteX16" fmla="*/ 3717890 w 3717890"/>
                <a:gd name="connsiteY16" fmla="*/ 387532 h 413621"/>
                <a:gd name="connsiteX0" fmla="*/ 0 w 3717890"/>
                <a:gd name="connsiteY0" fmla="*/ 347339 h 413621"/>
                <a:gd name="connsiteX1" fmla="*/ 301450 w 3717890"/>
                <a:gd name="connsiteY1" fmla="*/ 96130 h 413621"/>
                <a:gd name="connsiteX2" fmla="*/ 512466 w 3717890"/>
                <a:gd name="connsiteY2" fmla="*/ 5695 h 413621"/>
                <a:gd name="connsiteX3" fmla="*/ 801740 w 3717890"/>
                <a:gd name="connsiteY3" fmla="*/ 131020 h 413621"/>
                <a:gd name="connsiteX4" fmla="*/ 1004835 w 3717890"/>
                <a:gd name="connsiteY4" fmla="*/ 367435 h 413621"/>
                <a:gd name="connsiteX5" fmla="*/ 1316334 w 3717890"/>
                <a:gd name="connsiteY5" fmla="*/ 397580 h 413621"/>
                <a:gd name="connsiteX6" fmla="*/ 1534746 w 3717890"/>
                <a:gd name="connsiteY6" fmla="*/ 179133 h 413621"/>
                <a:gd name="connsiteX7" fmla="*/ 1818751 w 3717890"/>
                <a:gd name="connsiteY7" fmla="*/ 15743 h 413621"/>
                <a:gd name="connsiteX8" fmla="*/ 2009670 w 3717890"/>
                <a:gd name="connsiteY8" fmla="*/ 25791 h 413621"/>
                <a:gd name="connsiteX9" fmla="*/ 2200589 w 3717890"/>
                <a:gd name="connsiteY9" fmla="*/ 186565 h 413621"/>
                <a:gd name="connsiteX10" fmla="*/ 2381459 w 3717890"/>
                <a:gd name="connsiteY10" fmla="*/ 367435 h 413621"/>
                <a:gd name="connsiteX11" fmla="*/ 2642716 w 3717890"/>
                <a:gd name="connsiteY11" fmla="*/ 397580 h 413621"/>
                <a:gd name="connsiteX12" fmla="*/ 2863780 w 3717890"/>
                <a:gd name="connsiteY12" fmla="*/ 226758 h 413621"/>
                <a:gd name="connsiteX13" fmla="*/ 3034602 w 3717890"/>
                <a:gd name="connsiteY13" fmla="*/ 65985 h 413621"/>
                <a:gd name="connsiteX14" fmla="*/ 3295859 w 3717890"/>
                <a:gd name="connsiteY14" fmla="*/ 25791 h 413621"/>
                <a:gd name="connsiteX15" fmla="*/ 3557116 w 3717890"/>
                <a:gd name="connsiteY15" fmla="*/ 176517 h 413621"/>
                <a:gd name="connsiteX16" fmla="*/ 3717890 w 3717890"/>
                <a:gd name="connsiteY16" fmla="*/ 387532 h 413621"/>
                <a:gd name="connsiteX0" fmla="*/ 0 w 3717890"/>
                <a:gd name="connsiteY0" fmla="*/ 347339 h 413621"/>
                <a:gd name="connsiteX1" fmla="*/ 301450 w 3717890"/>
                <a:gd name="connsiteY1" fmla="*/ 96130 h 413621"/>
                <a:gd name="connsiteX2" fmla="*/ 512466 w 3717890"/>
                <a:gd name="connsiteY2" fmla="*/ 5695 h 413621"/>
                <a:gd name="connsiteX3" fmla="*/ 801740 w 3717890"/>
                <a:gd name="connsiteY3" fmla="*/ 131020 h 413621"/>
                <a:gd name="connsiteX4" fmla="*/ 1004835 w 3717890"/>
                <a:gd name="connsiteY4" fmla="*/ 367435 h 413621"/>
                <a:gd name="connsiteX5" fmla="*/ 1316334 w 3717890"/>
                <a:gd name="connsiteY5" fmla="*/ 397580 h 413621"/>
                <a:gd name="connsiteX6" fmla="*/ 1534746 w 3717890"/>
                <a:gd name="connsiteY6" fmla="*/ 179133 h 413621"/>
                <a:gd name="connsiteX7" fmla="*/ 1818751 w 3717890"/>
                <a:gd name="connsiteY7" fmla="*/ 15743 h 413621"/>
                <a:gd name="connsiteX8" fmla="*/ 2009670 w 3717890"/>
                <a:gd name="connsiteY8" fmla="*/ 25791 h 413621"/>
                <a:gd name="connsiteX9" fmla="*/ 2200589 w 3717890"/>
                <a:gd name="connsiteY9" fmla="*/ 186565 h 413621"/>
                <a:gd name="connsiteX10" fmla="*/ 2381459 w 3717890"/>
                <a:gd name="connsiteY10" fmla="*/ 367435 h 413621"/>
                <a:gd name="connsiteX11" fmla="*/ 2642716 w 3717890"/>
                <a:gd name="connsiteY11" fmla="*/ 397580 h 413621"/>
                <a:gd name="connsiteX12" fmla="*/ 2863780 w 3717890"/>
                <a:gd name="connsiteY12" fmla="*/ 226758 h 413621"/>
                <a:gd name="connsiteX13" fmla="*/ 3034602 w 3717890"/>
                <a:gd name="connsiteY13" fmla="*/ 65985 h 413621"/>
                <a:gd name="connsiteX14" fmla="*/ 3295859 w 3717890"/>
                <a:gd name="connsiteY14" fmla="*/ 25791 h 413621"/>
                <a:gd name="connsiteX15" fmla="*/ 3557116 w 3717890"/>
                <a:gd name="connsiteY15" fmla="*/ 176517 h 413621"/>
                <a:gd name="connsiteX16" fmla="*/ 3717890 w 3717890"/>
                <a:gd name="connsiteY16" fmla="*/ 387532 h 413621"/>
                <a:gd name="connsiteX0" fmla="*/ 0 w 3717890"/>
                <a:gd name="connsiteY0" fmla="*/ 342214 h 408496"/>
                <a:gd name="connsiteX1" fmla="*/ 301450 w 3717890"/>
                <a:gd name="connsiteY1" fmla="*/ 91005 h 408496"/>
                <a:gd name="connsiteX2" fmla="*/ 512466 w 3717890"/>
                <a:gd name="connsiteY2" fmla="*/ 570 h 408496"/>
                <a:gd name="connsiteX3" fmla="*/ 801740 w 3717890"/>
                <a:gd name="connsiteY3" fmla="*/ 125895 h 408496"/>
                <a:gd name="connsiteX4" fmla="*/ 1004835 w 3717890"/>
                <a:gd name="connsiteY4" fmla="*/ 362310 h 408496"/>
                <a:gd name="connsiteX5" fmla="*/ 1316334 w 3717890"/>
                <a:gd name="connsiteY5" fmla="*/ 392455 h 408496"/>
                <a:gd name="connsiteX6" fmla="*/ 1534746 w 3717890"/>
                <a:gd name="connsiteY6" fmla="*/ 174008 h 408496"/>
                <a:gd name="connsiteX7" fmla="*/ 1777476 w 3717890"/>
                <a:gd name="connsiteY7" fmla="*/ 26493 h 408496"/>
                <a:gd name="connsiteX8" fmla="*/ 2009670 w 3717890"/>
                <a:gd name="connsiteY8" fmla="*/ 20666 h 408496"/>
                <a:gd name="connsiteX9" fmla="*/ 2200589 w 3717890"/>
                <a:gd name="connsiteY9" fmla="*/ 181440 h 408496"/>
                <a:gd name="connsiteX10" fmla="*/ 2381459 w 3717890"/>
                <a:gd name="connsiteY10" fmla="*/ 362310 h 408496"/>
                <a:gd name="connsiteX11" fmla="*/ 2642716 w 3717890"/>
                <a:gd name="connsiteY11" fmla="*/ 392455 h 408496"/>
                <a:gd name="connsiteX12" fmla="*/ 2863780 w 3717890"/>
                <a:gd name="connsiteY12" fmla="*/ 221633 h 408496"/>
                <a:gd name="connsiteX13" fmla="*/ 3034602 w 3717890"/>
                <a:gd name="connsiteY13" fmla="*/ 60860 h 408496"/>
                <a:gd name="connsiteX14" fmla="*/ 3295859 w 3717890"/>
                <a:gd name="connsiteY14" fmla="*/ 20666 h 408496"/>
                <a:gd name="connsiteX15" fmla="*/ 3557116 w 3717890"/>
                <a:gd name="connsiteY15" fmla="*/ 171392 h 408496"/>
                <a:gd name="connsiteX16" fmla="*/ 3717890 w 3717890"/>
                <a:gd name="connsiteY16" fmla="*/ 382407 h 408496"/>
                <a:gd name="connsiteX0" fmla="*/ 0 w 3717890"/>
                <a:gd name="connsiteY0" fmla="*/ 338160 h 404442"/>
                <a:gd name="connsiteX1" fmla="*/ 301450 w 3717890"/>
                <a:gd name="connsiteY1" fmla="*/ 86951 h 404442"/>
                <a:gd name="connsiteX2" fmla="*/ 563266 w 3717890"/>
                <a:gd name="connsiteY2" fmla="*/ 2866 h 404442"/>
                <a:gd name="connsiteX3" fmla="*/ 801740 w 3717890"/>
                <a:gd name="connsiteY3" fmla="*/ 121841 h 404442"/>
                <a:gd name="connsiteX4" fmla="*/ 1004835 w 3717890"/>
                <a:gd name="connsiteY4" fmla="*/ 358256 h 404442"/>
                <a:gd name="connsiteX5" fmla="*/ 1316334 w 3717890"/>
                <a:gd name="connsiteY5" fmla="*/ 388401 h 404442"/>
                <a:gd name="connsiteX6" fmla="*/ 1534746 w 3717890"/>
                <a:gd name="connsiteY6" fmla="*/ 169954 h 404442"/>
                <a:gd name="connsiteX7" fmla="*/ 1777476 w 3717890"/>
                <a:gd name="connsiteY7" fmla="*/ 22439 h 404442"/>
                <a:gd name="connsiteX8" fmla="*/ 2009670 w 3717890"/>
                <a:gd name="connsiteY8" fmla="*/ 16612 h 404442"/>
                <a:gd name="connsiteX9" fmla="*/ 2200589 w 3717890"/>
                <a:gd name="connsiteY9" fmla="*/ 177386 h 404442"/>
                <a:gd name="connsiteX10" fmla="*/ 2381459 w 3717890"/>
                <a:gd name="connsiteY10" fmla="*/ 358256 h 404442"/>
                <a:gd name="connsiteX11" fmla="*/ 2642716 w 3717890"/>
                <a:gd name="connsiteY11" fmla="*/ 388401 h 404442"/>
                <a:gd name="connsiteX12" fmla="*/ 2863780 w 3717890"/>
                <a:gd name="connsiteY12" fmla="*/ 217579 h 404442"/>
                <a:gd name="connsiteX13" fmla="*/ 3034602 w 3717890"/>
                <a:gd name="connsiteY13" fmla="*/ 56806 h 404442"/>
                <a:gd name="connsiteX14" fmla="*/ 3295859 w 3717890"/>
                <a:gd name="connsiteY14" fmla="*/ 16612 h 404442"/>
                <a:gd name="connsiteX15" fmla="*/ 3557116 w 3717890"/>
                <a:gd name="connsiteY15" fmla="*/ 167338 h 404442"/>
                <a:gd name="connsiteX16" fmla="*/ 3717890 w 3717890"/>
                <a:gd name="connsiteY16" fmla="*/ 378353 h 404442"/>
                <a:gd name="connsiteX0" fmla="*/ 0 w 3717890"/>
                <a:gd name="connsiteY0" fmla="*/ 338160 h 404442"/>
                <a:gd name="connsiteX1" fmla="*/ 301450 w 3717890"/>
                <a:gd name="connsiteY1" fmla="*/ 86951 h 404442"/>
                <a:gd name="connsiteX2" fmla="*/ 563266 w 3717890"/>
                <a:gd name="connsiteY2" fmla="*/ 2866 h 404442"/>
                <a:gd name="connsiteX3" fmla="*/ 801740 w 3717890"/>
                <a:gd name="connsiteY3" fmla="*/ 121841 h 404442"/>
                <a:gd name="connsiteX4" fmla="*/ 1004835 w 3717890"/>
                <a:gd name="connsiteY4" fmla="*/ 358256 h 404442"/>
                <a:gd name="connsiteX5" fmla="*/ 1316334 w 3717890"/>
                <a:gd name="connsiteY5" fmla="*/ 388401 h 404442"/>
                <a:gd name="connsiteX6" fmla="*/ 1534746 w 3717890"/>
                <a:gd name="connsiteY6" fmla="*/ 169954 h 404442"/>
                <a:gd name="connsiteX7" fmla="*/ 1777476 w 3717890"/>
                <a:gd name="connsiteY7" fmla="*/ 22439 h 404442"/>
                <a:gd name="connsiteX8" fmla="*/ 2009670 w 3717890"/>
                <a:gd name="connsiteY8" fmla="*/ 16612 h 404442"/>
                <a:gd name="connsiteX9" fmla="*/ 2200589 w 3717890"/>
                <a:gd name="connsiteY9" fmla="*/ 177386 h 404442"/>
                <a:gd name="connsiteX10" fmla="*/ 2381459 w 3717890"/>
                <a:gd name="connsiteY10" fmla="*/ 358256 h 404442"/>
                <a:gd name="connsiteX11" fmla="*/ 2642716 w 3717890"/>
                <a:gd name="connsiteY11" fmla="*/ 388401 h 404442"/>
                <a:gd name="connsiteX12" fmla="*/ 2863780 w 3717890"/>
                <a:gd name="connsiteY12" fmla="*/ 217579 h 404442"/>
                <a:gd name="connsiteX13" fmla="*/ 3034602 w 3717890"/>
                <a:gd name="connsiteY13" fmla="*/ 56806 h 404442"/>
                <a:gd name="connsiteX14" fmla="*/ 3295859 w 3717890"/>
                <a:gd name="connsiteY14" fmla="*/ 16612 h 404442"/>
                <a:gd name="connsiteX15" fmla="*/ 3557116 w 3717890"/>
                <a:gd name="connsiteY15" fmla="*/ 167338 h 404442"/>
                <a:gd name="connsiteX16" fmla="*/ 3717890 w 3717890"/>
                <a:gd name="connsiteY16" fmla="*/ 378353 h 404442"/>
                <a:gd name="connsiteX0" fmla="*/ 0 w 3717890"/>
                <a:gd name="connsiteY0" fmla="*/ 349509 h 415791"/>
                <a:gd name="connsiteX1" fmla="*/ 301450 w 3717890"/>
                <a:gd name="connsiteY1" fmla="*/ 98300 h 415791"/>
                <a:gd name="connsiteX2" fmla="*/ 563266 w 3717890"/>
                <a:gd name="connsiteY2" fmla="*/ 14215 h 415791"/>
                <a:gd name="connsiteX3" fmla="*/ 801740 w 3717890"/>
                <a:gd name="connsiteY3" fmla="*/ 133190 h 415791"/>
                <a:gd name="connsiteX4" fmla="*/ 1004835 w 3717890"/>
                <a:gd name="connsiteY4" fmla="*/ 369605 h 415791"/>
                <a:gd name="connsiteX5" fmla="*/ 1316334 w 3717890"/>
                <a:gd name="connsiteY5" fmla="*/ 399750 h 415791"/>
                <a:gd name="connsiteX6" fmla="*/ 1534746 w 3717890"/>
                <a:gd name="connsiteY6" fmla="*/ 181303 h 415791"/>
                <a:gd name="connsiteX7" fmla="*/ 1790176 w 3717890"/>
                <a:gd name="connsiteY7" fmla="*/ 14738 h 415791"/>
                <a:gd name="connsiteX8" fmla="*/ 2009670 w 3717890"/>
                <a:gd name="connsiteY8" fmla="*/ 27961 h 415791"/>
                <a:gd name="connsiteX9" fmla="*/ 2200589 w 3717890"/>
                <a:gd name="connsiteY9" fmla="*/ 188735 h 415791"/>
                <a:gd name="connsiteX10" fmla="*/ 2381459 w 3717890"/>
                <a:gd name="connsiteY10" fmla="*/ 369605 h 415791"/>
                <a:gd name="connsiteX11" fmla="*/ 2642716 w 3717890"/>
                <a:gd name="connsiteY11" fmla="*/ 399750 h 415791"/>
                <a:gd name="connsiteX12" fmla="*/ 2863780 w 3717890"/>
                <a:gd name="connsiteY12" fmla="*/ 228928 h 415791"/>
                <a:gd name="connsiteX13" fmla="*/ 3034602 w 3717890"/>
                <a:gd name="connsiteY13" fmla="*/ 68155 h 415791"/>
                <a:gd name="connsiteX14" fmla="*/ 3295859 w 3717890"/>
                <a:gd name="connsiteY14" fmla="*/ 27961 h 415791"/>
                <a:gd name="connsiteX15" fmla="*/ 3557116 w 3717890"/>
                <a:gd name="connsiteY15" fmla="*/ 178687 h 415791"/>
                <a:gd name="connsiteX16" fmla="*/ 3717890 w 3717890"/>
                <a:gd name="connsiteY16" fmla="*/ 389702 h 415791"/>
                <a:gd name="connsiteX0" fmla="*/ 0 w 3717890"/>
                <a:gd name="connsiteY0" fmla="*/ 335938 h 402220"/>
                <a:gd name="connsiteX1" fmla="*/ 301450 w 3717890"/>
                <a:gd name="connsiteY1" fmla="*/ 84729 h 402220"/>
                <a:gd name="connsiteX2" fmla="*/ 563266 w 3717890"/>
                <a:gd name="connsiteY2" fmla="*/ 644 h 402220"/>
                <a:gd name="connsiteX3" fmla="*/ 801740 w 3717890"/>
                <a:gd name="connsiteY3" fmla="*/ 119619 h 402220"/>
                <a:gd name="connsiteX4" fmla="*/ 1004835 w 3717890"/>
                <a:gd name="connsiteY4" fmla="*/ 356034 h 402220"/>
                <a:gd name="connsiteX5" fmla="*/ 1316334 w 3717890"/>
                <a:gd name="connsiteY5" fmla="*/ 386179 h 402220"/>
                <a:gd name="connsiteX6" fmla="*/ 1534746 w 3717890"/>
                <a:gd name="connsiteY6" fmla="*/ 167732 h 402220"/>
                <a:gd name="connsiteX7" fmla="*/ 2009670 w 3717890"/>
                <a:gd name="connsiteY7" fmla="*/ 14390 h 402220"/>
                <a:gd name="connsiteX8" fmla="*/ 2200589 w 3717890"/>
                <a:gd name="connsiteY8" fmla="*/ 175164 h 402220"/>
                <a:gd name="connsiteX9" fmla="*/ 2381459 w 3717890"/>
                <a:gd name="connsiteY9" fmla="*/ 356034 h 402220"/>
                <a:gd name="connsiteX10" fmla="*/ 2642716 w 3717890"/>
                <a:gd name="connsiteY10" fmla="*/ 386179 h 402220"/>
                <a:gd name="connsiteX11" fmla="*/ 2863780 w 3717890"/>
                <a:gd name="connsiteY11" fmla="*/ 215357 h 402220"/>
                <a:gd name="connsiteX12" fmla="*/ 3034602 w 3717890"/>
                <a:gd name="connsiteY12" fmla="*/ 54584 h 402220"/>
                <a:gd name="connsiteX13" fmla="*/ 3295859 w 3717890"/>
                <a:gd name="connsiteY13" fmla="*/ 14390 h 402220"/>
                <a:gd name="connsiteX14" fmla="*/ 3557116 w 3717890"/>
                <a:gd name="connsiteY14" fmla="*/ 165116 h 402220"/>
                <a:gd name="connsiteX15" fmla="*/ 3717890 w 3717890"/>
                <a:gd name="connsiteY15" fmla="*/ 376131 h 402220"/>
                <a:gd name="connsiteX0" fmla="*/ 0 w 3717890"/>
                <a:gd name="connsiteY0" fmla="*/ 356482 h 422764"/>
                <a:gd name="connsiteX1" fmla="*/ 301450 w 3717890"/>
                <a:gd name="connsiteY1" fmla="*/ 105273 h 422764"/>
                <a:gd name="connsiteX2" fmla="*/ 563266 w 3717890"/>
                <a:gd name="connsiteY2" fmla="*/ 21188 h 422764"/>
                <a:gd name="connsiteX3" fmla="*/ 801740 w 3717890"/>
                <a:gd name="connsiteY3" fmla="*/ 140163 h 422764"/>
                <a:gd name="connsiteX4" fmla="*/ 1004835 w 3717890"/>
                <a:gd name="connsiteY4" fmla="*/ 376578 h 422764"/>
                <a:gd name="connsiteX5" fmla="*/ 1316334 w 3717890"/>
                <a:gd name="connsiteY5" fmla="*/ 406723 h 422764"/>
                <a:gd name="connsiteX6" fmla="*/ 1534746 w 3717890"/>
                <a:gd name="connsiteY6" fmla="*/ 188276 h 422764"/>
                <a:gd name="connsiteX7" fmla="*/ 1850920 w 3717890"/>
                <a:gd name="connsiteY7" fmla="*/ 9 h 422764"/>
                <a:gd name="connsiteX8" fmla="*/ 2200589 w 3717890"/>
                <a:gd name="connsiteY8" fmla="*/ 195708 h 422764"/>
                <a:gd name="connsiteX9" fmla="*/ 2381459 w 3717890"/>
                <a:gd name="connsiteY9" fmla="*/ 376578 h 422764"/>
                <a:gd name="connsiteX10" fmla="*/ 2642716 w 3717890"/>
                <a:gd name="connsiteY10" fmla="*/ 406723 h 422764"/>
                <a:gd name="connsiteX11" fmla="*/ 2863780 w 3717890"/>
                <a:gd name="connsiteY11" fmla="*/ 235901 h 422764"/>
                <a:gd name="connsiteX12" fmla="*/ 3034602 w 3717890"/>
                <a:gd name="connsiteY12" fmla="*/ 75128 h 422764"/>
                <a:gd name="connsiteX13" fmla="*/ 3295859 w 3717890"/>
                <a:gd name="connsiteY13" fmla="*/ 34934 h 422764"/>
                <a:gd name="connsiteX14" fmla="*/ 3557116 w 3717890"/>
                <a:gd name="connsiteY14" fmla="*/ 185660 h 422764"/>
                <a:gd name="connsiteX15" fmla="*/ 3717890 w 3717890"/>
                <a:gd name="connsiteY15" fmla="*/ 396675 h 422764"/>
                <a:gd name="connsiteX0" fmla="*/ 0 w 3717890"/>
                <a:gd name="connsiteY0" fmla="*/ 356586 h 422868"/>
                <a:gd name="connsiteX1" fmla="*/ 301450 w 3717890"/>
                <a:gd name="connsiteY1" fmla="*/ 105377 h 422868"/>
                <a:gd name="connsiteX2" fmla="*/ 563266 w 3717890"/>
                <a:gd name="connsiteY2" fmla="*/ 21292 h 422868"/>
                <a:gd name="connsiteX3" fmla="*/ 801740 w 3717890"/>
                <a:gd name="connsiteY3" fmla="*/ 140267 h 422868"/>
                <a:gd name="connsiteX4" fmla="*/ 1004835 w 3717890"/>
                <a:gd name="connsiteY4" fmla="*/ 376682 h 422868"/>
                <a:gd name="connsiteX5" fmla="*/ 1316334 w 3717890"/>
                <a:gd name="connsiteY5" fmla="*/ 406827 h 422868"/>
                <a:gd name="connsiteX6" fmla="*/ 1534746 w 3717890"/>
                <a:gd name="connsiteY6" fmla="*/ 188380 h 422868"/>
                <a:gd name="connsiteX7" fmla="*/ 1850920 w 3717890"/>
                <a:gd name="connsiteY7" fmla="*/ 113 h 422868"/>
                <a:gd name="connsiteX8" fmla="*/ 2200589 w 3717890"/>
                <a:gd name="connsiteY8" fmla="*/ 195812 h 422868"/>
                <a:gd name="connsiteX9" fmla="*/ 2381459 w 3717890"/>
                <a:gd name="connsiteY9" fmla="*/ 376682 h 422868"/>
                <a:gd name="connsiteX10" fmla="*/ 2642716 w 3717890"/>
                <a:gd name="connsiteY10" fmla="*/ 406827 h 422868"/>
                <a:gd name="connsiteX11" fmla="*/ 2863780 w 3717890"/>
                <a:gd name="connsiteY11" fmla="*/ 236005 h 422868"/>
                <a:gd name="connsiteX12" fmla="*/ 3034602 w 3717890"/>
                <a:gd name="connsiteY12" fmla="*/ 75232 h 422868"/>
                <a:gd name="connsiteX13" fmla="*/ 3295859 w 3717890"/>
                <a:gd name="connsiteY13" fmla="*/ 35038 h 422868"/>
                <a:gd name="connsiteX14" fmla="*/ 3557116 w 3717890"/>
                <a:gd name="connsiteY14" fmla="*/ 185764 h 422868"/>
                <a:gd name="connsiteX15" fmla="*/ 3717890 w 3717890"/>
                <a:gd name="connsiteY15" fmla="*/ 396779 h 422868"/>
                <a:gd name="connsiteX0" fmla="*/ 0 w 3717890"/>
                <a:gd name="connsiteY0" fmla="*/ 356483 h 422765"/>
                <a:gd name="connsiteX1" fmla="*/ 301450 w 3717890"/>
                <a:gd name="connsiteY1" fmla="*/ 105274 h 422765"/>
                <a:gd name="connsiteX2" fmla="*/ 563266 w 3717890"/>
                <a:gd name="connsiteY2" fmla="*/ 21189 h 422765"/>
                <a:gd name="connsiteX3" fmla="*/ 801740 w 3717890"/>
                <a:gd name="connsiteY3" fmla="*/ 140164 h 422765"/>
                <a:gd name="connsiteX4" fmla="*/ 1004835 w 3717890"/>
                <a:gd name="connsiteY4" fmla="*/ 376579 h 422765"/>
                <a:gd name="connsiteX5" fmla="*/ 1316334 w 3717890"/>
                <a:gd name="connsiteY5" fmla="*/ 406724 h 422765"/>
                <a:gd name="connsiteX6" fmla="*/ 1534746 w 3717890"/>
                <a:gd name="connsiteY6" fmla="*/ 188277 h 422765"/>
                <a:gd name="connsiteX7" fmla="*/ 1850920 w 3717890"/>
                <a:gd name="connsiteY7" fmla="*/ 10 h 422765"/>
                <a:gd name="connsiteX8" fmla="*/ 2200589 w 3717890"/>
                <a:gd name="connsiteY8" fmla="*/ 195709 h 422765"/>
                <a:gd name="connsiteX9" fmla="*/ 2381459 w 3717890"/>
                <a:gd name="connsiteY9" fmla="*/ 376579 h 422765"/>
                <a:gd name="connsiteX10" fmla="*/ 2642716 w 3717890"/>
                <a:gd name="connsiteY10" fmla="*/ 406724 h 422765"/>
                <a:gd name="connsiteX11" fmla="*/ 2863780 w 3717890"/>
                <a:gd name="connsiteY11" fmla="*/ 235902 h 422765"/>
                <a:gd name="connsiteX12" fmla="*/ 3034602 w 3717890"/>
                <a:gd name="connsiteY12" fmla="*/ 75129 h 422765"/>
                <a:gd name="connsiteX13" fmla="*/ 3295859 w 3717890"/>
                <a:gd name="connsiteY13" fmla="*/ 34935 h 422765"/>
                <a:gd name="connsiteX14" fmla="*/ 3557116 w 3717890"/>
                <a:gd name="connsiteY14" fmla="*/ 185661 h 422765"/>
                <a:gd name="connsiteX15" fmla="*/ 3717890 w 3717890"/>
                <a:gd name="connsiteY15" fmla="*/ 396676 h 422765"/>
                <a:gd name="connsiteX0" fmla="*/ 0 w 3717890"/>
                <a:gd name="connsiteY0" fmla="*/ 356483 h 417206"/>
                <a:gd name="connsiteX1" fmla="*/ 301450 w 3717890"/>
                <a:gd name="connsiteY1" fmla="*/ 105274 h 417206"/>
                <a:gd name="connsiteX2" fmla="*/ 563266 w 3717890"/>
                <a:gd name="connsiteY2" fmla="*/ 21189 h 417206"/>
                <a:gd name="connsiteX3" fmla="*/ 801740 w 3717890"/>
                <a:gd name="connsiteY3" fmla="*/ 140164 h 417206"/>
                <a:gd name="connsiteX4" fmla="*/ 1316334 w 3717890"/>
                <a:gd name="connsiteY4" fmla="*/ 406724 h 417206"/>
                <a:gd name="connsiteX5" fmla="*/ 1534746 w 3717890"/>
                <a:gd name="connsiteY5" fmla="*/ 188277 h 417206"/>
                <a:gd name="connsiteX6" fmla="*/ 1850920 w 3717890"/>
                <a:gd name="connsiteY6" fmla="*/ 10 h 417206"/>
                <a:gd name="connsiteX7" fmla="*/ 2200589 w 3717890"/>
                <a:gd name="connsiteY7" fmla="*/ 195709 h 417206"/>
                <a:gd name="connsiteX8" fmla="*/ 2381459 w 3717890"/>
                <a:gd name="connsiteY8" fmla="*/ 376579 h 417206"/>
                <a:gd name="connsiteX9" fmla="*/ 2642716 w 3717890"/>
                <a:gd name="connsiteY9" fmla="*/ 406724 h 417206"/>
                <a:gd name="connsiteX10" fmla="*/ 2863780 w 3717890"/>
                <a:gd name="connsiteY10" fmla="*/ 235902 h 417206"/>
                <a:gd name="connsiteX11" fmla="*/ 3034602 w 3717890"/>
                <a:gd name="connsiteY11" fmla="*/ 75129 h 417206"/>
                <a:gd name="connsiteX12" fmla="*/ 3295859 w 3717890"/>
                <a:gd name="connsiteY12" fmla="*/ 34935 h 417206"/>
                <a:gd name="connsiteX13" fmla="*/ 3557116 w 3717890"/>
                <a:gd name="connsiteY13" fmla="*/ 185661 h 417206"/>
                <a:gd name="connsiteX14" fmla="*/ 3717890 w 3717890"/>
                <a:gd name="connsiteY14" fmla="*/ 396676 h 417206"/>
                <a:gd name="connsiteX0" fmla="*/ 0 w 3717890"/>
                <a:gd name="connsiteY0" fmla="*/ 356483 h 417206"/>
                <a:gd name="connsiteX1" fmla="*/ 301450 w 3717890"/>
                <a:gd name="connsiteY1" fmla="*/ 105274 h 417206"/>
                <a:gd name="connsiteX2" fmla="*/ 563266 w 3717890"/>
                <a:gd name="connsiteY2" fmla="*/ 21189 h 417206"/>
                <a:gd name="connsiteX3" fmla="*/ 801740 w 3717890"/>
                <a:gd name="connsiteY3" fmla="*/ 140164 h 417206"/>
                <a:gd name="connsiteX4" fmla="*/ 1132184 w 3717890"/>
                <a:gd name="connsiteY4" fmla="*/ 409899 h 417206"/>
                <a:gd name="connsiteX5" fmla="*/ 1534746 w 3717890"/>
                <a:gd name="connsiteY5" fmla="*/ 188277 h 417206"/>
                <a:gd name="connsiteX6" fmla="*/ 1850920 w 3717890"/>
                <a:gd name="connsiteY6" fmla="*/ 10 h 417206"/>
                <a:gd name="connsiteX7" fmla="*/ 2200589 w 3717890"/>
                <a:gd name="connsiteY7" fmla="*/ 195709 h 417206"/>
                <a:gd name="connsiteX8" fmla="*/ 2381459 w 3717890"/>
                <a:gd name="connsiteY8" fmla="*/ 376579 h 417206"/>
                <a:gd name="connsiteX9" fmla="*/ 2642716 w 3717890"/>
                <a:gd name="connsiteY9" fmla="*/ 406724 h 417206"/>
                <a:gd name="connsiteX10" fmla="*/ 2863780 w 3717890"/>
                <a:gd name="connsiteY10" fmla="*/ 235902 h 417206"/>
                <a:gd name="connsiteX11" fmla="*/ 3034602 w 3717890"/>
                <a:gd name="connsiteY11" fmla="*/ 75129 h 417206"/>
                <a:gd name="connsiteX12" fmla="*/ 3295859 w 3717890"/>
                <a:gd name="connsiteY12" fmla="*/ 34935 h 417206"/>
                <a:gd name="connsiteX13" fmla="*/ 3557116 w 3717890"/>
                <a:gd name="connsiteY13" fmla="*/ 185661 h 417206"/>
                <a:gd name="connsiteX14" fmla="*/ 3717890 w 3717890"/>
                <a:gd name="connsiteY14" fmla="*/ 396676 h 417206"/>
                <a:gd name="connsiteX0" fmla="*/ 0 w 3717890"/>
                <a:gd name="connsiteY0" fmla="*/ 356483 h 417206"/>
                <a:gd name="connsiteX1" fmla="*/ 301450 w 3717890"/>
                <a:gd name="connsiteY1" fmla="*/ 105274 h 417206"/>
                <a:gd name="connsiteX2" fmla="*/ 563266 w 3717890"/>
                <a:gd name="connsiteY2" fmla="*/ 21189 h 417206"/>
                <a:gd name="connsiteX3" fmla="*/ 1132184 w 3717890"/>
                <a:gd name="connsiteY3" fmla="*/ 409899 h 417206"/>
                <a:gd name="connsiteX4" fmla="*/ 1534746 w 3717890"/>
                <a:gd name="connsiteY4" fmla="*/ 188277 h 417206"/>
                <a:gd name="connsiteX5" fmla="*/ 1850920 w 3717890"/>
                <a:gd name="connsiteY5" fmla="*/ 10 h 417206"/>
                <a:gd name="connsiteX6" fmla="*/ 2200589 w 3717890"/>
                <a:gd name="connsiteY6" fmla="*/ 195709 h 417206"/>
                <a:gd name="connsiteX7" fmla="*/ 2381459 w 3717890"/>
                <a:gd name="connsiteY7" fmla="*/ 376579 h 417206"/>
                <a:gd name="connsiteX8" fmla="*/ 2642716 w 3717890"/>
                <a:gd name="connsiteY8" fmla="*/ 406724 h 417206"/>
                <a:gd name="connsiteX9" fmla="*/ 2863780 w 3717890"/>
                <a:gd name="connsiteY9" fmla="*/ 235902 h 417206"/>
                <a:gd name="connsiteX10" fmla="*/ 3034602 w 3717890"/>
                <a:gd name="connsiteY10" fmla="*/ 75129 h 417206"/>
                <a:gd name="connsiteX11" fmla="*/ 3295859 w 3717890"/>
                <a:gd name="connsiteY11" fmla="*/ 34935 h 417206"/>
                <a:gd name="connsiteX12" fmla="*/ 3557116 w 3717890"/>
                <a:gd name="connsiteY12" fmla="*/ 185661 h 417206"/>
                <a:gd name="connsiteX13" fmla="*/ 3717890 w 3717890"/>
                <a:gd name="connsiteY13" fmla="*/ 396676 h 417206"/>
                <a:gd name="connsiteX0" fmla="*/ 0 w 3717890"/>
                <a:gd name="connsiteY0" fmla="*/ 356483 h 417206"/>
                <a:gd name="connsiteX1" fmla="*/ 563266 w 3717890"/>
                <a:gd name="connsiteY1" fmla="*/ 21189 h 417206"/>
                <a:gd name="connsiteX2" fmla="*/ 1132184 w 3717890"/>
                <a:gd name="connsiteY2" fmla="*/ 409899 h 417206"/>
                <a:gd name="connsiteX3" fmla="*/ 1534746 w 3717890"/>
                <a:gd name="connsiteY3" fmla="*/ 188277 h 417206"/>
                <a:gd name="connsiteX4" fmla="*/ 1850920 w 3717890"/>
                <a:gd name="connsiteY4" fmla="*/ 10 h 417206"/>
                <a:gd name="connsiteX5" fmla="*/ 2200589 w 3717890"/>
                <a:gd name="connsiteY5" fmla="*/ 195709 h 417206"/>
                <a:gd name="connsiteX6" fmla="*/ 2381459 w 3717890"/>
                <a:gd name="connsiteY6" fmla="*/ 376579 h 417206"/>
                <a:gd name="connsiteX7" fmla="*/ 2642716 w 3717890"/>
                <a:gd name="connsiteY7" fmla="*/ 406724 h 417206"/>
                <a:gd name="connsiteX8" fmla="*/ 2863780 w 3717890"/>
                <a:gd name="connsiteY8" fmla="*/ 235902 h 417206"/>
                <a:gd name="connsiteX9" fmla="*/ 3034602 w 3717890"/>
                <a:gd name="connsiteY9" fmla="*/ 75129 h 417206"/>
                <a:gd name="connsiteX10" fmla="*/ 3295859 w 3717890"/>
                <a:gd name="connsiteY10" fmla="*/ 34935 h 417206"/>
                <a:gd name="connsiteX11" fmla="*/ 3557116 w 3717890"/>
                <a:gd name="connsiteY11" fmla="*/ 185661 h 417206"/>
                <a:gd name="connsiteX12" fmla="*/ 3717890 w 3717890"/>
                <a:gd name="connsiteY12" fmla="*/ 396676 h 417206"/>
                <a:gd name="connsiteX0" fmla="*/ 0 w 3717890"/>
                <a:gd name="connsiteY0" fmla="*/ 361381 h 422104"/>
                <a:gd name="connsiteX1" fmla="*/ 563266 w 3717890"/>
                <a:gd name="connsiteY1" fmla="*/ 26087 h 422104"/>
                <a:gd name="connsiteX2" fmla="*/ 1132184 w 3717890"/>
                <a:gd name="connsiteY2" fmla="*/ 414797 h 422104"/>
                <a:gd name="connsiteX3" fmla="*/ 1850920 w 3717890"/>
                <a:gd name="connsiteY3" fmla="*/ 4908 h 422104"/>
                <a:gd name="connsiteX4" fmla="*/ 2200589 w 3717890"/>
                <a:gd name="connsiteY4" fmla="*/ 200607 h 422104"/>
                <a:gd name="connsiteX5" fmla="*/ 2381459 w 3717890"/>
                <a:gd name="connsiteY5" fmla="*/ 381477 h 422104"/>
                <a:gd name="connsiteX6" fmla="*/ 2642716 w 3717890"/>
                <a:gd name="connsiteY6" fmla="*/ 411622 h 422104"/>
                <a:gd name="connsiteX7" fmla="*/ 2863780 w 3717890"/>
                <a:gd name="connsiteY7" fmla="*/ 240800 h 422104"/>
                <a:gd name="connsiteX8" fmla="*/ 3034602 w 3717890"/>
                <a:gd name="connsiteY8" fmla="*/ 80027 h 422104"/>
                <a:gd name="connsiteX9" fmla="*/ 3295859 w 3717890"/>
                <a:gd name="connsiteY9" fmla="*/ 39833 h 422104"/>
                <a:gd name="connsiteX10" fmla="*/ 3557116 w 3717890"/>
                <a:gd name="connsiteY10" fmla="*/ 190559 h 422104"/>
                <a:gd name="connsiteX11" fmla="*/ 3717890 w 3717890"/>
                <a:gd name="connsiteY11" fmla="*/ 401574 h 422104"/>
                <a:gd name="connsiteX0" fmla="*/ 0 w 3717890"/>
                <a:gd name="connsiteY0" fmla="*/ 356546 h 426194"/>
                <a:gd name="connsiteX1" fmla="*/ 563266 w 3717890"/>
                <a:gd name="connsiteY1" fmla="*/ 21252 h 426194"/>
                <a:gd name="connsiteX2" fmla="*/ 1132184 w 3717890"/>
                <a:gd name="connsiteY2" fmla="*/ 409962 h 426194"/>
                <a:gd name="connsiteX3" fmla="*/ 1850920 w 3717890"/>
                <a:gd name="connsiteY3" fmla="*/ 73 h 426194"/>
                <a:gd name="connsiteX4" fmla="*/ 2381459 w 3717890"/>
                <a:gd name="connsiteY4" fmla="*/ 376642 h 426194"/>
                <a:gd name="connsiteX5" fmla="*/ 2642716 w 3717890"/>
                <a:gd name="connsiteY5" fmla="*/ 406787 h 426194"/>
                <a:gd name="connsiteX6" fmla="*/ 2863780 w 3717890"/>
                <a:gd name="connsiteY6" fmla="*/ 235965 h 426194"/>
                <a:gd name="connsiteX7" fmla="*/ 3034602 w 3717890"/>
                <a:gd name="connsiteY7" fmla="*/ 75192 h 426194"/>
                <a:gd name="connsiteX8" fmla="*/ 3295859 w 3717890"/>
                <a:gd name="connsiteY8" fmla="*/ 34998 h 426194"/>
                <a:gd name="connsiteX9" fmla="*/ 3557116 w 3717890"/>
                <a:gd name="connsiteY9" fmla="*/ 185724 h 426194"/>
                <a:gd name="connsiteX10" fmla="*/ 3717890 w 3717890"/>
                <a:gd name="connsiteY10" fmla="*/ 396739 h 426194"/>
                <a:gd name="connsiteX0" fmla="*/ 0 w 3717890"/>
                <a:gd name="connsiteY0" fmla="*/ 356475 h 443140"/>
                <a:gd name="connsiteX1" fmla="*/ 563266 w 3717890"/>
                <a:gd name="connsiteY1" fmla="*/ 21181 h 443140"/>
                <a:gd name="connsiteX2" fmla="*/ 1132184 w 3717890"/>
                <a:gd name="connsiteY2" fmla="*/ 409891 h 443140"/>
                <a:gd name="connsiteX3" fmla="*/ 1850920 w 3717890"/>
                <a:gd name="connsiteY3" fmla="*/ 2 h 443140"/>
                <a:gd name="connsiteX4" fmla="*/ 2527509 w 3717890"/>
                <a:gd name="connsiteY4" fmla="*/ 405146 h 443140"/>
                <a:gd name="connsiteX5" fmla="*/ 2642716 w 3717890"/>
                <a:gd name="connsiteY5" fmla="*/ 406716 h 443140"/>
                <a:gd name="connsiteX6" fmla="*/ 2863780 w 3717890"/>
                <a:gd name="connsiteY6" fmla="*/ 235894 h 443140"/>
                <a:gd name="connsiteX7" fmla="*/ 3034602 w 3717890"/>
                <a:gd name="connsiteY7" fmla="*/ 75121 h 443140"/>
                <a:gd name="connsiteX8" fmla="*/ 3295859 w 3717890"/>
                <a:gd name="connsiteY8" fmla="*/ 34927 h 443140"/>
                <a:gd name="connsiteX9" fmla="*/ 3557116 w 3717890"/>
                <a:gd name="connsiteY9" fmla="*/ 185653 h 443140"/>
                <a:gd name="connsiteX10" fmla="*/ 3717890 w 3717890"/>
                <a:gd name="connsiteY10" fmla="*/ 396668 h 443140"/>
                <a:gd name="connsiteX0" fmla="*/ 0 w 3717890"/>
                <a:gd name="connsiteY0" fmla="*/ 356475 h 411507"/>
                <a:gd name="connsiteX1" fmla="*/ 563266 w 3717890"/>
                <a:gd name="connsiteY1" fmla="*/ 21181 h 411507"/>
                <a:gd name="connsiteX2" fmla="*/ 1132184 w 3717890"/>
                <a:gd name="connsiteY2" fmla="*/ 409891 h 411507"/>
                <a:gd name="connsiteX3" fmla="*/ 1850920 w 3717890"/>
                <a:gd name="connsiteY3" fmla="*/ 2 h 411507"/>
                <a:gd name="connsiteX4" fmla="*/ 2527509 w 3717890"/>
                <a:gd name="connsiteY4" fmla="*/ 405146 h 411507"/>
                <a:gd name="connsiteX5" fmla="*/ 2863780 w 3717890"/>
                <a:gd name="connsiteY5" fmla="*/ 235894 h 411507"/>
                <a:gd name="connsiteX6" fmla="*/ 3034602 w 3717890"/>
                <a:gd name="connsiteY6" fmla="*/ 75121 h 411507"/>
                <a:gd name="connsiteX7" fmla="*/ 3295859 w 3717890"/>
                <a:gd name="connsiteY7" fmla="*/ 34927 h 411507"/>
                <a:gd name="connsiteX8" fmla="*/ 3557116 w 3717890"/>
                <a:gd name="connsiteY8" fmla="*/ 185653 h 411507"/>
                <a:gd name="connsiteX9" fmla="*/ 3717890 w 3717890"/>
                <a:gd name="connsiteY9" fmla="*/ 396668 h 411507"/>
                <a:gd name="connsiteX0" fmla="*/ 0 w 3717890"/>
                <a:gd name="connsiteY0" fmla="*/ 356475 h 411735"/>
                <a:gd name="connsiteX1" fmla="*/ 563266 w 3717890"/>
                <a:gd name="connsiteY1" fmla="*/ 21181 h 411735"/>
                <a:gd name="connsiteX2" fmla="*/ 1132184 w 3717890"/>
                <a:gd name="connsiteY2" fmla="*/ 409891 h 411735"/>
                <a:gd name="connsiteX3" fmla="*/ 1850920 w 3717890"/>
                <a:gd name="connsiteY3" fmla="*/ 2 h 411735"/>
                <a:gd name="connsiteX4" fmla="*/ 2527509 w 3717890"/>
                <a:gd name="connsiteY4" fmla="*/ 405146 h 411735"/>
                <a:gd name="connsiteX5" fmla="*/ 2863780 w 3717890"/>
                <a:gd name="connsiteY5" fmla="*/ 235894 h 411735"/>
                <a:gd name="connsiteX6" fmla="*/ 3295859 w 3717890"/>
                <a:gd name="connsiteY6" fmla="*/ 34927 h 411735"/>
                <a:gd name="connsiteX7" fmla="*/ 3557116 w 3717890"/>
                <a:gd name="connsiteY7" fmla="*/ 185653 h 411735"/>
                <a:gd name="connsiteX8" fmla="*/ 3717890 w 3717890"/>
                <a:gd name="connsiteY8" fmla="*/ 396668 h 411735"/>
                <a:gd name="connsiteX0" fmla="*/ 0 w 3717890"/>
                <a:gd name="connsiteY0" fmla="*/ 356475 h 409915"/>
                <a:gd name="connsiteX1" fmla="*/ 563266 w 3717890"/>
                <a:gd name="connsiteY1" fmla="*/ 21181 h 409915"/>
                <a:gd name="connsiteX2" fmla="*/ 1132184 w 3717890"/>
                <a:gd name="connsiteY2" fmla="*/ 409891 h 409915"/>
                <a:gd name="connsiteX3" fmla="*/ 1850920 w 3717890"/>
                <a:gd name="connsiteY3" fmla="*/ 2 h 409915"/>
                <a:gd name="connsiteX4" fmla="*/ 2527509 w 3717890"/>
                <a:gd name="connsiteY4" fmla="*/ 405146 h 409915"/>
                <a:gd name="connsiteX5" fmla="*/ 3295859 w 3717890"/>
                <a:gd name="connsiteY5" fmla="*/ 34927 h 409915"/>
                <a:gd name="connsiteX6" fmla="*/ 3557116 w 3717890"/>
                <a:gd name="connsiteY6" fmla="*/ 185653 h 409915"/>
                <a:gd name="connsiteX7" fmla="*/ 3717890 w 3717890"/>
                <a:gd name="connsiteY7" fmla="*/ 396668 h 409915"/>
                <a:gd name="connsiteX0" fmla="*/ 0 w 3717890"/>
                <a:gd name="connsiteY0" fmla="*/ 356475 h 409915"/>
                <a:gd name="connsiteX1" fmla="*/ 563266 w 3717890"/>
                <a:gd name="connsiteY1" fmla="*/ 21181 h 409915"/>
                <a:gd name="connsiteX2" fmla="*/ 1132184 w 3717890"/>
                <a:gd name="connsiteY2" fmla="*/ 409891 h 409915"/>
                <a:gd name="connsiteX3" fmla="*/ 1850920 w 3717890"/>
                <a:gd name="connsiteY3" fmla="*/ 2 h 409915"/>
                <a:gd name="connsiteX4" fmla="*/ 2527509 w 3717890"/>
                <a:gd name="connsiteY4" fmla="*/ 405146 h 409915"/>
                <a:gd name="connsiteX5" fmla="*/ 3168859 w 3717890"/>
                <a:gd name="connsiteY5" fmla="*/ 15877 h 409915"/>
                <a:gd name="connsiteX6" fmla="*/ 3557116 w 3717890"/>
                <a:gd name="connsiteY6" fmla="*/ 185653 h 409915"/>
                <a:gd name="connsiteX7" fmla="*/ 3717890 w 3717890"/>
                <a:gd name="connsiteY7" fmla="*/ 396668 h 409915"/>
                <a:gd name="connsiteX0" fmla="*/ 0 w 3717890"/>
                <a:gd name="connsiteY0" fmla="*/ 356475 h 409915"/>
                <a:gd name="connsiteX1" fmla="*/ 563266 w 3717890"/>
                <a:gd name="connsiteY1" fmla="*/ 21181 h 409915"/>
                <a:gd name="connsiteX2" fmla="*/ 1132184 w 3717890"/>
                <a:gd name="connsiteY2" fmla="*/ 409891 h 409915"/>
                <a:gd name="connsiteX3" fmla="*/ 1850920 w 3717890"/>
                <a:gd name="connsiteY3" fmla="*/ 2 h 409915"/>
                <a:gd name="connsiteX4" fmla="*/ 2527509 w 3717890"/>
                <a:gd name="connsiteY4" fmla="*/ 405146 h 409915"/>
                <a:gd name="connsiteX5" fmla="*/ 3168859 w 3717890"/>
                <a:gd name="connsiteY5" fmla="*/ 15877 h 409915"/>
                <a:gd name="connsiteX6" fmla="*/ 3557116 w 3717890"/>
                <a:gd name="connsiteY6" fmla="*/ 185653 h 409915"/>
                <a:gd name="connsiteX7" fmla="*/ 3717890 w 3717890"/>
                <a:gd name="connsiteY7" fmla="*/ 396668 h 409915"/>
                <a:gd name="connsiteX0" fmla="*/ 0 w 3717890"/>
                <a:gd name="connsiteY0" fmla="*/ 356475 h 409915"/>
                <a:gd name="connsiteX1" fmla="*/ 563266 w 3717890"/>
                <a:gd name="connsiteY1" fmla="*/ 21181 h 409915"/>
                <a:gd name="connsiteX2" fmla="*/ 1132184 w 3717890"/>
                <a:gd name="connsiteY2" fmla="*/ 409891 h 409915"/>
                <a:gd name="connsiteX3" fmla="*/ 1850920 w 3717890"/>
                <a:gd name="connsiteY3" fmla="*/ 2 h 409915"/>
                <a:gd name="connsiteX4" fmla="*/ 2527509 w 3717890"/>
                <a:gd name="connsiteY4" fmla="*/ 405146 h 409915"/>
                <a:gd name="connsiteX5" fmla="*/ 3168859 w 3717890"/>
                <a:gd name="connsiteY5" fmla="*/ 15877 h 409915"/>
                <a:gd name="connsiteX6" fmla="*/ 3557116 w 3717890"/>
                <a:gd name="connsiteY6" fmla="*/ 185653 h 409915"/>
                <a:gd name="connsiteX7" fmla="*/ 3717890 w 3717890"/>
                <a:gd name="connsiteY7" fmla="*/ 396668 h 409915"/>
                <a:gd name="connsiteX0" fmla="*/ 0 w 3717890"/>
                <a:gd name="connsiteY0" fmla="*/ 356475 h 409915"/>
                <a:gd name="connsiteX1" fmla="*/ 563266 w 3717890"/>
                <a:gd name="connsiteY1" fmla="*/ 21181 h 409915"/>
                <a:gd name="connsiteX2" fmla="*/ 1132184 w 3717890"/>
                <a:gd name="connsiteY2" fmla="*/ 409891 h 409915"/>
                <a:gd name="connsiteX3" fmla="*/ 1850920 w 3717890"/>
                <a:gd name="connsiteY3" fmla="*/ 2 h 409915"/>
                <a:gd name="connsiteX4" fmla="*/ 2527509 w 3717890"/>
                <a:gd name="connsiteY4" fmla="*/ 405146 h 409915"/>
                <a:gd name="connsiteX5" fmla="*/ 3168859 w 3717890"/>
                <a:gd name="connsiteY5" fmla="*/ 15877 h 409915"/>
                <a:gd name="connsiteX6" fmla="*/ 3717890 w 3717890"/>
                <a:gd name="connsiteY6" fmla="*/ 396668 h 409915"/>
                <a:gd name="connsiteX0" fmla="*/ 0 w 3695665"/>
                <a:gd name="connsiteY0" fmla="*/ 397750 h 409914"/>
                <a:gd name="connsiteX1" fmla="*/ 541041 w 3695665"/>
                <a:gd name="connsiteY1" fmla="*/ 21181 h 409914"/>
                <a:gd name="connsiteX2" fmla="*/ 1109959 w 3695665"/>
                <a:gd name="connsiteY2" fmla="*/ 409891 h 409914"/>
                <a:gd name="connsiteX3" fmla="*/ 1828695 w 3695665"/>
                <a:gd name="connsiteY3" fmla="*/ 2 h 409914"/>
                <a:gd name="connsiteX4" fmla="*/ 2505284 w 3695665"/>
                <a:gd name="connsiteY4" fmla="*/ 405146 h 409914"/>
                <a:gd name="connsiteX5" fmla="*/ 3146634 w 3695665"/>
                <a:gd name="connsiteY5" fmla="*/ 15877 h 409914"/>
                <a:gd name="connsiteX6" fmla="*/ 3695665 w 3695665"/>
                <a:gd name="connsiteY6" fmla="*/ 396668 h 409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695665" h="409914">
                  <a:moveTo>
                    <a:pt x="0" y="397750"/>
                  </a:moveTo>
                  <a:cubicBezTo>
                    <a:pt x="117347" y="327897"/>
                    <a:pt x="356048" y="19158"/>
                    <a:pt x="541041" y="21181"/>
                  </a:cubicBezTo>
                  <a:cubicBezTo>
                    <a:pt x="726034" y="23204"/>
                    <a:pt x="895350" y="413421"/>
                    <a:pt x="1109959" y="409891"/>
                  </a:cubicBezTo>
                  <a:cubicBezTo>
                    <a:pt x="1324568" y="406361"/>
                    <a:pt x="1596141" y="793"/>
                    <a:pt x="1828695" y="2"/>
                  </a:cubicBezTo>
                  <a:cubicBezTo>
                    <a:pt x="2061249" y="-789"/>
                    <a:pt x="2285628" y="402500"/>
                    <a:pt x="2505284" y="405146"/>
                  </a:cubicBezTo>
                  <a:cubicBezTo>
                    <a:pt x="2724940" y="407792"/>
                    <a:pt x="2948237" y="17290"/>
                    <a:pt x="3146634" y="15877"/>
                  </a:cubicBezTo>
                  <a:cubicBezTo>
                    <a:pt x="3345031" y="14464"/>
                    <a:pt x="3581284" y="317337"/>
                    <a:pt x="3695665" y="396668"/>
                  </a:cubicBezTo>
                </a:path>
              </a:pathLst>
            </a:custGeom>
            <a:noFill/>
            <a:ln w="762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548"/>
            </a:p>
          </p:txBody>
        </p:sp>
        <p:sp>
          <p:nvSpPr>
            <p:cNvPr id="9" name="Freeform 8">
              <a:extLst>
                <a:ext uri="{FF2B5EF4-FFF2-40B4-BE49-F238E27FC236}">
                  <a16:creationId xmlns:a16="http://schemas.microsoft.com/office/drawing/2014/main" id="{B3FB6420-B992-524F-A207-A6733337D88B}"/>
                </a:ext>
              </a:extLst>
            </p:cNvPr>
            <p:cNvSpPr/>
            <p:nvPr/>
          </p:nvSpPr>
          <p:spPr>
            <a:xfrm>
              <a:off x="3248297" y="4847799"/>
              <a:ext cx="4458789" cy="319531"/>
            </a:xfrm>
            <a:custGeom>
              <a:avLst/>
              <a:gdLst>
                <a:gd name="connsiteX0" fmla="*/ 0 w 3717890"/>
                <a:gd name="connsiteY0" fmla="*/ 350729 h 412506"/>
                <a:gd name="connsiteX1" fmla="*/ 301450 w 3717890"/>
                <a:gd name="connsiteY1" fmla="*/ 99520 h 412506"/>
                <a:gd name="connsiteX2" fmla="*/ 512466 w 3717890"/>
                <a:gd name="connsiteY2" fmla="*/ 9085 h 412506"/>
                <a:gd name="connsiteX3" fmla="*/ 823965 w 3717890"/>
                <a:gd name="connsiteY3" fmla="*/ 159810 h 412506"/>
                <a:gd name="connsiteX4" fmla="*/ 1004835 w 3717890"/>
                <a:gd name="connsiteY4" fmla="*/ 370825 h 412506"/>
                <a:gd name="connsiteX5" fmla="*/ 1316334 w 3717890"/>
                <a:gd name="connsiteY5" fmla="*/ 400970 h 412506"/>
                <a:gd name="connsiteX6" fmla="*/ 1547446 w 3717890"/>
                <a:gd name="connsiteY6" fmla="*/ 230148 h 412506"/>
                <a:gd name="connsiteX7" fmla="*/ 1818751 w 3717890"/>
                <a:gd name="connsiteY7" fmla="*/ 19133 h 412506"/>
                <a:gd name="connsiteX8" fmla="*/ 2009670 w 3717890"/>
                <a:gd name="connsiteY8" fmla="*/ 29181 h 412506"/>
                <a:gd name="connsiteX9" fmla="*/ 2200589 w 3717890"/>
                <a:gd name="connsiteY9" fmla="*/ 189955 h 412506"/>
                <a:gd name="connsiteX10" fmla="*/ 2381459 w 3717890"/>
                <a:gd name="connsiteY10" fmla="*/ 370825 h 412506"/>
                <a:gd name="connsiteX11" fmla="*/ 2642716 w 3717890"/>
                <a:gd name="connsiteY11" fmla="*/ 400970 h 412506"/>
                <a:gd name="connsiteX12" fmla="*/ 2863780 w 3717890"/>
                <a:gd name="connsiteY12" fmla="*/ 230148 h 412506"/>
                <a:gd name="connsiteX13" fmla="*/ 3034602 w 3717890"/>
                <a:gd name="connsiteY13" fmla="*/ 69375 h 412506"/>
                <a:gd name="connsiteX14" fmla="*/ 3295859 w 3717890"/>
                <a:gd name="connsiteY14" fmla="*/ 29181 h 412506"/>
                <a:gd name="connsiteX15" fmla="*/ 3557116 w 3717890"/>
                <a:gd name="connsiteY15" fmla="*/ 179907 h 412506"/>
                <a:gd name="connsiteX16" fmla="*/ 3717890 w 3717890"/>
                <a:gd name="connsiteY16" fmla="*/ 390922 h 412506"/>
                <a:gd name="connsiteX0" fmla="*/ 0 w 3717890"/>
                <a:gd name="connsiteY0" fmla="*/ 350729 h 413492"/>
                <a:gd name="connsiteX1" fmla="*/ 301450 w 3717890"/>
                <a:gd name="connsiteY1" fmla="*/ 99520 h 413492"/>
                <a:gd name="connsiteX2" fmla="*/ 512466 w 3717890"/>
                <a:gd name="connsiteY2" fmla="*/ 9085 h 413492"/>
                <a:gd name="connsiteX3" fmla="*/ 801740 w 3717890"/>
                <a:gd name="connsiteY3" fmla="*/ 134410 h 413492"/>
                <a:gd name="connsiteX4" fmla="*/ 1004835 w 3717890"/>
                <a:gd name="connsiteY4" fmla="*/ 370825 h 413492"/>
                <a:gd name="connsiteX5" fmla="*/ 1316334 w 3717890"/>
                <a:gd name="connsiteY5" fmla="*/ 400970 h 413492"/>
                <a:gd name="connsiteX6" fmla="*/ 1547446 w 3717890"/>
                <a:gd name="connsiteY6" fmla="*/ 230148 h 413492"/>
                <a:gd name="connsiteX7" fmla="*/ 1818751 w 3717890"/>
                <a:gd name="connsiteY7" fmla="*/ 19133 h 413492"/>
                <a:gd name="connsiteX8" fmla="*/ 2009670 w 3717890"/>
                <a:gd name="connsiteY8" fmla="*/ 29181 h 413492"/>
                <a:gd name="connsiteX9" fmla="*/ 2200589 w 3717890"/>
                <a:gd name="connsiteY9" fmla="*/ 189955 h 413492"/>
                <a:gd name="connsiteX10" fmla="*/ 2381459 w 3717890"/>
                <a:gd name="connsiteY10" fmla="*/ 370825 h 413492"/>
                <a:gd name="connsiteX11" fmla="*/ 2642716 w 3717890"/>
                <a:gd name="connsiteY11" fmla="*/ 400970 h 413492"/>
                <a:gd name="connsiteX12" fmla="*/ 2863780 w 3717890"/>
                <a:gd name="connsiteY12" fmla="*/ 230148 h 413492"/>
                <a:gd name="connsiteX13" fmla="*/ 3034602 w 3717890"/>
                <a:gd name="connsiteY13" fmla="*/ 69375 h 413492"/>
                <a:gd name="connsiteX14" fmla="*/ 3295859 w 3717890"/>
                <a:gd name="connsiteY14" fmla="*/ 29181 h 413492"/>
                <a:gd name="connsiteX15" fmla="*/ 3557116 w 3717890"/>
                <a:gd name="connsiteY15" fmla="*/ 179907 h 413492"/>
                <a:gd name="connsiteX16" fmla="*/ 3717890 w 3717890"/>
                <a:gd name="connsiteY16" fmla="*/ 390922 h 413492"/>
                <a:gd name="connsiteX0" fmla="*/ 0 w 3717890"/>
                <a:gd name="connsiteY0" fmla="*/ 347339 h 413621"/>
                <a:gd name="connsiteX1" fmla="*/ 301450 w 3717890"/>
                <a:gd name="connsiteY1" fmla="*/ 96130 h 413621"/>
                <a:gd name="connsiteX2" fmla="*/ 512466 w 3717890"/>
                <a:gd name="connsiteY2" fmla="*/ 5695 h 413621"/>
                <a:gd name="connsiteX3" fmla="*/ 801740 w 3717890"/>
                <a:gd name="connsiteY3" fmla="*/ 131020 h 413621"/>
                <a:gd name="connsiteX4" fmla="*/ 1004835 w 3717890"/>
                <a:gd name="connsiteY4" fmla="*/ 367435 h 413621"/>
                <a:gd name="connsiteX5" fmla="*/ 1316334 w 3717890"/>
                <a:gd name="connsiteY5" fmla="*/ 397580 h 413621"/>
                <a:gd name="connsiteX6" fmla="*/ 1534746 w 3717890"/>
                <a:gd name="connsiteY6" fmla="*/ 179133 h 413621"/>
                <a:gd name="connsiteX7" fmla="*/ 1818751 w 3717890"/>
                <a:gd name="connsiteY7" fmla="*/ 15743 h 413621"/>
                <a:gd name="connsiteX8" fmla="*/ 2009670 w 3717890"/>
                <a:gd name="connsiteY8" fmla="*/ 25791 h 413621"/>
                <a:gd name="connsiteX9" fmla="*/ 2200589 w 3717890"/>
                <a:gd name="connsiteY9" fmla="*/ 186565 h 413621"/>
                <a:gd name="connsiteX10" fmla="*/ 2381459 w 3717890"/>
                <a:gd name="connsiteY10" fmla="*/ 367435 h 413621"/>
                <a:gd name="connsiteX11" fmla="*/ 2642716 w 3717890"/>
                <a:gd name="connsiteY11" fmla="*/ 397580 h 413621"/>
                <a:gd name="connsiteX12" fmla="*/ 2863780 w 3717890"/>
                <a:gd name="connsiteY12" fmla="*/ 226758 h 413621"/>
                <a:gd name="connsiteX13" fmla="*/ 3034602 w 3717890"/>
                <a:gd name="connsiteY13" fmla="*/ 65985 h 413621"/>
                <a:gd name="connsiteX14" fmla="*/ 3295859 w 3717890"/>
                <a:gd name="connsiteY14" fmla="*/ 25791 h 413621"/>
                <a:gd name="connsiteX15" fmla="*/ 3557116 w 3717890"/>
                <a:gd name="connsiteY15" fmla="*/ 176517 h 413621"/>
                <a:gd name="connsiteX16" fmla="*/ 3717890 w 3717890"/>
                <a:gd name="connsiteY16" fmla="*/ 387532 h 413621"/>
                <a:gd name="connsiteX0" fmla="*/ 0 w 3717890"/>
                <a:gd name="connsiteY0" fmla="*/ 347339 h 413621"/>
                <a:gd name="connsiteX1" fmla="*/ 301450 w 3717890"/>
                <a:gd name="connsiteY1" fmla="*/ 96130 h 413621"/>
                <a:gd name="connsiteX2" fmla="*/ 512466 w 3717890"/>
                <a:gd name="connsiteY2" fmla="*/ 5695 h 413621"/>
                <a:gd name="connsiteX3" fmla="*/ 801740 w 3717890"/>
                <a:gd name="connsiteY3" fmla="*/ 131020 h 413621"/>
                <a:gd name="connsiteX4" fmla="*/ 1004835 w 3717890"/>
                <a:gd name="connsiteY4" fmla="*/ 367435 h 413621"/>
                <a:gd name="connsiteX5" fmla="*/ 1316334 w 3717890"/>
                <a:gd name="connsiteY5" fmla="*/ 397580 h 413621"/>
                <a:gd name="connsiteX6" fmla="*/ 1534746 w 3717890"/>
                <a:gd name="connsiteY6" fmla="*/ 179133 h 413621"/>
                <a:gd name="connsiteX7" fmla="*/ 1818751 w 3717890"/>
                <a:gd name="connsiteY7" fmla="*/ 15743 h 413621"/>
                <a:gd name="connsiteX8" fmla="*/ 2009670 w 3717890"/>
                <a:gd name="connsiteY8" fmla="*/ 25791 h 413621"/>
                <a:gd name="connsiteX9" fmla="*/ 2200589 w 3717890"/>
                <a:gd name="connsiteY9" fmla="*/ 186565 h 413621"/>
                <a:gd name="connsiteX10" fmla="*/ 2381459 w 3717890"/>
                <a:gd name="connsiteY10" fmla="*/ 367435 h 413621"/>
                <a:gd name="connsiteX11" fmla="*/ 2642716 w 3717890"/>
                <a:gd name="connsiteY11" fmla="*/ 397580 h 413621"/>
                <a:gd name="connsiteX12" fmla="*/ 2863780 w 3717890"/>
                <a:gd name="connsiteY12" fmla="*/ 226758 h 413621"/>
                <a:gd name="connsiteX13" fmla="*/ 3034602 w 3717890"/>
                <a:gd name="connsiteY13" fmla="*/ 65985 h 413621"/>
                <a:gd name="connsiteX14" fmla="*/ 3295859 w 3717890"/>
                <a:gd name="connsiteY14" fmla="*/ 25791 h 413621"/>
                <a:gd name="connsiteX15" fmla="*/ 3557116 w 3717890"/>
                <a:gd name="connsiteY15" fmla="*/ 176517 h 413621"/>
                <a:gd name="connsiteX16" fmla="*/ 3717890 w 3717890"/>
                <a:gd name="connsiteY16" fmla="*/ 387532 h 413621"/>
                <a:gd name="connsiteX0" fmla="*/ 0 w 3717890"/>
                <a:gd name="connsiteY0" fmla="*/ 347339 h 413621"/>
                <a:gd name="connsiteX1" fmla="*/ 301450 w 3717890"/>
                <a:gd name="connsiteY1" fmla="*/ 96130 h 413621"/>
                <a:gd name="connsiteX2" fmla="*/ 512466 w 3717890"/>
                <a:gd name="connsiteY2" fmla="*/ 5695 h 413621"/>
                <a:gd name="connsiteX3" fmla="*/ 801740 w 3717890"/>
                <a:gd name="connsiteY3" fmla="*/ 131020 h 413621"/>
                <a:gd name="connsiteX4" fmla="*/ 1004835 w 3717890"/>
                <a:gd name="connsiteY4" fmla="*/ 367435 h 413621"/>
                <a:gd name="connsiteX5" fmla="*/ 1316334 w 3717890"/>
                <a:gd name="connsiteY5" fmla="*/ 397580 h 413621"/>
                <a:gd name="connsiteX6" fmla="*/ 1534746 w 3717890"/>
                <a:gd name="connsiteY6" fmla="*/ 179133 h 413621"/>
                <a:gd name="connsiteX7" fmla="*/ 1818751 w 3717890"/>
                <a:gd name="connsiteY7" fmla="*/ 15743 h 413621"/>
                <a:gd name="connsiteX8" fmla="*/ 2009670 w 3717890"/>
                <a:gd name="connsiteY8" fmla="*/ 25791 h 413621"/>
                <a:gd name="connsiteX9" fmla="*/ 2200589 w 3717890"/>
                <a:gd name="connsiteY9" fmla="*/ 186565 h 413621"/>
                <a:gd name="connsiteX10" fmla="*/ 2381459 w 3717890"/>
                <a:gd name="connsiteY10" fmla="*/ 367435 h 413621"/>
                <a:gd name="connsiteX11" fmla="*/ 2642716 w 3717890"/>
                <a:gd name="connsiteY11" fmla="*/ 397580 h 413621"/>
                <a:gd name="connsiteX12" fmla="*/ 2863780 w 3717890"/>
                <a:gd name="connsiteY12" fmla="*/ 226758 h 413621"/>
                <a:gd name="connsiteX13" fmla="*/ 3034602 w 3717890"/>
                <a:gd name="connsiteY13" fmla="*/ 65985 h 413621"/>
                <a:gd name="connsiteX14" fmla="*/ 3295859 w 3717890"/>
                <a:gd name="connsiteY14" fmla="*/ 25791 h 413621"/>
                <a:gd name="connsiteX15" fmla="*/ 3557116 w 3717890"/>
                <a:gd name="connsiteY15" fmla="*/ 176517 h 413621"/>
                <a:gd name="connsiteX16" fmla="*/ 3717890 w 3717890"/>
                <a:gd name="connsiteY16" fmla="*/ 387532 h 413621"/>
                <a:gd name="connsiteX0" fmla="*/ 0 w 3717890"/>
                <a:gd name="connsiteY0" fmla="*/ 342214 h 408496"/>
                <a:gd name="connsiteX1" fmla="*/ 301450 w 3717890"/>
                <a:gd name="connsiteY1" fmla="*/ 91005 h 408496"/>
                <a:gd name="connsiteX2" fmla="*/ 512466 w 3717890"/>
                <a:gd name="connsiteY2" fmla="*/ 570 h 408496"/>
                <a:gd name="connsiteX3" fmla="*/ 801740 w 3717890"/>
                <a:gd name="connsiteY3" fmla="*/ 125895 h 408496"/>
                <a:gd name="connsiteX4" fmla="*/ 1004835 w 3717890"/>
                <a:gd name="connsiteY4" fmla="*/ 362310 h 408496"/>
                <a:gd name="connsiteX5" fmla="*/ 1316334 w 3717890"/>
                <a:gd name="connsiteY5" fmla="*/ 392455 h 408496"/>
                <a:gd name="connsiteX6" fmla="*/ 1534746 w 3717890"/>
                <a:gd name="connsiteY6" fmla="*/ 174008 h 408496"/>
                <a:gd name="connsiteX7" fmla="*/ 1777476 w 3717890"/>
                <a:gd name="connsiteY7" fmla="*/ 26493 h 408496"/>
                <a:gd name="connsiteX8" fmla="*/ 2009670 w 3717890"/>
                <a:gd name="connsiteY8" fmla="*/ 20666 h 408496"/>
                <a:gd name="connsiteX9" fmla="*/ 2200589 w 3717890"/>
                <a:gd name="connsiteY9" fmla="*/ 181440 h 408496"/>
                <a:gd name="connsiteX10" fmla="*/ 2381459 w 3717890"/>
                <a:gd name="connsiteY10" fmla="*/ 362310 h 408496"/>
                <a:gd name="connsiteX11" fmla="*/ 2642716 w 3717890"/>
                <a:gd name="connsiteY11" fmla="*/ 392455 h 408496"/>
                <a:gd name="connsiteX12" fmla="*/ 2863780 w 3717890"/>
                <a:gd name="connsiteY12" fmla="*/ 221633 h 408496"/>
                <a:gd name="connsiteX13" fmla="*/ 3034602 w 3717890"/>
                <a:gd name="connsiteY13" fmla="*/ 60860 h 408496"/>
                <a:gd name="connsiteX14" fmla="*/ 3295859 w 3717890"/>
                <a:gd name="connsiteY14" fmla="*/ 20666 h 408496"/>
                <a:gd name="connsiteX15" fmla="*/ 3557116 w 3717890"/>
                <a:gd name="connsiteY15" fmla="*/ 171392 h 408496"/>
                <a:gd name="connsiteX16" fmla="*/ 3717890 w 3717890"/>
                <a:gd name="connsiteY16" fmla="*/ 382407 h 408496"/>
                <a:gd name="connsiteX0" fmla="*/ 0 w 3717890"/>
                <a:gd name="connsiteY0" fmla="*/ 338160 h 404442"/>
                <a:gd name="connsiteX1" fmla="*/ 301450 w 3717890"/>
                <a:gd name="connsiteY1" fmla="*/ 86951 h 404442"/>
                <a:gd name="connsiteX2" fmla="*/ 563266 w 3717890"/>
                <a:gd name="connsiteY2" fmla="*/ 2866 h 404442"/>
                <a:gd name="connsiteX3" fmla="*/ 801740 w 3717890"/>
                <a:gd name="connsiteY3" fmla="*/ 121841 h 404442"/>
                <a:gd name="connsiteX4" fmla="*/ 1004835 w 3717890"/>
                <a:gd name="connsiteY4" fmla="*/ 358256 h 404442"/>
                <a:gd name="connsiteX5" fmla="*/ 1316334 w 3717890"/>
                <a:gd name="connsiteY5" fmla="*/ 388401 h 404442"/>
                <a:gd name="connsiteX6" fmla="*/ 1534746 w 3717890"/>
                <a:gd name="connsiteY6" fmla="*/ 169954 h 404442"/>
                <a:gd name="connsiteX7" fmla="*/ 1777476 w 3717890"/>
                <a:gd name="connsiteY7" fmla="*/ 22439 h 404442"/>
                <a:gd name="connsiteX8" fmla="*/ 2009670 w 3717890"/>
                <a:gd name="connsiteY8" fmla="*/ 16612 h 404442"/>
                <a:gd name="connsiteX9" fmla="*/ 2200589 w 3717890"/>
                <a:gd name="connsiteY9" fmla="*/ 177386 h 404442"/>
                <a:gd name="connsiteX10" fmla="*/ 2381459 w 3717890"/>
                <a:gd name="connsiteY10" fmla="*/ 358256 h 404442"/>
                <a:gd name="connsiteX11" fmla="*/ 2642716 w 3717890"/>
                <a:gd name="connsiteY11" fmla="*/ 388401 h 404442"/>
                <a:gd name="connsiteX12" fmla="*/ 2863780 w 3717890"/>
                <a:gd name="connsiteY12" fmla="*/ 217579 h 404442"/>
                <a:gd name="connsiteX13" fmla="*/ 3034602 w 3717890"/>
                <a:gd name="connsiteY13" fmla="*/ 56806 h 404442"/>
                <a:gd name="connsiteX14" fmla="*/ 3295859 w 3717890"/>
                <a:gd name="connsiteY14" fmla="*/ 16612 h 404442"/>
                <a:gd name="connsiteX15" fmla="*/ 3557116 w 3717890"/>
                <a:gd name="connsiteY15" fmla="*/ 167338 h 404442"/>
                <a:gd name="connsiteX16" fmla="*/ 3717890 w 3717890"/>
                <a:gd name="connsiteY16" fmla="*/ 378353 h 404442"/>
                <a:gd name="connsiteX0" fmla="*/ 0 w 3717890"/>
                <a:gd name="connsiteY0" fmla="*/ 338160 h 404442"/>
                <a:gd name="connsiteX1" fmla="*/ 301450 w 3717890"/>
                <a:gd name="connsiteY1" fmla="*/ 86951 h 404442"/>
                <a:gd name="connsiteX2" fmla="*/ 563266 w 3717890"/>
                <a:gd name="connsiteY2" fmla="*/ 2866 h 404442"/>
                <a:gd name="connsiteX3" fmla="*/ 801740 w 3717890"/>
                <a:gd name="connsiteY3" fmla="*/ 121841 h 404442"/>
                <a:gd name="connsiteX4" fmla="*/ 1004835 w 3717890"/>
                <a:gd name="connsiteY4" fmla="*/ 358256 h 404442"/>
                <a:gd name="connsiteX5" fmla="*/ 1316334 w 3717890"/>
                <a:gd name="connsiteY5" fmla="*/ 388401 h 404442"/>
                <a:gd name="connsiteX6" fmla="*/ 1534746 w 3717890"/>
                <a:gd name="connsiteY6" fmla="*/ 169954 h 404442"/>
                <a:gd name="connsiteX7" fmla="*/ 1777476 w 3717890"/>
                <a:gd name="connsiteY7" fmla="*/ 22439 h 404442"/>
                <a:gd name="connsiteX8" fmla="*/ 2009670 w 3717890"/>
                <a:gd name="connsiteY8" fmla="*/ 16612 h 404442"/>
                <a:gd name="connsiteX9" fmla="*/ 2200589 w 3717890"/>
                <a:gd name="connsiteY9" fmla="*/ 177386 h 404442"/>
                <a:gd name="connsiteX10" fmla="*/ 2381459 w 3717890"/>
                <a:gd name="connsiteY10" fmla="*/ 358256 h 404442"/>
                <a:gd name="connsiteX11" fmla="*/ 2642716 w 3717890"/>
                <a:gd name="connsiteY11" fmla="*/ 388401 h 404442"/>
                <a:gd name="connsiteX12" fmla="*/ 2863780 w 3717890"/>
                <a:gd name="connsiteY12" fmla="*/ 217579 h 404442"/>
                <a:gd name="connsiteX13" fmla="*/ 3034602 w 3717890"/>
                <a:gd name="connsiteY13" fmla="*/ 56806 h 404442"/>
                <a:gd name="connsiteX14" fmla="*/ 3295859 w 3717890"/>
                <a:gd name="connsiteY14" fmla="*/ 16612 h 404442"/>
                <a:gd name="connsiteX15" fmla="*/ 3557116 w 3717890"/>
                <a:gd name="connsiteY15" fmla="*/ 167338 h 404442"/>
                <a:gd name="connsiteX16" fmla="*/ 3717890 w 3717890"/>
                <a:gd name="connsiteY16" fmla="*/ 378353 h 404442"/>
                <a:gd name="connsiteX0" fmla="*/ 0 w 3717890"/>
                <a:gd name="connsiteY0" fmla="*/ 349509 h 415791"/>
                <a:gd name="connsiteX1" fmla="*/ 301450 w 3717890"/>
                <a:gd name="connsiteY1" fmla="*/ 98300 h 415791"/>
                <a:gd name="connsiteX2" fmla="*/ 563266 w 3717890"/>
                <a:gd name="connsiteY2" fmla="*/ 14215 h 415791"/>
                <a:gd name="connsiteX3" fmla="*/ 801740 w 3717890"/>
                <a:gd name="connsiteY3" fmla="*/ 133190 h 415791"/>
                <a:gd name="connsiteX4" fmla="*/ 1004835 w 3717890"/>
                <a:gd name="connsiteY4" fmla="*/ 369605 h 415791"/>
                <a:gd name="connsiteX5" fmla="*/ 1316334 w 3717890"/>
                <a:gd name="connsiteY5" fmla="*/ 399750 h 415791"/>
                <a:gd name="connsiteX6" fmla="*/ 1534746 w 3717890"/>
                <a:gd name="connsiteY6" fmla="*/ 181303 h 415791"/>
                <a:gd name="connsiteX7" fmla="*/ 1790176 w 3717890"/>
                <a:gd name="connsiteY7" fmla="*/ 14738 h 415791"/>
                <a:gd name="connsiteX8" fmla="*/ 2009670 w 3717890"/>
                <a:gd name="connsiteY8" fmla="*/ 27961 h 415791"/>
                <a:gd name="connsiteX9" fmla="*/ 2200589 w 3717890"/>
                <a:gd name="connsiteY9" fmla="*/ 188735 h 415791"/>
                <a:gd name="connsiteX10" fmla="*/ 2381459 w 3717890"/>
                <a:gd name="connsiteY10" fmla="*/ 369605 h 415791"/>
                <a:gd name="connsiteX11" fmla="*/ 2642716 w 3717890"/>
                <a:gd name="connsiteY11" fmla="*/ 399750 h 415791"/>
                <a:gd name="connsiteX12" fmla="*/ 2863780 w 3717890"/>
                <a:gd name="connsiteY12" fmla="*/ 228928 h 415791"/>
                <a:gd name="connsiteX13" fmla="*/ 3034602 w 3717890"/>
                <a:gd name="connsiteY13" fmla="*/ 68155 h 415791"/>
                <a:gd name="connsiteX14" fmla="*/ 3295859 w 3717890"/>
                <a:gd name="connsiteY14" fmla="*/ 27961 h 415791"/>
                <a:gd name="connsiteX15" fmla="*/ 3557116 w 3717890"/>
                <a:gd name="connsiteY15" fmla="*/ 178687 h 415791"/>
                <a:gd name="connsiteX16" fmla="*/ 3717890 w 3717890"/>
                <a:gd name="connsiteY16" fmla="*/ 389702 h 415791"/>
                <a:gd name="connsiteX0" fmla="*/ 0 w 3717890"/>
                <a:gd name="connsiteY0" fmla="*/ 335938 h 402220"/>
                <a:gd name="connsiteX1" fmla="*/ 301450 w 3717890"/>
                <a:gd name="connsiteY1" fmla="*/ 84729 h 402220"/>
                <a:gd name="connsiteX2" fmla="*/ 563266 w 3717890"/>
                <a:gd name="connsiteY2" fmla="*/ 644 h 402220"/>
                <a:gd name="connsiteX3" fmla="*/ 801740 w 3717890"/>
                <a:gd name="connsiteY3" fmla="*/ 119619 h 402220"/>
                <a:gd name="connsiteX4" fmla="*/ 1004835 w 3717890"/>
                <a:gd name="connsiteY4" fmla="*/ 356034 h 402220"/>
                <a:gd name="connsiteX5" fmla="*/ 1316334 w 3717890"/>
                <a:gd name="connsiteY5" fmla="*/ 386179 h 402220"/>
                <a:gd name="connsiteX6" fmla="*/ 1534746 w 3717890"/>
                <a:gd name="connsiteY6" fmla="*/ 167732 h 402220"/>
                <a:gd name="connsiteX7" fmla="*/ 2009670 w 3717890"/>
                <a:gd name="connsiteY7" fmla="*/ 14390 h 402220"/>
                <a:gd name="connsiteX8" fmla="*/ 2200589 w 3717890"/>
                <a:gd name="connsiteY8" fmla="*/ 175164 h 402220"/>
                <a:gd name="connsiteX9" fmla="*/ 2381459 w 3717890"/>
                <a:gd name="connsiteY9" fmla="*/ 356034 h 402220"/>
                <a:gd name="connsiteX10" fmla="*/ 2642716 w 3717890"/>
                <a:gd name="connsiteY10" fmla="*/ 386179 h 402220"/>
                <a:gd name="connsiteX11" fmla="*/ 2863780 w 3717890"/>
                <a:gd name="connsiteY11" fmla="*/ 215357 h 402220"/>
                <a:gd name="connsiteX12" fmla="*/ 3034602 w 3717890"/>
                <a:gd name="connsiteY12" fmla="*/ 54584 h 402220"/>
                <a:gd name="connsiteX13" fmla="*/ 3295859 w 3717890"/>
                <a:gd name="connsiteY13" fmla="*/ 14390 h 402220"/>
                <a:gd name="connsiteX14" fmla="*/ 3557116 w 3717890"/>
                <a:gd name="connsiteY14" fmla="*/ 165116 h 402220"/>
                <a:gd name="connsiteX15" fmla="*/ 3717890 w 3717890"/>
                <a:gd name="connsiteY15" fmla="*/ 376131 h 402220"/>
                <a:gd name="connsiteX0" fmla="*/ 0 w 3717890"/>
                <a:gd name="connsiteY0" fmla="*/ 356482 h 422764"/>
                <a:gd name="connsiteX1" fmla="*/ 301450 w 3717890"/>
                <a:gd name="connsiteY1" fmla="*/ 105273 h 422764"/>
                <a:gd name="connsiteX2" fmla="*/ 563266 w 3717890"/>
                <a:gd name="connsiteY2" fmla="*/ 21188 h 422764"/>
                <a:gd name="connsiteX3" fmla="*/ 801740 w 3717890"/>
                <a:gd name="connsiteY3" fmla="*/ 140163 h 422764"/>
                <a:gd name="connsiteX4" fmla="*/ 1004835 w 3717890"/>
                <a:gd name="connsiteY4" fmla="*/ 376578 h 422764"/>
                <a:gd name="connsiteX5" fmla="*/ 1316334 w 3717890"/>
                <a:gd name="connsiteY5" fmla="*/ 406723 h 422764"/>
                <a:gd name="connsiteX6" fmla="*/ 1534746 w 3717890"/>
                <a:gd name="connsiteY6" fmla="*/ 188276 h 422764"/>
                <a:gd name="connsiteX7" fmla="*/ 1850920 w 3717890"/>
                <a:gd name="connsiteY7" fmla="*/ 9 h 422764"/>
                <a:gd name="connsiteX8" fmla="*/ 2200589 w 3717890"/>
                <a:gd name="connsiteY8" fmla="*/ 195708 h 422764"/>
                <a:gd name="connsiteX9" fmla="*/ 2381459 w 3717890"/>
                <a:gd name="connsiteY9" fmla="*/ 376578 h 422764"/>
                <a:gd name="connsiteX10" fmla="*/ 2642716 w 3717890"/>
                <a:gd name="connsiteY10" fmla="*/ 406723 h 422764"/>
                <a:gd name="connsiteX11" fmla="*/ 2863780 w 3717890"/>
                <a:gd name="connsiteY11" fmla="*/ 235901 h 422764"/>
                <a:gd name="connsiteX12" fmla="*/ 3034602 w 3717890"/>
                <a:gd name="connsiteY12" fmla="*/ 75128 h 422764"/>
                <a:gd name="connsiteX13" fmla="*/ 3295859 w 3717890"/>
                <a:gd name="connsiteY13" fmla="*/ 34934 h 422764"/>
                <a:gd name="connsiteX14" fmla="*/ 3557116 w 3717890"/>
                <a:gd name="connsiteY14" fmla="*/ 185660 h 422764"/>
                <a:gd name="connsiteX15" fmla="*/ 3717890 w 3717890"/>
                <a:gd name="connsiteY15" fmla="*/ 396675 h 422764"/>
                <a:gd name="connsiteX0" fmla="*/ 0 w 3717890"/>
                <a:gd name="connsiteY0" fmla="*/ 356586 h 422868"/>
                <a:gd name="connsiteX1" fmla="*/ 301450 w 3717890"/>
                <a:gd name="connsiteY1" fmla="*/ 105377 h 422868"/>
                <a:gd name="connsiteX2" fmla="*/ 563266 w 3717890"/>
                <a:gd name="connsiteY2" fmla="*/ 21292 h 422868"/>
                <a:gd name="connsiteX3" fmla="*/ 801740 w 3717890"/>
                <a:gd name="connsiteY3" fmla="*/ 140267 h 422868"/>
                <a:gd name="connsiteX4" fmla="*/ 1004835 w 3717890"/>
                <a:gd name="connsiteY4" fmla="*/ 376682 h 422868"/>
                <a:gd name="connsiteX5" fmla="*/ 1316334 w 3717890"/>
                <a:gd name="connsiteY5" fmla="*/ 406827 h 422868"/>
                <a:gd name="connsiteX6" fmla="*/ 1534746 w 3717890"/>
                <a:gd name="connsiteY6" fmla="*/ 188380 h 422868"/>
                <a:gd name="connsiteX7" fmla="*/ 1850920 w 3717890"/>
                <a:gd name="connsiteY7" fmla="*/ 113 h 422868"/>
                <a:gd name="connsiteX8" fmla="*/ 2200589 w 3717890"/>
                <a:gd name="connsiteY8" fmla="*/ 195812 h 422868"/>
                <a:gd name="connsiteX9" fmla="*/ 2381459 w 3717890"/>
                <a:gd name="connsiteY9" fmla="*/ 376682 h 422868"/>
                <a:gd name="connsiteX10" fmla="*/ 2642716 w 3717890"/>
                <a:gd name="connsiteY10" fmla="*/ 406827 h 422868"/>
                <a:gd name="connsiteX11" fmla="*/ 2863780 w 3717890"/>
                <a:gd name="connsiteY11" fmla="*/ 236005 h 422868"/>
                <a:gd name="connsiteX12" fmla="*/ 3034602 w 3717890"/>
                <a:gd name="connsiteY12" fmla="*/ 75232 h 422868"/>
                <a:gd name="connsiteX13" fmla="*/ 3295859 w 3717890"/>
                <a:gd name="connsiteY13" fmla="*/ 35038 h 422868"/>
                <a:gd name="connsiteX14" fmla="*/ 3557116 w 3717890"/>
                <a:gd name="connsiteY14" fmla="*/ 185764 h 422868"/>
                <a:gd name="connsiteX15" fmla="*/ 3717890 w 3717890"/>
                <a:gd name="connsiteY15" fmla="*/ 396779 h 422868"/>
                <a:gd name="connsiteX0" fmla="*/ 0 w 3717890"/>
                <a:gd name="connsiteY0" fmla="*/ 356483 h 422765"/>
                <a:gd name="connsiteX1" fmla="*/ 301450 w 3717890"/>
                <a:gd name="connsiteY1" fmla="*/ 105274 h 422765"/>
                <a:gd name="connsiteX2" fmla="*/ 563266 w 3717890"/>
                <a:gd name="connsiteY2" fmla="*/ 21189 h 422765"/>
                <a:gd name="connsiteX3" fmla="*/ 801740 w 3717890"/>
                <a:gd name="connsiteY3" fmla="*/ 140164 h 422765"/>
                <a:gd name="connsiteX4" fmla="*/ 1004835 w 3717890"/>
                <a:gd name="connsiteY4" fmla="*/ 376579 h 422765"/>
                <a:gd name="connsiteX5" fmla="*/ 1316334 w 3717890"/>
                <a:gd name="connsiteY5" fmla="*/ 406724 h 422765"/>
                <a:gd name="connsiteX6" fmla="*/ 1534746 w 3717890"/>
                <a:gd name="connsiteY6" fmla="*/ 188277 h 422765"/>
                <a:gd name="connsiteX7" fmla="*/ 1850920 w 3717890"/>
                <a:gd name="connsiteY7" fmla="*/ 10 h 422765"/>
                <a:gd name="connsiteX8" fmla="*/ 2200589 w 3717890"/>
                <a:gd name="connsiteY8" fmla="*/ 195709 h 422765"/>
                <a:gd name="connsiteX9" fmla="*/ 2381459 w 3717890"/>
                <a:gd name="connsiteY9" fmla="*/ 376579 h 422765"/>
                <a:gd name="connsiteX10" fmla="*/ 2642716 w 3717890"/>
                <a:gd name="connsiteY10" fmla="*/ 406724 h 422765"/>
                <a:gd name="connsiteX11" fmla="*/ 2863780 w 3717890"/>
                <a:gd name="connsiteY11" fmla="*/ 235902 h 422765"/>
                <a:gd name="connsiteX12" fmla="*/ 3034602 w 3717890"/>
                <a:gd name="connsiteY12" fmla="*/ 75129 h 422765"/>
                <a:gd name="connsiteX13" fmla="*/ 3295859 w 3717890"/>
                <a:gd name="connsiteY13" fmla="*/ 34935 h 422765"/>
                <a:gd name="connsiteX14" fmla="*/ 3557116 w 3717890"/>
                <a:gd name="connsiteY14" fmla="*/ 185661 h 422765"/>
                <a:gd name="connsiteX15" fmla="*/ 3717890 w 3717890"/>
                <a:gd name="connsiteY15" fmla="*/ 396676 h 422765"/>
                <a:gd name="connsiteX0" fmla="*/ 0 w 3717890"/>
                <a:gd name="connsiteY0" fmla="*/ 356483 h 417206"/>
                <a:gd name="connsiteX1" fmla="*/ 301450 w 3717890"/>
                <a:gd name="connsiteY1" fmla="*/ 105274 h 417206"/>
                <a:gd name="connsiteX2" fmla="*/ 563266 w 3717890"/>
                <a:gd name="connsiteY2" fmla="*/ 21189 h 417206"/>
                <a:gd name="connsiteX3" fmla="*/ 801740 w 3717890"/>
                <a:gd name="connsiteY3" fmla="*/ 140164 h 417206"/>
                <a:gd name="connsiteX4" fmla="*/ 1316334 w 3717890"/>
                <a:gd name="connsiteY4" fmla="*/ 406724 h 417206"/>
                <a:gd name="connsiteX5" fmla="*/ 1534746 w 3717890"/>
                <a:gd name="connsiteY5" fmla="*/ 188277 h 417206"/>
                <a:gd name="connsiteX6" fmla="*/ 1850920 w 3717890"/>
                <a:gd name="connsiteY6" fmla="*/ 10 h 417206"/>
                <a:gd name="connsiteX7" fmla="*/ 2200589 w 3717890"/>
                <a:gd name="connsiteY7" fmla="*/ 195709 h 417206"/>
                <a:gd name="connsiteX8" fmla="*/ 2381459 w 3717890"/>
                <a:gd name="connsiteY8" fmla="*/ 376579 h 417206"/>
                <a:gd name="connsiteX9" fmla="*/ 2642716 w 3717890"/>
                <a:gd name="connsiteY9" fmla="*/ 406724 h 417206"/>
                <a:gd name="connsiteX10" fmla="*/ 2863780 w 3717890"/>
                <a:gd name="connsiteY10" fmla="*/ 235902 h 417206"/>
                <a:gd name="connsiteX11" fmla="*/ 3034602 w 3717890"/>
                <a:gd name="connsiteY11" fmla="*/ 75129 h 417206"/>
                <a:gd name="connsiteX12" fmla="*/ 3295859 w 3717890"/>
                <a:gd name="connsiteY12" fmla="*/ 34935 h 417206"/>
                <a:gd name="connsiteX13" fmla="*/ 3557116 w 3717890"/>
                <a:gd name="connsiteY13" fmla="*/ 185661 h 417206"/>
                <a:gd name="connsiteX14" fmla="*/ 3717890 w 3717890"/>
                <a:gd name="connsiteY14" fmla="*/ 396676 h 417206"/>
                <a:gd name="connsiteX0" fmla="*/ 0 w 3717890"/>
                <a:gd name="connsiteY0" fmla="*/ 356483 h 417206"/>
                <a:gd name="connsiteX1" fmla="*/ 301450 w 3717890"/>
                <a:gd name="connsiteY1" fmla="*/ 105274 h 417206"/>
                <a:gd name="connsiteX2" fmla="*/ 563266 w 3717890"/>
                <a:gd name="connsiteY2" fmla="*/ 21189 h 417206"/>
                <a:gd name="connsiteX3" fmla="*/ 801740 w 3717890"/>
                <a:gd name="connsiteY3" fmla="*/ 140164 h 417206"/>
                <a:gd name="connsiteX4" fmla="*/ 1132184 w 3717890"/>
                <a:gd name="connsiteY4" fmla="*/ 409899 h 417206"/>
                <a:gd name="connsiteX5" fmla="*/ 1534746 w 3717890"/>
                <a:gd name="connsiteY5" fmla="*/ 188277 h 417206"/>
                <a:gd name="connsiteX6" fmla="*/ 1850920 w 3717890"/>
                <a:gd name="connsiteY6" fmla="*/ 10 h 417206"/>
                <a:gd name="connsiteX7" fmla="*/ 2200589 w 3717890"/>
                <a:gd name="connsiteY7" fmla="*/ 195709 h 417206"/>
                <a:gd name="connsiteX8" fmla="*/ 2381459 w 3717890"/>
                <a:gd name="connsiteY8" fmla="*/ 376579 h 417206"/>
                <a:gd name="connsiteX9" fmla="*/ 2642716 w 3717890"/>
                <a:gd name="connsiteY9" fmla="*/ 406724 h 417206"/>
                <a:gd name="connsiteX10" fmla="*/ 2863780 w 3717890"/>
                <a:gd name="connsiteY10" fmla="*/ 235902 h 417206"/>
                <a:gd name="connsiteX11" fmla="*/ 3034602 w 3717890"/>
                <a:gd name="connsiteY11" fmla="*/ 75129 h 417206"/>
                <a:gd name="connsiteX12" fmla="*/ 3295859 w 3717890"/>
                <a:gd name="connsiteY12" fmla="*/ 34935 h 417206"/>
                <a:gd name="connsiteX13" fmla="*/ 3557116 w 3717890"/>
                <a:gd name="connsiteY13" fmla="*/ 185661 h 417206"/>
                <a:gd name="connsiteX14" fmla="*/ 3717890 w 3717890"/>
                <a:gd name="connsiteY14" fmla="*/ 396676 h 417206"/>
                <a:gd name="connsiteX0" fmla="*/ 0 w 3717890"/>
                <a:gd name="connsiteY0" fmla="*/ 356483 h 417206"/>
                <a:gd name="connsiteX1" fmla="*/ 301450 w 3717890"/>
                <a:gd name="connsiteY1" fmla="*/ 105274 h 417206"/>
                <a:gd name="connsiteX2" fmla="*/ 563266 w 3717890"/>
                <a:gd name="connsiteY2" fmla="*/ 21189 h 417206"/>
                <a:gd name="connsiteX3" fmla="*/ 1132184 w 3717890"/>
                <a:gd name="connsiteY3" fmla="*/ 409899 h 417206"/>
                <a:gd name="connsiteX4" fmla="*/ 1534746 w 3717890"/>
                <a:gd name="connsiteY4" fmla="*/ 188277 h 417206"/>
                <a:gd name="connsiteX5" fmla="*/ 1850920 w 3717890"/>
                <a:gd name="connsiteY5" fmla="*/ 10 h 417206"/>
                <a:gd name="connsiteX6" fmla="*/ 2200589 w 3717890"/>
                <a:gd name="connsiteY6" fmla="*/ 195709 h 417206"/>
                <a:gd name="connsiteX7" fmla="*/ 2381459 w 3717890"/>
                <a:gd name="connsiteY7" fmla="*/ 376579 h 417206"/>
                <a:gd name="connsiteX8" fmla="*/ 2642716 w 3717890"/>
                <a:gd name="connsiteY8" fmla="*/ 406724 h 417206"/>
                <a:gd name="connsiteX9" fmla="*/ 2863780 w 3717890"/>
                <a:gd name="connsiteY9" fmla="*/ 235902 h 417206"/>
                <a:gd name="connsiteX10" fmla="*/ 3034602 w 3717890"/>
                <a:gd name="connsiteY10" fmla="*/ 75129 h 417206"/>
                <a:gd name="connsiteX11" fmla="*/ 3295859 w 3717890"/>
                <a:gd name="connsiteY11" fmla="*/ 34935 h 417206"/>
                <a:gd name="connsiteX12" fmla="*/ 3557116 w 3717890"/>
                <a:gd name="connsiteY12" fmla="*/ 185661 h 417206"/>
                <a:gd name="connsiteX13" fmla="*/ 3717890 w 3717890"/>
                <a:gd name="connsiteY13" fmla="*/ 396676 h 417206"/>
                <a:gd name="connsiteX0" fmla="*/ 0 w 3717890"/>
                <a:gd name="connsiteY0" fmla="*/ 356483 h 417206"/>
                <a:gd name="connsiteX1" fmla="*/ 563266 w 3717890"/>
                <a:gd name="connsiteY1" fmla="*/ 21189 h 417206"/>
                <a:gd name="connsiteX2" fmla="*/ 1132184 w 3717890"/>
                <a:gd name="connsiteY2" fmla="*/ 409899 h 417206"/>
                <a:gd name="connsiteX3" fmla="*/ 1534746 w 3717890"/>
                <a:gd name="connsiteY3" fmla="*/ 188277 h 417206"/>
                <a:gd name="connsiteX4" fmla="*/ 1850920 w 3717890"/>
                <a:gd name="connsiteY4" fmla="*/ 10 h 417206"/>
                <a:gd name="connsiteX5" fmla="*/ 2200589 w 3717890"/>
                <a:gd name="connsiteY5" fmla="*/ 195709 h 417206"/>
                <a:gd name="connsiteX6" fmla="*/ 2381459 w 3717890"/>
                <a:gd name="connsiteY6" fmla="*/ 376579 h 417206"/>
                <a:gd name="connsiteX7" fmla="*/ 2642716 w 3717890"/>
                <a:gd name="connsiteY7" fmla="*/ 406724 h 417206"/>
                <a:gd name="connsiteX8" fmla="*/ 2863780 w 3717890"/>
                <a:gd name="connsiteY8" fmla="*/ 235902 h 417206"/>
                <a:gd name="connsiteX9" fmla="*/ 3034602 w 3717890"/>
                <a:gd name="connsiteY9" fmla="*/ 75129 h 417206"/>
                <a:gd name="connsiteX10" fmla="*/ 3295859 w 3717890"/>
                <a:gd name="connsiteY10" fmla="*/ 34935 h 417206"/>
                <a:gd name="connsiteX11" fmla="*/ 3557116 w 3717890"/>
                <a:gd name="connsiteY11" fmla="*/ 185661 h 417206"/>
                <a:gd name="connsiteX12" fmla="*/ 3717890 w 3717890"/>
                <a:gd name="connsiteY12" fmla="*/ 396676 h 417206"/>
                <a:gd name="connsiteX0" fmla="*/ 0 w 3717890"/>
                <a:gd name="connsiteY0" fmla="*/ 361381 h 422104"/>
                <a:gd name="connsiteX1" fmla="*/ 563266 w 3717890"/>
                <a:gd name="connsiteY1" fmla="*/ 26087 h 422104"/>
                <a:gd name="connsiteX2" fmla="*/ 1132184 w 3717890"/>
                <a:gd name="connsiteY2" fmla="*/ 414797 h 422104"/>
                <a:gd name="connsiteX3" fmla="*/ 1850920 w 3717890"/>
                <a:gd name="connsiteY3" fmla="*/ 4908 h 422104"/>
                <a:gd name="connsiteX4" fmla="*/ 2200589 w 3717890"/>
                <a:gd name="connsiteY4" fmla="*/ 200607 h 422104"/>
                <a:gd name="connsiteX5" fmla="*/ 2381459 w 3717890"/>
                <a:gd name="connsiteY5" fmla="*/ 381477 h 422104"/>
                <a:gd name="connsiteX6" fmla="*/ 2642716 w 3717890"/>
                <a:gd name="connsiteY6" fmla="*/ 411622 h 422104"/>
                <a:gd name="connsiteX7" fmla="*/ 2863780 w 3717890"/>
                <a:gd name="connsiteY7" fmla="*/ 240800 h 422104"/>
                <a:gd name="connsiteX8" fmla="*/ 3034602 w 3717890"/>
                <a:gd name="connsiteY8" fmla="*/ 80027 h 422104"/>
                <a:gd name="connsiteX9" fmla="*/ 3295859 w 3717890"/>
                <a:gd name="connsiteY9" fmla="*/ 39833 h 422104"/>
                <a:gd name="connsiteX10" fmla="*/ 3557116 w 3717890"/>
                <a:gd name="connsiteY10" fmla="*/ 190559 h 422104"/>
                <a:gd name="connsiteX11" fmla="*/ 3717890 w 3717890"/>
                <a:gd name="connsiteY11" fmla="*/ 401574 h 422104"/>
                <a:gd name="connsiteX0" fmla="*/ 0 w 3717890"/>
                <a:gd name="connsiteY0" fmla="*/ 356546 h 426194"/>
                <a:gd name="connsiteX1" fmla="*/ 563266 w 3717890"/>
                <a:gd name="connsiteY1" fmla="*/ 21252 h 426194"/>
                <a:gd name="connsiteX2" fmla="*/ 1132184 w 3717890"/>
                <a:gd name="connsiteY2" fmla="*/ 409962 h 426194"/>
                <a:gd name="connsiteX3" fmla="*/ 1850920 w 3717890"/>
                <a:gd name="connsiteY3" fmla="*/ 73 h 426194"/>
                <a:gd name="connsiteX4" fmla="*/ 2381459 w 3717890"/>
                <a:gd name="connsiteY4" fmla="*/ 376642 h 426194"/>
                <a:gd name="connsiteX5" fmla="*/ 2642716 w 3717890"/>
                <a:gd name="connsiteY5" fmla="*/ 406787 h 426194"/>
                <a:gd name="connsiteX6" fmla="*/ 2863780 w 3717890"/>
                <a:gd name="connsiteY6" fmla="*/ 235965 h 426194"/>
                <a:gd name="connsiteX7" fmla="*/ 3034602 w 3717890"/>
                <a:gd name="connsiteY7" fmla="*/ 75192 h 426194"/>
                <a:gd name="connsiteX8" fmla="*/ 3295859 w 3717890"/>
                <a:gd name="connsiteY8" fmla="*/ 34998 h 426194"/>
                <a:gd name="connsiteX9" fmla="*/ 3557116 w 3717890"/>
                <a:gd name="connsiteY9" fmla="*/ 185724 h 426194"/>
                <a:gd name="connsiteX10" fmla="*/ 3717890 w 3717890"/>
                <a:gd name="connsiteY10" fmla="*/ 396739 h 426194"/>
                <a:gd name="connsiteX0" fmla="*/ 0 w 3717890"/>
                <a:gd name="connsiteY0" fmla="*/ 356475 h 443140"/>
                <a:gd name="connsiteX1" fmla="*/ 563266 w 3717890"/>
                <a:gd name="connsiteY1" fmla="*/ 21181 h 443140"/>
                <a:gd name="connsiteX2" fmla="*/ 1132184 w 3717890"/>
                <a:gd name="connsiteY2" fmla="*/ 409891 h 443140"/>
                <a:gd name="connsiteX3" fmla="*/ 1850920 w 3717890"/>
                <a:gd name="connsiteY3" fmla="*/ 2 h 443140"/>
                <a:gd name="connsiteX4" fmla="*/ 2527509 w 3717890"/>
                <a:gd name="connsiteY4" fmla="*/ 405146 h 443140"/>
                <a:gd name="connsiteX5" fmla="*/ 2642716 w 3717890"/>
                <a:gd name="connsiteY5" fmla="*/ 406716 h 443140"/>
                <a:gd name="connsiteX6" fmla="*/ 2863780 w 3717890"/>
                <a:gd name="connsiteY6" fmla="*/ 235894 h 443140"/>
                <a:gd name="connsiteX7" fmla="*/ 3034602 w 3717890"/>
                <a:gd name="connsiteY7" fmla="*/ 75121 h 443140"/>
                <a:gd name="connsiteX8" fmla="*/ 3295859 w 3717890"/>
                <a:gd name="connsiteY8" fmla="*/ 34927 h 443140"/>
                <a:gd name="connsiteX9" fmla="*/ 3557116 w 3717890"/>
                <a:gd name="connsiteY9" fmla="*/ 185653 h 443140"/>
                <a:gd name="connsiteX10" fmla="*/ 3717890 w 3717890"/>
                <a:gd name="connsiteY10" fmla="*/ 396668 h 443140"/>
                <a:gd name="connsiteX0" fmla="*/ 0 w 3717890"/>
                <a:gd name="connsiteY0" fmla="*/ 356475 h 411507"/>
                <a:gd name="connsiteX1" fmla="*/ 563266 w 3717890"/>
                <a:gd name="connsiteY1" fmla="*/ 21181 h 411507"/>
                <a:gd name="connsiteX2" fmla="*/ 1132184 w 3717890"/>
                <a:gd name="connsiteY2" fmla="*/ 409891 h 411507"/>
                <a:gd name="connsiteX3" fmla="*/ 1850920 w 3717890"/>
                <a:gd name="connsiteY3" fmla="*/ 2 h 411507"/>
                <a:gd name="connsiteX4" fmla="*/ 2527509 w 3717890"/>
                <a:gd name="connsiteY4" fmla="*/ 405146 h 411507"/>
                <a:gd name="connsiteX5" fmla="*/ 2863780 w 3717890"/>
                <a:gd name="connsiteY5" fmla="*/ 235894 h 411507"/>
                <a:gd name="connsiteX6" fmla="*/ 3034602 w 3717890"/>
                <a:gd name="connsiteY6" fmla="*/ 75121 h 411507"/>
                <a:gd name="connsiteX7" fmla="*/ 3295859 w 3717890"/>
                <a:gd name="connsiteY7" fmla="*/ 34927 h 411507"/>
                <a:gd name="connsiteX8" fmla="*/ 3557116 w 3717890"/>
                <a:gd name="connsiteY8" fmla="*/ 185653 h 411507"/>
                <a:gd name="connsiteX9" fmla="*/ 3717890 w 3717890"/>
                <a:gd name="connsiteY9" fmla="*/ 396668 h 411507"/>
                <a:gd name="connsiteX0" fmla="*/ 0 w 3717890"/>
                <a:gd name="connsiteY0" fmla="*/ 356475 h 411735"/>
                <a:gd name="connsiteX1" fmla="*/ 563266 w 3717890"/>
                <a:gd name="connsiteY1" fmla="*/ 21181 h 411735"/>
                <a:gd name="connsiteX2" fmla="*/ 1132184 w 3717890"/>
                <a:gd name="connsiteY2" fmla="*/ 409891 h 411735"/>
                <a:gd name="connsiteX3" fmla="*/ 1850920 w 3717890"/>
                <a:gd name="connsiteY3" fmla="*/ 2 h 411735"/>
                <a:gd name="connsiteX4" fmla="*/ 2527509 w 3717890"/>
                <a:gd name="connsiteY4" fmla="*/ 405146 h 411735"/>
                <a:gd name="connsiteX5" fmla="*/ 2863780 w 3717890"/>
                <a:gd name="connsiteY5" fmla="*/ 235894 h 411735"/>
                <a:gd name="connsiteX6" fmla="*/ 3295859 w 3717890"/>
                <a:gd name="connsiteY6" fmla="*/ 34927 h 411735"/>
                <a:gd name="connsiteX7" fmla="*/ 3557116 w 3717890"/>
                <a:gd name="connsiteY7" fmla="*/ 185653 h 411735"/>
                <a:gd name="connsiteX8" fmla="*/ 3717890 w 3717890"/>
                <a:gd name="connsiteY8" fmla="*/ 396668 h 411735"/>
                <a:gd name="connsiteX0" fmla="*/ 0 w 3717890"/>
                <a:gd name="connsiteY0" fmla="*/ 356475 h 409915"/>
                <a:gd name="connsiteX1" fmla="*/ 563266 w 3717890"/>
                <a:gd name="connsiteY1" fmla="*/ 21181 h 409915"/>
                <a:gd name="connsiteX2" fmla="*/ 1132184 w 3717890"/>
                <a:gd name="connsiteY2" fmla="*/ 409891 h 409915"/>
                <a:gd name="connsiteX3" fmla="*/ 1850920 w 3717890"/>
                <a:gd name="connsiteY3" fmla="*/ 2 h 409915"/>
                <a:gd name="connsiteX4" fmla="*/ 2527509 w 3717890"/>
                <a:gd name="connsiteY4" fmla="*/ 405146 h 409915"/>
                <a:gd name="connsiteX5" fmla="*/ 3295859 w 3717890"/>
                <a:gd name="connsiteY5" fmla="*/ 34927 h 409915"/>
                <a:gd name="connsiteX6" fmla="*/ 3557116 w 3717890"/>
                <a:gd name="connsiteY6" fmla="*/ 185653 h 409915"/>
                <a:gd name="connsiteX7" fmla="*/ 3717890 w 3717890"/>
                <a:gd name="connsiteY7" fmla="*/ 396668 h 409915"/>
                <a:gd name="connsiteX0" fmla="*/ 0 w 3717890"/>
                <a:gd name="connsiteY0" fmla="*/ 356475 h 409915"/>
                <a:gd name="connsiteX1" fmla="*/ 563266 w 3717890"/>
                <a:gd name="connsiteY1" fmla="*/ 21181 h 409915"/>
                <a:gd name="connsiteX2" fmla="*/ 1132184 w 3717890"/>
                <a:gd name="connsiteY2" fmla="*/ 409891 h 409915"/>
                <a:gd name="connsiteX3" fmla="*/ 1850920 w 3717890"/>
                <a:gd name="connsiteY3" fmla="*/ 2 h 409915"/>
                <a:gd name="connsiteX4" fmla="*/ 2527509 w 3717890"/>
                <a:gd name="connsiteY4" fmla="*/ 405146 h 409915"/>
                <a:gd name="connsiteX5" fmla="*/ 3168859 w 3717890"/>
                <a:gd name="connsiteY5" fmla="*/ 15877 h 409915"/>
                <a:gd name="connsiteX6" fmla="*/ 3557116 w 3717890"/>
                <a:gd name="connsiteY6" fmla="*/ 185653 h 409915"/>
                <a:gd name="connsiteX7" fmla="*/ 3717890 w 3717890"/>
                <a:gd name="connsiteY7" fmla="*/ 396668 h 409915"/>
                <a:gd name="connsiteX0" fmla="*/ 0 w 3717890"/>
                <a:gd name="connsiteY0" fmla="*/ 356475 h 409915"/>
                <a:gd name="connsiteX1" fmla="*/ 563266 w 3717890"/>
                <a:gd name="connsiteY1" fmla="*/ 21181 h 409915"/>
                <a:gd name="connsiteX2" fmla="*/ 1132184 w 3717890"/>
                <a:gd name="connsiteY2" fmla="*/ 409891 h 409915"/>
                <a:gd name="connsiteX3" fmla="*/ 1850920 w 3717890"/>
                <a:gd name="connsiteY3" fmla="*/ 2 h 409915"/>
                <a:gd name="connsiteX4" fmla="*/ 2527509 w 3717890"/>
                <a:gd name="connsiteY4" fmla="*/ 405146 h 409915"/>
                <a:gd name="connsiteX5" fmla="*/ 3168859 w 3717890"/>
                <a:gd name="connsiteY5" fmla="*/ 15877 h 409915"/>
                <a:gd name="connsiteX6" fmla="*/ 3557116 w 3717890"/>
                <a:gd name="connsiteY6" fmla="*/ 185653 h 409915"/>
                <a:gd name="connsiteX7" fmla="*/ 3717890 w 3717890"/>
                <a:gd name="connsiteY7" fmla="*/ 396668 h 409915"/>
                <a:gd name="connsiteX0" fmla="*/ 0 w 3717890"/>
                <a:gd name="connsiteY0" fmla="*/ 356475 h 409915"/>
                <a:gd name="connsiteX1" fmla="*/ 563266 w 3717890"/>
                <a:gd name="connsiteY1" fmla="*/ 21181 h 409915"/>
                <a:gd name="connsiteX2" fmla="*/ 1132184 w 3717890"/>
                <a:gd name="connsiteY2" fmla="*/ 409891 h 409915"/>
                <a:gd name="connsiteX3" fmla="*/ 1850920 w 3717890"/>
                <a:gd name="connsiteY3" fmla="*/ 2 h 409915"/>
                <a:gd name="connsiteX4" fmla="*/ 2527509 w 3717890"/>
                <a:gd name="connsiteY4" fmla="*/ 405146 h 409915"/>
                <a:gd name="connsiteX5" fmla="*/ 3168859 w 3717890"/>
                <a:gd name="connsiteY5" fmla="*/ 15877 h 409915"/>
                <a:gd name="connsiteX6" fmla="*/ 3557116 w 3717890"/>
                <a:gd name="connsiteY6" fmla="*/ 185653 h 409915"/>
                <a:gd name="connsiteX7" fmla="*/ 3717890 w 3717890"/>
                <a:gd name="connsiteY7" fmla="*/ 396668 h 409915"/>
                <a:gd name="connsiteX0" fmla="*/ 0 w 3717890"/>
                <a:gd name="connsiteY0" fmla="*/ 356475 h 409915"/>
                <a:gd name="connsiteX1" fmla="*/ 563266 w 3717890"/>
                <a:gd name="connsiteY1" fmla="*/ 21181 h 409915"/>
                <a:gd name="connsiteX2" fmla="*/ 1132184 w 3717890"/>
                <a:gd name="connsiteY2" fmla="*/ 409891 h 409915"/>
                <a:gd name="connsiteX3" fmla="*/ 1850920 w 3717890"/>
                <a:gd name="connsiteY3" fmla="*/ 2 h 409915"/>
                <a:gd name="connsiteX4" fmla="*/ 2527509 w 3717890"/>
                <a:gd name="connsiteY4" fmla="*/ 405146 h 409915"/>
                <a:gd name="connsiteX5" fmla="*/ 3168859 w 3717890"/>
                <a:gd name="connsiteY5" fmla="*/ 15877 h 409915"/>
                <a:gd name="connsiteX6" fmla="*/ 3717890 w 3717890"/>
                <a:gd name="connsiteY6" fmla="*/ 396668 h 409915"/>
                <a:gd name="connsiteX0" fmla="*/ 0 w 3695665"/>
                <a:gd name="connsiteY0" fmla="*/ 397750 h 409914"/>
                <a:gd name="connsiteX1" fmla="*/ 541041 w 3695665"/>
                <a:gd name="connsiteY1" fmla="*/ 21181 h 409914"/>
                <a:gd name="connsiteX2" fmla="*/ 1109959 w 3695665"/>
                <a:gd name="connsiteY2" fmla="*/ 409891 h 409914"/>
                <a:gd name="connsiteX3" fmla="*/ 1828695 w 3695665"/>
                <a:gd name="connsiteY3" fmla="*/ 2 h 409914"/>
                <a:gd name="connsiteX4" fmla="*/ 2505284 w 3695665"/>
                <a:gd name="connsiteY4" fmla="*/ 405146 h 409914"/>
                <a:gd name="connsiteX5" fmla="*/ 3146634 w 3695665"/>
                <a:gd name="connsiteY5" fmla="*/ 15877 h 409914"/>
                <a:gd name="connsiteX6" fmla="*/ 3695665 w 3695665"/>
                <a:gd name="connsiteY6" fmla="*/ 396668 h 409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695665" h="409914">
                  <a:moveTo>
                    <a:pt x="0" y="397750"/>
                  </a:moveTo>
                  <a:cubicBezTo>
                    <a:pt x="117347" y="327897"/>
                    <a:pt x="356048" y="19158"/>
                    <a:pt x="541041" y="21181"/>
                  </a:cubicBezTo>
                  <a:cubicBezTo>
                    <a:pt x="726034" y="23204"/>
                    <a:pt x="895350" y="413421"/>
                    <a:pt x="1109959" y="409891"/>
                  </a:cubicBezTo>
                  <a:cubicBezTo>
                    <a:pt x="1324568" y="406361"/>
                    <a:pt x="1596141" y="793"/>
                    <a:pt x="1828695" y="2"/>
                  </a:cubicBezTo>
                  <a:cubicBezTo>
                    <a:pt x="2061249" y="-789"/>
                    <a:pt x="2285628" y="402500"/>
                    <a:pt x="2505284" y="405146"/>
                  </a:cubicBezTo>
                  <a:cubicBezTo>
                    <a:pt x="2724940" y="407792"/>
                    <a:pt x="2948237" y="17290"/>
                    <a:pt x="3146634" y="15877"/>
                  </a:cubicBezTo>
                  <a:cubicBezTo>
                    <a:pt x="3345031" y="14464"/>
                    <a:pt x="3581284" y="317337"/>
                    <a:pt x="3695665" y="396668"/>
                  </a:cubicBezTo>
                </a:path>
              </a:pathLst>
            </a:custGeom>
            <a:noFill/>
            <a:ln w="762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548"/>
            </a:p>
          </p:txBody>
        </p:sp>
      </p:grpSp>
      <p:sp>
        <p:nvSpPr>
          <p:cNvPr id="11" name="Oval 10">
            <a:extLst>
              <a:ext uri="{FF2B5EF4-FFF2-40B4-BE49-F238E27FC236}">
                <a16:creationId xmlns:a16="http://schemas.microsoft.com/office/drawing/2014/main" id="{133FE889-759D-3241-A7FA-7414BC01DD8E}"/>
              </a:ext>
            </a:extLst>
          </p:cNvPr>
          <p:cNvSpPr/>
          <p:nvPr/>
        </p:nvSpPr>
        <p:spPr>
          <a:xfrm>
            <a:off x="4764168" y="2279902"/>
            <a:ext cx="340551" cy="343979"/>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548"/>
          </a:p>
        </p:txBody>
      </p:sp>
      <p:cxnSp>
        <p:nvCxnSpPr>
          <p:cNvPr id="13" name="Straight Connector 12">
            <a:extLst>
              <a:ext uri="{FF2B5EF4-FFF2-40B4-BE49-F238E27FC236}">
                <a16:creationId xmlns:a16="http://schemas.microsoft.com/office/drawing/2014/main" id="{26A03BE2-DE50-EB4C-AAD5-89708ED8734E}"/>
              </a:ext>
            </a:extLst>
          </p:cNvPr>
          <p:cNvCxnSpPr>
            <a:cxnSpLocks/>
            <a:stCxn id="11" idx="4"/>
          </p:cNvCxnSpPr>
          <p:nvPr/>
        </p:nvCxnSpPr>
        <p:spPr>
          <a:xfrm>
            <a:off x="4934443" y="2623881"/>
            <a:ext cx="0" cy="440207"/>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94ADD771-D29B-1C4D-82D0-C72ECBDC4D26}"/>
              </a:ext>
            </a:extLst>
          </p:cNvPr>
          <p:cNvCxnSpPr>
            <a:cxnSpLocks/>
          </p:cNvCxnSpPr>
          <p:nvPr/>
        </p:nvCxnSpPr>
        <p:spPr>
          <a:xfrm>
            <a:off x="4737545" y="2752090"/>
            <a:ext cx="393796" cy="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14E71162-07A1-EA4A-B628-4F6C16803D8E}"/>
              </a:ext>
            </a:extLst>
          </p:cNvPr>
          <p:cNvCxnSpPr>
            <a:cxnSpLocks/>
          </p:cNvCxnSpPr>
          <p:nvPr/>
        </p:nvCxnSpPr>
        <p:spPr>
          <a:xfrm flipV="1">
            <a:off x="4764168" y="3021847"/>
            <a:ext cx="170276" cy="305339"/>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F61F855-B3D9-AA43-AAF8-A65D2F36EC37}"/>
              </a:ext>
            </a:extLst>
          </p:cNvPr>
          <p:cNvCxnSpPr>
            <a:cxnSpLocks/>
          </p:cNvCxnSpPr>
          <p:nvPr/>
        </p:nvCxnSpPr>
        <p:spPr>
          <a:xfrm flipH="1" flipV="1">
            <a:off x="4928161" y="3013750"/>
            <a:ext cx="250143" cy="295696"/>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sp>
        <p:nvSpPr>
          <p:cNvPr id="24" name="Oval 23">
            <a:extLst>
              <a:ext uri="{FF2B5EF4-FFF2-40B4-BE49-F238E27FC236}">
                <a16:creationId xmlns:a16="http://schemas.microsoft.com/office/drawing/2014/main" id="{EAFA476A-913E-194B-97EF-080115FB810E}"/>
              </a:ext>
            </a:extLst>
          </p:cNvPr>
          <p:cNvSpPr/>
          <p:nvPr/>
        </p:nvSpPr>
        <p:spPr>
          <a:xfrm>
            <a:off x="5546488" y="2286305"/>
            <a:ext cx="340551" cy="343979"/>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548"/>
          </a:p>
        </p:txBody>
      </p:sp>
      <p:cxnSp>
        <p:nvCxnSpPr>
          <p:cNvPr id="25" name="Straight Connector 24">
            <a:extLst>
              <a:ext uri="{FF2B5EF4-FFF2-40B4-BE49-F238E27FC236}">
                <a16:creationId xmlns:a16="http://schemas.microsoft.com/office/drawing/2014/main" id="{1030CA86-8CF6-424E-B729-A422CC0A3EFC}"/>
              </a:ext>
            </a:extLst>
          </p:cNvPr>
          <p:cNvCxnSpPr>
            <a:cxnSpLocks/>
            <a:stCxn id="24" idx="4"/>
          </p:cNvCxnSpPr>
          <p:nvPr/>
        </p:nvCxnSpPr>
        <p:spPr>
          <a:xfrm>
            <a:off x="5716763" y="2630284"/>
            <a:ext cx="0" cy="440207"/>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37E1EBDE-71CA-6A4B-89A6-BD8DE03AB19C}"/>
              </a:ext>
            </a:extLst>
          </p:cNvPr>
          <p:cNvCxnSpPr>
            <a:cxnSpLocks/>
          </p:cNvCxnSpPr>
          <p:nvPr/>
        </p:nvCxnSpPr>
        <p:spPr>
          <a:xfrm>
            <a:off x="5519865" y="2758493"/>
            <a:ext cx="393796" cy="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925FED13-98E2-304D-8047-5347B043FCFA}"/>
              </a:ext>
            </a:extLst>
          </p:cNvPr>
          <p:cNvCxnSpPr>
            <a:cxnSpLocks/>
          </p:cNvCxnSpPr>
          <p:nvPr/>
        </p:nvCxnSpPr>
        <p:spPr>
          <a:xfrm flipV="1">
            <a:off x="5546488" y="3028250"/>
            <a:ext cx="170276" cy="305339"/>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A762ED4B-407B-D246-A79B-60078DFCC77F}"/>
              </a:ext>
            </a:extLst>
          </p:cNvPr>
          <p:cNvCxnSpPr>
            <a:cxnSpLocks/>
          </p:cNvCxnSpPr>
          <p:nvPr/>
        </p:nvCxnSpPr>
        <p:spPr>
          <a:xfrm flipH="1" flipV="1">
            <a:off x="5710481" y="3020153"/>
            <a:ext cx="250143" cy="295696"/>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sp>
        <p:nvSpPr>
          <p:cNvPr id="29" name="Oval 28">
            <a:extLst>
              <a:ext uri="{FF2B5EF4-FFF2-40B4-BE49-F238E27FC236}">
                <a16:creationId xmlns:a16="http://schemas.microsoft.com/office/drawing/2014/main" id="{DBEDB34E-D7D3-8944-AA28-85F0EB2B6DE7}"/>
              </a:ext>
            </a:extLst>
          </p:cNvPr>
          <p:cNvSpPr/>
          <p:nvPr/>
        </p:nvSpPr>
        <p:spPr>
          <a:xfrm>
            <a:off x="6302185" y="2279902"/>
            <a:ext cx="340551" cy="343979"/>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548"/>
          </a:p>
        </p:txBody>
      </p:sp>
      <p:cxnSp>
        <p:nvCxnSpPr>
          <p:cNvPr id="30" name="Straight Connector 29">
            <a:extLst>
              <a:ext uri="{FF2B5EF4-FFF2-40B4-BE49-F238E27FC236}">
                <a16:creationId xmlns:a16="http://schemas.microsoft.com/office/drawing/2014/main" id="{3E684680-DA82-CC45-AF87-D661FACAB947}"/>
              </a:ext>
            </a:extLst>
          </p:cNvPr>
          <p:cNvCxnSpPr>
            <a:cxnSpLocks/>
            <a:stCxn id="29" idx="4"/>
          </p:cNvCxnSpPr>
          <p:nvPr/>
        </p:nvCxnSpPr>
        <p:spPr>
          <a:xfrm>
            <a:off x="6472460" y="2623881"/>
            <a:ext cx="0" cy="440207"/>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D6580F94-23E4-9440-88F6-50B648ED05BE}"/>
              </a:ext>
            </a:extLst>
          </p:cNvPr>
          <p:cNvCxnSpPr>
            <a:cxnSpLocks/>
          </p:cNvCxnSpPr>
          <p:nvPr/>
        </p:nvCxnSpPr>
        <p:spPr>
          <a:xfrm>
            <a:off x="6275562" y="2752090"/>
            <a:ext cx="393796" cy="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2788BA54-1D2D-F140-8F66-1FDD9E444BCF}"/>
              </a:ext>
            </a:extLst>
          </p:cNvPr>
          <p:cNvCxnSpPr>
            <a:cxnSpLocks/>
          </p:cNvCxnSpPr>
          <p:nvPr/>
        </p:nvCxnSpPr>
        <p:spPr>
          <a:xfrm flipV="1">
            <a:off x="6302185" y="3021847"/>
            <a:ext cx="170276" cy="305339"/>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375B7F39-30E6-7E4F-A342-C8517F0251B5}"/>
              </a:ext>
            </a:extLst>
          </p:cNvPr>
          <p:cNvCxnSpPr>
            <a:cxnSpLocks/>
          </p:cNvCxnSpPr>
          <p:nvPr/>
        </p:nvCxnSpPr>
        <p:spPr>
          <a:xfrm flipH="1" flipV="1">
            <a:off x="6466178" y="3013750"/>
            <a:ext cx="250143" cy="295696"/>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sp>
        <p:nvSpPr>
          <p:cNvPr id="35" name="TextBox 34">
            <a:extLst>
              <a:ext uri="{FF2B5EF4-FFF2-40B4-BE49-F238E27FC236}">
                <a16:creationId xmlns:a16="http://schemas.microsoft.com/office/drawing/2014/main" id="{F6495C25-ABDF-4140-8485-A34570AD2FAF}"/>
              </a:ext>
            </a:extLst>
          </p:cNvPr>
          <p:cNvSpPr txBox="1"/>
          <p:nvPr/>
        </p:nvSpPr>
        <p:spPr>
          <a:xfrm>
            <a:off x="1697151" y="6972135"/>
            <a:ext cx="2119490" cy="584775"/>
          </a:xfrm>
          <a:prstGeom prst="rect">
            <a:avLst/>
          </a:prstGeom>
          <a:noFill/>
        </p:spPr>
        <p:txBody>
          <a:bodyPr wrap="none" rtlCol="0">
            <a:spAutoFit/>
          </a:bodyPr>
          <a:lstStyle/>
          <a:p>
            <a:pPr algn="r"/>
            <a:r>
              <a:rPr lang="en-US" sz="3200" b="1" dirty="0"/>
              <a:t>Data Lake</a:t>
            </a:r>
          </a:p>
        </p:txBody>
      </p:sp>
      <p:sp>
        <p:nvSpPr>
          <p:cNvPr id="36" name="Oval 35">
            <a:extLst>
              <a:ext uri="{FF2B5EF4-FFF2-40B4-BE49-F238E27FC236}">
                <a16:creationId xmlns:a16="http://schemas.microsoft.com/office/drawing/2014/main" id="{CEF94646-2101-C948-B32E-2A16B1893A05}"/>
              </a:ext>
            </a:extLst>
          </p:cNvPr>
          <p:cNvSpPr/>
          <p:nvPr/>
        </p:nvSpPr>
        <p:spPr>
          <a:xfrm>
            <a:off x="7048159" y="2281395"/>
            <a:ext cx="340551" cy="343979"/>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548"/>
          </a:p>
        </p:txBody>
      </p:sp>
      <p:cxnSp>
        <p:nvCxnSpPr>
          <p:cNvPr id="37" name="Straight Connector 36">
            <a:extLst>
              <a:ext uri="{FF2B5EF4-FFF2-40B4-BE49-F238E27FC236}">
                <a16:creationId xmlns:a16="http://schemas.microsoft.com/office/drawing/2014/main" id="{D8D5DEB1-5B12-C643-A185-0EDD900E29CD}"/>
              </a:ext>
            </a:extLst>
          </p:cNvPr>
          <p:cNvCxnSpPr>
            <a:cxnSpLocks/>
            <a:stCxn id="36" idx="4"/>
          </p:cNvCxnSpPr>
          <p:nvPr/>
        </p:nvCxnSpPr>
        <p:spPr>
          <a:xfrm>
            <a:off x="7218435" y="2625374"/>
            <a:ext cx="0" cy="440207"/>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E5033EB8-E79C-8545-BEA7-23A0B141974B}"/>
              </a:ext>
            </a:extLst>
          </p:cNvPr>
          <p:cNvCxnSpPr>
            <a:cxnSpLocks/>
          </p:cNvCxnSpPr>
          <p:nvPr/>
        </p:nvCxnSpPr>
        <p:spPr>
          <a:xfrm>
            <a:off x="7021537" y="2753583"/>
            <a:ext cx="393796" cy="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4053000D-F646-0A4A-B47B-8D308335AF7B}"/>
              </a:ext>
            </a:extLst>
          </p:cNvPr>
          <p:cNvCxnSpPr>
            <a:cxnSpLocks/>
          </p:cNvCxnSpPr>
          <p:nvPr/>
        </p:nvCxnSpPr>
        <p:spPr>
          <a:xfrm flipV="1">
            <a:off x="7048160" y="3023340"/>
            <a:ext cx="170276" cy="305339"/>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ACE6D734-4B00-3746-B642-5FE1833D787A}"/>
              </a:ext>
            </a:extLst>
          </p:cNvPr>
          <p:cNvCxnSpPr>
            <a:cxnSpLocks/>
          </p:cNvCxnSpPr>
          <p:nvPr/>
        </p:nvCxnSpPr>
        <p:spPr>
          <a:xfrm flipH="1" flipV="1">
            <a:off x="7212153" y="3015243"/>
            <a:ext cx="250143" cy="295696"/>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sp>
        <p:nvSpPr>
          <p:cNvPr id="41" name="Oval 40">
            <a:extLst>
              <a:ext uri="{FF2B5EF4-FFF2-40B4-BE49-F238E27FC236}">
                <a16:creationId xmlns:a16="http://schemas.microsoft.com/office/drawing/2014/main" id="{E9B9381D-71BD-B54E-99E2-D45D79E1EF46}"/>
              </a:ext>
            </a:extLst>
          </p:cNvPr>
          <p:cNvSpPr/>
          <p:nvPr/>
        </p:nvSpPr>
        <p:spPr>
          <a:xfrm>
            <a:off x="7830479" y="2287798"/>
            <a:ext cx="340551" cy="343979"/>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548"/>
          </a:p>
        </p:txBody>
      </p:sp>
      <p:cxnSp>
        <p:nvCxnSpPr>
          <p:cNvPr id="42" name="Straight Connector 41">
            <a:extLst>
              <a:ext uri="{FF2B5EF4-FFF2-40B4-BE49-F238E27FC236}">
                <a16:creationId xmlns:a16="http://schemas.microsoft.com/office/drawing/2014/main" id="{B27D1DD5-2500-9D40-8589-2901A8BBF404}"/>
              </a:ext>
            </a:extLst>
          </p:cNvPr>
          <p:cNvCxnSpPr>
            <a:cxnSpLocks/>
            <a:stCxn id="41" idx="4"/>
          </p:cNvCxnSpPr>
          <p:nvPr/>
        </p:nvCxnSpPr>
        <p:spPr>
          <a:xfrm>
            <a:off x="8000755" y="2631777"/>
            <a:ext cx="0" cy="440207"/>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E4C8EFB9-2A56-0541-97C3-F6C7EE01A8CD}"/>
              </a:ext>
            </a:extLst>
          </p:cNvPr>
          <p:cNvCxnSpPr>
            <a:cxnSpLocks/>
          </p:cNvCxnSpPr>
          <p:nvPr/>
        </p:nvCxnSpPr>
        <p:spPr>
          <a:xfrm>
            <a:off x="7803857" y="2759987"/>
            <a:ext cx="393796" cy="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371D8930-CE52-2343-AF57-EE6B6275B91F}"/>
              </a:ext>
            </a:extLst>
          </p:cNvPr>
          <p:cNvCxnSpPr>
            <a:cxnSpLocks/>
          </p:cNvCxnSpPr>
          <p:nvPr/>
        </p:nvCxnSpPr>
        <p:spPr>
          <a:xfrm flipV="1">
            <a:off x="7830480" y="3029743"/>
            <a:ext cx="170276" cy="305339"/>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A7C9DA4B-2B59-954A-9D6A-7A0B52342A44}"/>
              </a:ext>
            </a:extLst>
          </p:cNvPr>
          <p:cNvCxnSpPr>
            <a:cxnSpLocks/>
          </p:cNvCxnSpPr>
          <p:nvPr/>
        </p:nvCxnSpPr>
        <p:spPr>
          <a:xfrm flipH="1" flipV="1">
            <a:off x="7994473" y="3021647"/>
            <a:ext cx="250143" cy="295696"/>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sp>
        <p:nvSpPr>
          <p:cNvPr id="46" name="Oval 45">
            <a:extLst>
              <a:ext uri="{FF2B5EF4-FFF2-40B4-BE49-F238E27FC236}">
                <a16:creationId xmlns:a16="http://schemas.microsoft.com/office/drawing/2014/main" id="{77820928-E974-2548-A72B-B662EF430887}"/>
              </a:ext>
            </a:extLst>
          </p:cNvPr>
          <p:cNvSpPr/>
          <p:nvPr/>
        </p:nvSpPr>
        <p:spPr>
          <a:xfrm>
            <a:off x="8586176" y="2281395"/>
            <a:ext cx="340551" cy="343979"/>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548"/>
          </a:p>
        </p:txBody>
      </p:sp>
      <p:cxnSp>
        <p:nvCxnSpPr>
          <p:cNvPr id="47" name="Straight Connector 46">
            <a:extLst>
              <a:ext uri="{FF2B5EF4-FFF2-40B4-BE49-F238E27FC236}">
                <a16:creationId xmlns:a16="http://schemas.microsoft.com/office/drawing/2014/main" id="{7E689FFA-3234-8547-8BC5-9C7885FB9CB8}"/>
              </a:ext>
            </a:extLst>
          </p:cNvPr>
          <p:cNvCxnSpPr>
            <a:cxnSpLocks/>
            <a:stCxn id="46" idx="4"/>
          </p:cNvCxnSpPr>
          <p:nvPr/>
        </p:nvCxnSpPr>
        <p:spPr>
          <a:xfrm>
            <a:off x="8756452" y="2625374"/>
            <a:ext cx="0" cy="440207"/>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9FF3A50B-F7BF-9641-8A80-734D4FC1D2F6}"/>
              </a:ext>
            </a:extLst>
          </p:cNvPr>
          <p:cNvCxnSpPr>
            <a:cxnSpLocks/>
          </p:cNvCxnSpPr>
          <p:nvPr/>
        </p:nvCxnSpPr>
        <p:spPr>
          <a:xfrm>
            <a:off x="8559554" y="2753583"/>
            <a:ext cx="393796" cy="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C70FBC40-144F-5C47-B04C-2584445E6AF4}"/>
              </a:ext>
            </a:extLst>
          </p:cNvPr>
          <p:cNvCxnSpPr>
            <a:cxnSpLocks/>
          </p:cNvCxnSpPr>
          <p:nvPr/>
        </p:nvCxnSpPr>
        <p:spPr>
          <a:xfrm flipV="1">
            <a:off x="8586177" y="3023340"/>
            <a:ext cx="170276" cy="305339"/>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75D6B7EA-4A18-A24F-83C7-344AB2C2CF3E}"/>
              </a:ext>
            </a:extLst>
          </p:cNvPr>
          <p:cNvCxnSpPr>
            <a:cxnSpLocks/>
          </p:cNvCxnSpPr>
          <p:nvPr/>
        </p:nvCxnSpPr>
        <p:spPr>
          <a:xfrm flipH="1" flipV="1">
            <a:off x="8750170" y="3015243"/>
            <a:ext cx="250143" cy="295696"/>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sp>
        <p:nvSpPr>
          <p:cNvPr id="51" name="Oval 50">
            <a:extLst>
              <a:ext uri="{FF2B5EF4-FFF2-40B4-BE49-F238E27FC236}">
                <a16:creationId xmlns:a16="http://schemas.microsoft.com/office/drawing/2014/main" id="{CA7645B3-E0B0-E34B-8F58-BF3A5B039F18}"/>
              </a:ext>
            </a:extLst>
          </p:cNvPr>
          <p:cNvSpPr/>
          <p:nvPr/>
        </p:nvSpPr>
        <p:spPr>
          <a:xfrm>
            <a:off x="9358774" y="2252095"/>
            <a:ext cx="340551" cy="343979"/>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548"/>
          </a:p>
        </p:txBody>
      </p:sp>
      <p:cxnSp>
        <p:nvCxnSpPr>
          <p:cNvPr id="52" name="Straight Connector 51">
            <a:extLst>
              <a:ext uri="{FF2B5EF4-FFF2-40B4-BE49-F238E27FC236}">
                <a16:creationId xmlns:a16="http://schemas.microsoft.com/office/drawing/2014/main" id="{3C948CF4-9A3B-2E4F-A522-883C6F76C5D9}"/>
              </a:ext>
            </a:extLst>
          </p:cNvPr>
          <p:cNvCxnSpPr>
            <a:cxnSpLocks/>
            <a:stCxn id="51" idx="4"/>
          </p:cNvCxnSpPr>
          <p:nvPr/>
        </p:nvCxnSpPr>
        <p:spPr>
          <a:xfrm>
            <a:off x="9529049" y="2596074"/>
            <a:ext cx="0" cy="440207"/>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99D484F6-FC83-E04E-AEA0-D0F563FDB3C3}"/>
              </a:ext>
            </a:extLst>
          </p:cNvPr>
          <p:cNvCxnSpPr>
            <a:cxnSpLocks/>
          </p:cNvCxnSpPr>
          <p:nvPr/>
        </p:nvCxnSpPr>
        <p:spPr>
          <a:xfrm>
            <a:off x="9332151" y="2724283"/>
            <a:ext cx="393796" cy="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B0AA9952-66F7-B247-857A-664C7E4D090A}"/>
              </a:ext>
            </a:extLst>
          </p:cNvPr>
          <p:cNvCxnSpPr>
            <a:cxnSpLocks/>
          </p:cNvCxnSpPr>
          <p:nvPr/>
        </p:nvCxnSpPr>
        <p:spPr>
          <a:xfrm flipV="1">
            <a:off x="9358774" y="2994040"/>
            <a:ext cx="170276" cy="305339"/>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69AF5DE8-7E09-7747-A2D5-CE6BAC6EE9ED}"/>
              </a:ext>
            </a:extLst>
          </p:cNvPr>
          <p:cNvCxnSpPr>
            <a:cxnSpLocks/>
          </p:cNvCxnSpPr>
          <p:nvPr/>
        </p:nvCxnSpPr>
        <p:spPr>
          <a:xfrm flipH="1" flipV="1">
            <a:off x="9522767" y="2985943"/>
            <a:ext cx="250143" cy="295696"/>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sp>
        <p:nvSpPr>
          <p:cNvPr id="56" name="Oval 55">
            <a:extLst>
              <a:ext uri="{FF2B5EF4-FFF2-40B4-BE49-F238E27FC236}">
                <a16:creationId xmlns:a16="http://schemas.microsoft.com/office/drawing/2014/main" id="{066E4882-2A89-F646-B899-07565EB57102}"/>
              </a:ext>
            </a:extLst>
          </p:cNvPr>
          <p:cNvSpPr/>
          <p:nvPr/>
        </p:nvSpPr>
        <p:spPr>
          <a:xfrm>
            <a:off x="10141094" y="2258499"/>
            <a:ext cx="340551" cy="343979"/>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548"/>
          </a:p>
        </p:txBody>
      </p:sp>
      <p:cxnSp>
        <p:nvCxnSpPr>
          <p:cNvPr id="57" name="Straight Connector 56">
            <a:extLst>
              <a:ext uri="{FF2B5EF4-FFF2-40B4-BE49-F238E27FC236}">
                <a16:creationId xmlns:a16="http://schemas.microsoft.com/office/drawing/2014/main" id="{FC080499-2923-E244-A3E4-0D4BE67ED53C}"/>
              </a:ext>
            </a:extLst>
          </p:cNvPr>
          <p:cNvCxnSpPr>
            <a:cxnSpLocks/>
            <a:stCxn id="56" idx="4"/>
          </p:cNvCxnSpPr>
          <p:nvPr/>
        </p:nvCxnSpPr>
        <p:spPr>
          <a:xfrm>
            <a:off x="10311369" y="2602477"/>
            <a:ext cx="0" cy="440207"/>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334CB4D9-30BB-824D-BC60-187152B95669}"/>
              </a:ext>
            </a:extLst>
          </p:cNvPr>
          <p:cNvCxnSpPr>
            <a:cxnSpLocks/>
          </p:cNvCxnSpPr>
          <p:nvPr/>
        </p:nvCxnSpPr>
        <p:spPr>
          <a:xfrm>
            <a:off x="10114471" y="2730687"/>
            <a:ext cx="393796" cy="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94A76E14-BBBF-9E44-9E87-D6B6285A4451}"/>
              </a:ext>
            </a:extLst>
          </p:cNvPr>
          <p:cNvCxnSpPr>
            <a:cxnSpLocks/>
          </p:cNvCxnSpPr>
          <p:nvPr/>
        </p:nvCxnSpPr>
        <p:spPr>
          <a:xfrm flipV="1">
            <a:off x="10141094" y="3000444"/>
            <a:ext cx="170276" cy="305339"/>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D3ADE8C4-62FF-B44E-AA76-8E9BBA013ADB}"/>
              </a:ext>
            </a:extLst>
          </p:cNvPr>
          <p:cNvCxnSpPr>
            <a:cxnSpLocks/>
          </p:cNvCxnSpPr>
          <p:nvPr/>
        </p:nvCxnSpPr>
        <p:spPr>
          <a:xfrm flipH="1" flipV="1">
            <a:off x="10305087" y="2992347"/>
            <a:ext cx="250143" cy="295696"/>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sp>
        <p:nvSpPr>
          <p:cNvPr id="61" name="Oval 60">
            <a:extLst>
              <a:ext uri="{FF2B5EF4-FFF2-40B4-BE49-F238E27FC236}">
                <a16:creationId xmlns:a16="http://schemas.microsoft.com/office/drawing/2014/main" id="{5C28D2AA-E38F-D04B-8B82-D07A28930FBF}"/>
              </a:ext>
            </a:extLst>
          </p:cNvPr>
          <p:cNvSpPr/>
          <p:nvPr/>
        </p:nvSpPr>
        <p:spPr>
          <a:xfrm>
            <a:off x="10896791" y="2252095"/>
            <a:ext cx="340551" cy="343979"/>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548"/>
          </a:p>
        </p:txBody>
      </p:sp>
      <p:cxnSp>
        <p:nvCxnSpPr>
          <p:cNvPr id="62" name="Straight Connector 61">
            <a:extLst>
              <a:ext uri="{FF2B5EF4-FFF2-40B4-BE49-F238E27FC236}">
                <a16:creationId xmlns:a16="http://schemas.microsoft.com/office/drawing/2014/main" id="{E39C965E-C4CD-6146-A538-08180D941B10}"/>
              </a:ext>
            </a:extLst>
          </p:cNvPr>
          <p:cNvCxnSpPr>
            <a:cxnSpLocks/>
            <a:stCxn id="61" idx="4"/>
          </p:cNvCxnSpPr>
          <p:nvPr/>
        </p:nvCxnSpPr>
        <p:spPr>
          <a:xfrm>
            <a:off x="11067066" y="2596074"/>
            <a:ext cx="0" cy="440207"/>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B2AC59A7-668A-5841-8E31-6B4EC7C3E911}"/>
              </a:ext>
            </a:extLst>
          </p:cNvPr>
          <p:cNvCxnSpPr>
            <a:cxnSpLocks/>
          </p:cNvCxnSpPr>
          <p:nvPr/>
        </p:nvCxnSpPr>
        <p:spPr>
          <a:xfrm>
            <a:off x="10870168" y="2724283"/>
            <a:ext cx="393796" cy="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D52892E6-5B2F-A042-ABA8-C99B7657DA0A}"/>
              </a:ext>
            </a:extLst>
          </p:cNvPr>
          <p:cNvCxnSpPr>
            <a:cxnSpLocks/>
          </p:cNvCxnSpPr>
          <p:nvPr/>
        </p:nvCxnSpPr>
        <p:spPr>
          <a:xfrm flipV="1">
            <a:off x="10896791" y="2994040"/>
            <a:ext cx="170276" cy="305339"/>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5ABD7FC5-7F89-1249-BA0B-789A49F45C53}"/>
              </a:ext>
            </a:extLst>
          </p:cNvPr>
          <p:cNvCxnSpPr>
            <a:cxnSpLocks/>
          </p:cNvCxnSpPr>
          <p:nvPr/>
        </p:nvCxnSpPr>
        <p:spPr>
          <a:xfrm flipH="1" flipV="1">
            <a:off x="11060785" y="2985943"/>
            <a:ext cx="250143" cy="295696"/>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sp>
        <p:nvSpPr>
          <p:cNvPr id="66" name="TextBox 65">
            <a:extLst>
              <a:ext uri="{FF2B5EF4-FFF2-40B4-BE49-F238E27FC236}">
                <a16:creationId xmlns:a16="http://schemas.microsoft.com/office/drawing/2014/main" id="{025B953C-D700-5C45-849F-98760D489BCC}"/>
              </a:ext>
            </a:extLst>
          </p:cNvPr>
          <p:cNvSpPr txBox="1"/>
          <p:nvPr/>
        </p:nvSpPr>
        <p:spPr>
          <a:xfrm>
            <a:off x="11786720" y="3086590"/>
            <a:ext cx="5326330" cy="1938992"/>
          </a:xfrm>
          <a:prstGeom prst="rect">
            <a:avLst/>
          </a:prstGeom>
          <a:noFill/>
        </p:spPr>
        <p:txBody>
          <a:bodyPr wrap="none" rtlCol="0">
            <a:spAutoFit/>
          </a:bodyPr>
          <a:lstStyle/>
          <a:p>
            <a:pPr marL="419110" indent="-419110">
              <a:buFont typeface="Arial" panose="020B0604020202020204" pitchFamily="34" charset="0"/>
              <a:buChar char="•"/>
            </a:pPr>
            <a:r>
              <a:rPr lang="en-US" sz="2400" dirty="0"/>
              <a:t>100s of Data Scientists</a:t>
            </a:r>
          </a:p>
          <a:p>
            <a:pPr marL="419110" indent="-419110">
              <a:buFont typeface="Arial" panose="020B0604020202020204" pitchFamily="34" charset="0"/>
              <a:buChar char="•"/>
            </a:pPr>
            <a:r>
              <a:rPr lang="en-US" sz="2400" dirty="0"/>
              <a:t>100s of R and Python Libraries</a:t>
            </a:r>
          </a:p>
          <a:p>
            <a:pPr marL="419110" indent="-419110">
              <a:buFont typeface="Arial" panose="020B0604020202020204" pitchFamily="34" charset="0"/>
              <a:buChar char="•"/>
            </a:pPr>
            <a:r>
              <a:rPr lang="en-US" sz="2400" dirty="0"/>
              <a:t>80% of effort is “Data Engineering”</a:t>
            </a:r>
          </a:p>
          <a:p>
            <a:pPr marL="419110" indent="-419110">
              <a:buFont typeface="Arial" panose="020B0604020202020204" pitchFamily="34" charset="0"/>
              <a:buChar char="•"/>
            </a:pPr>
            <a:r>
              <a:rPr lang="en-US" sz="2400" dirty="0"/>
              <a:t>Little code reuse</a:t>
            </a:r>
          </a:p>
          <a:p>
            <a:pPr marL="419110" indent="-419110">
              <a:buFont typeface="Arial" panose="020B0604020202020204" pitchFamily="34" charset="0"/>
              <a:buChar char="•"/>
            </a:pPr>
            <a:r>
              <a:rPr lang="en-US" sz="2400" dirty="0"/>
              <a:t>20% is real Data Science</a:t>
            </a:r>
          </a:p>
        </p:txBody>
      </p:sp>
      <p:sp>
        <p:nvSpPr>
          <p:cNvPr id="68" name="Rectangle 67">
            <a:extLst>
              <a:ext uri="{FF2B5EF4-FFF2-40B4-BE49-F238E27FC236}">
                <a16:creationId xmlns:a16="http://schemas.microsoft.com/office/drawing/2014/main" id="{829AE3C7-5038-E046-9417-9C30BC0C642B}"/>
              </a:ext>
            </a:extLst>
          </p:cNvPr>
          <p:cNvSpPr/>
          <p:nvPr/>
        </p:nvSpPr>
        <p:spPr>
          <a:xfrm>
            <a:off x="4779545" y="3698957"/>
            <a:ext cx="440760" cy="219589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548"/>
          </a:p>
        </p:txBody>
      </p:sp>
      <p:sp>
        <p:nvSpPr>
          <p:cNvPr id="69" name="Rectangle 68">
            <a:extLst>
              <a:ext uri="{FF2B5EF4-FFF2-40B4-BE49-F238E27FC236}">
                <a16:creationId xmlns:a16="http://schemas.microsoft.com/office/drawing/2014/main" id="{1A76BC82-A7EB-664E-9BF7-BB1D95A36F2C}"/>
              </a:ext>
            </a:extLst>
          </p:cNvPr>
          <p:cNvSpPr/>
          <p:nvPr/>
        </p:nvSpPr>
        <p:spPr>
          <a:xfrm>
            <a:off x="5540118" y="3677944"/>
            <a:ext cx="440760" cy="219589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548"/>
          </a:p>
        </p:txBody>
      </p:sp>
      <p:sp>
        <p:nvSpPr>
          <p:cNvPr id="70" name="Rectangle 69">
            <a:extLst>
              <a:ext uri="{FF2B5EF4-FFF2-40B4-BE49-F238E27FC236}">
                <a16:creationId xmlns:a16="http://schemas.microsoft.com/office/drawing/2014/main" id="{018A9DD7-9E8D-7548-983F-D25EBC4CBD1A}"/>
              </a:ext>
            </a:extLst>
          </p:cNvPr>
          <p:cNvSpPr/>
          <p:nvPr/>
        </p:nvSpPr>
        <p:spPr>
          <a:xfrm>
            <a:off x="6275561" y="3677944"/>
            <a:ext cx="440760" cy="219589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548"/>
          </a:p>
        </p:txBody>
      </p:sp>
      <p:sp>
        <p:nvSpPr>
          <p:cNvPr id="71" name="Rectangle 70">
            <a:extLst>
              <a:ext uri="{FF2B5EF4-FFF2-40B4-BE49-F238E27FC236}">
                <a16:creationId xmlns:a16="http://schemas.microsoft.com/office/drawing/2014/main" id="{B030283C-9A36-824F-8C61-3A4C0C168E02}"/>
              </a:ext>
            </a:extLst>
          </p:cNvPr>
          <p:cNvSpPr/>
          <p:nvPr/>
        </p:nvSpPr>
        <p:spPr>
          <a:xfrm>
            <a:off x="7016573" y="3642586"/>
            <a:ext cx="440760" cy="219589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548"/>
          </a:p>
        </p:txBody>
      </p:sp>
      <p:sp>
        <p:nvSpPr>
          <p:cNvPr id="72" name="Rectangle 71">
            <a:extLst>
              <a:ext uri="{FF2B5EF4-FFF2-40B4-BE49-F238E27FC236}">
                <a16:creationId xmlns:a16="http://schemas.microsoft.com/office/drawing/2014/main" id="{B5353A17-2EC6-3845-8329-24A3015FB451}"/>
              </a:ext>
            </a:extLst>
          </p:cNvPr>
          <p:cNvSpPr/>
          <p:nvPr/>
        </p:nvSpPr>
        <p:spPr>
          <a:xfrm>
            <a:off x="7777145" y="3621573"/>
            <a:ext cx="440760" cy="219589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548"/>
          </a:p>
        </p:txBody>
      </p:sp>
      <p:sp>
        <p:nvSpPr>
          <p:cNvPr id="73" name="Rectangle 72">
            <a:extLst>
              <a:ext uri="{FF2B5EF4-FFF2-40B4-BE49-F238E27FC236}">
                <a16:creationId xmlns:a16="http://schemas.microsoft.com/office/drawing/2014/main" id="{BA9B41ED-C819-9F4C-BF9C-B7C22B65EA09}"/>
              </a:ext>
            </a:extLst>
          </p:cNvPr>
          <p:cNvSpPr/>
          <p:nvPr/>
        </p:nvSpPr>
        <p:spPr>
          <a:xfrm>
            <a:off x="8512589" y="3621573"/>
            <a:ext cx="440760" cy="219589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548"/>
          </a:p>
        </p:txBody>
      </p:sp>
      <p:sp>
        <p:nvSpPr>
          <p:cNvPr id="74" name="Rectangle 73">
            <a:extLst>
              <a:ext uri="{FF2B5EF4-FFF2-40B4-BE49-F238E27FC236}">
                <a16:creationId xmlns:a16="http://schemas.microsoft.com/office/drawing/2014/main" id="{DBF5D780-8B6A-7048-A900-824D28E35655}"/>
              </a:ext>
            </a:extLst>
          </p:cNvPr>
          <p:cNvSpPr/>
          <p:nvPr/>
        </p:nvSpPr>
        <p:spPr>
          <a:xfrm>
            <a:off x="9344388" y="3647877"/>
            <a:ext cx="440760" cy="219589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548"/>
          </a:p>
        </p:txBody>
      </p:sp>
      <p:sp>
        <p:nvSpPr>
          <p:cNvPr id="75" name="Rectangle 74">
            <a:extLst>
              <a:ext uri="{FF2B5EF4-FFF2-40B4-BE49-F238E27FC236}">
                <a16:creationId xmlns:a16="http://schemas.microsoft.com/office/drawing/2014/main" id="{8A72D80B-0A17-3648-89E9-0D5674B9FB2E}"/>
              </a:ext>
            </a:extLst>
          </p:cNvPr>
          <p:cNvSpPr/>
          <p:nvPr/>
        </p:nvSpPr>
        <p:spPr>
          <a:xfrm>
            <a:off x="10104961" y="3626864"/>
            <a:ext cx="440760" cy="219589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548"/>
          </a:p>
        </p:txBody>
      </p:sp>
      <p:sp>
        <p:nvSpPr>
          <p:cNvPr id="76" name="Rectangle 75">
            <a:extLst>
              <a:ext uri="{FF2B5EF4-FFF2-40B4-BE49-F238E27FC236}">
                <a16:creationId xmlns:a16="http://schemas.microsoft.com/office/drawing/2014/main" id="{E8A55D3B-3375-BE43-A9F0-989C1FA1AD35}"/>
              </a:ext>
            </a:extLst>
          </p:cNvPr>
          <p:cNvSpPr/>
          <p:nvPr/>
        </p:nvSpPr>
        <p:spPr>
          <a:xfrm>
            <a:off x="10840405" y="3626864"/>
            <a:ext cx="440760" cy="219589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548"/>
          </a:p>
        </p:txBody>
      </p:sp>
      <p:sp>
        <p:nvSpPr>
          <p:cNvPr id="77" name="TextBox 76">
            <a:extLst>
              <a:ext uri="{FF2B5EF4-FFF2-40B4-BE49-F238E27FC236}">
                <a16:creationId xmlns:a16="http://schemas.microsoft.com/office/drawing/2014/main" id="{7D331A36-E540-3E48-B2D8-BF30A862B183}"/>
              </a:ext>
            </a:extLst>
          </p:cNvPr>
          <p:cNvSpPr txBox="1"/>
          <p:nvPr/>
        </p:nvSpPr>
        <p:spPr>
          <a:xfrm>
            <a:off x="1101090" y="4478925"/>
            <a:ext cx="3311612" cy="523220"/>
          </a:xfrm>
          <a:prstGeom prst="rect">
            <a:avLst/>
          </a:prstGeom>
          <a:noFill/>
        </p:spPr>
        <p:txBody>
          <a:bodyPr wrap="none" rtlCol="0">
            <a:spAutoFit/>
          </a:bodyPr>
          <a:lstStyle/>
          <a:p>
            <a:pPr algn="r"/>
            <a:r>
              <a:rPr lang="en-US" sz="2800" b="1" dirty="0"/>
              <a:t>Data Access Code</a:t>
            </a:r>
          </a:p>
        </p:txBody>
      </p:sp>
      <p:sp>
        <p:nvSpPr>
          <p:cNvPr id="12" name="TextBox 11">
            <a:extLst>
              <a:ext uri="{FF2B5EF4-FFF2-40B4-BE49-F238E27FC236}">
                <a16:creationId xmlns:a16="http://schemas.microsoft.com/office/drawing/2014/main" id="{0D3BB61E-D661-6F40-BCEC-F7B961735957}"/>
              </a:ext>
            </a:extLst>
          </p:cNvPr>
          <p:cNvSpPr txBox="1"/>
          <p:nvPr/>
        </p:nvSpPr>
        <p:spPr>
          <a:xfrm>
            <a:off x="2766481" y="8705925"/>
            <a:ext cx="10956269" cy="464614"/>
          </a:xfrm>
          <a:prstGeom prst="rect">
            <a:avLst/>
          </a:prstGeom>
          <a:noFill/>
        </p:spPr>
        <p:txBody>
          <a:bodyPr wrap="none" rtlCol="0">
            <a:spAutoFit/>
          </a:bodyPr>
          <a:lstStyle/>
          <a:p>
            <a:r>
              <a:rPr lang="en-US" dirty="0"/>
              <a:t>No metadata, no semantic layer, no indexing, no search, no ACID transactions</a:t>
            </a:r>
          </a:p>
        </p:txBody>
      </p:sp>
    </p:spTree>
    <p:extLst>
      <p:ext uri="{BB962C8B-B14F-4D97-AF65-F5344CB8AC3E}">
        <p14:creationId xmlns:p14="http://schemas.microsoft.com/office/powerpoint/2010/main" val="1923432782"/>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5598" y="400640"/>
            <a:ext cx="16596361" cy="1047771"/>
          </a:xfrm>
        </p:spPr>
        <p:txBody>
          <a:bodyPr>
            <a:normAutofit/>
          </a:bodyPr>
          <a:lstStyle/>
          <a:p>
            <a:r>
              <a:rPr lang="en-US" sz="5867" dirty="0"/>
              <a:t>From Data Scientist to Knowledge Scientist</a:t>
            </a:r>
          </a:p>
        </p:txBody>
      </p:sp>
      <p:sp>
        <p:nvSpPr>
          <p:cNvPr id="3" name="Slide Number Placeholder 2"/>
          <p:cNvSpPr>
            <a:spLocks noGrp="1"/>
          </p:cNvSpPr>
          <p:nvPr>
            <p:ph type="sldNum" sz="quarter" idx="12"/>
          </p:nvPr>
        </p:nvSpPr>
        <p:spPr>
          <a:xfrm>
            <a:off x="16574304" y="9306728"/>
            <a:ext cx="664677" cy="535517"/>
          </a:xfrm>
        </p:spPr>
        <p:txBody>
          <a:bodyPr/>
          <a:lstStyle/>
          <a:p>
            <a:fld id="{3310D8EA-3107-4873-B9AB-DD7D3E79053A}" type="slidenum">
              <a:rPr lang="en-US" smtClean="0"/>
              <a:t>36</a:t>
            </a:fld>
            <a:endParaRPr lang="en-US"/>
          </a:p>
        </p:txBody>
      </p:sp>
      <p:sp>
        <p:nvSpPr>
          <p:cNvPr id="11" name="Trapezoid 10"/>
          <p:cNvSpPr/>
          <p:nvPr/>
        </p:nvSpPr>
        <p:spPr>
          <a:xfrm>
            <a:off x="808356" y="7100102"/>
            <a:ext cx="7613650" cy="1401308"/>
          </a:xfrm>
          <a:prstGeom prst="trapezoid">
            <a:avLst>
              <a:gd name="adj" fmla="val 62025"/>
            </a:avLst>
          </a:prstGeom>
          <a:solidFill>
            <a:schemeClr val="accent1">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9" tIns="45720" rIns="91439" bIns="45720" numCol="1" spcCol="0" rtlCol="0" fromWordArt="0" anchor="ctr" anchorCtr="0" forceAA="0" compatLnSpc="1">
            <a:prstTxWarp prst="textNoShape">
              <a:avLst/>
            </a:prstTxWarp>
            <a:noAutofit/>
          </a:bodyPr>
          <a:lstStyle/>
          <a:p>
            <a:pPr algn="ctr"/>
            <a:r>
              <a:rPr lang="en-US" sz="2933" b="1" dirty="0">
                <a:solidFill>
                  <a:schemeClr val="tx1"/>
                </a:solidFill>
              </a:rPr>
              <a:t>Data</a:t>
            </a:r>
            <a:endParaRPr lang="en-US" sz="2933" dirty="0"/>
          </a:p>
        </p:txBody>
      </p:sp>
      <p:sp>
        <p:nvSpPr>
          <p:cNvPr id="12" name="Trapezoid 11"/>
          <p:cNvSpPr/>
          <p:nvPr/>
        </p:nvSpPr>
        <p:spPr>
          <a:xfrm>
            <a:off x="1678843" y="5698795"/>
            <a:ext cx="5878366" cy="1401308"/>
          </a:xfrm>
          <a:prstGeom prst="trapezoid">
            <a:avLst>
              <a:gd name="adj" fmla="val 61688"/>
            </a:avLst>
          </a:prstGeom>
          <a:solidFill>
            <a:schemeClr val="accent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9" tIns="45720" rIns="91439" bIns="45720" numCol="1" spcCol="0" rtlCol="0" fromWordArt="0" anchor="ctr" anchorCtr="0" forceAA="0" compatLnSpc="1">
            <a:prstTxWarp prst="textNoShape">
              <a:avLst/>
            </a:prstTxWarp>
            <a:noAutofit/>
          </a:bodyPr>
          <a:lstStyle/>
          <a:p>
            <a:pPr algn="ctr"/>
            <a:r>
              <a:rPr lang="en-US" sz="2933" b="1" dirty="0">
                <a:solidFill>
                  <a:schemeClr val="tx1"/>
                </a:solidFill>
              </a:rPr>
              <a:t>Information</a:t>
            </a:r>
            <a:endParaRPr lang="en-US" sz="2933" dirty="0">
              <a:solidFill>
                <a:schemeClr val="bg1"/>
              </a:solidFill>
            </a:endParaRPr>
          </a:p>
        </p:txBody>
      </p:sp>
      <p:sp>
        <p:nvSpPr>
          <p:cNvPr id="17" name="Triangle 16"/>
          <p:cNvSpPr/>
          <p:nvPr/>
        </p:nvSpPr>
        <p:spPr>
          <a:xfrm>
            <a:off x="2563318" y="2466722"/>
            <a:ext cx="4121963" cy="3232071"/>
          </a:xfrm>
          <a:prstGeom prst="triangle">
            <a:avLst/>
          </a:prstGeom>
          <a:solidFill>
            <a:schemeClr val="bg1">
              <a:lumMod val="8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39" tIns="45720" rIns="91439" bIns="45720" numCol="1" spcCol="0" rtlCol="0" fromWordArt="0" anchor="ctr" anchorCtr="0" forceAA="0" compatLnSpc="1">
            <a:prstTxWarp prst="textNoShape">
              <a:avLst/>
            </a:prstTxWarp>
            <a:noAutofit/>
          </a:bodyPr>
          <a:lstStyle/>
          <a:p>
            <a:pPr algn="ctr"/>
            <a:r>
              <a:rPr lang="en-US" sz="3600" b="1" dirty="0">
                <a:solidFill>
                  <a:schemeClr val="tx1"/>
                </a:solidFill>
              </a:rPr>
              <a:t>Knowledge</a:t>
            </a:r>
          </a:p>
          <a:p>
            <a:pPr algn="ctr"/>
            <a:r>
              <a:rPr lang="en-US" sz="3600" b="1" dirty="0">
                <a:solidFill>
                  <a:schemeClr val="tx1"/>
                </a:solidFill>
              </a:rPr>
              <a:t>Graph</a:t>
            </a:r>
            <a:endParaRPr lang="en-US" sz="2800" dirty="0">
              <a:solidFill>
                <a:schemeClr val="tx1"/>
              </a:solidFill>
            </a:endParaRPr>
          </a:p>
        </p:txBody>
      </p:sp>
      <p:sp>
        <p:nvSpPr>
          <p:cNvPr id="6" name="Left-Right Arrow 5">
            <a:extLst>
              <a:ext uri="{FF2B5EF4-FFF2-40B4-BE49-F238E27FC236}">
                <a16:creationId xmlns:a16="http://schemas.microsoft.com/office/drawing/2014/main" id="{52D6535E-B7C6-F041-91CE-EEDD79ED293F}"/>
              </a:ext>
            </a:extLst>
          </p:cNvPr>
          <p:cNvSpPr/>
          <p:nvPr/>
        </p:nvSpPr>
        <p:spPr>
          <a:xfrm>
            <a:off x="6685281" y="4549836"/>
            <a:ext cx="4982463" cy="630326"/>
          </a:xfrm>
          <a:prstGeom prst="lef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548"/>
          </a:p>
        </p:txBody>
      </p:sp>
      <p:sp>
        <p:nvSpPr>
          <p:cNvPr id="7" name="TextBox 6">
            <a:extLst>
              <a:ext uri="{FF2B5EF4-FFF2-40B4-BE49-F238E27FC236}">
                <a16:creationId xmlns:a16="http://schemas.microsoft.com/office/drawing/2014/main" id="{C5624C56-D6B3-DD4C-AA3C-51DEE80B203F}"/>
              </a:ext>
            </a:extLst>
          </p:cNvPr>
          <p:cNvSpPr txBox="1"/>
          <p:nvPr/>
        </p:nvSpPr>
        <p:spPr>
          <a:xfrm>
            <a:off x="11782984" y="7549745"/>
            <a:ext cx="3703258" cy="638316"/>
          </a:xfrm>
          <a:prstGeom prst="rect">
            <a:avLst/>
          </a:prstGeom>
          <a:noFill/>
        </p:spPr>
        <p:txBody>
          <a:bodyPr wrap="none" rtlCol="0">
            <a:spAutoFit/>
          </a:bodyPr>
          <a:lstStyle/>
          <a:p>
            <a:r>
              <a:rPr lang="en-US" sz="3548" dirty="0"/>
              <a:t>Data Engineering</a:t>
            </a:r>
          </a:p>
        </p:txBody>
      </p:sp>
      <p:sp>
        <p:nvSpPr>
          <p:cNvPr id="14" name="TextBox 13">
            <a:extLst>
              <a:ext uri="{FF2B5EF4-FFF2-40B4-BE49-F238E27FC236}">
                <a16:creationId xmlns:a16="http://schemas.microsoft.com/office/drawing/2014/main" id="{6B9E3D3E-B1D2-7A4C-8ADC-12D63E89DE0E}"/>
              </a:ext>
            </a:extLst>
          </p:cNvPr>
          <p:cNvSpPr txBox="1"/>
          <p:nvPr/>
        </p:nvSpPr>
        <p:spPr>
          <a:xfrm>
            <a:off x="11935968" y="4529805"/>
            <a:ext cx="2204450" cy="724365"/>
          </a:xfrm>
          <a:prstGeom prst="rect">
            <a:avLst/>
          </a:prstGeom>
          <a:noFill/>
        </p:spPr>
        <p:txBody>
          <a:bodyPr wrap="none" rtlCol="0">
            <a:spAutoFit/>
          </a:bodyPr>
          <a:lstStyle/>
          <a:p>
            <a:r>
              <a:rPr lang="en-US" sz="4107" b="1" dirty="0"/>
              <a:t>Insights</a:t>
            </a:r>
          </a:p>
        </p:txBody>
      </p:sp>
      <p:sp>
        <p:nvSpPr>
          <p:cNvPr id="8" name="Up-Down Arrow 7">
            <a:extLst>
              <a:ext uri="{FF2B5EF4-FFF2-40B4-BE49-F238E27FC236}">
                <a16:creationId xmlns:a16="http://schemas.microsoft.com/office/drawing/2014/main" id="{B3104159-4037-A143-B798-89A18BCBFDC2}"/>
              </a:ext>
            </a:extLst>
          </p:cNvPr>
          <p:cNvSpPr/>
          <p:nvPr/>
        </p:nvSpPr>
        <p:spPr>
          <a:xfrm>
            <a:off x="11426113" y="5390911"/>
            <a:ext cx="3393034" cy="2022093"/>
          </a:xfrm>
          <a:prstGeom prst="upDownArrow">
            <a:avLst>
              <a:gd name="adj1" fmla="val 72925"/>
              <a:gd name="adj2" fmla="val 22093"/>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548" dirty="0"/>
              <a:t>70% of</a:t>
            </a:r>
          </a:p>
          <a:p>
            <a:pPr algn="ctr"/>
            <a:r>
              <a:rPr lang="en-US" sz="3548" dirty="0"/>
              <a:t>your time</a:t>
            </a:r>
          </a:p>
        </p:txBody>
      </p:sp>
      <p:sp>
        <p:nvSpPr>
          <p:cNvPr id="10" name="TextBox 9">
            <a:extLst>
              <a:ext uri="{FF2B5EF4-FFF2-40B4-BE49-F238E27FC236}">
                <a16:creationId xmlns:a16="http://schemas.microsoft.com/office/drawing/2014/main" id="{19830363-E929-9944-8D5C-24B483607717}"/>
              </a:ext>
            </a:extLst>
          </p:cNvPr>
          <p:cNvSpPr txBox="1"/>
          <p:nvPr/>
        </p:nvSpPr>
        <p:spPr>
          <a:xfrm>
            <a:off x="7211394" y="3988242"/>
            <a:ext cx="5194051" cy="638316"/>
          </a:xfrm>
          <a:prstGeom prst="rect">
            <a:avLst/>
          </a:prstGeom>
          <a:noFill/>
        </p:spPr>
        <p:txBody>
          <a:bodyPr wrap="none" rtlCol="0">
            <a:spAutoFit/>
          </a:bodyPr>
          <a:lstStyle/>
          <a:p>
            <a:r>
              <a:rPr lang="en-US" sz="3548" dirty="0"/>
              <a:t>Fast Path with Feedback</a:t>
            </a:r>
          </a:p>
        </p:txBody>
      </p:sp>
      <p:sp>
        <p:nvSpPr>
          <p:cNvPr id="18" name="TextBox 17">
            <a:extLst>
              <a:ext uri="{FF2B5EF4-FFF2-40B4-BE49-F238E27FC236}">
                <a16:creationId xmlns:a16="http://schemas.microsoft.com/office/drawing/2014/main" id="{63AB5B9D-5340-6E4A-8E2F-206F89620E53}"/>
              </a:ext>
            </a:extLst>
          </p:cNvPr>
          <p:cNvSpPr txBox="1"/>
          <p:nvPr/>
        </p:nvSpPr>
        <p:spPr>
          <a:xfrm>
            <a:off x="8928222" y="6339918"/>
            <a:ext cx="2233304" cy="638316"/>
          </a:xfrm>
          <a:prstGeom prst="rect">
            <a:avLst/>
          </a:prstGeom>
          <a:noFill/>
        </p:spPr>
        <p:txBody>
          <a:bodyPr wrap="none" rtlCol="0">
            <a:spAutoFit/>
          </a:bodyPr>
          <a:lstStyle/>
          <a:p>
            <a:r>
              <a:rPr lang="en-US" sz="3548" dirty="0"/>
              <a:t>Slow Path</a:t>
            </a:r>
          </a:p>
        </p:txBody>
      </p:sp>
      <p:sp>
        <p:nvSpPr>
          <p:cNvPr id="15" name="Right Arrow 14">
            <a:extLst>
              <a:ext uri="{FF2B5EF4-FFF2-40B4-BE49-F238E27FC236}">
                <a16:creationId xmlns:a16="http://schemas.microsoft.com/office/drawing/2014/main" id="{DFCA59C6-5DE8-6C44-AB98-364FD4D53B30}"/>
              </a:ext>
            </a:extLst>
          </p:cNvPr>
          <p:cNvSpPr/>
          <p:nvPr/>
        </p:nvSpPr>
        <p:spPr>
          <a:xfrm>
            <a:off x="8422005" y="7642205"/>
            <a:ext cx="3245739" cy="40451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548"/>
          </a:p>
        </p:txBody>
      </p:sp>
      <p:pic>
        <p:nvPicPr>
          <p:cNvPr id="20" name="Picture 19">
            <a:extLst>
              <a:ext uri="{FF2B5EF4-FFF2-40B4-BE49-F238E27FC236}">
                <a16:creationId xmlns:a16="http://schemas.microsoft.com/office/drawing/2014/main" id="{2CA63185-A641-9341-9D7D-610623D9586B}"/>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8427696" y="5132918"/>
            <a:ext cx="1380724" cy="597184"/>
          </a:xfrm>
          <a:prstGeom prst="rect">
            <a:avLst/>
          </a:prstGeom>
        </p:spPr>
      </p:pic>
      <p:pic>
        <p:nvPicPr>
          <p:cNvPr id="21" name="Picture 20">
            <a:extLst>
              <a:ext uri="{FF2B5EF4-FFF2-40B4-BE49-F238E27FC236}">
                <a16:creationId xmlns:a16="http://schemas.microsoft.com/office/drawing/2014/main" id="{06BF873D-9702-A045-979A-A344E5E93E4F}"/>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9524078" y="7013764"/>
            <a:ext cx="1309818" cy="743211"/>
          </a:xfrm>
          <a:prstGeom prst="rect">
            <a:avLst/>
          </a:prstGeom>
        </p:spPr>
      </p:pic>
    </p:spTree>
    <p:extLst>
      <p:ext uri="{BB962C8B-B14F-4D97-AF65-F5344CB8AC3E}">
        <p14:creationId xmlns:p14="http://schemas.microsoft.com/office/powerpoint/2010/main" val="2425567173"/>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71D7B68-FAAE-0542-8389-827C0DC60AEF}"/>
              </a:ext>
            </a:extLst>
          </p:cNvPr>
          <p:cNvSpPr>
            <a:spLocks noGrp="1"/>
          </p:cNvSpPr>
          <p:nvPr>
            <p:ph type="title"/>
          </p:nvPr>
        </p:nvSpPr>
        <p:spPr/>
        <p:txBody>
          <a:bodyPr/>
          <a:lstStyle/>
          <a:p>
            <a:r>
              <a:rPr lang="en-US" dirty="0"/>
              <a:t>Subgraph and Vertex Embedding</a:t>
            </a:r>
          </a:p>
        </p:txBody>
      </p:sp>
      <p:sp>
        <p:nvSpPr>
          <p:cNvPr id="3" name="Text Placeholder 2">
            <a:extLst>
              <a:ext uri="{FF2B5EF4-FFF2-40B4-BE49-F238E27FC236}">
                <a16:creationId xmlns:a16="http://schemas.microsoft.com/office/drawing/2014/main" id="{D5FA1A91-C09B-3F46-B64B-7EA45003E315}"/>
              </a:ext>
            </a:extLst>
          </p:cNvPr>
          <p:cNvSpPr>
            <a:spLocks noGrp="1"/>
          </p:cNvSpPr>
          <p:nvPr>
            <p:ph type="body" idx="1"/>
          </p:nvPr>
        </p:nvSpPr>
        <p:spPr>
          <a:xfrm>
            <a:off x="8940800" y="2253729"/>
            <a:ext cx="8331254" cy="5810979"/>
          </a:xfrm>
        </p:spPr>
        <p:txBody>
          <a:bodyPr/>
          <a:lstStyle/>
          <a:p>
            <a:r>
              <a:rPr lang="en-US" dirty="0"/>
              <a:t>Embeddings consider not just the attributes of a vertex, but the </a:t>
            </a:r>
            <a:r>
              <a:rPr lang="en-US" b="1" dirty="0"/>
              <a:t>context</a:t>
            </a:r>
            <a:r>
              <a:rPr lang="en-US" dirty="0"/>
              <a:t> of the vertex in a graph</a:t>
            </a:r>
          </a:p>
          <a:p>
            <a:r>
              <a:rPr lang="en-US" dirty="0"/>
              <a:t>Embeddings are learned representations of the knowledge in an enterprise knowledge graph (EKG)</a:t>
            </a:r>
          </a:p>
          <a:p>
            <a:r>
              <a:rPr lang="en-US" dirty="0"/>
              <a:t>The larger the graph, the more precise the embedding encodes information about the role of that vertex in the community of all other vertices of similar type</a:t>
            </a:r>
          </a:p>
          <a:p>
            <a:r>
              <a:rPr lang="en-US" dirty="0"/>
              <a:t>You can ”do math” on customers</a:t>
            </a:r>
          </a:p>
          <a:p>
            <a:pPr lvl="1"/>
            <a:r>
              <a:rPr lang="en-US" dirty="0"/>
              <a:t>add, subtract</a:t>
            </a:r>
          </a:p>
          <a:p>
            <a:pPr lvl="1"/>
            <a:r>
              <a:rPr lang="en-US" dirty="0"/>
              <a:t>average</a:t>
            </a:r>
          </a:p>
        </p:txBody>
      </p:sp>
      <p:sp>
        <p:nvSpPr>
          <p:cNvPr id="4" name="Slide Number Placeholder 3">
            <a:extLst>
              <a:ext uri="{FF2B5EF4-FFF2-40B4-BE49-F238E27FC236}">
                <a16:creationId xmlns:a16="http://schemas.microsoft.com/office/drawing/2014/main" id="{AC797704-CF79-6149-B2E3-5ED8D420E881}"/>
              </a:ext>
            </a:extLst>
          </p:cNvPr>
          <p:cNvSpPr>
            <a:spLocks noGrp="1"/>
          </p:cNvSpPr>
          <p:nvPr>
            <p:ph type="sldNum" idx="12"/>
          </p:nvPr>
        </p:nvSpPr>
        <p:spPr/>
        <p:txBody>
          <a:bodyPr/>
          <a:lstStyle/>
          <a:p>
            <a:fld id="{00000000-1234-1234-1234-123412341234}" type="slidenum">
              <a:rPr lang="en" smtClean="0"/>
              <a:pPr/>
              <a:t>37</a:t>
            </a:fld>
            <a:endParaRPr lang="en"/>
          </a:p>
        </p:txBody>
      </p:sp>
      <p:pic>
        <p:nvPicPr>
          <p:cNvPr id="6146" name="Picture 2">
            <a:extLst>
              <a:ext uri="{FF2B5EF4-FFF2-40B4-BE49-F238E27FC236}">
                <a16:creationId xmlns:a16="http://schemas.microsoft.com/office/drawing/2014/main" id="{E0003098-0DED-5645-A5CA-743B1DA3F293}"/>
              </a:ext>
            </a:extLst>
          </p:cNvPr>
          <p:cNvPicPr>
            <a:picLocks noChangeAspect="1" noChangeArrowheads="1"/>
          </p:cNvPicPr>
          <p:nvPr/>
        </p:nvPicPr>
        <p:blipFill>
          <a:blip r:embed="rId2">
            <a:extLst>
              <a:ext uri="{28A0092B-C50C-407E-A947-70E740481C1C}">
                <a14:useLocalDpi xmlns:a14="http://schemas.microsoft.com/office/drawing/2010/main"/>
              </a:ext>
            </a:extLst>
          </a:blip>
          <a:srcRect/>
          <a:stretch>
            <a:fillRect/>
          </a:stretch>
        </p:blipFill>
        <p:spPr bwMode="auto">
          <a:xfrm>
            <a:off x="609546" y="2114446"/>
            <a:ext cx="7696200" cy="3251200"/>
          </a:xfrm>
          <a:prstGeom prst="rect">
            <a:avLst/>
          </a:prstGeom>
          <a:noFill/>
          <a:extLst>
            <a:ext uri="{909E8E84-426E-40DD-AFC4-6F175D3DCCD1}">
              <a14:hiddenFill xmlns:a14="http://schemas.microsoft.com/office/drawing/2010/main">
                <a:solidFill>
                  <a:srgbClr val="FFFFFF"/>
                </a:solidFill>
              </a14:hiddenFill>
            </a:ext>
          </a:extLst>
        </p:spPr>
      </p:pic>
      <p:sp>
        <p:nvSpPr>
          <p:cNvPr id="5" name="TextBox 4">
            <a:extLst>
              <a:ext uri="{FF2B5EF4-FFF2-40B4-BE49-F238E27FC236}">
                <a16:creationId xmlns:a16="http://schemas.microsoft.com/office/drawing/2014/main" id="{C909EDFE-A61C-C945-A88D-E4D4185F7D4B}"/>
              </a:ext>
            </a:extLst>
          </p:cNvPr>
          <p:cNvSpPr txBox="1"/>
          <p:nvPr/>
        </p:nvSpPr>
        <p:spPr>
          <a:xfrm>
            <a:off x="4684799" y="8323200"/>
            <a:ext cx="11169468" cy="836896"/>
          </a:xfrm>
          <a:prstGeom prst="rect">
            <a:avLst/>
          </a:prstGeom>
          <a:noFill/>
        </p:spPr>
        <p:txBody>
          <a:bodyPr wrap="none" rtlCol="0">
            <a:spAutoFit/>
          </a:bodyPr>
          <a:lstStyle/>
          <a:p>
            <a:r>
              <a:rPr lang="en-US" b="1" dirty="0"/>
              <a:t>Understanding Graph Embeddings:</a:t>
            </a:r>
          </a:p>
          <a:p>
            <a:r>
              <a:rPr lang="en-US" dirty="0"/>
              <a:t>https://dmccreary.medium.com/understanding-graph-embeddings-79342921a97</a:t>
            </a:r>
          </a:p>
        </p:txBody>
      </p:sp>
    </p:spTree>
    <p:extLst>
      <p:ext uri="{BB962C8B-B14F-4D97-AF65-F5344CB8AC3E}">
        <p14:creationId xmlns:p14="http://schemas.microsoft.com/office/powerpoint/2010/main" val="1849178632"/>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75A5DE-168F-2F4C-9756-FE9FB5E9B988}"/>
              </a:ext>
            </a:extLst>
          </p:cNvPr>
          <p:cNvSpPr>
            <a:spLocks noGrp="1"/>
          </p:cNvSpPr>
          <p:nvPr>
            <p:ph type="title"/>
          </p:nvPr>
        </p:nvSpPr>
        <p:spPr/>
        <p:txBody>
          <a:bodyPr/>
          <a:lstStyle/>
          <a:p>
            <a:r>
              <a:rPr lang="en-US" dirty="0"/>
              <a:t>Product Recommendation</a:t>
            </a:r>
          </a:p>
        </p:txBody>
      </p:sp>
      <p:sp>
        <p:nvSpPr>
          <p:cNvPr id="4" name="Slide Number Placeholder 3">
            <a:extLst>
              <a:ext uri="{FF2B5EF4-FFF2-40B4-BE49-F238E27FC236}">
                <a16:creationId xmlns:a16="http://schemas.microsoft.com/office/drawing/2014/main" id="{633E2F0B-8530-6141-8911-D1FA7AD1A971}"/>
              </a:ext>
            </a:extLst>
          </p:cNvPr>
          <p:cNvSpPr>
            <a:spLocks noGrp="1"/>
          </p:cNvSpPr>
          <p:nvPr>
            <p:ph type="sldNum" idx="12"/>
          </p:nvPr>
        </p:nvSpPr>
        <p:spPr/>
        <p:txBody>
          <a:bodyPr/>
          <a:lstStyle/>
          <a:p>
            <a:fld id="{00000000-1234-1234-1234-123412341234}" type="slidenum">
              <a:rPr lang="en" smtClean="0"/>
              <a:pPr/>
              <a:t>38</a:t>
            </a:fld>
            <a:endParaRPr lang="en"/>
          </a:p>
        </p:txBody>
      </p:sp>
      <p:grpSp>
        <p:nvGrpSpPr>
          <p:cNvPr id="77" name="Group 76">
            <a:extLst>
              <a:ext uri="{FF2B5EF4-FFF2-40B4-BE49-F238E27FC236}">
                <a16:creationId xmlns:a16="http://schemas.microsoft.com/office/drawing/2014/main" id="{BD7FB0DE-7815-3A42-B665-699A74109D40}"/>
              </a:ext>
            </a:extLst>
          </p:cNvPr>
          <p:cNvGrpSpPr/>
          <p:nvPr/>
        </p:nvGrpSpPr>
        <p:grpSpPr>
          <a:xfrm>
            <a:off x="3049751" y="3015663"/>
            <a:ext cx="3966743" cy="3275698"/>
            <a:chOff x="3034490" y="3048053"/>
            <a:chExt cx="2982537" cy="1979517"/>
          </a:xfrm>
        </p:grpSpPr>
        <p:sp>
          <p:nvSpPr>
            <p:cNvPr id="6" name="Oval 5">
              <a:extLst>
                <a:ext uri="{FF2B5EF4-FFF2-40B4-BE49-F238E27FC236}">
                  <a16:creationId xmlns:a16="http://schemas.microsoft.com/office/drawing/2014/main" id="{E7D13022-DF3A-3C47-AC85-9F9D6951EA78}"/>
                </a:ext>
              </a:extLst>
            </p:cNvPr>
            <p:cNvSpPr/>
            <p:nvPr/>
          </p:nvSpPr>
          <p:spPr bwMode="auto">
            <a:xfrm>
              <a:off x="4306317" y="3048053"/>
              <a:ext cx="388620" cy="291541"/>
            </a:xfrm>
            <a:prstGeom prst="ellipse">
              <a:avLst/>
            </a:prstGeom>
            <a:solidFill>
              <a:schemeClr val="accent2"/>
            </a:solidFill>
            <a:ln w="12700" cap="flat" cmpd="sng" algn="ctr">
              <a:solidFill>
                <a:schemeClr val="tx1"/>
              </a:solidFill>
              <a:prstDash val="solid"/>
              <a:round/>
              <a:headEnd type="none" w="med" len="med"/>
              <a:tailEnd type="none" w="med" len="med"/>
            </a:ln>
            <a:effectLst/>
          </p:spPr>
          <p:txBody>
            <a:bodyPr vert="horz" wrap="square" lIns="116616" tIns="58308" rIns="116616" bIns="58308" numCol="1" rtlCol="0" anchor="t" anchorCtr="0" compatLnSpc="1">
              <a:prstTxWarp prst="textNoShape">
                <a:avLst/>
              </a:prstTxWarp>
            </a:bodyPr>
            <a:lstStyle/>
            <a:p>
              <a:pPr algn="ctr" defTabSz="1166036" fontAlgn="base">
                <a:spcBef>
                  <a:spcPct val="0"/>
                </a:spcBef>
                <a:spcAft>
                  <a:spcPct val="0"/>
                </a:spcAft>
              </a:pPr>
              <a:endParaRPr lang="en-US" sz="3061" b="1">
                <a:latin typeface="Arial Narrow" charset="0"/>
              </a:endParaRPr>
            </a:p>
          </p:txBody>
        </p:sp>
        <p:sp>
          <p:nvSpPr>
            <p:cNvPr id="7" name="Oval 6">
              <a:extLst>
                <a:ext uri="{FF2B5EF4-FFF2-40B4-BE49-F238E27FC236}">
                  <a16:creationId xmlns:a16="http://schemas.microsoft.com/office/drawing/2014/main" id="{724031D4-6064-BD4A-A062-0524DA10D1A1}"/>
                </a:ext>
              </a:extLst>
            </p:cNvPr>
            <p:cNvSpPr/>
            <p:nvPr/>
          </p:nvSpPr>
          <p:spPr bwMode="auto">
            <a:xfrm>
              <a:off x="3529077" y="3829661"/>
              <a:ext cx="388620" cy="291541"/>
            </a:xfrm>
            <a:prstGeom prst="ellipse">
              <a:avLst/>
            </a:prstGeom>
            <a:solidFill>
              <a:srgbClr val="92D050"/>
            </a:solidFill>
            <a:ln w="12700" cap="flat" cmpd="sng" algn="ctr">
              <a:solidFill>
                <a:schemeClr val="tx1"/>
              </a:solidFill>
              <a:prstDash val="solid"/>
              <a:round/>
              <a:headEnd type="none" w="med" len="med"/>
              <a:tailEnd type="none" w="med" len="med"/>
            </a:ln>
            <a:effectLst/>
          </p:spPr>
          <p:txBody>
            <a:bodyPr vert="horz" wrap="square" lIns="116616" tIns="58308" rIns="116616" bIns="58308" numCol="1" rtlCol="0" anchor="t" anchorCtr="0" compatLnSpc="1">
              <a:prstTxWarp prst="textNoShape">
                <a:avLst/>
              </a:prstTxWarp>
            </a:bodyPr>
            <a:lstStyle/>
            <a:p>
              <a:pPr algn="ctr" defTabSz="1166036" fontAlgn="base">
                <a:spcBef>
                  <a:spcPct val="0"/>
                </a:spcBef>
                <a:spcAft>
                  <a:spcPct val="0"/>
                </a:spcAft>
              </a:pPr>
              <a:endParaRPr lang="en-US" sz="3061" b="1">
                <a:latin typeface="Arial Narrow" charset="0"/>
              </a:endParaRPr>
            </a:p>
          </p:txBody>
        </p:sp>
        <p:sp>
          <p:nvSpPr>
            <p:cNvPr id="8" name="Oval 7">
              <a:extLst>
                <a:ext uri="{FF2B5EF4-FFF2-40B4-BE49-F238E27FC236}">
                  <a16:creationId xmlns:a16="http://schemas.microsoft.com/office/drawing/2014/main" id="{6F859B61-D669-6742-97E7-EED693AD5A44}"/>
                </a:ext>
              </a:extLst>
            </p:cNvPr>
            <p:cNvSpPr/>
            <p:nvPr/>
          </p:nvSpPr>
          <p:spPr bwMode="auto">
            <a:xfrm>
              <a:off x="4549315" y="3908903"/>
              <a:ext cx="388620" cy="291541"/>
            </a:xfrm>
            <a:prstGeom prst="ellipse">
              <a:avLst/>
            </a:prstGeom>
            <a:solidFill>
              <a:srgbClr val="7030A0"/>
            </a:solidFill>
            <a:ln w="12700" cap="flat" cmpd="sng" algn="ctr">
              <a:solidFill>
                <a:schemeClr val="tx1"/>
              </a:solidFill>
              <a:prstDash val="solid"/>
              <a:round/>
              <a:headEnd type="none" w="med" len="med"/>
              <a:tailEnd type="none" w="med" len="med"/>
            </a:ln>
            <a:effectLst/>
          </p:spPr>
          <p:txBody>
            <a:bodyPr vert="horz" wrap="square" lIns="116616" tIns="58308" rIns="116616" bIns="58308" numCol="1" rtlCol="0" anchor="t" anchorCtr="0" compatLnSpc="1">
              <a:prstTxWarp prst="textNoShape">
                <a:avLst/>
              </a:prstTxWarp>
            </a:bodyPr>
            <a:lstStyle/>
            <a:p>
              <a:pPr algn="ctr" defTabSz="1166036" fontAlgn="base">
                <a:spcBef>
                  <a:spcPct val="0"/>
                </a:spcBef>
                <a:spcAft>
                  <a:spcPct val="0"/>
                </a:spcAft>
              </a:pPr>
              <a:endParaRPr lang="en-US" sz="3061" b="1">
                <a:latin typeface="Arial Narrow" charset="0"/>
              </a:endParaRPr>
            </a:p>
          </p:txBody>
        </p:sp>
        <p:sp>
          <p:nvSpPr>
            <p:cNvPr id="9" name="Oval 8">
              <a:extLst>
                <a:ext uri="{FF2B5EF4-FFF2-40B4-BE49-F238E27FC236}">
                  <a16:creationId xmlns:a16="http://schemas.microsoft.com/office/drawing/2014/main" id="{349B42D3-B267-714D-815C-3DF0B657FD5E}"/>
                </a:ext>
              </a:extLst>
            </p:cNvPr>
            <p:cNvSpPr/>
            <p:nvPr/>
          </p:nvSpPr>
          <p:spPr bwMode="auto">
            <a:xfrm>
              <a:off x="5598567" y="3274968"/>
              <a:ext cx="388620" cy="291541"/>
            </a:xfrm>
            <a:prstGeom prst="ellipse">
              <a:avLst/>
            </a:prstGeom>
            <a:solidFill>
              <a:srgbClr val="996633"/>
            </a:solidFill>
            <a:ln w="12700" cap="flat" cmpd="sng" algn="ctr">
              <a:solidFill>
                <a:schemeClr val="tx1"/>
              </a:solidFill>
              <a:prstDash val="solid"/>
              <a:round/>
              <a:headEnd type="none" w="med" len="med"/>
              <a:tailEnd type="none" w="med" len="med"/>
            </a:ln>
            <a:effectLst/>
          </p:spPr>
          <p:txBody>
            <a:bodyPr vert="horz" wrap="square" lIns="116616" tIns="58308" rIns="116616" bIns="58308" numCol="1" rtlCol="0" anchor="t" anchorCtr="0" compatLnSpc="1">
              <a:prstTxWarp prst="textNoShape">
                <a:avLst/>
              </a:prstTxWarp>
            </a:bodyPr>
            <a:lstStyle/>
            <a:p>
              <a:pPr algn="ctr" defTabSz="1166036" fontAlgn="base">
                <a:spcBef>
                  <a:spcPct val="0"/>
                </a:spcBef>
                <a:spcAft>
                  <a:spcPct val="0"/>
                </a:spcAft>
              </a:pPr>
              <a:endParaRPr lang="en-US" sz="3061" b="1">
                <a:latin typeface="Arial Narrow" charset="0"/>
              </a:endParaRPr>
            </a:p>
          </p:txBody>
        </p:sp>
        <p:sp>
          <p:nvSpPr>
            <p:cNvPr id="10" name="Oval 9">
              <a:extLst>
                <a:ext uri="{FF2B5EF4-FFF2-40B4-BE49-F238E27FC236}">
                  <a16:creationId xmlns:a16="http://schemas.microsoft.com/office/drawing/2014/main" id="{3171C3FB-7AD4-CA43-8576-6C7516DFEF49}"/>
                </a:ext>
              </a:extLst>
            </p:cNvPr>
            <p:cNvSpPr/>
            <p:nvPr/>
          </p:nvSpPr>
          <p:spPr bwMode="auto">
            <a:xfrm>
              <a:off x="3034490" y="3733668"/>
              <a:ext cx="388620" cy="291541"/>
            </a:xfrm>
            <a:prstGeom prst="ellipse">
              <a:avLst/>
            </a:prstGeom>
            <a:solidFill>
              <a:srgbClr val="FFFF00"/>
            </a:solidFill>
            <a:ln w="12700" cap="flat" cmpd="sng" algn="ctr">
              <a:solidFill>
                <a:schemeClr val="tx1"/>
              </a:solidFill>
              <a:prstDash val="solid"/>
              <a:round/>
              <a:headEnd type="none" w="med" len="med"/>
              <a:tailEnd type="none" w="med" len="med"/>
            </a:ln>
            <a:effectLst/>
          </p:spPr>
          <p:txBody>
            <a:bodyPr vert="horz" wrap="square" lIns="116616" tIns="58308" rIns="116616" bIns="58308" numCol="1" rtlCol="0" anchor="t" anchorCtr="0" compatLnSpc="1">
              <a:prstTxWarp prst="textNoShape">
                <a:avLst/>
              </a:prstTxWarp>
            </a:bodyPr>
            <a:lstStyle/>
            <a:p>
              <a:pPr algn="ctr" defTabSz="1166036" fontAlgn="base">
                <a:spcBef>
                  <a:spcPct val="0"/>
                </a:spcBef>
                <a:spcAft>
                  <a:spcPct val="0"/>
                </a:spcAft>
              </a:pPr>
              <a:endParaRPr lang="en-US" sz="3061" b="1">
                <a:latin typeface="Arial Narrow" charset="0"/>
              </a:endParaRPr>
            </a:p>
          </p:txBody>
        </p:sp>
        <p:sp>
          <p:nvSpPr>
            <p:cNvPr id="11" name="Oval 10">
              <a:extLst>
                <a:ext uri="{FF2B5EF4-FFF2-40B4-BE49-F238E27FC236}">
                  <a16:creationId xmlns:a16="http://schemas.microsoft.com/office/drawing/2014/main" id="{58637086-FA91-1C46-A34A-15D586BC0DC2}"/>
                </a:ext>
              </a:extLst>
            </p:cNvPr>
            <p:cNvSpPr/>
            <p:nvPr/>
          </p:nvSpPr>
          <p:spPr bwMode="auto">
            <a:xfrm>
              <a:off x="3034490" y="4178942"/>
              <a:ext cx="388620" cy="291541"/>
            </a:xfrm>
            <a:prstGeom prst="ellipse">
              <a:avLst/>
            </a:prstGeom>
            <a:solidFill>
              <a:srgbClr val="92D050"/>
            </a:solidFill>
            <a:ln w="12700" cap="flat" cmpd="sng" algn="ctr">
              <a:solidFill>
                <a:schemeClr val="tx1"/>
              </a:solidFill>
              <a:prstDash val="solid"/>
              <a:round/>
              <a:headEnd type="none" w="med" len="med"/>
              <a:tailEnd type="none" w="med" len="med"/>
            </a:ln>
            <a:effectLst/>
          </p:spPr>
          <p:txBody>
            <a:bodyPr vert="horz" wrap="square" lIns="116616" tIns="58308" rIns="116616" bIns="58308" numCol="1" rtlCol="0" anchor="t" anchorCtr="0" compatLnSpc="1">
              <a:prstTxWarp prst="textNoShape">
                <a:avLst/>
              </a:prstTxWarp>
            </a:bodyPr>
            <a:lstStyle/>
            <a:p>
              <a:pPr algn="ctr" defTabSz="1166036" fontAlgn="base">
                <a:spcBef>
                  <a:spcPct val="0"/>
                </a:spcBef>
                <a:spcAft>
                  <a:spcPct val="0"/>
                </a:spcAft>
              </a:pPr>
              <a:endParaRPr lang="en-US" sz="3061" b="1">
                <a:latin typeface="Arial Narrow" charset="0"/>
              </a:endParaRPr>
            </a:p>
          </p:txBody>
        </p:sp>
        <p:sp>
          <p:nvSpPr>
            <p:cNvPr id="12" name="Oval 11">
              <a:extLst>
                <a:ext uri="{FF2B5EF4-FFF2-40B4-BE49-F238E27FC236}">
                  <a16:creationId xmlns:a16="http://schemas.microsoft.com/office/drawing/2014/main" id="{E413C940-6660-4C44-83AE-2A1469E19FBA}"/>
                </a:ext>
              </a:extLst>
            </p:cNvPr>
            <p:cNvSpPr/>
            <p:nvPr/>
          </p:nvSpPr>
          <p:spPr bwMode="auto">
            <a:xfrm>
              <a:off x="4017196" y="3915304"/>
              <a:ext cx="388620" cy="291541"/>
            </a:xfrm>
            <a:prstGeom prst="ellipse">
              <a:avLst/>
            </a:prstGeom>
            <a:solidFill>
              <a:srgbClr val="0070C0"/>
            </a:solidFill>
            <a:ln w="12700" cap="flat" cmpd="sng" algn="ctr">
              <a:solidFill>
                <a:schemeClr val="tx1"/>
              </a:solidFill>
              <a:prstDash val="solid"/>
              <a:round/>
              <a:headEnd type="none" w="med" len="med"/>
              <a:tailEnd type="none" w="med" len="med"/>
            </a:ln>
            <a:effectLst/>
          </p:spPr>
          <p:txBody>
            <a:bodyPr vert="horz" wrap="square" lIns="116616" tIns="58308" rIns="116616" bIns="58308" numCol="1" rtlCol="0" anchor="t" anchorCtr="0" compatLnSpc="1">
              <a:prstTxWarp prst="textNoShape">
                <a:avLst/>
              </a:prstTxWarp>
            </a:bodyPr>
            <a:lstStyle/>
            <a:p>
              <a:pPr algn="ctr" defTabSz="1166036" fontAlgn="base">
                <a:spcBef>
                  <a:spcPct val="0"/>
                </a:spcBef>
                <a:spcAft>
                  <a:spcPct val="0"/>
                </a:spcAft>
              </a:pPr>
              <a:endParaRPr lang="en-US" sz="3061" b="1">
                <a:latin typeface="Arial Narrow" charset="0"/>
              </a:endParaRPr>
            </a:p>
          </p:txBody>
        </p:sp>
        <p:sp>
          <p:nvSpPr>
            <p:cNvPr id="13" name="Oval 12">
              <a:extLst>
                <a:ext uri="{FF2B5EF4-FFF2-40B4-BE49-F238E27FC236}">
                  <a16:creationId xmlns:a16="http://schemas.microsoft.com/office/drawing/2014/main" id="{64CEB94E-4FA3-7340-B21A-BC4490613372}"/>
                </a:ext>
              </a:extLst>
            </p:cNvPr>
            <p:cNvSpPr/>
            <p:nvPr/>
          </p:nvSpPr>
          <p:spPr bwMode="auto">
            <a:xfrm>
              <a:off x="3156172" y="3306605"/>
              <a:ext cx="388620" cy="291541"/>
            </a:xfrm>
            <a:prstGeom prst="ellipse">
              <a:avLst/>
            </a:prstGeom>
            <a:solidFill>
              <a:schemeClr val="accent4"/>
            </a:solidFill>
            <a:ln w="12700" cap="flat" cmpd="sng" algn="ctr">
              <a:solidFill>
                <a:schemeClr val="tx1"/>
              </a:solidFill>
              <a:prstDash val="solid"/>
              <a:round/>
              <a:headEnd type="none" w="med" len="med"/>
              <a:tailEnd type="none" w="med" len="med"/>
            </a:ln>
            <a:effectLst/>
          </p:spPr>
          <p:txBody>
            <a:bodyPr vert="horz" wrap="square" lIns="116616" tIns="58308" rIns="116616" bIns="58308" numCol="1" rtlCol="0" anchor="t" anchorCtr="0" compatLnSpc="1">
              <a:prstTxWarp prst="textNoShape">
                <a:avLst/>
              </a:prstTxWarp>
            </a:bodyPr>
            <a:lstStyle/>
            <a:p>
              <a:pPr algn="ctr" defTabSz="1166036" fontAlgn="base">
                <a:spcBef>
                  <a:spcPct val="0"/>
                </a:spcBef>
                <a:spcAft>
                  <a:spcPct val="0"/>
                </a:spcAft>
              </a:pPr>
              <a:endParaRPr lang="en-US" sz="3061" b="1">
                <a:latin typeface="Arial Narrow" charset="0"/>
              </a:endParaRPr>
            </a:p>
          </p:txBody>
        </p:sp>
        <p:sp>
          <p:nvSpPr>
            <p:cNvPr id="14" name="Oval 13">
              <a:extLst>
                <a:ext uri="{FF2B5EF4-FFF2-40B4-BE49-F238E27FC236}">
                  <a16:creationId xmlns:a16="http://schemas.microsoft.com/office/drawing/2014/main" id="{5C747FDB-7D45-BB40-B54C-9DDB9799E066}"/>
                </a:ext>
              </a:extLst>
            </p:cNvPr>
            <p:cNvSpPr/>
            <p:nvPr/>
          </p:nvSpPr>
          <p:spPr bwMode="auto">
            <a:xfrm>
              <a:off x="5096997" y="3840972"/>
              <a:ext cx="388620" cy="291541"/>
            </a:xfrm>
            <a:prstGeom prst="ellipse">
              <a:avLst/>
            </a:prstGeom>
            <a:solidFill>
              <a:schemeClr val="accent1">
                <a:lumMod val="60000"/>
                <a:lumOff val="40000"/>
              </a:schemeClr>
            </a:solidFill>
            <a:ln w="12700" cap="flat" cmpd="sng" algn="ctr">
              <a:solidFill>
                <a:schemeClr val="tx1"/>
              </a:solidFill>
              <a:prstDash val="solid"/>
              <a:round/>
              <a:headEnd type="none" w="med" len="med"/>
              <a:tailEnd type="none" w="med" len="med"/>
            </a:ln>
            <a:effectLst/>
          </p:spPr>
          <p:txBody>
            <a:bodyPr vert="horz" wrap="square" lIns="116616" tIns="58308" rIns="116616" bIns="58308" numCol="1" rtlCol="0" anchor="t" anchorCtr="0" compatLnSpc="1">
              <a:prstTxWarp prst="textNoShape">
                <a:avLst/>
              </a:prstTxWarp>
            </a:bodyPr>
            <a:lstStyle/>
            <a:p>
              <a:pPr algn="ctr" defTabSz="1166036" fontAlgn="base">
                <a:spcBef>
                  <a:spcPct val="0"/>
                </a:spcBef>
                <a:spcAft>
                  <a:spcPct val="0"/>
                </a:spcAft>
              </a:pPr>
              <a:endParaRPr lang="en-US" sz="3061" b="1">
                <a:latin typeface="Arial Narrow" charset="0"/>
              </a:endParaRPr>
            </a:p>
          </p:txBody>
        </p:sp>
        <p:cxnSp>
          <p:nvCxnSpPr>
            <p:cNvPr id="15" name="Straight Arrow Connector 14">
              <a:extLst>
                <a:ext uri="{FF2B5EF4-FFF2-40B4-BE49-F238E27FC236}">
                  <a16:creationId xmlns:a16="http://schemas.microsoft.com/office/drawing/2014/main" id="{EACC4825-6EDC-C447-86C6-9C0BB1684846}"/>
                </a:ext>
              </a:extLst>
            </p:cNvPr>
            <p:cNvCxnSpPr>
              <a:cxnSpLocks/>
              <a:stCxn id="13" idx="6"/>
              <a:endCxn id="6" idx="2"/>
            </p:cNvCxnSpPr>
            <p:nvPr/>
          </p:nvCxnSpPr>
          <p:spPr>
            <a:xfrm flipV="1">
              <a:off x="3544792" y="3193824"/>
              <a:ext cx="761525" cy="258552"/>
            </a:xfrm>
            <a:prstGeom prst="straightConnector1">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6" name="Straight Arrow Connector 15">
              <a:extLst>
                <a:ext uri="{FF2B5EF4-FFF2-40B4-BE49-F238E27FC236}">
                  <a16:creationId xmlns:a16="http://schemas.microsoft.com/office/drawing/2014/main" id="{6D840B1B-E28F-0145-9D6A-47F8A2F6FDED}"/>
                </a:ext>
              </a:extLst>
            </p:cNvPr>
            <p:cNvCxnSpPr>
              <a:cxnSpLocks/>
              <a:stCxn id="6" idx="6"/>
              <a:endCxn id="9" idx="2"/>
            </p:cNvCxnSpPr>
            <p:nvPr/>
          </p:nvCxnSpPr>
          <p:spPr>
            <a:xfrm>
              <a:off x="4694937" y="3193824"/>
              <a:ext cx="903630" cy="226915"/>
            </a:xfrm>
            <a:prstGeom prst="straightConnector1">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7" name="Straight Arrow Connector 16">
              <a:extLst>
                <a:ext uri="{FF2B5EF4-FFF2-40B4-BE49-F238E27FC236}">
                  <a16:creationId xmlns:a16="http://schemas.microsoft.com/office/drawing/2014/main" id="{B1588D52-8D68-9E4C-927B-8B7764ADA18D}"/>
                </a:ext>
              </a:extLst>
            </p:cNvPr>
            <p:cNvCxnSpPr>
              <a:cxnSpLocks/>
              <a:stCxn id="6" idx="3"/>
              <a:endCxn id="10" idx="7"/>
            </p:cNvCxnSpPr>
            <p:nvPr/>
          </p:nvCxnSpPr>
          <p:spPr>
            <a:xfrm flipH="1">
              <a:off x="3366198" y="3296899"/>
              <a:ext cx="997031" cy="479464"/>
            </a:xfrm>
            <a:prstGeom prst="straightConnector1">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8" name="Straight Arrow Connector 17">
              <a:extLst>
                <a:ext uri="{FF2B5EF4-FFF2-40B4-BE49-F238E27FC236}">
                  <a16:creationId xmlns:a16="http://schemas.microsoft.com/office/drawing/2014/main" id="{7A972267-6A07-1441-8AC4-D2E657ED5DAC}"/>
                </a:ext>
              </a:extLst>
            </p:cNvPr>
            <p:cNvCxnSpPr>
              <a:cxnSpLocks/>
              <a:stCxn id="6" idx="5"/>
              <a:endCxn id="14" idx="1"/>
            </p:cNvCxnSpPr>
            <p:nvPr/>
          </p:nvCxnSpPr>
          <p:spPr>
            <a:xfrm>
              <a:off x="4638025" y="3296899"/>
              <a:ext cx="515884" cy="586768"/>
            </a:xfrm>
            <a:prstGeom prst="straightConnector1">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9" name="Straight Arrow Connector 18">
              <a:extLst>
                <a:ext uri="{FF2B5EF4-FFF2-40B4-BE49-F238E27FC236}">
                  <a16:creationId xmlns:a16="http://schemas.microsoft.com/office/drawing/2014/main" id="{4F265296-B449-A746-818A-0F6193D8AE6F}"/>
                </a:ext>
              </a:extLst>
            </p:cNvPr>
            <p:cNvCxnSpPr>
              <a:cxnSpLocks/>
              <a:stCxn id="12" idx="0"/>
              <a:endCxn id="6" idx="4"/>
            </p:cNvCxnSpPr>
            <p:nvPr/>
          </p:nvCxnSpPr>
          <p:spPr>
            <a:xfrm flipV="1">
              <a:off x="4211506" y="3339594"/>
              <a:ext cx="289121" cy="575710"/>
            </a:xfrm>
            <a:prstGeom prst="straightConnector1">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0" name="Straight Arrow Connector 19">
              <a:extLst>
                <a:ext uri="{FF2B5EF4-FFF2-40B4-BE49-F238E27FC236}">
                  <a16:creationId xmlns:a16="http://schemas.microsoft.com/office/drawing/2014/main" id="{F279806E-AA65-174C-A128-FE7CD9879176}"/>
                </a:ext>
              </a:extLst>
            </p:cNvPr>
            <p:cNvCxnSpPr>
              <a:cxnSpLocks/>
              <a:stCxn id="6" idx="3"/>
              <a:endCxn id="7" idx="7"/>
            </p:cNvCxnSpPr>
            <p:nvPr/>
          </p:nvCxnSpPr>
          <p:spPr>
            <a:xfrm flipH="1">
              <a:off x="3860785" y="3296899"/>
              <a:ext cx="502444" cy="575457"/>
            </a:xfrm>
            <a:prstGeom prst="straightConnector1">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1" name="Straight Arrow Connector 20">
              <a:extLst>
                <a:ext uri="{FF2B5EF4-FFF2-40B4-BE49-F238E27FC236}">
                  <a16:creationId xmlns:a16="http://schemas.microsoft.com/office/drawing/2014/main" id="{35455D56-9248-D746-83BE-B63727B0A768}"/>
                </a:ext>
              </a:extLst>
            </p:cNvPr>
            <p:cNvCxnSpPr>
              <a:cxnSpLocks/>
              <a:stCxn id="7" idx="4"/>
              <a:endCxn id="11" idx="7"/>
            </p:cNvCxnSpPr>
            <p:nvPr/>
          </p:nvCxnSpPr>
          <p:spPr>
            <a:xfrm flipH="1">
              <a:off x="3366198" y="4121202"/>
              <a:ext cx="357189" cy="100435"/>
            </a:xfrm>
            <a:prstGeom prst="straightConnector1">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2" name="Straight Arrow Connector 21">
              <a:extLst>
                <a:ext uri="{FF2B5EF4-FFF2-40B4-BE49-F238E27FC236}">
                  <a16:creationId xmlns:a16="http://schemas.microsoft.com/office/drawing/2014/main" id="{E2F7D26C-1867-0248-A70F-1099DE1E37B1}"/>
                </a:ext>
              </a:extLst>
            </p:cNvPr>
            <p:cNvCxnSpPr>
              <a:cxnSpLocks/>
              <a:stCxn id="8" idx="0"/>
              <a:endCxn id="6" idx="4"/>
            </p:cNvCxnSpPr>
            <p:nvPr/>
          </p:nvCxnSpPr>
          <p:spPr>
            <a:xfrm flipH="1" flipV="1">
              <a:off x="4500627" y="3339594"/>
              <a:ext cx="242998" cy="569309"/>
            </a:xfrm>
            <a:prstGeom prst="straightConnector1">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3" name="Oval 22">
              <a:extLst>
                <a:ext uri="{FF2B5EF4-FFF2-40B4-BE49-F238E27FC236}">
                  <a16:creationId xmlns:a16="http://schemas.microsoft.com/office/drawing/2014/main" id="{D6CA3B41-FC65-C945-918F-BB382E3078C6}"/>
                </a:ext>
              </a:extLst>
            </p:cNvPr>
            <p:cNvSpPr/>
            <p:nvPr/>
          </p:nvSpPr>
          <p:spPr bwMode="auto">
            <a:xfrm>
              <a:off x="4677356" y="4727472"/>
              <a:ext cx="388620" cy="291541"/>
            </a:xfrm>
            <a:prstGeom prst="ellipse">
              <a:avLst/>
            </a:prstGeom>
            <a:solidFill>
              <a:srgbClr val="7030A0"/>
            </a:solidFill>
            <a:ln w="12700" cap="flat" cmpd="sng" algn="ctr">
              <a:solidFill>
                <a:schemeClr val="tx1"/>
              </a:solidFill>
              <a:prstDash val="solid"/>
              <a:round/>
              <a:headEnd type="none" w="med" len="med"/>
              <a:tailEnd type="none" w="med" len="med"/>
            </a:ln>
            <a:effectLst/>
          </p:spPr>
          <p:txBody>
            <a:bodyPr vert="horz" wrap="square" lIns="116616" tIns="58308" rIns="116616" bIns="58308" numCol="1" rtlCol="0" anchor="t" anchorCtr="0" compatLnSpc="1">
              <a:prstTxWarp prst="textNoShape">
                <a:avLst/>
              </a:prstTxWarp>
            </a:bodyPr>
            <a:lstStyle/>
            <a:p>
              <a:pPr algn="ctr" defTabSz="1166036" fontAlgn="base">
                <a:spcBef>
                  <a:spcPct val="0"/>
                </a:spcBef>
                <a:spcAft>
                  <a:spcPct val="0"/>
                </a:spcAft>
              </a:pPr>
              <a:endParaRPr lang="en-US" sz="3061" b="1">
                <a:latin typeface="Arial Narrow" charset="0"/>
              </a:endParaRPr>
            </a:p>
          </p:txBody>
        </p:sp>
        <p:cxnSp>
          <p:nvCxnSpPr>
            <p:cNvPr id="24" name="Straight Arrow Connector 23">
              <a:extLst>
                <a:ext uri="{FF2B5EF4-FFF2-40B4-BE49-F238E27FC236}">
                  <a16:creationId xmlns:a16="http://schemas.microsoft.com/office/drawing/2014/main" id="{10EF2D26-648C-2446-90A6-98857151CE61}"/>
                </a:ext>
              </a:extLst>
            </p:cNvPr>
            <p:cNvCxnSpPr>
              <a:cxnSpLocks/>
              <a:stCxn id="23" idx="0"/>
              <a:endCxn id="8" idx="4"/>
            </p:cNvCxnSpPr>
            <p:nvPr/>
          </p:nvCxnSpPr>
          <p:spPr>
            <a:xfrm flipH="1" flipV="1">
              <a:off x="4743625" y="4200444"/>
              <a:ext cx="128041" cy="527028"/>
            </a:xfrm>
            <a:prstGeom prst="straightConnector1">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5" name="Oval 24">
              <a:extLst>
                <a:ext uri="{FF2B5EF4-FFF2-40B4-BE49-F238E27FC236}">
                  <a16:creationId xmlns:a16="http://schemas.microsoft.com/office/drawing/2014/main" id="{E58ACF97-6143-8C4A-A07A-DC5AC30F248E}"/>
                </a:ext>
              </a:extLst>
            </p:cNvPr>
            <p:cNvSpPr/>
            <p:nvPr/>
          </p:nvSpPr>
          <p:spPr bwMode="auto">
            <a:xfrm>
              <a:off x="3341835" y="4534370"/>
              <a:ext cx="388620" cy="291541"/>
            </a:xfrm>
            <a:prstGeom prst="ellipse">
              <a:avLst/>
            </a:prstGeom>
            <a:solidFill>
              <a:srgbClr val="92D050"/>
            </a:solidFill>
            <a:ln w="12700" cap="flat" cmpd="sng" algn="ctr">
              <a:solidFill>
                <a:schemeClr val="tx1"/>
              </a:solidFill>
              <a:prstDash val="solid"/>
              <a:round/>
              <a:headEnd type="none" w="med" len="med"/>
              <a:tailEnd type="none" w="med" len="med"/>
            </a:ln>
            <a:effectLst/>
          </p:spPr>
          <p:txBody>
            <a:bodyPr vert="horz" wrap="square" lIns="116616" tIns="58308" rIns="116616" bIns="58308" numCol="1" rtlCol="0" anchor="t" anchorCtr="0" compatLnSpc="1">
              <a:prstTxWarp prst="textNoShape">
                <a:avLst/>
              </a:prstTxWarp>
            </a:bodyPr>
            <a:lstStyle/>
            <a:p>
              <a:pPr algn="ctr" defTabSz="1166036" fontAlgn="base">
                <a:spcBef>
                  <a:spcPct val="0"/>
                </a:spcBef>
                <a:spcAft>
                  <a:spcPct val="0"/>
                </a:spcAft>
              </a:pPr>
              <a:endParaRPr lang="en-US" sz="3061" b="1">
                <a:latin typeface="Arial Narrow" charset="0"/>
              </a:endParaRPr>
            </a:p>
          </p:txBody>
        </p:sp>
        <p:cxnSp>
          <p:nvCxnSpPr>
            <p:cNvPr id="26" name="Straight Arrow Connector 25">
              <a:extLst>
                <a:ext uri="{FF2B5EF4-FFF2-40B4-BE49-F238E27FC236}">
                  <a16:creationId xmlns:a16="http://schemas.microsoft.com/office/drawing/2014/main" id="{6AAF834F-7D9B-6F4C-ADDB-DC66E10F2167}"/>
                </a:ext>
              </a:extLst>
            </p:cNvPr>
            <p:cNvCxnSpPr>
              <a:cxnSpLocks/>
              <a:stCxn id="7" idx="4"/>
              <a:endCxn id="25" idx="0"/>
            </p:cNvCxnSpPr>
            <p:nvPr/>
          </p:nvCxnSpPr>
          <p:spPr>
            <a:xfrm flipH="1">
              <a:off x="3536145" y="4121202"/>
              <a:ext cx="187242" cy="413168"/>
            </a:xfrm>
            <a:prstGeom prst="straightConnector1">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7" name="Oval 26">
              <a:extLst>
                <a:ext uri="{FF2B5EF4-FFF2-40B4-BE49-F238E27FC236}">
                  <a16:creationId xmlns:a16="http://schemas.microsoft.com/office/drawing/2014/main" id="{6664F903-5BAB-7140-B74E-04D295F9244F}"/>
                </a:ext>
              </a:extLst>
            </p:cNvPr>
            <p:cNvSpPr/>
            <p:nvPr/>
          </p:nvSpPr>
          <p:spPr bwMode="auto">
            <a:xfrm>
              <a:off x="3789051" y="4348478"/>
              <a:ext cx="388620" cy="291541"/>
            </a:xfrm>
            <a:prstGeom prst="ellipse">
              <a:avLst/>
            </a:prstGeom>
            <a:solidFill>
              <a:srgbClr val="0070C0"/>
            </a:solidFill>
            <a:ln w="12700" cap="flat" cmpd="sng" algn="ctr">
              <a:solidFill>
                <a:schemeClr val="tx1"/>
              </a:solidFill>
              <a:prstDash val="solid"/>
              <a:round/>
              <a:headEnd type="none" w="med" len="med"/>
              <a:tailEnd type="none" w="med" len="med"/>
            </a:ln>
            <a:effectLst/>
          </p:spPr>
          <p:txBody>
            <a:bodyPr vert="horz" wrap="square" lIns="116616" tIns="58308" rIns="116616" bIns="58308" numCol="1" rtlCol="0" anchor="t" anchorCtr="0" compatLnSpc="1">
              <a:prstTxWarp prst="textNoShape">
                <a:avLst/>
              </a:prstTxWarp>
            </a:bodyPr>
            <a:lstStyle/>
            <a:p>
              <a:pPr algn="ctr" defTabSz="1166036" fontAlgn="base">
                <a:spcBef>
                  <a:spcPct val="0"/>
                </a:spcBef>
                <a:spcAft>
                  <a:spcPct val="0"/>
                </a:spcAft>
              </a:pPr>
              <a:endParaRPr lang="en-US" sz="3061" b="1">
                <a:latin typeface="Arial Narrow" charset="0"/>
              </a:endParaRPr>
            </a:p>
          </p:txBody>
        </p:sp>
        <p:cxnSp>
          <p:nvCxnSpPr>
            <p:cNvPr id="28" name="Straight Arrow Connector 27">
              <a:extLst>
                <a:ext uri="{FF2B5EF4-FFF2-40B4-BE49-F238E27FC236}">
                  <a16:creationId xmlns:a16="http://schemas.microsoft.com/office/drawing/2014/main" id="{094A7240-BA4F-B74E-A152-6A8F7F33B0A5}"/>
                </a:ext>
              </a:extLst>
            </p:cNvPr>
            <p:cNvCxnSpPr>
              <a:cxnSpLocks/>
              <a:stCxn id="27" idx="0"/>
              <a:endCxn id="12" idx="4"/>
            </p:cNvCxnSpPr>
            <p:nvPr/>
          </p:nvCxnSpPr>
          <p:spPr>
            <a:xfrm flipV="1">
              <a:off x="3983361" y="4206845"/>
              <a:ext cx="228145" cy="141633"/>
            </a:xfrm>
            <a:prstGeom prst="straightConnector1">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9" name="Oval 28">
              <a:extLst>
                <a:ext uri="{FF2B5EF4-FFF2-40B4-BE49-F238E27FC236}">
                  <a16:creationId xmlns:a16="http://schemas.microsoft.com/office/drawing/2014/main" id="{9FCB4584-7F21-8A42-AE2C-3A3B92B0D62B}"/>
                </a:ext>
              </a:extLst>
            </p:cNvPr>
            <p:cNvSpPr/>
            <p:nvPr/>
          </p:nvSpPr>
          <p:spPr bwMode="auto">
            <a:xfrm>
              <a:off x="4099075" y="4736029"/>
              <a:ext cx="388620" cy="291541"/>
            </a:xfrm>
            <a:prstGeom prst="ellipse">
              <a:avLst/>
            </a:prstGeom>
            <a:solidFill>
              <a:srgbClr val="0070C0"/>
            </a:solidFill>
            <a:ln w="12700" cap="flat" cmpd="sng" algn="ctr">
              <a:solidFill>
                <a:schemeClr val="tx1"/>
              </a:solidFill>
              <a:prstDash val="solid"/>
              <a:round/>
              <a:headEnd type="none" w="med" len="med"/>
              <a:tailEnd type="none" w="med" len="med"/>
            </a:ln>
            <a:effectLst/>
          </p:spPr>
          <p:txBody>
            <a:bodyPr vert="horz" wrap="square" lIns="116616" tIns="58308" rIns="116616" bIns="58308" numCol="1" rtlCol="0" anchor="t" anchorCtr="0" compatLnSpc="1">
              <a:prstTxWarp prst="textNoShape">
                <a:avLst/>
              </a:prstTxWarp>
            </a:bodyPr>
            <a:lstStyle/>
            <a:p>
              <a:pPr algn="ctr" defTabSz="1166036" fontAlgn="base">
                <a:spcBef>
                  <a:spcPct val="0"/>
                </a:spcBef>
                <a:spcAft>
                  <a:spcPct val="0"/>
                </a:spcAft>
              </a:pPr>
              <a:endParaRPr lang="en-US" sz="3061" b="1">
                <a:latin typeface="Arial Narrow" charset="0"/>
              </a:endParaRPr>
            </a:p>
          </p:txBody>
        </p:sp>
        <p:cxnSp>
          <p:nvCxnSpPr>
            <p:cNvPr id="30" name="Straight Arrow Connector 29">
              <a:extLst>
                <a:ext uri="{FF2B5EF4-FFF2-40B4-BE49-F238E27FC236}">
                  <a16:creationId xmlns:a16="http://schemas.microsoft.com/office/drawing/2014/main" id="{7ECC391D-C64A-AA4F-B9E3-08EE3784B765}"/>
                </a:ext>
              </a:extLst>
            </p:cNvPr>
            <p:cNvCxnSpPr>
              <a:cxnSpLocks/>
              <a:stCxn id="29" idx="0"/>
              <a:endCxn id="12" idx="4"/>
            </p:cNvCxnSpPr>
            <p:nvPr/>
          </p:nvCxnSpPr>
          <p:spPr>
            <a:xfrm flipH="1" flipV="1">
              <a:off x="4211506" y="4206845"/>
              <a:ext cx="81879" cy="529184"/>
            </a:xfrm>
            <a:prstGeom prst="straightConnector1">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1" name="Oval 30">
              <a:extLst>
                <a:ext uri="{FF2B5EF4-FFF2-40B4-BE49-F238E27FC236}">
                  <a16:creationId xmlns:a16="http://schemas.microsoft.com/office/drawing/2014/main" id="{ADD79E34-E052-B94C-BA87-C159DA19E55B}"/>
                </a:ext>
              </a:extLst>
            </p:cNvPr>
            <p:cNvSpPr/>
            <p:nvPr/>
          </p:nvSpPr>
          <p:spPr bwMode="auto">
            <a:xfrm>
              <a:off x="5617907" y="4301100"/>
              <a:ext cx="388620" cy="291541"/>
            </a:xfrm>
            <a:prstGeom prst="ellipse">
              <a:avLst/>
            </a:prstGeom>
            <a:solidFill>
              <a:schemeClr val="accent1">
                <a:lumMod val="60000"/>
                <a:lumOff val="40000"/>
              </a:schemeClr>
            </a:solidFill>
            <a:ln w="12700" cap="flat" cmpd="sng" algn="ctr">
              <a:solidFill>
                <a:schemeClr val="tx1"/>
              </a:solidFill>
              <a:prstDash val="solid"/>
              <a:round/>
              <a:headEnd type="none" w="med" len="med"/>
              <a:tailEnd type="none" w="med" len="med"/>
            </a:ln>
            <a:effectLst/>
          </p:spPr>
          <p:txBody>
            <a:bodyPr vert="horz" wrap="square" lIns="116616" tIns="58308" rIns="116616" bIns="58308" numCol="1" rtlCol="0" anchor="t" anchorCtr="0" compatLnSpc="1">
              <a:prstTxWarp prst="textNoShape">
                <a:avLst/>
              </a:prstTxWarp>
            </a:bodyPr>
            <a:lstStyle/>
            <a:p>
              <a:pPr algn="ctr" defTabSz="1166036" fontAlgn="base">
                <a:spcBef>
                  <a:spcPct val="0"/>
                </a:spcBef>
                <a:spcAft>
                  <a:spcPct val="0"/>
                </a:spcAft>
              </a:pPr>
              <a:endParaRPr lang="en-US" sz="3061" b="1">
                <a:latin typeface="Arial Narrow" charset="0"/>
              </a:endParaRPr>
            </a:p>
          </p:txBody>
        </p:sp>
        <p:sp>
          <p:nvSpPr>
            <p:cNvPr id="32" name="Oval 31">
              <a:extLst>
                <a:ext uri="{FF2B5EF4-FFF2-40B4-BE49-F238E27FC236}">
                  <a16:creationId xmlns:a16="http://schemas.microsoft.com/office/drawing/2014/main" id="{6FFFCCCE-7B59-3741-839F-B52B75AEE331}"/>
                </a:ext>
              </a:extLst>
            </p:cNvPr>
            <p:cNvSpPr/>
            <p:nvPr/>
          </p:nvSpPr>
          <p:spPr bwMode="auto">
            <a:xfrm>
              <a:off x="5077863" y="4311487"/>
              <a:ext cx="388620" cy="291541"/>
            </a:xfrm>
            <a:prstGeom prst="ellipse">
              <a:avLst/>
            </a:prstGeom>
            <a:solidFill>
              <a:schemeClr val="accent1">
                <a:lumMod val="60000"/>
                <a:lumOff val="40000"/>
              </a:schemeClr>
            </a:solidFill>
            <a:ln w="12700" cap="flat" cmpd="sng" algn="ctr">
              <a:solidFill>
                <a:schemeClr val="tx1"/>
              </a:solidFill>
              <a:prstDash val="solid"/>
              <a:round/>
              <a:headEnd type="none" w="med" len="med"/>
              <a:tailEnd type="none" w="med" len="med"/>
            </a:ln>
            <a:effectLst/>
          </p:spPr>
          <p:txBody>
            <a:bodyPr vert="horz" wrap="square" lIns="116616" tIns="58308" rIns="116616" bIns="58308" numCol="1" rtlCol="0" anchor="t" anchorCtr="0" compatLnSpc="1">
              <a:prstTxWarp prst="textNoShape">
                <a:avLst/>
              </a:prstTxWarp>
            </a:bodyPr>
            <a:lstStyle/>
            <a:p>
              <a:pPr algn="ctr" defTabSz="1166036" fontAlgn="base">
                <a:spcBef>
                  <a:spcPct val="0"/>
                </a:spcBef>
                <a:spcAft>
                  <a:spcPct val="0"/>
                </a:spcAft>
              </a:pPr>
              <a:endParaRPr lang="en-US" sz="3061" b="1">
                <a:latin typeface="Arial Narrow" charset="0"/>
              </a:endParaRPr>
            </a:p>
          </p:txBody>
        </p:sp>
        <p:cxnSp>
          <p:nvCxnSpPr>
            <p:cNvPr id="33" name="Straight Arrow Connector 32">
              <a:extLst>
                <a:ext uri="{FF2B5EF4-FFF2-40B4-BE49-F238E27FC236}">
                  <a16:creationId xmlns:a16="http://schemas.microsoft.com/office/drawing/2014/main" id="{A2795E5D-75DE-3E47-B5F1-A412667A9756}"/>
                </a:ext>
              </a:extLst>
            </p:cNvPr>
            <p:cNvCxnSpPr>
              <a:cxnSpLocks/>
              <a:stCxn id="14" idx="4"/>
              <a:endCxn id="31" idx="0"/>
            </p:cNvCxnSpPr>
            <p:nvPr/>
          </p:nvCxnSpPr>
          <p:spPr>
            <a:xfrm>
              <a:off x="5291307" y="4132513"/>
              <a:ext cx="520910" cy="168587"/>
            </a:xfrm>
            <a:prstGeom prst="straightConnector1">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4" name="Straight Arrow Connector 33">
              <a:extLst>
                <a:ext uri="{FF2B5EF4-FFF2-40B4-BE49-F238E27FC236}">
                  <a16:creationId xmlns:a16="http://schemas.microsoft.com/office/drawing/2014/main" id="{4F8A6517-C3D0-1D4C-B5F0-E202CB805B9C}"/>
                </a:ext>
              </a:extLst>
            </p:cNvPr>
            <p:cNvCxnSpPr>
              <a:cxnSpLocks/>
              <a:stCxn id="14" idx="4"/>
              <a:endCxn id="32" idx="0"/>
            </p:cNvCxnSpPr>
            <p:nvPr/>
          </p:nvCxnSpPr>
          <p:spPr>
            <a:xfrm flipH="1">
              <a:off x="5272173" y="4132513"/>
              <a:ext cx="19134" cy="178974"/>
            </a:xfrm>
            <a:prstGeom prst="straightConnector1">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5" name="Oval 34">
              <a:extLst>
                <a:ext uri="{FF2B5EF4-FFF2-40B4-BE49-F238E27FC236}">
                  <a16:creationId xmlns:a16="http://schemas.microsoft.com/office/drawing/2014/main" id="{D4786AE4-B455-0D46-8BE6-A9139AE437DC}"/>
                </a:ext>
              </a:extLst>
            </p:cNvPr>
            <p:cNvSpPr/>
            <p:nvPr/>
          </p:nvSpPr>
          <p:spPr bwMode="auto">
            <a:xfrm>
              <a:off x="5628407" y="3741798"/>
              <a:ext cx="388620" cy="291541"/>
            </a:xfrm>
            <a:prstGeom prst="ellipse">
              <a:avLst/>
            </a:prstGeom>
            <a:solidFill>
              <a:schemeClr val="bg1">
                <a:lumMod val="65000"/>
              </a:schemeClr>
            </a:solidFill>
            <a:ln w="12700" cap="flat" cmpd="sng" algn="ctr">
              <a:solidFill>
                <a:schemeClr val="tx1"/>
              </a:solidFill>
              <a:prstDash val="solid"/>
              <a:round/>
              <a:headEnd type="none" w="med" len="med"/>
              <a:tailEnd type="none" w="med" len="med"/>
            </a:ln>
            <a:effectLst/>
          </p:spPr>
          <p:txBody>
            <a:bodyPr vert="horz" wrap="square" lIns="116616" tIns="58308" rIns="116616" bIns="58308" numCol="1" rtlCol="0" anchor="t" anchorCtr="0" compatLnSpc="1">
              <a:prstTxWarp prst="textNoShape">
                <a:avLst/>
              </a:prstTxWarp>
            </a:bodyPr>
            <a:lstStyle/>
            <a:p>
              <a:pPr algn="ctr" defTabSz="1166036" fontAlgn="base">
                <a:spcBef>
                  <a:spcPct val="0"/>
                </a:spcBef>
                <a:spcAft>
                  <a:spcPct val="0"/>
                </a:spcAft>
              </a:pPr>
              <a:endParaRPr lang="en-US" sz="3061" b="1">
                <a:latin typeface="Arial Narrow" charset="0"/>
              </a:endParaRPr>
            </a:p>
          </p:txBody>
        </p:sp>
        <p:cxnSp>
          <p:nvCxnSpPr>
            <p:cNvPr id="36" name="Straight Arrow Connector 35">
              <a:extLst>
                <a:ext uri="{FF2B5EF4-FFF2-40B4-BE49-F238E27FC236}">
                  <a16:creationId xmlns:a16="http://schemas.microsoft.com/office/drawing/2014/main" id="{4D969CEC-E82E-9649-B086-8404BCDC698F}"/>
                </a:ext>
              </a:extLst>
            </p:cNvPr>
            <p:cNvCxnSpPr>
              <a:cxnSpLocks/>
              <a:stCxn id="6" idx="5"/>
              <a:endCxn id="35" idx="1"/>
            </p:cNvCxnSpPr>
            <p:nvPr/>
          </p:nvCxnSpPr>
          <p:spPr>
            <a:xfrm>
              <a:off x="4638025" y="3296899"/>
              <a:ext cx="1047294" cy="487594"/>
            </a:xfrm>
            <a:prstGeom prst="straightConnector1">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37" name="TextBox 36">
            <a:extLst>
              <a:ext uri="{FF2B5EF4-FFF2-40B4-BE49-F238E27FC236}">
                <a16:creationId xmlns:a16="http://schemas.microsoft.com/office/drawing/2014/main" id="{59914907-DB0E-2B4D-B054-E64229AF19C8}"/>
              </a:ext>
            </a:extLst>
          </p:cNvPr>
          <p:cNvSpPr txBox="1"/>
          <p:nvPr/>
        </p:nvSpPr>
        <p:spPr>
          <a:xfrm>
            <a:off x="3277037" y="2016865"/>
            <a:ext cx="2392001" cy="464614"/>
          </a:xfrm>
          <a:prstGeom prst="rect">
            <a:avLst/>
          </a:prstGeom>
          <a:noFill/>
        </p:spPr>
        <p:txBody>
          <a:bodyPr wrap="none" rtlCol="0">
            <a:spAutoFit/>
          </a:bodyPr>
          <a:lstStyle/>
          <a:p>
            <a:pPr algn="ctr"/>
            <a:r>
              <a:rPr lang="en-US" b="1" dirty="0"/>
              <a:t>Customer Data</a:t>
            </a:r>
          </a:p>
        </p:txBody>
      </p:sp>
      <p:sp>
        <p:nvSpPr>
          <p:cNvPr id="38" name="TextBox 37">
            <a:extLst>
              <a:ext uri="{FF2B5EF4-FFF2-40B4-BE49-F238E27FC236}">
                <a16:creationId xmlns:a16="http://schemas.microsoft.com/office/drawing/2014/main" id="{BAFDA27D-6E46-1043-8150-49C36D9F5B8F}"/>
              </a:ext>
            </a:extLst>
          </p:cNvPr>
          <p:cNvSpPr txBox="1"/>
          <p:nvPr/>
        </p:nvSpPr>
        <p:spPr>
          <a:xfrm>
            <a:off x="11565768" y="2072405"/>
            <a:ext cx="1713354" cy="836896"/>
          </a:xfrm>
          <a:prstGeom prst="rect">
            <a:avLst/>
          </a:prstGeom>
          <a:noFill/>
        </p:spPr>
        <p:txBody>
          <a:bodyPr wrap="none" rtlCol="0">
            <a:spAutoFit/>
          </a:bodyPr>
          <a:lstStyle/>
          <a:p>
            <a:pPr algn="ctr"/>
            <a:r>
              <a:rPr lang="en-US" b="1" dirty="0"/>
              <a:t>Product</a:t>
            </a:r>
          </a:p>
          <a:p>
            <a:pPr algn="ctr"/>
            <a:r>
              <a:rPr lang="en-US" b="1" dirty="0"/>
              <a:t>Taxonomy</a:t>
            </a:r>
          </a:p>
        </p:txBody>
      </p:sp>
      <p:grpSp>
        <p:nvGrpSpPr>
          <p:cNvPr id="78" name="Group 77">
            <a:extLst>
              <a:ext uri="{FF2B5EF4-FFF2-40B4-BE49-F238E27FC236}">
                <a16:creationId xmlns:a16="http://schemas.microsoft.com/office/drawing/2014/main" id="{A74B2595-0F75-054E-A0CC-DCBFCB79F84C}"/>
              </a:ext>
            </a:extLst>
          </p:cNvPr>
          <p:cNvGrpSpPr/>
          <p:nvPr/>
        </p:nvGrpSpPr>
        <p:grpSpPr>
          <a:xfrm>
            <a:off x="10160522" y="3225209"/>
            <a:ext cx="4467310" cy="3158012"/>
            <a:chOff x="10548660" y="2962731"/>
            <a:chExt cx="3634150" cy="2077944"/>
          </a:xfrm>
        </p:grpSpPr>
        <p:sp>
          <p:nvSpPr>
            <p:cNvPr id="39" name="Oval 38">
              <a:extLst>
                <a:ext uri="{FF2B5EF4-FFF2-40B4-BE49-F238E27FC236}">
                  <a16:creationId xmlns:a16="http://schemas.microsoft.com/office/drawing/2014/main" id="{A6338952-33F0-664F-9F8E-DD42F22B7C76}"/>
                </a:ext>
              </a:extLst>
            </p:cNvPr>
            <p:cNvSpPr/>
            <p:nvPr/>
          </p:nvSpPr>
          <p:spPr bwMode="auto">
            <a:xfrm>
              <a:off x="11670264" y="2962731"/>
              <a:ext cx="1384140" cy="317442"/>
            </a:xfrm>
            <a:prstGeom prst="ellipse">
              <a:avLst/>
            </a:prstGeom>
            <a:solidFill>
              <a:schemeClr val="accent1"/>
            </a:solidFill>
            <a:ln w="12700" cap="flat" cmpd="sng" algn="ctr">
              <a:solidFill>
                <a:schemeClr val="tx1"/>
              </a:solidFill>
              <a:prstDash val="solid"/>
              <a:round/>
              <a:headEnd type="none" w="med" len="med"/>
              <a:tailEnd type="none" w="med" len="med"/>
            </a:ln>
            <a:effectLst/>
          </p:spPr>
          <p:txBody>
            <a:bodyPr vert="horz" wrap="none" lIns="116616" tIns="58308" rIns="116616" bIns="58308" numCol="1" rtlCol="0" anchor="ctr" anchorCtr="0" compatLnSpc="1">
              <a:prstTxWarp prst="textNoShape">
                <a:avLst/>
              </a:prstTxWarp>
            </a:bodyPr>
            <a:lstStyle/>
            <a:p>
              <a:pPr algn="ctr" defTabSz="1166036" fontAlgn="base">
                <a:spcBef>
                  <a:spcPct val="0"/>
                </a:spcBef>
                <a:spcAft>
                  <a:spcPct val="0"/>
                </a:spcAft>
              </a:pPr>
              <a:r>
                <a:rPr lang="en-US" sz="1800" b="1" dirty="0">
                  <a:solidFill>
                    <a:schemeClr val="bg1"/>
                  </a:solidFill>
                  <a:latin typeface="Arial Narrow" charset="0"/>
                </a:rPr>
                <a:t>Products</a:t>
              </a:r>
            </a:p>
          </p:txBody>
        </p:sp>
        <p:sp>
          <p:nvSpPr>
            <p:cNvPr id="40" name="Oval 39">
              <a:extLst>
                <a:ext uri="{FF2B5EF4-FFF2-40B4-BE49-F238E27FC236}">
                  <a16:creationId xmlns:a16="http://schemas.microsoft.com/office/drawing/2014/main" id="{1AB973F0-E61C-6C47-926B-94598ECD0B7F}"/>
                </a:ext>
              </a:extLst>
            </p:cNvPr>
            <p:cNvSpPr/>
            <p:nvPr/>
          </p:nvSpPr>
          <p:spPr bwMode="auto">
            <a:xfrm>
              <a:off x="11265806" y="3871104"/>
              <a:ext cx="388620" cy="291541"/>
            </a:xfrm>
            <a:prstGeom prst="ellipse">
              <a:avLst/>
            </a:prstGeom>
            <a:solidFill>
              <a:schemeClr val="accent2"/>
            </a:solidFill>
            <a:ln w="12700" cap="flat" cmpd="sng" algn="ctr">
              <a:solidFill>
                <a:schemeClr val="tx1"/>
              </a:solidFill>
              <a:prstDash val="solid"/>
              <a:round/>
              <a:headEnd type="none" w="med" len="med"/>
              <a:tailEnd type="none" w="med" len="med"/>
            </a:ln>
            <a:effectLst/>
          </p:spPr>
          <p:txBody>
            <a:bodyPr vert="horz" wrap="none" lIns="116616" tIns="58308" rIns="116616" bIns="58308" numCol="1" rtlCol="0" anchor="ctr" anchorCtr="0" compatLnSpc="1">
              <a:prstTxWarp prst="textNoShape">
                <a:avLst/>
              </a:prstTxWarp>
            </a:bodyPr>
            <a:lstStyle/>
            <a:p>
              <a:pPr algn="ctr" defTabSz="1166036" fontAlgn="base">
                <a:spcBef>
                  <a:spcPct val="0"/>
                </a:spcBef>
                <a:spcAft>
                  <a:spcPct val="0"/>
                </a:spcAft>
              </a:pPr>
              <a:r>
                <a:rPr lang="en-US" sz="1600" b="1" dirty="0">
                  <a:latin typeface="Arial Narrow" charset="0"/>
                </a:rPr>
                <a:t>C1</a:t>
              </a:r>
            </a:p>
          </p:txBody>
        </p:sp>
        <p:sp>
          <p:nvSpPr>
            <p:cNvPr id="41" name="Oval 40">
              <a:extLst>
                <a:ext uri="{FF2B5EF4-FFF2-40B4-BE49-F238E27FC236}">
                  <a16:creationId xmlns:a16="http://schemas.microsoft.com/office/drawing/2014/main" id="{85692C97-9DF0-5642-94E6-5DDF900D6513}"/>
                </a:ext>
              </a:extLst>
            </p:cNvPr>
            <p:cNvSpPr/>
            <p:nvPr/>
          </p:nvSpPr>
          <p:spPr bwMode="auto">
            <a:xfrm>
              <a:off x="12543518" y="3871104"/>
              <a:ext cx="388620" cy="291541"/>
            </a:xfrm>
            <a:prstGeom prst="ellipse">
              <a:avLst/>
            </a:prstGeom>
            <a:solidFill>
              <a:schemeClr val="accent2"/>
            </a:solidFill>
            <a:ln w="12700" cap="flat" cmpd="sng" algn="ctr">
              <a:solidFill>
                <a:schemeClr val="tx1"/>
              </a:solidFill>
              <a:prstDash val="solid"/>
              <a:round/>
              <a:headEnd type="none" w="med" len="med"/>
              <a:tailEnd type="none" w="med" len="med"/>
            </a:ln>
            <a:effectLst/>
          </p:spPr>
          <p:txBody>
            <a:bodyPr vert="horz" wrap="none" lIns="116616" tIns="58308" rIns="116616" bIns="58308" numCol="1" rtlCol="0" anchor="ctr" anchorCtr="0" compatLnSpc="1">
              <a:prstTxWarp prst="textNoShape">
                <a:avLst/>
              </a:prstTxWarp>
            </a:bodyPr>
            <a:lstStyle/>
            <a:p>
              <a:pPr algn="ctr" defTabSz="1166036" fontAlgn="base">
                <a:spcBef>
                  <a:spcPct val="0"/>
                </a:spcBef>
                <a:spcAft>
                  <a:spcPct val="0"/>
                </a:spcAft>
              </a:pPr>
              <a:r>
                <a:rPr lang="en-US" sz="1600" b="1" dirty="0">
                  <a:latin typeface="Arial Narrow" charset="0"/>
                </a:rPr>
                <a:t>C3</a:t>
              </a:r>
            </a:p>
          </p:txBody>
        </p:sp>
        <p:sp>
          <p:nvSpPr>
            <p:cNvPr id="42" name="Oval 41">
              <a:extLst>
                <a:ext uri="{FF2B5EF4-FFF2-40B4-BE49-F238E27FC236}">
                  <a16:creationId xmlns:a16="http://schemas.microsoft.com/office/drawing/2014/main" id="{1E140A6D-4ACD-BB4E-9FDA-8B96EEF7C774}"/>
                </a:ext>
              </a:extLst>
            </p:cNvPr>
            <p:cNvSpPr/>
            <p:nvPr/>
          </p:nvSpPr>
          <p:spPr bwMode="auto">
            <a:xfrm>
              <a:off x="10548660" y="4749134"/>
              <a:ext cx="388620" cy="291541"/>
            </a:xfrm>
            <a:prstGeom prst="ellipse">
              <a:avLst/>
            </a:prstGeom>
            <a:solidFill>
              <a:schemeClr val="bg1">
                <a:lumMod val="50000"/>
              </a:schemeClr>
            </a:solidFill>
            <a:ln w="12700" cap="flat" cmpd="sng" algn="ctr">
              <a:solidFill>
                <a:schemeClr val="tx1"/>
              </a:solidFill>
              <a:prstDash val="solid"/>
              <a:round/>
              <a:headEnd type="none" w="med" len="med"/>
              <a:tailEnd type="none" w="med" len="med"/>
            </a:ln>
            <a:effectLst/>
          </p:spPr>
          <p:txBody>
            <a:bodyPr vert="horz" wrap="none" lIns="116616" tIns="58308" rIns="116616" bIns="58308" numCol="1" rtlCol="0" anchor="ctr" anchorCtr="0" compatLnSpc="1">
              <a:prstTxWarp prst="textNoShape">
                <a:avLst/>
              </a:prstTxWarp>
            </a:bodyPr>
            <a:lstStyle/>
            <a:p>
              <a:pPr algn="ctr" defTabSz="1166036" fontAlgn="base">
                <a:spcBef>
                  <a:spcPct val="0"/>
                </a:spcBef>
                <a:spcAft>
                  <a:spcPct val="0"/>
                </a:spcAft>
              </a:pPr>
              <a:r>
                <a:rPr lang="en-US" sz="1600" b="1" dirty="0">
                  <a:solidFill>
                    <a:schemeClr val="bg1"/>
                  </a:solidFill>
                  <a:latin typeface="Arial Narrow" charset="0"/>
                </a:rPr>
                <a:t>P1</a:t>
              </a:r>
            </a:p>
          </p:txBody>
        </p:sp>
        <p:sp>
          <p:nvSpPr>
            <p:cNvPr id="43" name="Oval 42">
              <a:extLst>
                <a:ext uri="{FF2B5EF4-FFF2-40B4-BE49-F238E27FC236}">
                  <a16:creationId xmlns:a16="http://schemas.microsoft.com/office/drawing/2014/main" id="{FC2A3D2E-44DD-1F47-BBD1-E819FA150628}"/>
                </a:ext>
              </a:extLst>
            </p:cNvPr>
            <p:cNvSpPr/>
            <p:nvPr/>
          </p:nvSpPr>
          <p:spPr bwMode="auto">
            <a:xfrm>
              <a:off x="11904662" y="3871104"/>
              <a:ext cx="388620" cy="291541"/>
            </a:xfrm>
            <a:prstGeom prst="ellipse">
              <a:avLst/>
            </a:prstGeom>
            <a:solidFill>
              <a:schemeClr val="accent2"/>
            </a:solidFill>
            <a:ln w="12700" cap="flat" cmpd="sng" algn="ctr">
              <a:solidFill>
                <a:schemeClr val="tx1"/>
              </a:solidFill>
              <a:prstDash val="solid"/>
              <a:round/>
              <a:headEnd type="none" w="med" len="med"/>
              <a:tailEnd type="none" w="med" len="med"/>
            </a:ln>
            <a:effectLst/>
          </p:spPr>
          <p:txBody>
            <a:bodyPr vert="horz" wrap="none" lIns="116616" tIns="58308" rIns="116616" bIns="58308" numCol="1" rtlCol="0" anchor="ctr" anchorCtr="0" compatLnSpc="1">
              <a:prstTxWarp prst="textNoShape">
                <a:avLst/>
              </a:prstTxWarp>
            </a:bodyPr>
            <a:lstStyle/>
            <a:p>
              <a:pPr algn="ctr" defTabSz="1166036" fontAlgn="base">
                <a:spcBef>
                  <a:spcPct val="0"/>
                </a:spcBef>
                <a:spcAft>
                  <a:spcPct val="0"/>
                </a:spcAft>
              </a:pPr>
              <a:r>
                <a:rPr lang="en-US" sz="1600" b="1" dirty="0">
                  <a:latin typeface="Arial Narrow" charset="0"/>
                </a:rPr>
                <a:t>C2</a:t>
              </a:r>
            </a:p>
          </p:txBody>
        </p:sp>
        <p:sp>
          <p:nvSpPr>
            <p:cNvPr id="44" name="Oval 43">
              <a:extLst>
                <a:ext uri="{FF2B5EF4-FFF2-40B4-BE49-F238E27FC236}">
                  <a16:creationId xmlns:a16="http://schemas.microsoft.com/office/drawing/2014/main" id="{77ABACF8-E5C1-1D43-B369-95BD3570CFC8}"/>
                </a:ext>
              </a:extLst>
            </p:cNvPr>
            <p:cNvSpPr/>
            <p:nvPr/>
          </p:nvSpPr>
          <p:spPr bwMode="auto">
            <a:xfrm>
              <a:off x="13182375" y="3871104"/>
              <a:ext cx="388620" cy="291541"/>
            </a:xfrm>
            <a:prstGeom prst="ellipse">
              <a:avLst/>
            </a:prstGeom>
            <a:solidFill>
              <a:schemeClr val="accent2"/>
            </a:solidFill>
            <a:ln w="12700" cap="flat" cmpd="sng" algn="ctr">
              <a:solidFill>
                <a:schemeClr val="tx1"/>
              </a:solidFill>
              <a:prstDash val="solid"/>
              <a:round/>
              <a:headEnd type="none" w="med" len="med"/>
              <a:tailEnd type="none" w="med" len="med"/>
            </a:ln>
            <a:effectLst/>
          </p:spPr>
          <p:txBody>
            <a:bodyPr vert="horz" wrap="none" lIns="116616" tIns="58308" rIns="116616" bIns="58308" numCol="1" rtlCol="0" anchor="ctr" anchorCtr="0" compatLnSpc="1">
              <a:prstTxWarp prst="textNoShape">
                <a:avLst/>
              </a:prstTxWarp>
            </a:bodyPr>
            <a:lstStyle/>
            <a:p>
              <a:pPr algn="ctr" defTabSz="1166036" fontAlgn="base">
                <a:spcBef>
                  <a:spcPct val="0"/>
                </a:spcBef>
                <a:spcAft>
                  <a:spcPct val="0"/>
                </a:spcAft>
              </a:pPr>
              <a:r>
                <a:rPr lang="en-US" sz="1600" b="1" dirty="0">
                  <a:latin typeface="Arial Narrow" charset="0"/>
                </a:rPr>
                <a:t>C4</a:t>
              </a:r>
            </a:p>
          </p:txBody>
        </p:sp>
        <p:cxnSp>
          <p:nvCxnSpPr>
            <p:cNvPr id="45" name="Straight Arrow Connector 44">
              <a:extLst>
                <a:ext uri="{FF2B5EF4-FFF2-40B4-BE49-F238E27FC236}">
                  <a16:creationId xmlns:a16="http://schemas.microsoft.com/office/drawing/2014/main" id="{659FA2A4-B80B-2F47-B4F3-D9C22A4E92C8}"/>
                </a:ext>
              </a:extLst>
            </p:cNvPr>
            <p:cNvCxnSpPr>
              <a:cxnSpLocks/>
              <a:stCxn id="39" idx="4"/>
              <a:endCxn id="44" idx="1"/>
            </p:cNvCxnSpPr>
            <p:nvPr/>
          </p:nvCxnSpPr>
          <p:spPr>
            <a:xfrm>
              <a:off x="12362334" y="3280173"/>
              <a:ext cx="876954" cy="633626"/>
            </a:xfrm>
            <a:prstGeom prst="straightConnector1">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6" name="Straight Arrow Connector 45">
              <a:extLst>
                <a:ext uri="{FF2B5EF4-FFF2-40B4-BE49-F238E27FC236}">
                  <a16:creationId xmlns:a16="http://schemas.microsoft.com/office/drawing/2014/main" id="{F189EFFC-9608-4540-AB5F-6ECFF5FBD09C}"/>
                </a:ext>
              </a:extLst>
            </p:cNvPr>
            <p:cNvCxnSpPr>
              <a:cxnSpLocks/>
              <a:stCxn id="43" idx="0"/>
              <a:endCxn id="39" idx="4"/>
            </p:cNvCxnSpPr>
            <p:nvPr/>
          </p:nvCxnSpPr>
          <p:spPr>
            <a:xfrm flipV="1">
              <a:off x="12098972" y="3280173"/>
              <a:ext cx="263362" cy="590931"/>
            </a:xfrm>
            <a:prstGeom prst="straightConnector1">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7" name="Straight Arrow Connector 46">
              <a:extLst>
                <a:ext uri="{FF2B5EF4-FFF2-40B4-BE49-F238E27FC236}">
                  <a16:creationId xmlns:a16="http://schemas.microsoft.com/office/drawing/2014/main" id="{39394AB0-12D8-8848-B3F7-7597B476EE85}"/>
                </a:ext>
              </a:extLst>
            </p:cNvPr>
            <p:cNvCxnSpPr>
              <a:cxnSpLocks/>
              <a:stCxn id="39" idx="4"/>
              <a:endCxn id="40" idx="7"/>
            </p:cNvCxnSpPr>
            <p:nvPr/>
          </p:nvCxnSpPr>
          <p:spPr>
            <a:xfrm flipH="1">
              <a:off x="11597513" y="3280173"/>
              <a:ext cx="764820" cy="633626"/>
            </a:xfrm>
            <a:prstGeom prst="straightConnector1">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8" name="Straight Arrow Connector 47">
              <a:extLst>
                <a:ext uri="{FF2B5EF4-FFF2-40B4-BE49-F238E27FC236}">
                  <a16:creationId xmlns:a16="http://schemas.microsoft.com/office/drawing/2014/main" id="{7E36D982-308B-1F4F-A624-5D1A0CAF5AB3}"/>
                </a:ext>
              </a:extLst>
            </p:cNvPr>
            <p:cNvCxnSpPr>
              <a:cxnSpLocks/>
              <a:stCxn id="40" idx="4"/>
              <a:endCxn id="42" idx="7"/>
            </p:cNvCxnSpPr>
            <p:nvPr/>
          </p:nvCxnSpPr>
          <p:spPr>
            <a:xfrm flipH="1">
              <a:off x="10880368" y="4162645"/>
              <a:ext cx="579748" cy="629184"/>
            </a:xfrm>
            <a:prstGeom prst="straightConnector1">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9" name="Straight Arrow Connector 48">
              <a:extLst>
                <a:ext uri="{FF2B5EF4-FFF2-40B4-BE49-F238E27FC236}">
                  <a16:creationId xmlns:a16="http://schemas.microsoft.com/office/drawing/2014/main" id="{88CE3094-1D99-3E4A-A328-E841A2321905}"/>
                </a:ext>
              </a:extLst>
            </p:cNvPr>
            <p:cNvCxnSpPr>
              <a:cxnSpLocks/>
              <a:stCxn id="41" idx="0"/>
              <a:endCxn id="39" idx="4"/>
            </p:cNvCxnSpPr>
            <p:nvPr/>
          </p:nvCxnSpPr>
          <p:spPr>
            <a:xfrm flipH="1" flipV="1">
              <a:off x="12362334" y="3280173"/>
              <a:ext cx="375494" cy="590931"/>
            </a:xfrm>
            <a:prstGeom prst="straightConnector1">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50" name="Oval 49">
              <a:extLst>
                <a:ext uri="{FF2B5EF4-FFF2-40B4-BE49-F238E27FC236}">
                  <a16:creationId xmlns:a16="http://schemas.microsoft.com/office/drawing/2014/main" id="{38010D6A-7609-F545-B0BE-9190FDE7AC0E}"/>
                </a:ext>
              </a:extLst>
            </p:cNvPr>
            <p:cNvSpPr/>
            <p:nvPr/>
          </p:nvSpPr>
          <p:spPr bwMode="auto">
            <a:xfrm>
              <a:off x="12403248" y="4749134"/>
              <a:ext cx="388620" cy="291541"/>
            </a:xfrm>
            <a:prstGeom prst="ellipse">
              <a:avLst/>
            </a:prstGeom>
            <a:solidFill>
              <a:schemeClr val="bg1">
                <a:lumMod val="50000"/>
              </a:schemeClr>
            </a:solidFill>
            <a:ln w="12700" cap="flat" cmpd="sng" algn="ctr">
              <a:solidFill>
                <a:schemeClr val="tx1"/>
              </a:solidFill>
              <a:prstDash val="solid"/>
              <a:round/>
              <a:headEnd type="none" w="med" len="med"/>
              <a:tailEnd type="none" w="med" len="med"/>
            </a:ln>
            <a:effectLst/>
          </p:spPr>
          <p:txBody>
            <a:bodyPr vert="horz" wrap="none" lIns="116616" tIns="58308" rIns="116616" bIns="58308" numCol="1" rtlCol="0" anchor="ctr" anchorCtr="0" compatLnSpc="1">
              <a:prstTxWarp prst="textNoShape">
                <a:avLst/>
              </a:prstTxWarp>
            </a:bodyPr>
            <a:lstStyle/>
            <a:p>
              <a:pPr algn="ctr" defTabSz="1166036" fontAlgn="base">
                <a:spcBef>
                  <a:spcPct val="0"/>
                </a:spcBef>
                <a:spcAft>
                  <a:spcPct val="0"/>
                </a:spcAft>
              </a:pPr>
              <a:r>
                <a:rPr lang="en-US" sz="1600" b="1" dirty="0">
                  <a:solidFill>
                    <a:schemeClr val="bg1"/>
                  </a:solidFill>
                  <a:latin typeface="Arial Narrow" charset="0"/>
                </a:rPr>
                <a:t>P5</a:t>
              </a:r>
            </a:p>
          </p:txBody>
        </p:sp>
        <p:cxnSp>
          <p:nvCxnSpPr>
            <p:cNvPr id="51" name="Straight Arrow Connector 50">
              <a:extLst>
                <a:ext uri="{FF2B5EF4-FFF2-40B4-BE49-F238E27FC236}">
                  <a16:creationId xmlns:a16="http://schemas.microsoft.com/office/drawing/2014/main" id="{803A24C9-7B3A-644D-9F30-D029D2489B15}"/>
                </a:ext>
              </a:extLst>
            </p:cNvPr>
            <p:cNvCxnSpPr>
              <a:cxnSpLocks/>
              <a:stCxn id="50" idx="0"/>
              <a:endCxn id="41" idx="4"/>
            </p:cNvCxnSpPr>
            <p:nvPr/>
          </p:nvCxnSpPr>
          <p:spPr>
            <a:xfrm flipV="1">
              <a:off x="12597558" y="4162645"/>
              <a:ext cx="140270" cy="586489"/>
            </a:xfrm>
            <a:prstGeom prst="straightConnector1">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52" name="Oval 51">
              <a:extLst>
                <a:ext uri="{FF2B5EF4-FFF2-40B4-BE49-F238E27FC236}">
                  <a16:creationId xmlns:a16="http://schemas.microsoft.com/office/drawing/2014/main" id="{A6F4FA13-5BB0-B740-910E-8278DC15F6F1}"/>
                </a:ext>
              </a:extLst>
            </p:cNvPr>
            <p:cNvSpPr/>
            <p:nvPr/>
          </p:nvSpPr>
          <p:spPr bwMode="auto">
            <a:xfrm>
              <a:off x="11012307" y="4749134"/>
              <a:ext cx="388620" cy="291541"/>
            </a:xfrm>
            <a:prstGeom prst="ellipse">
              <a:avLst/>
            </a:prstGeom>
            <a:solidFill>
              <a:schemeClr val="bg1">
                <a:lumMod val="50000"/>
              </a:schemeClr>
            </a:solidFill>
            <a:ln w="12700" cap="flat" cmpd="sng" algn="ctr">
              <a:solidFill>
                <a:schemeClr val="tx1"/>
              </a:solidFill>
              <a:prstDash val="solid"/>
              <a:round/>
              <a:headEnd type="none" w="med" len="med"/>
              <a:tailEnd type="none" w="med" len="med"/>
            </a:ln>
            <a:effectLst/>
          </p:spPr>
          <p:txBody>
            <a:bodyPr vert="horz" wrap="none" lIns="116616" tIns="58308" rIns="116616" bIns="58308" numCol="1" rtlCol="0" anchor="ctr" anchorCtr="0" compatLnSpc="1">
              <a:prstTxWarp prst="textNoShape">
                <a:avLst/>
              </a:prstTxWarp>
            </a:bodyPr>
            <a:lstStyle/>
            <a:p>
              <a:pPr algn="ctr" defTabSz="1166036" fontAlgn="base">
                <a:spcBef>
                  <a:spcPct val="0"/>
                </a:spcBef>
                <a:spcAft>
                  <a:spcPct val="0"/>
                </a:spcAft>
              </a:pPr>
              <a:r>
                <a:rPr lang="en-US" sz="1600" b="1" dirty="0">
                  <a:solidFill>
                    <a:schemeClr val="bg1"/>
                  </a:solidFill>
                  <a:latin typeface="Arial Narrow" charset="0"/>
                </a:rPr>
                <a:t>P2</a:t>
              </a:r>
            </a:p>
          </p:txBody>
        </p:sp>
        <p:cxnSp>
          <p:nvCxnSpPr>
            <p:cNvPr id="53" name="Straight Arrow Connector 52">
              <a:extLst>
                <a:ext uri="{FF2B5EF4-FFF2-40B4-BE49-F238E27FC236}">
                  <a16:creationId xmlns:a16="http://schemas.microsoft.com/office/drawing/2014/main" id="{ED2FE070-DE99-E240-8158-13548A42D4DC}"/>
                </a:ext>
              </a:extLst>
            </p:cNvPr>
            <p:cNvCxnSpPr>
              <a:cxnSpLocks/>
              <a:stCxn id="40" idx="4"/>
              <a:endCxn id="52" idx="0"/>
            </p:cNvCxnSpPr>
            <p:nvPr/>
          </p:nvCxnSpPr>
          <p:spPr>
            <a:xfrm flipH="1">
              <a:off x="11206617" y="4162645"/>
              <a:ext cx="253499" cy="586489"/>
            </a:xfrm>
            <a:prstGeom prst="straightConnector1">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54" name="Oval 53">
              <a:extLst>
                <a:ext uri="{FF2B5EF4-FFF2-40B4-BE49-F238E27FC236}">
                  <a16:creationId xmlns:a16="http://schemas.microsoft.com/office/drawing/2014/main" id="{0F31F4FC-5BFD-EC42-ABAE-65E26F5B8DDD}"/>
                </a:ext>
              </a:extLst>
            </p:cNvPr>
            <p:cNvSpPr/>
            <p:nvPr/>
          </p:nvSpPr>
          <p:spPr bwMode="auto">
            <a:xfrm>
              <a:off x="11475954" y="4749134"/>
              <a:ext cx="388620" cy="291541"/>
            </a:xfrm>
            <a:prstGeom prst="ellipse">
              <a:avLst/>
            </a:prstGeom>
            <a:solidFill>
              <a:schemeClr val="bg1">
                <a:lumMod val="50000"/>
              </a:schemeClr>
            </a:solidFill>
            <a:ln w="12700" cap="flat" cmpd="sng" algn="ctr">
              <a:solidFill>
                <a:schemeClr val="tx1"/>
              </a:solidFill>
              <a:prstDash val="solid"/>
              <a:round/>
              <a:headEnd type="none" w="med" len="med"/>
              <a:tailEnd type="none" w="med" len="med"/>
            </a:ln>
            <a:effectLst/>
          </p:spPr>
          <p:txBody>
            <a:bodyPr vert="horz" wrap="none" lIns="116616" tIns="58308" rIns="116616" bIns="58308" numCol="1" rtlCol="0" anchor="ctr" anchorCtr="0" compatLnSpc="1">
              <a:prstTxWarp prst="textNoShape">
                <a:avLst/>
              </a:prstTxWarp>
            </a:bodyPr>
            <a:lstStyle/>
            <a:p>
              <a:pPr algn="ctr" defTabSz="1166036" fontAlgn="base">
                <a:spcBef>
                  <a:spcPct val="0"/>
                </a:spcBef>
                <a:spcAft>
                  <a:spcPct val="0"/>
                </a:spcAft>
              </a:pPr>
              <a:r>
                <a:rPr lang="en-US" sz="1600" b="1" dirty="0">
                  <a:solidFill>
                    <a:schemeClr val="bg1"/>
                  </a:solidFill>
                  <a:latin typeface="Arial Narrow" charset="0"/>
                </a:rPr>
                <a:t>P3</a:t>
              </a:r>
            </a:p>
          </p:txBody>
        </p:sp>
        <p:cxnSp>
          <p:nvCxnSpPr>
            <p:cNvPr id="55" name="Straight Arrow Connector 54">
              <a:extLst>
                <a:ext uri="{FF2B5EF4-FFF2-40B4-BE49-F238E27FC236}">
                  <a16:creationId xmlns:a16="http://schemas.microsoft.com/office/drawing/2014/main" id="{DF6029F9-8EA2-4E42-8696-6B27FB783752}"/>
                </a:ext>
              </a:extLst>
            </p:cNvPr>
            <p:cNvCxnSpPr>
              <a:cxnSpLocks/>
              <a:stCxn id="54" idx="0"/>
              <a:endCxn id="43" idx="4"/>
            </p:cNvCxnSpPr>
            <p:nvPr/>
          </p:nvCxnSpPr>
          <p:spPr>
            <a:xfrm flipV="1">
              <a:off x="11670264" y="4162645"/>
              <a:ext cx="428708" cy="586489"/>
            </a:xfrm>
            <a:prstGeom prst="straightConnector1">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56" name="Oval 55">
              <a:extLst>
                <a:ext uri="{FF2B5EF4-FFF2-40B4-BE49-F238E27FC236}">
                  <a16:creationId xmlns:a16="http://schemas.microsoft.com/office/drawing/2014/main" id="{DF907494-641C-5B47-8D70-6D3A555B3C13}"/>
                </a:ext>
              </a:extLst>
            </p:cNvPr>
            <p:cNvSpPr/>
            <p:nvPr/>
          </p:nvSpPr>
          <p:spPr bwMode="auto">
            <a:xfrm>
              <a:off x="11939601" y="4749134"/>
              <a:ext cx="388620" cy="291541"/>
            </a:xfrm>
            <a:prstGeom prst="ellipse">
              <a:avLst/>
            </a:prstGeom>
            <a:solidFill>
              <a:schemeClr val="bg1">
                <a:lumMod val="50000"/>
              </a:schemeClr>
            </a:solidFill>
            <a:ln w="12700" cap="flat" cmpd="sng" algn="ctr">
              <a:solidFill>
                <a:schemeClr val="tx1"/>
              </a:solidFill>
              <a:prstDash val="solid"/>
              <a:round/>
              <a:headEnd type="none" w="med" len="med"/>
              <a:tailEnd type="none" w="med" len="med"/>
            </a:ln>
            <a:effectLst/>
          </p:spPr>
          <p:txBody>
            <a:bodyPr vert="horz" wrap="none" lIns="116616" tIns="58308" rIns="116616" bIns="58308" numCol="1" rtlCol="0" anchor="ctr" anchorCtr="0" compatLnSpc="1">
              <a:prstTxWarp prst="textNoShape">
                <a:avLst/>
              </a:prstTxWarp>
            </a:bodyPr>
            <a:lstStyle/>
            <a:p>
              <a:pPr algn="ctr" defTabSz="1166036" fontAlgn="base">
                <a:spcBef>
                  <a:spcPct val="0"/>
                </a:spcBef>
                <a:spcAft>
                  <a:spcPct val="0"/>
                </a:spcAft>
              </a:pPr>
              <a:r>
                <a:rPr lang="en-US" sz="1600" b="1" dirty="0">
                  <a:solidFill>
                    <a:schemeClr val="bg1"/>
                  </a:solidFill>
                  <a:latin typeface="Arial Narrow" charset="0"/>
                </a:rPr>
                <a:t>P4</a:t>
              </a:r>
            </a:p>
          </p:txBody>
        </p:sp>
        <p:cxnSp>
          <p:nvCxnSpPr>
            <p:cNvPr id="57" name="Straight Arrow Connector 56">
              <a:extLst>
                <a:ext uri="{FF2B5EF4-FFF2-40B4-BE49-F238E27FC236}">
                  <a16:creationId xmlns:a16="http://schemas.microsoft.com/office/drawing/2014/main" id="{02198D72-04EE-4749-B43D-BDB1587947CA}"/>
                </a:ext>
              </a:extLst>
            </p:cNvPr>
            <p:cNvCxnSpPr>
              <a:cxnSpLocks/>
              <a:stCxn id="56" idx="0"/>
              <a:endCxn id="43" idx="4"/>
            </p:cNvCxnSpPr>
            <p:nvPr/>
          </p:nvCxnSpPr>
          <p:spPr>
            <a:xfrm flipH="1" flipV="1">
              <a:off x="12098972" y="4162645"/>
              <a:ext cx="34939" cy="586489"/>
            </a:xfrm>
            <a:prstGeom prst="straightConnector1">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58" name="Oval 57">
              <a:extLst>
                <a:ext uri="{FF2B5EF4-FFF2-40B4-BE49-F238E27FC236}">
                  <a16:creationId xmlns:a16="http://schemas.microsoft.com/office/drawing/2014/main" id="{3ECD8BD4-DCB0-194E-8298-455C333D3CF7}"/>
                </a:ext>
              </a:extLst>
            </p:cNvPr>
            <p:cNvSpPr/>
            <p:nvPr/>
          </p:nvSpPr>
          <p:spPr bwMode="auto">
            <a:xfrm>
              <a:off x="13794190" y="4749134"/>
              <a:ext cx="388620" cy="291541"/>
            </a:xfrm>
            <a:prstGeom prst="ellipse">
              <a:avLst/>
            </a:prstGeom>
            <a:solidFill>
              <a:schemeClr val="bg1">
                <a:lumMod val="50000"/>
              </a:schemeClr>
            </a:solidFill>
            <a:ln w="12700" cap="flat" cmpd="sng" algn="ctr">
              <a:solidFill>
                <a:schemeClr val="tx1"/>
              </a:solidFill>
              <a:prstDash val="solid"/>
              <a:round/>
              <a:headEnd type="none" w="med" len="med"/>
              <a:tailEnd type="none" w="med" len="med"/>
            </a:ln>
            <a:effectLst/>
          </p:spPr>
          <p:txBody>
            <a:bodyPr vert="horz" wrap="none" lIns="116616" tIns="58308" rIns="116616" bIns="58308" numCol="1" rtlCol="0" anchor="ctr" anchorCtr="0" compatLnSpc="1">
              <a:prstTxWarp prst="textNoShape">
                <a:avLst/>
              </a:prstTxWarp>
            </a:bodyPr>
            <a:lstStyle/>
            <a:p>
              <a:pPr algn="ctr" defTabSz="1166036" fontAlgn="base">
                <a:spcBef>
                  <a:spcPct val="0"/>
                </a:spcBef>
                <a:spcAft>
                  <a:spcPct val="0"/>
                </a:spcAft>
              </a:pPr>
              <a:r>
                <a:rPr lang="en-US" sz="1600" b="1" dirty="0">
                  <a:solidFill>
                    <a:schemeClr val="bg1"/>
                  </a:solidFill>
                  <a:latin typeface="Arial Narrow" charset="0"/>
                </a:rPr>
                <a:t>P8</a:t>
              </a:r>
            </a:p>
          </p:txBody>
        </p:sp>
        <p:sp>
          <p:nvSpPr>
            <p:cNvPr id="59" name="Oval 58">
              <a:extLst>
                <a:ext uri="{FF2B5EF4-FFF2-40B4-BE49-F238E27FC236}">
                  <a16:creationId xmlns:a16="http://schemas.microsoft.com/office/drawing/2014/main" id="{DB85F7D4-050C-D742-A18E-641AEAAF56DC}"/>
                </a:ext>
              </a:extLst>
            </p:cNvPr>
            <p:cNvSpPr/>
            <p:nvPr/>
          </p:nvSpPr>
          <p:spPr bwMode="auto">
            <a:xfrm>
              <a:off x="13330542" y="4749134"/>
              <a:ext cx="388620" cy="291541"/>
            </a:xfrm>
            <a:prstGeom prst="ellipse">
              <a:avLst/>
            </a:prstGeom>
            <a:solidFill>
              <a:schemeClr val="bg1">
                <a:lumMod val="50000"/>
              </a:schemeClr>
            </a:solidFill>
            <a:ln w="12700" cap="flat" cmpd="sng" algn="ctr">
              <a:solidFill>
                <a:schemeClr val="tx1"/>
              </a:solidFill>
              <a:prstDash val="solid"/>
              <a:round/>
              <a:headEnd type="none" w="med" len="med"/>
              <a:tailEnd type="none" w="med" len="med"/>
            </a:ln>
            <a:effectLst/>
          </p:spPr>
          <p:txBody>
            <a:bodyPr vert="horz" wrap="none" lIns="116616" tIns="58308" rIns="116616" bIns="58308" numCol="1" rtlCol="0" anchor="ctr" anchorCtr="0" compatLnSpc="1">
              <a:prstTxWarp prst="textNoShape">
                <a:avLst/>
              </a:prstTxWarp>
            </a:bodyPr>
            <a:lstStyle/>
            <a:p>
              <a:pPr algn="ctr" defTabSz="1166036" fontAlgn="base">
                <a:spcBef>
                  <a:spcPct val="0"/>
                </a:spcBef>
                <a:spcAft>
                  <a:spcPct val="0"/>
                </a:spcAft>
              </a:pPr>
              <a:r>
                <a:rPr lang="en-US" sz="1600" b="1" dirty="0">
                  <a:solidFill>
                    <a:schemeClr val="bg1"/>
                  </a:solidFill>
                  <a:latin typeface="Arial Narrow" charset="0"/>
                </a:rPr>
                <a:t>P7</a:t>
              </a:r>
            </a:p>
          </p:txBody>
        </p:sp>
        <p:cxnSp>
          <p:nvCxnSpPr>
            <p:cNvPr id="60" name="Straight Arrow Connector 59">
              <a:extLst>
                <a:ext uri="{FF2B5EF4-FFF2-40B4-BE49-F238E27FC236}">
                  <a16:creationId xmlns:a16="http://schemas.microsoft.com/office/drawing/2014/main" id="{289E6FF9-7F08-874F-8228-705240B9940E}"/>
                </a:ext>
              </a:extLst>
            </p:cNvPr>
            <p:cNvCxnSpPr>
              <a:cxnSpLocks/>
              <a:stCxn id="44" idx="4"/>
              <a:endCxn id="58" idx="0"/>
            </p:cNvCxnSpPr>
            <p:nvPr/>
          </p:nvCxnSpPr>
          <p:spPr>
            <a:xfrm>
              <a:off x="13376685" y="4162645"/>
              <a:ext cx="611815" cy="586489"/>
            </a:xfrm>
            <a:prstGeom prst="straightConnector1">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1" name="Straight Arrow Connector 60">
              <a:extLst>
                <a:ext uri="{FF2B5EF4-FFF2-40B4-BE49-F238E27FC236}">
                  <a16:creationId xmlns:a16="http://schemas.microsoft.com/office/drawing/2014/main" id="{34623337-0FA9-834D-B26E-E33575AE394B}"/>
                </a:ext>
              </a:extLst>
            </p:cNvPr>
            <p:cNvCxnSpPr>
              <a:cxnSpLocks/>
              <a:stCxn id="44" idx="4"/>
              <a:endCxn id="59" idx="0"/>
            </p:cNvCxnSpPr>
            <p:nvPr/>
          </p:nvCxnSpPr>
          <p:spPr>
            <a:xfrm>
              <a:off x="13376685" y="4162645"/>
              <a:ext cx="148167" cy="586489"/>
            </a:xfrm>
            <a:prstGeom prst="straightConnector1">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62" name="Oval 61">
              <a:extLst>
                <a:ext uri="{FF2B5EF4-FFF2-40B4-BE49-F238E27FC236}">
                  <a16:creationId xmlns:a16="http://schemas.microsoft.com/office/drawing/2014/main" id="{BB88550F-8DA2-6540-B305-8CC37065C7C0}"/>
                </a:ext>
              </a:extLst>
            </p:cNvPr>
            <p:cNvSpPr/>
            <p:nvPr/>
          </p:nvSpPr>
          <p:spPr bwMode="auto">
            <a:xfrm>
              <a:off x="12866895" y="4749134"/>
              <a:ext cx="388620" cy="291541"/>
            </a:xfrm>
            <a:prstGeom prst="ellipse">
              <a:avLst/>
            </a:prstGeom>
            <a:solidFill>
              <a:schemeClr val="bg1">
                <a:lumMod val="50000"/>
              </a:schemeClr>
            </a:solidFill>
            <a:ln w="12700" cap="flat" cmpd="sng" algn="ctr">
              <a:solidFill>
                <a:schemeClr val="tx1"/>
              </a:solidFill>
              <a:prstDash val="solid"/>
              <a:round/>
              <a:headEnd type="none" w="med" len="med"/>
              <a:tailEnd type="none" w="med" len="med"/>
            </a:ln>
            <a:effectLst/>
          </p:spPr>
          <p:txBody>
            <a:bodyPr vert="horz" wrap="none" lIns="116616" tIns="58308" rIns="116616" bIns="58308" numCol="1" rtlCol="0" anchor="ctr" anchorCtr="0" compatLnSpc="1">
              <a:prstTxWarp prst="textNoShape">
                <a:avLst/>
              </a:prstTxWarp>
            </a:bodyPr>
            <a:lstStyle/>
            <a:p>
              <a:pPr algn="ctr" defTabSz="1166036" fontAlgn="base">
                <a:spcBef>
                  <a:spcPct val="0"/>
                </a:spcBef>
                <a:spcAft>
                  <a:spcPct val="0"/>
                </a:spcAft>
              </a:pPr>
              <a:r>
                <a:rPr lang="en-US" sz="1600" b="1" dirty="0">
                  <a:solidFill>
                    <a:schemeClr val="bg1"/>
                  </a:solidFill>
                  <a:latin typeface="Arial Narrow" charset="0"/>
                </a:rPr>
                <a:t>P6</a:t>
              </a:r>
            </a:p>
          </p:txBody>
        </p:sp>
        <p:cxnSp>
          <p:nvCxnSpPr>
            <p:cNvPr id="63" name="Straight Arrow Connector 62">
              <a:extLst>
                <a:ext uri="{FF2B5EF4-FFF2-40B4-BE49-F238E27FC236}">
                  <a16:creationId xmlns:a16="http://schemas.microsoft.com/office/drawing/2014/main" id="{5368677C-9690-5E4A-9613-8E0471D6C501}"/>
                </a:ext>
              </a:extLst>
            </p:cNvPr>
            <p:cNvCxnSpPr>
              <a:cxnSpLocks/>
              <a:stCxn id="62" idx="0"/>
              <a:endCxn id="41" idx="4"/>
            </p:cNvCxnSpPr>
            <p:nvPr/>
          </p:nvCxnSpPr>
          <p:spPr>
            <a:xfrm flipH="1" flipV="1">
              <a:off x="12737828" y="4162645"/>
              <a:ext cx="323377" cy="586489"/>
            </a:xfrm>
            <a:prstGeom prst="straightConnector1">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64" name="TextBox 63">
            <a:extLst>
              <a:ext uri="{FF2B5EF4-FFF2-40B4-BE49-F238E27FC236}">
                <a16:creationId xmlns:a16="http://schemas.microsoft.com/office/drawing/2014/main" id="{B2758184-9CFD-0E4B-9C14-3B8DB03E13E4}"/>
              </a:ext>
            </a:extLst>
          </p:cNvPr>
          <p:cNvSpPr txBox="1"/>
          <p:nvPr/>
        </p:nvSpPr>
        <p:spPr>
          <a:xfrm>
            <a:off x="694256" y="5455405"/>
            <a:ext cx="2393604" cy="464614"/>
          </a:xfrm>
          <a:prstGeom prst="rect">
            <a:avLst/>
          </a:prstGeom>
          <a:noFill/>
        </p:spPr>
        <p:txBody>
          <a:bodyPr wrap="none" rtlCol="0">
            <a:spAutoFit/>
          </a:bodyPr>
          <a:lstStyle/>
          <a:p>
            <a:r>
              <a:rPr lang="en-US" dirty="0"/>
              <a:t>Prior Purchases</a:t>
            </a:r>
          </a:p>
        </p:txBody>
      </p:sp>
      <p:sp>
        <p:nvSpPr>
          <p:cNvPr id="65" name="TextBox 64">
            <a:extLst>
              <a:ext uri="{FF2B5EF4-FFF2-40B4-BE49-F238E27FC236}">
                <a16:creationId xmlns:a16="http://schemas.microsoft.com/office/drawing/2014/main" id="{1B58D361-DD12-9B4A-B18A-5133FEDC3A6F}"/>
              </a:ext>
            </a:extLst>
          </p:cNvPr>
          <p:cNvSpPr txBox="1"/>
          <p:nvPr/>
        </p:nvSpPr>
        <p:spPr>
          <a:xfrm>
            <a:off x="521926" y="3361492"/>
            <a:ext cx="2188420" cy="464614"/>
          </a:xfrm>
          <a:prstGeom prst="rect">
            <a:avLst/>
          </a:prstGeom>
          <a:noFill/>
        </p:spPr>
        <p:txBody>
          <a:bodyPr wrap="none" rtlCol="0">
            <a:spAutoFit/>
          </a:bodyPr>
          <a:lstStyle/>
          <a:p>
            <a:r>
              <a:rPr lang="en-US" dirty="0"/>
              <a:t>Demographics</a:t>
            </a:r>
          </a:p>
        </p:txBody>
      </p:sp>
      <p:sp>
        <p:nvSpPr>
          <p:cNvPr id="66" name="TextBox 65">
            <a:extLst>
              <a:ext uri="{FF2B5EF4-FFF2-40B4-BE49-F238E27FC236}">
                <a16:creationId xmlns:a16="http://schemas.microsoft.com/office/drawing/2014/main" id="{69A93A2A-E42E-004F-AB7D-BC8C6405F5E8}"/>
              </a:ext>
            </a:extLst>
          </p:cNvPr>
          <p:cNvSpPr txBox="1"/>
          <p:nvPr/>
        </p:nvSpPr>
        <p:spPr>
          <a:xfrm>
            <a:off x="2220751" y="6335698"/>
            <a:ext cx="1273105" cy="464614"/>
          </a:xfrm>
          <a:prstGeom prst="rect">
            <a:avLst/>
          </a:prstGeom>
          <a:noFill/>
        </p:spPr>
        <p:txBody>
          <a:bodyPr wrap="none" rtlCol="0">
            <a:spAutoFit/>
          </a:bodyPr>
          <a:lstStyle/>
          <a:p>
            <a:r>
              <a:rPr lang="en-US" dirty="0"/>
              <a:t>Returns</a:t>
            </a:r>
          </a:p>
        </p:txBody>
      </p:sp>
      <p:sp>
        <p:nvSpPr>
          <p:cNvPr id="67" name="TextBox 66">
            <a:extLst>
              <a:ext uri="{FF2B5EF4-FFF2-40B4-BE49-F238E27FC236}">
                <a16:creationId xmlns:a16="http://schemas.microsoft.com/office/drawing/2014/main" id="{793E4932-AFC7-0141-94A8-E73D783E2FA7}"/>
              </a:ext>
            </a:extLst>
          </p:cNvPr>
          <p:cNvSpPr txBox="1"/>
          <p:nvPr/>
        </p:nvSpPr>
        <p:spPr>
          <a:xfrm>
            <a:off x="3866020" y="6762842"/>
            <a:ext cx="1739579" cy="464614"/>
          </a:xfrm>
          <a:prstGeom prst="rect">
            <a:avLst/>
          </a:prstGeom>
          <a:noFill/>
        </p:spPr>
        <p:txBody>
          <a:bodyPr wrap="none" rtlCol="0">
            <a:spAutoFit/>
          </a:bodyPr>
          <a:lstStyle/>
          <a:p>
            <a:r>
              <a:rPr lang="en-US" dirty="0"/>
              <a:t>Complaints</a:t>
            </a:r>
          </a:p>
        </p:txBody>
      </p:sp>
      <p:sp>
        <p:nvSpPr>
          <p:cNvPr id="68" name="TextBox 67">
            <a:extLst>
              <a:ext uri="{FF2B5EF4-FFF2-40B4-BE49-F238E27FC236}">
                <a16:creationId xmlns:a16="http://schemas.microsoft.com/office/drawing/2014/main" id="{70774F71-A178-AE48-920D-8FB07825B194}"/>
              </a:ext>
            </a:extLst>
          </p:cNvPr>
          <p:cNvSpPr txBox="1"/>
          <p:nvPr/>
        </p:nvSpPr>
        <p:spPr>
          <a:xfrm>
            <a:off x="1389447" y="7911477"/>
            <a:ext cx="9546203" cy="1581459"/>
          </a:xfrm>
          <a:prstGeom prst="rect">
            <a:avLst/>
          </a:prstGeom>
          <a:noFill/>
        </p:spPr>
        <p:txBody>
          <a:bodyPr wrap="none" rtlCol="0">
            <a:spAutoFit/>
          </a:bodyPr>
          <a:lstStyle/>
          <a:p>
            <a:r>
              <a:rPr lang="en-US" dirty="0"/>
              <a:t>Given a </a:t>
            </a:r>
            <a:r>
              <a:rPr lang="en-US" b="1" dirty="0"/>
              <a:t>context</a:t>
            </a:r>
            <a:r>
              <a:rPr lang="en-US" dirty="0"/>
              <a:t>, what similar customers buy what similar products?</a:t>
            </a:r>
          </a:p>
          <a:p>
            <a:r>
              <a:rPr lang="en-US" b="1" dirty="0"/>
              <a:t>NPS</a:t>
            </a:r>
            <a:r>
              <a:rPr lang="en-US" dirty="0"/>
              <a:t> – Net promoter score</a:t>
            </a:r>
          </a:p>
          <a:p>
            <a:r>
              <a:rPr lang="en-US" b="1" dirty="0"/>
              <a:t>LTV</a:t>
            </a:r>
            <a:r>
              <a:rPr lang="en-US" dirty="0"/>
              <a:t> - Lifetime value of a customer</a:t>
            </a:r>
          </a:p>
          <a:p>
            <a:endParaRPr lang="en-US" dirty="0"/>
          </a:p>
        </p:txBody>
      </p:sp>
      <p:sp>
        <p:nvSpPr>
          <p:cNvPr id="69" name="TextBox 68">
            <a:extLst>
              <a:ext uri="{FF2B5EF4-FFF2-40B4-BE49-F238E27FC236}">
                <a16:creationId xmlns:a16="http://schemas.microsoft.com/office/drawing/2014/main" id="{95DB3856-3548-4E46-A9DC-49E84D39CC21}"/>
              </a:ext>
            </a:extLst>
          </p:cNvPr>
          <p:cNvSpPr txBox="1"/>
          <p:nvPr/>
        </p:nvSpPr>
        <p:spPr>
          <a:xfrm>
            <a:off x="14248759" y="4610307"/>
            <a:ext cx="2845651" cy="464614"/>
          </a:xfrm>
          <a:prstGeom prst="rect">
            <a:avLst/>
          </a:prstGeom>
          <a:noFill/>
        </p:spPr>
        <p:txBody>
          <a:bodyPr wrap="none" rtlCol="0">
            <a:spAutoFit/>
          </a:bodyPr>
          <a:lstStyle/>
          <a:p>
            <a:r>
              <a:rPr lang="en-US" dirty="0"/>
              <a:t>Product Categories</a:t>
            </a:r>
          </a:p>
        </p:txBody>
      </p:sp>
      <p:grpSp>
        <p:nvGrpSpPr>
          <p:cNvPr id="76" name="Group 75">
            <a:extLst>
              <a:ext uri="{FF2B5EF4-FFF2-40B4-BE49-F238E27FC236}">
                <a16:creationId xmlns:a16="http://schemas.microsoft.com/office/drawing/2014/main" id="{A1F962E3-9F11-0047-A01E-E54CC1F0ED70}"/>
              </a:ext>
            </a:extLst>
          </p:cNvPr>
          <p:cNvGrpSpPr/>
          <p:nvPr/>
        </p:nvGrpSpPr>
        <p:grpSpPr>
          <a:xfrm>
            <a:off x="7207107" y="2290611"/>
            <a:ext cx="2065616" cy="329598"/>
            <a:chOff x="6017027" y="2590853"/>
            <a:chExt cx="2730461" cy="457200"/>
          </a:xfrm>
        </p:grpSpPr>
        <p:sp>
          <p:nvSpPr>
            <p:cNvPr id="70" name="Rectangle 69">
              <a:extLst>
                <a:ext uri="{FF2B5EF4-FFF2-40B4-BE49-F238E27FC236}">
                  <a16:creationId xmlns:a16="http://schemas.microsoft.com/office/drawing/2014/main" id="{71377941-4991-6C43-9942-A1E23AC9B41D}"/>
                </a:ext>
              </a:extLst>
            </p:cNvPr>
            <p:cNvSpPr/>
            <p:nvPr/>
          </p:nvSpPr>
          <p:spPr>
            <a:xfrm>
              <a:off x="6017027" y="2590853"/>
              <a:ext cx="457200" cy="457200"/>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71" name="Rectangle 70">
              <a:extLst>
                <a:ext uri="{FF2B5EF4-FFF2-40B4-BE49-F238E27FC236}">
                  <a16:creationId xmlns:a16="http://schemas.microsoft.com/office/drawing/2014/main" id="{00C7CEE8-0365-F646-BB60-273F76726AAF}"/>
                </a:ext>
              </a:extLst>
            </p:cNvPr>
            <p:cNvSpPr/>
            <p:nvPr/>
          </p:nvSpPr>
          <p:spPr>
            <a:xfrm>
              <a:off x="6474227" y="2590853"/>
              <a:ext cx="457200" cy="4572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72" name="Rectangle 71">
              <a:extLst>
                <a:ext uri="{FF2B5EF4-FFF2-40B4-BE49-F238E27FC236}">
                  <a16:creationId xmlns:a16="http://schemas.microsoft.com/office/drawing/2014/main" id="{F9BEC274-C6FF-8C4C-AD6A-5FBF6B52C2BE}"/>
                </a:ext>
              </a:extLst>
            </p:cNvPr>
            <p:cNvSpPr/>
            <p:nvPr/>
          </p:nvSpPr>
          <p:spPr>
            <a:xfrm>
              <a:off x="6918688" y="2590853"/>
              <a:ext cx="457200" cy="457200"/>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73" name="Rectangle 72">
              <a:extLst>
                <a:ext uri="{FF2B5EF4-FFF2-40B4-BE49-F238E27FC236}">
                  <a16:creationId xmlns:a16="http://schemas.microsoft.com/office/drawing/2014/main" id="{73096A3D-39CA-444B-8518-CCD66E198380}"/>
                </a:ext>
              </a:extLst>
            </p:cNvPr>
            <p:cNvSpPr/>
            <p:nvPr/>
          </p:nvSpPr>
          <p:spPr>
            <a:xfrm>
              <a:off x="7375888" y="2590853"/>
              <a:ext cx="457200" cy="457200"/>
            </a:xfrm>
            <a:prstGeom prst="rect">
              <a:avLst/>
            </a:prstGeom>
            <a:solidFill>
              <a:schemeClr val="tx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74" name="Rectangle 73">
              <a:extLst>
                <a:ext uri="{FF2B5EF4-FFF2-40B4-BE49-F238E27FC236}">
                  <a16:creationId xmlns:a16="http://schemas.microsoft.com/office/drawing/2014/main" id="{D1D993E6-0C85-E245-A707-84822DEA4BA6}"/>
                </a:ext>
              </a:extLst>
            </p:cNvPr>
            <p:cNvSpPr/>
            <p:nvPr/>
          </p:nvSpPr>
          <p:spPr>
            <a:xfrm>
              <a:off x="7833088" y="2590853"/>
              <a:ext cx="457200" cy="457200"/>
            </a:xfrm>
            <a:prstGeom prst="rect">
              <a:avLst/>
            </a:pr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75" name="Rectangle 74">
              <a:extLst>
                <a:ext uri="{FF2B5EF4-FFF2-40B4-BE49-F238E27FC236}">
                  <a16:creationId xmlns:a16="http://schemas.microsoft.com/office/drawing/2014/main" id="{B1935010-0ACF-484C-A04F-DC1B0A158737}"/>
                </a:ext>
              </a:extLst>
            </p:cNvPr>
            <p:cNvSpPr/>
            <p:nvPr/>
          </p:nvSpPr>
          <p:spPr>
            <a:xfrm>
              <a:off x="8290288" y="2590853"/>
              <a:ext cx="457200" cy="457200"/>
            </a:xfrm>
            <a:prstGeom prst="rect">
              <a:avLst/>
            </a:prstGeom>
            <a:solidFill>
              <a:schemeClr val="bg2">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grpSp>
      <p:sp>
        <p:nvSpPr>
          <p:cNvPr id="79" name="TextBox 78">
            <a:extLst>
              <a:ext uri="{FF2B5EF4-FFF2-40B4-BE49-F238E27FC236}">
                <a16:creationId xmlns:a16="http://schemas.microsoft.com/office/drawing/2014/main" id="{1D94A06C-F7CE-4346-910A-1E7AC2303F29}"/>
              </a:ext>
            </a:extLst>
          </p:cNvPr>
          <p:cNvSpPr txBox="1"/>
          <p:nvPr/>
        </p:nvSpPr>
        <p:spPr>
          <a:xfrm>
            <a:off x="1114156" y="4275383"/>
            <a:ext cx="1170513" cy="464614"/>
          </a:xfrm>
          <a:prstGeom prst="rect">
            <a:avLst/>
          </a:prstGeom>
          <a:noFill/>
        </p:spPr>
        <p:txBody>
          <a:bodyPr wrap="none" rtlCol="0">
            <a:spAutoFit/>
          </a:bodyPr>
          <a:lstStyle/>
          <a:p>
            <a:r>
              <a:rPr lang="en-US" dirty="0"/>
              <a:t>Region</a:t>
            </a:r>
          </a:p>
        </p:txBody>
      </p:sp>
      <p:sp>
        <p:nvSpPr>
          <p:cNvPr id="80" name="TextBox 79">
            <a:extLst>
              <a:ext uri="{FF2B5EF4-FFF2-40B4-BE49-F238E27FC236}">
                <a16:creationId xmlns:a16="http://schemas.microsoft.com/office/drawing/2014/main" id="{84556B05-186C-544E-B922-1E01FE23FC07}"/>
              </a:ext>
            </a:extLst>
          </p:cNvPr>
          <p:cNvSpPr txBox="1"/>
          <p:nvPr/>
        </p:nvSpPr>
        <p:spPr>
          <a:xfrm>
            <a:off x="6212784" y="6291408"/>
            <a:ext cx="1497526" cy="464614"/>
          </a:xfrm>
          <a:prstGeom prst="rect">
            <a:avLst/>
          </a:prstGeom>
          <a:noFill/>
        </p:spPr>
        <p:txBody>
          <a:bodyPr wrap="none" rtlCol="0">
            <a:spAutoFit/>
          </a:bodyPr>
          <a:lstStyle/>
          <a:p>
            <a:r>
              <a:rPr lang="en-US" dirty="0"/>
              <a:t>Searches</a:t>
            </a:r>
          </a:p>
        </p:txBody>
      </p:sp>
      <p:sp>
        <p:nvSpPr>
          <p:cNvPr id="81" name="TextBox 80">
            <a:extLst>
              <a:ext uri="{FF2B5EF4-FFF2-40B4-BE49-F238E27FC236}">
                <a16:creationId xmlns:a16="http://schemas.microsoft.com/office/drawing/2014/main" id="{5F2CD437-43E9-A940-9D2E-2B12F44A9E22}"/>
              </a:ext>
            </a:extLst>
          </p:cNvPr>
          <p:cNvSpPr txBox="1"/>
          <p:nvPr/>
        </p:nvSpPr>
        <p:spPr>
          <a:xfrm>
            <a:off x="7293638" y="5436763"/>
            <a:ext cx="1580113" cy="464614"/>
          </a:xfrm>
          <a:prstGeom prst="rect">
            <a:avLst/>
          </a:prstGeom>
          <a:noFill/>
        </p:spPr>
        <p:txBody>
          <a:bodyPr wrap="none" rtlCol="0">
            <a:spAutoFit/>
          </a:bodyPr>
          <a:lstStyle/>
          <a:p>
            <a:r>
              <a:rPr lang="en-US" dirty="0"/>
              <a:t>Web Logs</a:t>
            </a:r>
          </a:p>
        </p:txBody>
      </p:sp>
      <p:sp>
        <p:nvSpPr>
          <p:cNvPr id="94" name="TextBox 93">
            <a:extLst>
              <a:ext uri="{FF2B5EF4-FFF2-40B4-BE49-F238E27FC236}">
                <a16:creationId xmlns:a16="http://schemas.microsoft.com/office/drawing/2014/main" id="{143320B8-549F-4849-A146-8C5321FC9F7F}"/>
              </a:ext>
            </a:extLst>
          </p:cNvPr>
          <p:cNvSpPr txBox="1"/>
          <p:nvPr/>
        </p:nvSpPr>
        <p:spPr>
          <a:xfrm>
            <a:off x="14966102" y="5853720"/>
            <a:ext cx="1410964" cy="464614"/>
          </a:xfrm>
          <a:prstGeom prst="rect">
            <a:avLst/>
          </a:prstGeom>
          <a:noFill/>
        </p:spPr>
        <p:txBody>
          <a:bodyPr wrap="none" rtlCol="0">
            <a:spAutoFit/>
          </a:bodyPr>
          <a:lstStyle/>
          <a:p>
            <a:r>
              <a:rPr lang="en-US" dirty="0"/>
              <a:t>Products</a:t>
            </a:r>
          </a:p>
        </p:txBody>
      </p:sp>
      <p:cxnSp>
        <p:nvCxnSpPr>
          <p:cNvPr id="95" name="Straight Arrow Connector 94">
            <a:extLst>
              <a:ext uri="{FF2B5EF4-FFF2-40B4-BE49-F238E27FC236}">
                <a16:creationId xmlns:a16="http://schemas.microsoft.com/office/drawing/2014/main" id="{291D94E9-5658-9242-AE7A-19CE0C91C69D}"/>
              </a:ext>
            </a:extLst>
          </p:cNvPr>
          <p:cNvCxnSpPr>
            <a:cxnSpLocks/>
            <a:stCxn id="6" idx="6"/>
            <a:endCxn id="70" idx="1"/>
          </p:cNvCxnSpPr>
          <p:nvPr/>
        </p:nvCxnSpPr>
        <p:spPr>
          <a:xfrm flipV="1">
            <a:off x="5258129" y="2455410"/>
            <a:ext cx="1948978" cy="801474"/>
          </a:xfrm>
          <a:prstGeom prst="straightConnector1">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98" name="Group 97">
            <a:extLst>
              <a:ext uri="{FF2B5EF4-FFF2-40B4-BE49-F238E27FC236}">
                <a16:creationId xmlns:a16="http://schemas.microsoft.com/office/drawing/2014/main" id="{34CDC79E-0232-6441-B805-F0B37FBFC5D0}"/>
              </a:ext>
            </a:extLst>
          </p:cNvPr>
          <p:cNvGrpSpPr/>
          <p:nvPr/>
        </p:nvGrpSpPr>
        <p:grpSpPr>
          <a:xfrm>
            <a:off x="12440290" y="7178878"/>
            <a:ext cx="2065616" cy="329598"/>
            <a:chOff x="6017027" y="2590853"/>
            <a:chExt cx="2730461" cy="457200"/>
          </a:xfrm>
        </p:grpSpPr>
        <p:sp>
          <p:nvSpPr>
            <p:cNvPr id="99" name="Rectangle 98">
              <a:extLst>
                <a:ext uri="{FF2B5EF4-FFF2-40B4-BE49-F238E27FC236}">
                  <a16:creationId xmlns:a16="http://schemas.microsoft.com/office/drawing/2014/main" id="{70E16145-90C8-D941-B7A8-FC1EEDEC09BF}"/>
                </a:ext>
              </a:extLst>
            </p:cNvPr>
            <p:cNvSpPr/>
            <p:nvPr/>
          </p:nvSpPr>
          <p:spPr>
            <a:xfrm>
              <a:off x="6017027" y="2590853"/>
              <a:ext cx="457200" cy="457200"/>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100" name="Rectangle 99">
              <a:extLst>
                <a:ext uri="{FF2B5EF4-FFF2-40B4-BE49-F238E27FC236}">
                  <a16:creationId xmlns:a16="http://schemas.microsoft.com/office/drawing/2014/main" id="{1791D0C6-EF55-F14F-8C0A-97ACFFAEFAE8}"/>
                </a:ext>
              </a:extLst>
            </p:cNvPr>
            <p:cNvSpPr/>
            <p:nvPr/>
          </p:nvSpPr>
          <p:spPr>
            <a:xfrm>
              <a:off x="6474227" y="2590853"/>
              <a:ext cx="457200" cy="4572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101" name="Rectangle 100">
              <a:extLst>
                <a:ext uri="{FF2B5EF4-FFF2-40B4-BE49-F238E27FC236}">
                  <a16:creationId xmlns:a16="http://schemas.microsoft.com/office/drawing/2014/main" id="{519CB374-ACF2-754F-89ED-CC57F831FF5B}"/>
                </a:ext>
              </a:extLst>
            </p:cNvPr>
            <p:cNvSpPr/>
            <p:nvPr/>
          </p:nvSpPr>
          <p:spPr>
            <a:xfrm>
              <a:off x="6918688" y="2590853"/>
              <a:ext cx="457200" cy="457200"/>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102" name="Rectangle 101">
              <a:extLst>
                <a:ext uri="{FF2B5EF4-FFF2-40B4-BE49-F238E27FC236}">
                  <a16:creationId xmlns:a16="http://schemas.microsoft.com/office/drawing/2014/main" id="{24D342B5-7039-914E-9471-49CEEDEA33BB}"/>
                </a:ext>
              </a:extLst>
            </p:cNvPr>
            <p:cNvSpPr/>
            <p:nvPr/>
          </p:nvSpPr>
          <p:spPr>
            <a:xfrm>
              <a:off x="7375888" y="2590853"/>
              <a:ext cx="457200" cy="457200"/>
            </a:xfrm>
            <a:prstGeom prst="rect">
              <a:avLst/>
            </a:prstGeom>
            <a:solidFill>
              <a:schemeClr val="tx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103" name="Rectangle 102">
              <a:extLst>
                <a:ext uri="{FF2B5EF4-FFF2-40B4-BE49-F238E27FC236}">
                  <a16:creationId xmlns:a16="http://schemas.microsoft.com/office/drawing/2014/main" id="{B101B78F-1D1E-2A47-B8A6-C6EDECC0290B}"/>
                </a:ext>
              </a:extLst>
            </p:cNvPr>
            <p:cNvSpPr/>
            <p:nvPr/>
          </p:nvSpPr>
          <p:spPr>
            <a:xfrm>
              <a:off x="7833088" y="2590853"/>
              <a:ext cx="457200" cy="457200"/>
            </a:xfrm>
            <a:prstGeom prst="rect">
              <a:avLst/>
            </a:pr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104" name="Rectangle 103">
              <a:extLst>
                <a:ext uri="{FF2B5EF4-FFF2-40B4-BE49-F238E27FC236}">
                  <a16:creationId xmlns:a16="http://schemas.microsoft.com/office/drawing/2014/main" id="{15245668-E975-6944-8AF3-7E20BA3F2E67}"/>
                </a:ext>
              </a:extLst>
            </p:cNvPr>
            <p:cNvSpPr/>
            <p:nvPr/>
          </p:nvSpPr>
          <p:spPr>
            <a:xfrm>
              <a:off x="8290288" y="2590853"/>
              <a:ext cx="457200" cy="457200"/>
            </a:xfrm>
            <a:prstGeom prst="rect">
              <a:avLst/>
            </a:prstGeom>
            <a:solidFill>
              <a:schemeClr val="bg2">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grpSp>
      <p:cxnSp>
        <p:nvCxnSpPr>
          <p:cNvPr id="105" name="Straight Arrow Connector 104">
            <a:extLst>
              <a:ext uri="{FF2B5EF4-FFF2-40B4-BE49-F238E27FC236}">
                <a16:creationId xmlns:a16="http://schemas.microsoft.com/office/drawing/2014/main" id="{F522E1BD-1C86-8540-B4D7-EC3E56F05F3C}"/>
              </a:ext>
            </a:extLst>
          </p:cNvPr>
          <p:cNvCxnSpPr>
            <a:cxnSpLocks/>
            <a:stCxn id="54" idx="5"/>
            <a:endCxn id="99" idx="1"/>
          </p:cNvCxnSpPr>
          <p:nvPr/>
        </p:nvCxnSpPr>
        <p:spPr>
          <a:xfrm>
            <a:off x="11708160" y="6318334"/>
            <a:ext cx="732130" cy="1025343"/>
          </a:xfrm>
          <a:prstGeom prst="straightConnector1">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07" name="TextBox 106">
            <a:extLst>
              <a:ext uri="{FF2B5EF4-FFF2-40B4-BE49-F238E27FC236}">
                <a16:creationId xmlns:a16="http://schemas.microsoft.com/office/drawing/2014/main" id="{69471565-F314-064B-AA1B-B829F69E4AAF}"/>
              </a:ext>
            </a:extLst>
          </p:cNvPr>
          <p:cNvSpPr txBox="1"/>
          <p:nvPr/>
        </p:nvSpPr>
        <p:spPr>
          <a:xfrm>
            <a:off x="12418463" y="7569909"/>
            <a:ext cx="2914580" cy="464614"/>
          </a:xfrm>
          <a:prstGeom prst="rect">
            <a:avLst/>
          </a:prstGeom>
          <a:noFill/>
        </p:spPr>
        <p:txBody>
          <a:bodyPr wrap="none" rtlCol="0">
            <a:spAutoFit/>
          </a:bodyPr>
          <a:lstStyle/>
          <a:p>
            <a:r>
              <a:rPr lang="en-US" dirty="0">
                <a:solidFill>
                  <a:srgbClr val="0070C0"/>
                </a:solidFill>
              </a:rPr>
              <a:t>Product Embedding</a:t>
            </a:r>
          </a:p>
        </p:txBody>
      </p:sp>
      <p:sp>
        <p:nvSpPr>
          <p:cNvPr id="108" name="TextBox 107">
            <a:extLst>
              <a:ext uri="{FF2B5EF4-FFF2-40B4-BE49-F238E27FC236}">
                <a16:creationId xmlns:a16="http://schemas.microsoft.com/office/drawing/2014/main" id="{D49B63AF-C205-2D4B-95D7-D725E429B25F}"/>
              </a:ext>
            </a:extLst>
          </p:cNvPr>
          <p:cNvSpPr txBox="1"/>
          <p:nvPr/>
        </p:nvSpPr>
        <p:spPr>
          <a:xfrm>
            <a:off x="7139594" y="1818547"/>
            <a:ext cx="3190297" cy="464614"/>
          </a:xfrm>
          <a:prstGeom prst="rect">
            <a:avLst/>
          </a:prstGeom>
          <a:noFill/>
        </p:spPr>
        <p:txBody>
          <a:bodyPr wrap="none" rtlCol="0">
            <a:spAutoFit/>
          </a:bodyPr>
          <a:lstStyle/>
          <a:p>
            <a:r>
              <a:rPr lang="en-US" dirty="0">
                <a:solidFill>
                  <a:srgbClr val="0070C0"/>
                </a:solidFill>
              </a:rPr>
              <a:t>Customer Embedding</a:t>
            </a:r>
          </a:p>
        </p:txBody>
      </p:sp>
      <p:sp>
        <p:nvSpPr>
          <p:cNvPr id="92" name="TextBox 91">
            <a:extLst>
              <a:ext uri="{FF2B5EF4-FFF2-40B4-BE49-F238E27FC236}">
                <a16:creationId xmlns:a16="http://schemas.microsoft.com/office/drawing/2014/main" id="{AEC93F58-FBD0-BD41-B7F6-487D0AE0894A}"/>
              </a:ext>
            </a:extLst>
          </p:cNvPr>
          <p:cNvSpPr txBox="1"/>
          <p:nvPr/>
        </p:nvSpPr>
        <p:spPr>
          <a:xfrm>
            <a:off x="7374239" y="4446194"/>
            <a:ext cx="2379177" cy="464614"/>
          </a:xfrm>
          <a:prstGeom prst="rect">
            <a:avLst/>
          </a:prstGeom>
          <a:noFill/>
        </p:spPr>
        <p:txBody>
          <a:bodyPr wrap="none" rtlCol="0">
            <a:spAutoFit/>
          </a:bodyPr>
          <a:lstStyle/>
          <a:p>
            <a:r>
              <a:rPr lang="en-US" dirty="0"/>
              <a:t>Psychographics</a:t>
            </a:r>
          </a:p>
        </p:txBody>
      </p:sp>
      <p:sp>
        <p:nvSpPr>
          <p:cNvPr id="93" name="TextBox 92">
            <a:extLst>
              <a:ext uri="{FF2B5EF4-FFF2-40B4-BE49-F238E27FC236}">
                <a16:creationId xmlns:a16="http://schemas.microsoft.com/office/drawing/2014/main" id="{B542B4F8-FE16-1D4C-9655-D77C60B12DEB}"/>
              </a:ext>
            </a:extLst>
          </p:cNvPr>
          <p:cNvSpPr txBox="1"/>
          <p:nvPr/>
        </p:nvSpPr>
        <p:spPr>
          <a:xfrm>
            <a:off x="7500227" y="3544096"/>
            <a:ext cx="1541832" cy="464614"/>
          </a:xfrm>
          <a:prstGeom prst="rect">
            <a:avLst/>
          </a:prstGeom>
          <a:noFill/>
        </p:spPr>
        <p:txBody>
          <a:bodyPr wrap="none" rtlCol="0">
            <a:spAutoFit/>
          </a:bodyPr>
          <a:lstStyle/>
          <a:p>
            <a:r>
              <a:rPr lang="en-US" dirty="0"/>
              <a:t>NPS, LTV</a:t>
            </a:r>
          </a:p>
        </p:txBody>
      </p:sp>
      <p:cxnSp>
        <p:nvCxnSpPr>
          <p:cNvPr id="96" name="Straight Arrow Connector 95">
            <a:extLst>
              <a:ext uri="{FF2B5EF4-FFF2-40B4-BE49-F238E27FC236}">
                <a16:creationId xmlns:a16="http://schemas.microsoft.com/office/drawing/2014/main" id="{32593566-BDCC-B84E-A96D-A179AA3DF09E}"/>
              </a:ext>
            </a:extLst>
          </p:cNvPr>
          <p:cNvCxnSpPr>
            <a:cxnSpLocks/>
            <a:stCxn id="25" idx="6"/>
            <a:endCxn id="29" idx="2"/>
          </p:cNvCxnSpPr>
          <p:nvPr/>
        </p:nvCxnSpPr>
        <p:spPr>
          <a:xfrm>
            <a:off x="3975378" y="5716436"/>
            <a:ext cx="490260" cy="333705"/>
          </a:xfrm>
          <a:prstGeom prst="straightConnector1">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15263350"/>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31213A-679F-9F46-87AD-C639C041C658}"/>
              </a:ext>
            </a:extLst>
          </p:cNvPr>
          <p:cNvSpPr>
            <a:spLocks noGrp="1"/>
          </p:cNvSpPr>
          <p:nvPr>
            <p:ph type="title"/>
          </p:nvPr>
        </p:nvSpPr>
        <p:spPr>
          <a:xfrm>
            <a:off x="330263" y="314587"/>
            <a:ext cx="15422880" cy="1092986"/>
          </a:xfrm>
        </p:spPr>
        <p:txBody>
          <a:bodyPr>
            <a:normAutofit/>
          </a:bodyPr>
          <a:lstStyle/>
          <a:p>
            <a:r>
              <a:rPr lang="en-US" sz="5280" dirty="0"/>
              <a:t>Three Eras of Computing</a:t>
            </a:r>
          </a:p>
        </p:txBody>
      </p:sp>
      <p:pic>
        <p:nvPicPr>
          <p:cNvPr id="5" name="Picture 4">
            <a:extLst>
              <a:ext uri="{FF2B5EF4-FFF2-40B4-BE49-F238E27FC236}">
                <a16:creationId xmlns:a16="http://schemas.microsoft.com/office/drawing/2014/main" id="{C08D7739-BEEA-AA40-BED1-0DB39650A2B2}"/>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5230567" y="2021034"/>
            <a:ext cx="2586737" cy="527831"/>
          </a:xfrm>
          <a:prstGeom prst="rect">
            <a:avLst/>
          </a:prstGeom>
        </p:spPr>
      </p:pic>
      <p:sp>
        <p:nvSpPr>
          <p:cNvPr id="6" name="Rectangle 5">
            <a:extLst>
              <a:ext uri="{FF2B5EF4-FFF2-40B4-BE49-F238E27FC236}">
                <a16:creationId xmlns:a16="http://schemas.microsoft.com/office/drawing/2014/main" id="{5E4C1448-E6BA-544C-B273-FFBBA4CF21F2}"/>
              </a:ext>
            </a:extLst>
          </p:cNvPr>
          <p:cNvSpPr/>
          <p:nvPr/>
        </p:nvSpPr>
        <p:spPr>
          <a:xfrm>
            <a:off x="5203490" y="2778190"/>
            <a:ext cx="2613814" cy="79428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a:t>Procedural Code (Rules)</a:t>
            </a:r>
          </a:p>
        </p:txBody>
      </p:sp>
      <p:sp>
        <p:nvSpPr>
          <p:cNvPr id="7" name="Rectangle 6">
            <a:extLst>
              <a:ext uri="{FF2B5EF4-FFF2-40B4-BE49-F238E27FC236}">
                <a16:creationId xmlns:a16="http://schemas.microsoft.com/office/drawing/2014/main" id="{DAFF1542-D58E-454D-9367-CF0D832C02E2}"/>
              </a:ext>
            </a:extLst>
          </p:cNvPr>
          <p:cNvSpPr/>
          <p:nvPr/>
        </p:nvSpPr>
        <p:spPr>
          <a:xfrm>
            <a:off x="8930346" y="1979979"/>
            <a:ext cx="2613814" cy="1481308"/>
          </a:xfrm>
          <a:prstGeom prst="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548" b="1" dirty="0">
                <a:solidFill>
                  <a:schemeClr val="tx1"/>
                </a:solidFill>
              </a:rPr>
              <a:t>Programs</a:t>
            </a:r>
          </a:p>
        </p:txBody>
      </p:sp>
      <p:sp>
        <p:nvSpPr>
          <p:cNvPr id="8" name="TextBox 7">
            <a:extLst>
              <a:ext uri="{FF2B5EF4-FFF2-40B4-BE49-F238E27FC236}">
                <a16:creationId xmlns:a16="http://schemas.microsoft.com/office/drawing/2014/main" id="{92D20777-F530-C04B-9158-F20CE30BA257}"/>
              </a:ext>
            </a:extLst>
          </p:cNvPr>
          <p:cNvSpPr txBox="1"/>
          <p:nvPr/>
        </p:nvSpPr>
        <p:spPr>
          <a:xfrm>
            <a:off x="4293344" y="2021033"/>
            <a:ext cx="835485" cy="461665"/>
          </a:xfrm>
          <a:prstGeom prst="rect">
            <a:avLst/>
          </a:prstGeom>
          <a:noFill/>
        </p:spPr>
        <p:txBody>
          <a:bodyPr wrap="none" rtlCol="0">
            <a:spAutoFit/>
          </a:bodyPr>
          <a:lstStyle/>
          <a:p>
            <a:r>
              <a:rPr lang="en-US" sz="2400" dirty="0"/>
              <a:t>Data</a:t>
            </a:r>
          </a:p>
        </p:txBody>
      </p:sp>
      <p:cxnSp>
        <p:nvCxnSpPr>
          <p:cNvPr id="10" name="Straight Arrow Connector 9">
            <a:extLst>
              <a:ext uri="{FF2B5EF4-FFF2-40B4-BE49-F238E27FC236}">
                <a16:creationId xmlns:a16="http://schemas.microsoft.com/office/drawing/2014/main" id="{E2B927D6-2563-524B-8C03-21D0800015E2}"/>
              </a:ext>
            </a:extLst>
          </p:cNvPr>
          <p:cNvCxnSpPr>
            <a:stCxn id="5" idx="3"/>
          </p:cNvCxnSpPr>
          <p:nvPr/>
        </p:nvCxnSpPr>
        <p:spPr>
          <a:xfrm flipV="1">
            <a:off x="7817304" y="2270701"/>
            <a:ext cx="1113042" cy="14249"/>
          </a:xfrm>
          <a:prstGeom prst="straightConnector1">
            <a:avLst/>
          </a:prstGeom>
          <a:ln w="571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1" name="Straight Arrow Connector 10">
            <a:extLst>
              <a:ext uri="{FF2B5EF4-FFF2-40B4-BE49-F238E27FC236}">
                <a16:creationId xmlns:a16="http://schemas.microsoft.com/office/drawing/2014/main" id="{C5A4DC15-2F0A-004D-9113-08C5D252F9E3}"/>
              </a:ext>
            </a:extLst>
          </p:cNvPr>
          <p:cNvCxnSpPr>
            <a:cxnSpLocks/>
            <a:stCxn id="6" idx="3"/>
          </p:cNvCxnSpPr>
          <p:nvPr/>
        </p:nvCxnSpPr>
        <p:spPr>
          <a:xfrm flipV="1">
            <a:off x="7817304" y="3167061"/>
            <a:ext cx="1113042" cy="8272"/>
          </a:xfrm>
          <a:prstGeom prst="straightConnector1">
            <a:avLst/>
          </a:prstGeom>
          <a:ln w="571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4" name="Straight Arrow Connector 13">
            <a:extLst>
              <a:ext uri="{FF2B5EF4-FFF2-40B4-BE49-F238E27FC236}">
                <a16:creationId xmlns:a16="http://schemas.microsoft.com/office/drawing/2014/main" id="{234B135B-2358-7147-8B76-AE6D07CBE21E}"/>
              </a:ext>
            </a:extLst>
          </p:cNvPr>
          <p:cNvCxnSpPr>
            <a:cxnSpLocks/>
          </p:cNvCxnSpPr>
          <p:nvPr/>
        </p:nvCxnSpPr>
        <p:spPr>
          <a:xfrm>
            <a:off x="11544160" y="2405269"/>
            <a:ext cx="1113042" cy="0"/>
          </a:xfrm>
          <a:prstGeom prst="straightConnector1">
            <a:avLst/>
          </a:prstGeom>
          <a:ln w="571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5" name="Straight Arrow Connector 14">
            <a:extLst>
              <a:ext uri="{FF2B5EF4-FFF2-40B4-BE49-F238E27FC236}">
                <a16:creationId xmlns:a16="http://schemas.microsoft.com/office/drawing/2014/main" id="{219CB47B-7198-C449-8D23-8897DF37EA7D}"/>
              </a:ext>
            </a:extLst>
          </p:cNvPr>
          <p:cNvCxnSpPr>
            <a:cxnSpLocks/>
          </p:cNvCxnSpPr>
          <p:nvPr/>
        </p:nvCxnSpPr>
        <p:spPr>
          <a:xfrm>
            <a:off x="11544160" y="3053021"/>
            <a:ext cx="1113042" cy="0"/>
          </a:xfrm>
          <a:prstGeom prst="straightConnector1">
            <a:avLst/>
          </a:prstGeom>
          <a:ln w="571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6" name="TextBox 15">
            <a:extLst>
              <a:ext uri="{FF2B5EF4-FFF2-40B4-BE49-F238E27FC236}">
                <a16:creationId xmlns:a16="http://schemas.microsoft.com/office/drawing/2014/main" id="{6B99A8E7-EBB8-564E-8C2C-A1960168DCC1}"/>
              </a:ext>
            </a:extLst>
          </p:cNvPr>
          <p:cNvSpPr txBox="1"/>
          <p:nvPr/>
        </p:nvSpPr>
        <p:spPr>
          <a:xfrm>
            <a:off x="12821420" y="2151180"/>
            <a:ext cx="2081019" cy="638316"/>
          </a:xfrm>
          <a:prstGeom prst="rect">
            <a:avLst/>
          </a:prstGeom>
          <a:solidFill>
            <a:schemeClr val="accent6">
              <a:lumMod val="75000"/>
            </a:schemeClr>
          </a:solidFill>
        </p:spPr>
        <p:txBody>
          <a:bodyPr wrap="none" rtlCol="0">
            <a:spAutoFit/>
          </a:bodyPr>
          <a:lstStyle/>
          <a:p>
            <a:r>
              <a:rPr lang="en-US" sz="3548" b="1" dirty="0">
                <a:solidFill>
                  <a:schemeClr val="bg1"/>
                </a:solidFill>
              </a:rPr>
              <a:t>Answers</a:t>
            </a:r>
          </a:p>
        </p:txBody>
      </p:sp>
      <p:sp>
        <p:nvSpPr>
          <p:cNvPr id="17" name="TextBox 16">
            <a:extLst>
              <a:ext uri="{FF2B5EF4-FFF2-40B4-BE49-F238E27FC236}">
                <a16:creationId xmlns:a16="http://schemas.microsoft.com/office/drawing/2014/main" id="{76FF1278-AC77-6546-9363-9345E79147C9}"/>
              </a:ext>
            </a:extLst>
          </p:cNvPr>
          <p:cNvSpPr txBox="1"/>
          <p:nvPr/>
        </p:nvSpPr>
        <p:spPr>
          <a:xfrm>
            <a:off x="12650149" y="2769225"/>
            <a:ext cx="4132863" cy="638316"/>
          </a:xfrm>
          <a:prstGeom prst="rect">
            <a:avLst/>
          </a:prstGeom>
          <a:noFill/>
        </p:spPr>
        <p:txBody>
          <a:bodyPr wrap="none" rtlCol="0">
            <a:spAutoFit/>
          </a:bodyPr>
          <a:lstStyle/>
          <a:p>
            <a:r>
              <a:rPr lang="en-US" sz="3548" dirty="0"/>
              <a:t>Explanations (Why)</a:t>
            </a:r>
          </a:p>
        </p:txBody>
      </p:sp>
      <p:sp>
        <p:nvSpPr>
          <p:cNvPr id="55" name="TextBox 54">
            <a:extLst>
              <a:ext uri="{FF2B5EF4-FFF2-40B4-BE49-F238E27FC236}">
                <a16:creationId xmlns:a16="http://schemas.microsoft.com/office/drawing/2014/main" id="{5799CE29-55DD-6A4B-B0DC-25981F2D3B9E}"/>
              </a:ext>
            </a:extLst>
          </p:cNvPr>
          <p:cNvSpPr txBox="1"/>
          <p:nvPr/>
        </p:nvSpPr>
        <p:spPr>
          <a:xfrm>
            <a:off x="327093" y="1991500"/>
            <a:ext cx="2307042" cy="400110"/>
          </a:xfrm>
          <a:prstGeom prst="rect">
            <a:avLst/>
          </a:prstGeom>
          <a:noFill/>
        </p:spPr>
        <p:txBody>
          <a:bodyPr wrap="none" rtlCol="0">
            <a:spAutoFit/>
          </a:bodyPr>
          <a:lstStyle/>
          <a:p>
            <a:r>
              <a:rPr lang="en-US" sz="2000" b="1" dirty="0"/>
              <a:t>1) Procedural Era</a:t>
            </a:r>
          </a:p>
        </p:txBody>
      </p:sp>
      <p:grpSp>
        <p:nvGrpSpPr>
          <p:cNvPr id="3" name="Group 2">
            <a:extLst>
              <a:ext uri="{FF2B5EF4-FFF2-40B4-BE49-F238E27FC236}">
                <a16:creationId xmlns:a16="http://schemas.microsoft.com/office/drawing/2014/main" id="{D7AD419C-4D30-0E4F-9B76-DDE788E37BEB}"/>
              </a:ext>
            </a:extLst>
          </p:cNvPr>
          <p:cNvGrpSpPr/>
          <p:nvPr/>
        </p:nvGrpSpPr>
        <p:grpSpPr>
          <a:xfrm>
            <a:off x="185760" y="3993224"/>
            <a:ext cx="17158388" cy="1983667"/>
            <a:chOff x="126654" y="2722652"/>
            <a:chExt cx="11698901" cy="1352500"/>
          </a:xfrm>
        </p:grpSpPr>
        <p:pic>
          <p:nvPicPr>
            <p:cNvPr id="18" name="Picture 17">
              <a:extLst>
                <a:ext uri="{FF2B5EF4-FFF2-40B4-BE49-F238E27FC236}">
                  <a16:creationId xmlns:a16="http://schemas.microsoft.com/office/drawing/2014/main" id="{A2FD4ACD-9318-374A-99C1-43D3BB8A7DB6}"/>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3566296" y="3093161"/>
              <a:ext cx="1763684" cy="359885"/>
            </a:xfrm>
            <a:prstGeom prst="rect">
              <a:avLst/>
            </a:prstGeom>
          </p:spPr>
        </p:pic>
        <p:sp>
          <p:nvSpPr>
            <p:cNvPr id="20" name="Rectangle 19">
              <a:extLst>
                <a:ext uri="{FF2B5EF4-FFF2-40B4-BE49-F238E27FC236}">
                  <a16:creationId xmlns:a16="http://schemas.microsoft.com/office/drawing/2014/main" id="{A8A1A556-E138-5C4F-9339-0DCC5831CA4B}"/>
                </a:ext>
              </a:extLst>
            </p:cNvPr>
            <p:cNvSpPr/>
            <p:nvPr/>
          </p:nvSpPr>
          <p:spPr>
            <a:xfrm>
              <a:off x="6088872" y="3065169"/>
              <a:ext cx="1782146" cy="1009983"/>
            </a:xfrm>
            <a:prstGeom prst="rect">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dirty="0"/>
                <a:t>Machine</a:t>
              </a:r>
            </a:p>
            <a:p>
              <a:pPr algn="ctr"/>
              <a:r>
                <a:rPr lang="en-US" sz="2800" dirty="0"/>
                <a:t>Learning</a:t>
              </a:r>
            </a:p>
          </p:txBody>
        </p:sp>
        <p:sp>
          <p:nvSpPr>
            <p:cNvPr id="21" name="TextBox 20">
              <a:extLst>
                <a:ext uri="{FF2B5EF4-FFF2-40B4-BE49-F238E27FC236}">
                  <a16:creationId xmlns:a16="http://schemas.microsoft.com/office/drawing/2014/main" id="{A159857F-6EB6-8641-9873-F5836924A2B5}"/>
                </a:ext>
              </a:extLst>
            </p:cNvPr>
            <p:cNvSpPr txBox="1"/>
            <p:nvPr/>
          </p:nvSpPr>
          <p:spPr>
            <a:xfrm>
              <a:off x="2927280" y="3093161"/>
              <a:ext cx="569649" cy="314772"/>
            </a:xfrm>
            <a:prstGeom prst="rect">
              <a:avLst/>
            </a:prstGeom>
            <a:noFill/>
          </p:spPr>
          <p:txBody>
            <a:bodyPr wrap="none" rtlCol="0">
              <a:spAutoFit/>
            </a:bodyPr>
            <a:lstStyle/>
            <a:p>
              <a:r>
                <a:rPr lang="en-US" sz="2400" dirty="0"/>
                <a:t>Data</a:t>
              </a:r>
            </a:p>
          </p:txBody>
        </p:sp>
        <p:cxnSp>
          <p:nvCxnSpPr>
            <p:cNvPr id="22" name="Straight Arrow Connector 21">
              <a:extLst>
                <a:ext uri="{FF2B5EF4-FFF2-40B4-BE49-F238E27FC236}">
                  <a16:creationId xmlns:a16="http://schemas.microsoft.com/office/drawing/2014/main" id="{F3D7D622-D273-BD4B-8B48-5A27262BB775}"/>
                </a:ext>
              </a:extLst>
            </p:cNvPr>
            <p:cNvCxnSpPr>
              <a:stCxn id="18" idx="3"/>
            </p:cNvCxnSpPr>
            <p:nvPr/>
          </p:nvCxnSpPr>
          <p:spPr>
            <a:xfrm flipV="1">
              <a:off x="5329980" y="3263389"/>
              <a:ext cx="758892" cy="9715"/>
            </a:xfrm>
            <a:prstGeom prst="straightConnector1">
              <a:avLst/>
            </a:prstGeom>
            <a:ln w="571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3" name="Straight Arrow Connector 22">
              <a:extLst>
                <a:ext uri="{FF2B5EF4-FFF2-40B4-BE49-F238E27FC236}">
                  <a16:creationId xmlns:a16="http://schemas.microsoft.com/office/drawing/2014/main" id="{D9BCD895-5682-9947-976C-63AFCA945AE7}"/>
                </a:ext>
              </a:extLst>
            </p:cNvPr>
            <p:cNvCxnSpPr>
              <a:cxnSpLocks/>
            </p:cNvCxnSpPr>
            <p:nvPr/>
          </p:nvCxnSpPr>
          <p:spPr>
            <a:xfrm>
              <a:off x="5329980" y="3874544"/>
              <a:ext cx="758892" cy="0"/>
            </a:xfrm>
            <a:prstGeom prst="straightConnector1">
              <a:avLst/>
            </a:prstGeom>
            <a:ln w="571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4" name="Straight Arrow Connector 23">
              <a:extLst>
                <a:ext uri="{FF2B5EF4-FFF2-40B4-BE49-F238E27FC236}">
                  <a16:creationId xmlns:a16="http://schemas.microsoft.com/office/drawing/2014/main" id="{06532CC0-AB62-9E43-80FE-04AB16151D46}"/>
                </a:ext>
              </a:extLst>
            </p:cNvPr>
            <p:cNvCxnSpPr>
              <a:cxnSpLocks/>
            </p:cNvCxnSpPr>
            <p:nvPr/>
          </p:nvCxnSpPr>
          <p:spPr>
            <a:xfrm>
              <a:off x="7871018" y="3355140"/>
              <a:ext cx="758892" cy="0"/>
            </a:xfrm>
            <a:prstGeom prst="straightConnector1">
              <a:avLst/>
            </a:prstGeom>
            <a:ln w="571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8" name="TextBox 27">
              <a:extLst>
                <a:ext uri="{FF2B5EF4-FFF2-40B4-BE49-F238E27FC236}">
                  <a16:creationId xmlns:a16="http://schemas.microsoft.com/office/drawing/2014/main" id="{80297E3D-0068-7947-A223-59EE94E98F88}"/>
                </a:ext>
              </a:extLst>
            </p:cNvPr>
            <p:cNvSpPr txBox="1"/>
            <p:nvPr/>
          </p:nvSpPr>
          <p:spPr>
            <a:xfrm>
              <a:off x="4336759" y="3689878"/>
              <a:ext cx="854911" cy="272802"/>
            </a:xfrm>
            <a:prstGeom prst="rect">
              <a:avLst/>
            </a:prstGeom>
            <a:solidFill>
              <a:schemeClr val="accent6">
                <a:lumMod val="75000"/>
              </a:schemeClr>
            </a:solidFill>
          </p:spPr>
          <p:txBody>
            <a:bodyPr wrap="none" rtlCol="0">
              <a:spAutoFit/>
            </a:bodyPr>
            <a:lstStyle/>
            <a:p>
              <a:r>
                <a:rPr lang="en-US" sz="2000" b="1" dirty="0">
                  <a:solidFill>
                    <a:schemeClr val="bg1"/>
                  </a:solidFill>
                </a:rPr>
                <a:t>Answers</a:t>
              </a:r>
            </a:p>
          </p:txBody>
        </p:sp>
        <p:sp>
          <p:nvSpPr>
            <p:cNvPr id="31" name="Rectangle 30">
              <a:extLst>
                <a:ext uri="{FF2B5EF4-FFF2-40B4-BE49-F238E27FC236}">
                  <a16:creationId xmlns:a16="http://schemas.microsoft.com/office/drawing/2014/main" id="{C131E727-9178-CF40-B3DC-CE13D4A33C95}"/>
                </a:ext>
              </a:extLst>
            </p:cNvPr>
            <p:cNvSpPr/>
            <p:nvPr/>
          </p:nvSpPr>
          <p:spPr>
            <a:xfrm>
              <a:off x="8629910" y="3084360"/>
              <a:ext cx="1782146" cy="54155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a:t>Rules</a:t>
              </a:r>
              <a:br>
                <a:rPr lang="en-US" sz="2000" dirty="0"/>
              </a:br>
              <a:r>
                <a:rPr lang="en-US" sz="2000" dirty="0"/>
                <a:t>(10M weights)</a:t>
              </a:r>
            </a:p>
          </p:txBody>
        </p:sp>
        <p:sp>
          <p:nvSpPr>
            <p:cNvPr id="57" name="TextBox 56">
              <a:extLst>
                <a:ext uri="{FF2B5EF4-FFF2-40B4-BE49-F238E27FC236}">
                  <a16:creationId xmlns:a16="http://schemas.microsoft.com/office/drawing/2014/main" id="{3D8E8AF2-47E7-8C49-A261-01E18F317D94}"/>
                </a:ext>
              </a:extLst>
            </p:cNvPr>
            <p:cNvSpPr txBox="1"/>
            <p:nvPr/>
          </p:nvSpPr>
          <p:spPr>
            <a:xfrm>
              <a:off x="126654" y="2863969"/>
              <a:ext cx="2145692" cy="272802"/>
            </a:xfrm>
            <a:prstGeom prst="rect">
              <a:avLst/>
            </a:prstGeom>
            <a:noFill/>
          </p:spPr>
          <p:txBody>
            <a:bodyPr wrap="none" rtlCol="0">
              <a:spAutoFit/>
            </a:bodyPr>
            <a:lstStyle/>
            <a:p>
              <a:r>
                <a:rPr lang="en-US" sz="2000" b="1" dirty="0"/>
                <a:t>2) Machine Learning Era</a:t>
              </a:r>
            </a:p>
          </p:txBody>
        </p:sp>
        <p:cxnSp>
          <p:nvCxnSpPr>
            <p:cNvPr id="78" name="Straight Connector 77">
              <a:extLst>
                <a:ext uri="{FF2B5EF4-FFF2-40B4-BE49-F238E27FC236}">
                  <a16:creationId xmlns:a16="http://schemas.microsoft.com/office/drawing/2014/main" id="{16F5CD79-BEC7-0647-A130-7C48E7DC85AC}"/>
                </a:ext>
              </a:extLst>
            </p:cNvPr>
            <p:cNvCxnSpPr/>
            <p:nvPr/>
          </p:nvCxnSpPr>
          <p:spPr>
            <a:xfrm>
              <a:off x="225179" y="2722652"/>
              <a:ext cx="11600376" cy="0"/>
            </a:xfrm>
            <a:prstGeom prst="line">
              <a:avLst/>
            </a:prstGeom>
          </p:spPr>
          <p:style>
            <a:lnRef idx="1">
              <a:schemeClr val="accent1"/>
            </a:lnRef>
            <a:fillRef idx="0">
              <a:schemeClr val="accent1"/>
            </a:fillRef>
            <a:effectRef idx="0">
              <a:schemeClr val="accent1"/>
            </a:effectRef>
            <a:fontRef idx="minor">
              <a:schemeClr val="tx1"/>
            </a:fontRef>
          </p:style>
        </p:cxnSp>
      </p:grpSp>
      <p:sp>
        <p:nvSpPr>
          <p:cNvPr id="80" name="Slide Number Placeholder 79">
            <a:extLst>
              <a:ext uri="{FF2B5EF4-FFF2-40B4-BE49-F238E27FC236}">
                <a16:creationId xmlns:a16="http://schemas.microsoft.com/office/drawing/2014/main" id="{711FEABA-F391-C84A-B0AF-D27F60919ADD}"/>
              </a:ext>
            </a:extLst>
          </p:cNvPr>
          <p:cNvSpPr>
            <a:spLocks noGrp="1"/>
          </p:cNvSpPr>
          <p:nvPr>
            <p:ph type="sldNum" sz="quarter" idx="12"/>
          </p:nvPr>
        </p:nvSpPr>
        <p:spPr/>
        <p:txBody>
          <a:bodyPr/>
          <a:lstStyle/>
          <a:p>
            <a:fld id="{89680184-36F0-7340-B2B6-917CC4ADF00C}" type="slidenum">
              <a:rPr lang="en-US" smtClean="0"/>
              <a:t>39</a:t>
            </a:fld>
            <a:endParaRPr lang="en-US" dirty="0"/>
          </a:p>
        </p:txBody>
      </p:sp>
      <p:grpSp>
        <p:nvGrpSpPr>
          <p:cNvPr id="4" name="Group 3">
            <a:extLst>
              <a:ext uri="{FF2B5EF4-FFF2-40B4-BE49-F238E27FC236}">
                <a16:creationId xmlns:a16="http://schemas.microsoft.com/office/drawing/2014/main" id="{2F19552F-F4F8-8E48-89D1-3F974B01D93A}"/>
              </a:ext>
            </a:extLst>
          </p:cNvPr>
          <p:cNvGrpSpPr/>
          <p:nvPr/>
        </p:nvGrpSpPr>
        <p:grpSpPr>
          <a:xfrm>
            <a:off x="330262" y="6492126"/>
            <a:ext cx="17013885" cy="2787852"/>
            <a:chOff x="225179" y="4426449"/>
            <a:chExt cx="11600376" cy="1900808"/>
          </a:xfrm>
        </p:grpSpPr>
        <p:grpSp>
          <p:nvGrpSpPr>
            <p:cNvPr id="66" name="Group 65">
              <a:extLst>
                <a:ext uri="{FF2B5EF4-FFF2-40B4-BE49-F238E27FC236}">
                  <a16:creationId xmlns:a16="http://schemas.microsoft.com/office/drawing/2014/main" id="{18BB9C4F-FF47-1841-86D9-872341AE9E6A}"/>
                </a:ext>
              </a:extLst>
            </p:cNvPr>
            <p:cNvGrpSpPr/>
            <p:nvPr/>
          </p:nvGrpSpPr>
          <p:grpSpPr>
            <a:xfrm>
              <a:off x="6089446" y="4786133"/>
              <a:ext cx="1782146" cy="1541124"/>
              <a:chOff x="6088872" y="4409008"/>
              <a:chExt cx="1782146" cy="1541124"/>
            </a:xfrm>
          </p:grpSpPr>
          <p:sp>
            <p:nvSpPr>
              <p:cNvPr id="56" name="Rectangle 55">
                <a:extLst>
                  <a:ext uri="{FF2B5EF4-FFF2-40B4-BE49-F238E27FC236}">
                    <a16:creationId xmlns:a16="http://schemas.microsoft.com/office/drawing/2014/main" id="{78BB84A8-4FB1-9B48-87B4-93FA1936B842}"/>
                  </a:ext>
                </a:extLst>
              </p:cNvPr>
              <p:cNvSpPr/>
              <p:nvPr/>
            </p:nvSpPr>
            <p:spPr>
              <a:xfrm>
                <a:off x="6088872" y="4409008"/>
                <a:ext cx="1782146" cy="1541124"/>
              </a:xfrm>
              <a:prstGeom prst="rect">
                <a:avLst/>
              </a:prstGeom>
              <a:solidFill>
                <a:schemeClr val="bg1">
                  <a:lumMod val="85000"/>
                </a:schemeClr>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548"/>
              </a:p>
            </p:txBody>
          </p:sp>
          <p:grpSp>
            <p:nvGrpSpPr>
              <p:cNvPr id="32" name="Group 242">
                <a:extLst>
                  <a:ext uri="{FF2B5EF4-FFF2-40B4-BE49-F238E27FC236}">
                    <a16:creationId xmlns:a16="http://schemas.microsoft.com/office/drawing/2014/main" id="{682D1497-78C6-B942-91A5-8D2175188AC1}"/>
                  </a:ext>
                </a:extLst>
              </p:cNvPr>
              <p:cNvGrpSpPr/>
              <p:nvPr/>
            </p:nvGrpSpPr>
            <p:grpSpPr>
              <a:xfrm>
                <a:off x="6243491" y="4553092"/>
                <a:ext cx="1472908" cy="1212105"/>
                <a:chOff x="3505200" y="4267200"/>
                <a:chExt cx="1676400" cy="1600200"/>
              </a:xfrm>
            </p:grpSpPr>
            <p:sp>
              <p:nvSpPr>
                <p:cNvPr id="33" name="Oval 32">
                  <a:extLst>
                    <a:ext uri="{FF2B5EF4-FFF2-40B4-BE49-F238E27FC236}">
                      <a16:creationId xmlns:a16="http://schemas.microsoft.com/office/drawing/2014/main" id="{5B3DA2CF-6337-C24E-9AD4-91884B517B63}"/>
                    </a:ext>
                  </a:extLst>
                </p:cNvPr>
                <p:cNvSpPr/>
                <p:nvPr/>
              </p:nvSpPr>
              <p:spPr bwMode="auto">
                <a:xfrm>
                  <a:off x="4191000" y="4267200"/>
                  <a:ext cx="228600" cy="228600"/>
                </a:xfrm>
                <a:prstGeom prst="ellipse">
                  <a:avLst/>
                </a:prstGeom>
                <a:solidFill>
                  <a:srgbClr val="FF0000"/>
                </a:solidFill>
                <a:ln w="12700" cap="flat" cmpd="sng" algn="ctr">
                  <a:solidFill>
                    <a:schemeClr val="tx1"/>
                  </a:solidFill>
                  <a:prstDash val="solid"/>
                  <a:round/>
                  <a:headEnd type="none" w="med" len="med"/>
                  <a:tailEnd type="none" w="med" len="med"/>
                </a:ln>
                <a:effectLst/>
              </p:spPr>
              <p:txBody>
                <a:bodyPr vert="horz" wrap="square" lIns="116616" tIns="58307" rIns="116616" bIns="58307" numCol="1" rtlCol="0" anchor="t" anchorCtr="0" compatLnSpc="1">
                  <a:prstTxWarp prst="textNoShape">
                    <a:avLst/>
                  </a:prstTxWarp>
                </a:bodyPr>
                <a:lstStyle/>
                <a:p>
                  <a:pPr algn="ctr" defTabSz="1166031" fontAlgn="base">
                    <a:spcBef>
                      <a:spcPct val="0"/>
                    </a:spcBef>
                    <a:spcAft>
                      <a:spcPct val="0"/>
                    </a:spcAft>
                  </a:pPr>
                  <a:endParaRPr lang="en-US" sz="3061" b="1">
                    <a:latin typeface="Arial Narrow" charset="0"/>
                  </a:endParaRPr>
                </a:p>
              </p:txBody>
            </p:sp>
            <p:sp>
              <p:nvSpPr>
                <p:cNvPr id="34" name="Oval 33">
                  <a:extLst>
                    <a:ext uri="{FF2B5EF4-FFF2-40B4-BE49-F238E27FC236}">
                      <a16:creationId xmlns:a16="http://schemas.microsoft.com/office/drawing/2014/main" id="{036787F1-8B10-264C-83A4-3C9DE821814A}"/>
                    </a:ext>
                  </a:extLst>
                </p:cNvPr>
                <p:cNvSpPr/>
                <p:nvPr/>
              </p:nvSpPr>
              <p:spPr bwMode="auto">
                <a:xfrm>
                  <a:off x="3886200" y="4724400"/>
                  <a:ext cx="228600" cy="228600"/>
                </a:xfrm>
                <a:prstGeom prst="ellipse">
                  <a:avLst/>
                </a:prstGeom>
                <a:solidFill>
                  <a:srgbClr val="996633"/>
                </a:solidFill>
                <a:ln w="12700" cap="flat" cmpd="sng" algn="ctr">
                  <a:solidFill>
                    <a:schemeClr val="tx1"/>
                  </a:solidFill>
                  <a:prstDash val="solid"/>
                  <a:round/>
                  <a:headEnd type="none" w="med" len="med"/>
                  <a:tailEnd type="none" w="med" len="med"/>
                </a:ln>
                <a:effectLst/>
              </p:spPr>
              <p:txBody>
                <a:bodyPr vert="horz" wrap="square" lIns="116616" tIns="58307" rIns="116616" bIns="58307" numCol="1" rtlCol="0" anchor="t" anchorCtr="0" compatLnSpc="1">
                  <a:prstTxWarp prst="textNoShape">
                    <a:avLst/>
                  </a:prstTxWarp>
                </a:bodyPr>
                <a:lstStyle/>
                <a:p>
                  <a:pPr algn="ctr" defTabSz="1166031" fontAlgn="base">
                    <a:spcBef>
                      <a:spcPct val="0"/>
                    </a:spcBef>
                    <a:spcAft>
                      <a:spcPct val="0"/>
                    </a:spcAft>
                  </a:pPr>
                  <a:endParaRPr lang="en-US" sz="3061" b="1">
                    <a:latin typeface="Arial Narrow" charset="0"/>
                  </a:endParaRPr>
                </a:p>
              </p:txBody>
            </p:sp>
            <p:sp>
              <p:nvSpPr>
                <p:cNvPr id="35" name="Oval 34">
                  <a:extLst>
                    <a:ext uri="{FF2B5EF4-FFF2-40B4-BE49-F238E27FC236}">
                      <a16:creationId xmlns:a16="http://schemas.microsoft.com/office/drawing/2014/main" id="{1B71D8F9-AB6B-F74D-8AAB-A1F9A4FD2F4D}"/>
                    </a:ext>
                  </a:extLst>
                </p:cNvPr>
                <p:cNvSpPr/>
                <p:nvPr/>
              </p:nvSpPr>
              <p:spPr bwMode="auto">
                <a:xfrm>
                  <a:off x="4191000" y="5105400"/>
                  <a:ext cx="228600" cy="228600"/>
                </a:xfrm>
                <a:prstGeom prst="ellipse">
                  <a:avLst/>
                </a:prstGeom>
                <a:solidFill>
                  <a:srgbClr val="7030A0"/>
                </a:solidFill>
                <a:ln w="12700" cap="flat" cmpd="sng" algn="ctr">
                  <a:solidFill>
                    <a:schemeClr val="tx1"/>
                  </a:solidFill>
                  <a:prstDash val="solid"/>
                  <a:round/>
                  <a:headEnd type="none" w="med" len="med"/>
                  <a:tailEnd type="none" w="med" len="med"/>
                </a:ln>
                <a:effectLst/>
              </p:spPr>
              <p:txBody>
                <a:bodyPr vert="horz" wrap="square" lIns="116616" tIns="58307" rIns="116616" bIns="58307" numCol="1" rtlCol="0" anchor="t" anchorCtr="0" compatLnSpc="1">
                  <a:prstTxWarp prst="textNoShape">
                    <a:avLst/>
                  </a:prstTxWarp>
                </a:bodyPr>
                <a:lstStyle/>
                <a:p>
                  <a:pPr algn="ctr" defTabSz="1166031" fontAlgn="base">
                    <a:spcBef>
                      <a:spcPct val="0"/>
                    </a:spcBef>
                    <a:spcAft>
                      <a:spcPct val="0"/>
                    </a:spcAft>
                  </a:pPr>
                  <a:endParaRPr lang="en-US" sz="3061" b="1">
                    <a:latin typeface="Arial Narrow" charset="0"/>
                  </a:endParaRPr>
                </a:p>
              </p:txBody>
            </p:sp>
            <p:sp>
              <p:nvSpPr>
                <p:cNvPr id="36" name="Oval 35">
                  <a:extLst>
                    <a:ext uri="{FF2B5EF4-FFF2-40B4-BE49-F238E27FC236}">
                      <a16:creationId xmlns:a16="http://schemas.microsoft.com/office/drawing/2014/main" id="{6879DF30-35CA-2A49-95C2-3F9C2548FEAD}"/>
                    </a:ext>
                  </a:extLst>
                </p:cNvPr>
                <p:cNvSpPr/>
                <p:nvPr/>
              </p:nvSpPr>
              <p:spPr bwMode="auto">
                <a:xfrm>
                  <a:off x="4724400" y="4495800"/>
                  <a:ext cx="228600" cy="228600"/>
                </a:xfrm>
                <a:prstGeom prst="ellipse">
                  <a:avLst/>
                </a:prstGeom>
                <a:solidFill>
                  <a:schemeClr val="accent6"/>
                </a:solidFill>
                <a:ln w="12700" cap="flat" cmpd="sng" algn="ctr">
                  <a:solidFill>
                    <a:schemeClr val="tx1"/>
                  </a:solidFill>
                  <a:prstDash val="solid"/>
                  <a:round/>
                  <a:headEnd type="none" w="med" len="med"/>
                  <a:tailEnd type="none" w="med" len="med"/>
                </a:ln>
                <a:effectLst/>
              </p:spPr>
              <p:txBody>
                <a:bodyPr vert="horz" wrap="square" lIns="116616" tIns="58307" rIns="116616" bIns="58307" numCol="1" rtlCol="0" anchor="t" anchorCtr="0" compatLnSpc="1">
                  <a:prstTxWarp prst="textNoShape">
                    <a:avLst/>
                  </a:prstTxWarp>
                </a:bodyPr>
                <a:lstStyle/>
                <a:p>
                  <a:pPr algn="ctr" defTabSz="1166031" fontAlgn="base">
                    <a:spcBef>
                      <a:spcPct val="0"/>
                    </a:spcBef>
                    <a:spcAft>
                      <a:spcPct val="0"/>
                    </a:spcAft>
                  </a:pPr>
                  <a:endParaRPr lang="en-US" sz="3061" b="1">
                    <a:latin typeface="Arial Narrow" charset="0"/>
                  </a:endParaRPr>
                </a:p>
              </p:txBody>
            </p:sp>
            <p:sp>
              <p:nvSpPr>
                <p:cNvPr id="37" name="Oval 36">
                  <a:extLst>
                    <a:ext uri="{FF2B5EF4-FFF2-40B4-BE49-F238E27FC236}">
                      <a16:creationId xmlns:a16="http://schemas.microsoft.com/office/drawing/2014/main" id="{7290BAC6-CC04-CC44-A498-8FB991807843}"/>
                    </a:ext>
                  </a:extLst>
                </p:cNvPr>
                <p:cNvSpPr/>
                <p:nvPr/>
              </p:nvSpPr>
              <p:spPr bwMode="auto">
                <a:xfrm>
                  <a:off x="4648200" y="4953000"/>
                  <a:ext cx="228600" cy="228600"/>
                </a:xfrm>
                <a:prstGeom prst="ellipse">
                  <a:avLst/>
                </a:prstGeom>
                <a:solidFill>
                  <a:srgbClr val="FFFF00"/>
                </a:solidFill>
                <a:ln w="12700" cap="flat" cmpd="sng" algn="ctr">
                  <a:solidFill>
                    <a:schemeClr val="tx1"/>
                  </a:solidFill>
                  <a:prstDash val="solid"/>
                  <a:round/>
                  <a:headEnd type="none" w="med" len="med"/>
                  <a:tailEnd type="none" w="med" len="med"/>
                </a:ln>
                <a:effectLst/>
              </p:spPr>
              <p:txBody>
                <a:bodyPr vert="horz" wrap="square" lIns="116616" tIns="58307" rIns="116616" bIns="58307" numCol="1" rtlCol="0" anchor="t" anchorCtr="0" compatLnSpc="1">
                  <a:prstTxWarp prst="textNoShape">
                    <a:avLst/>
                  </a:prstTxWarp>
                </a:bodyPr>
                <a:lstStyle/>
                <a:p>
                  <a:pPr algn="ctr" defTabSz="1166031" fontAlgn="base">
                    <a:spcBef>
                      <a:spcPct val="0"/>
                    </a:spcBef>
                    <a:spcAft>
                      <a:spcPct val="0"/>
                    </a:spcAft>
                  </a:pPr>
                  <a:endParaRPr lang="en-US" sz="3061" b="1">
                    <a:latin typeface="Arial Narrow" charset="0"/>
                  </a:endParaRPr>
                </a:p>
              </p:txBody>
            </p:sp>
            <p:sp>
              <p:nvSpPr>
                <p:cNvPr id="38" name="Oval 37">
                  <a:extLst>
                    <a:ext uri="{FF2B5EF4-FFF2-40B4-BE49-F238E27FC236}">
                      <a16:creationId xmlns:a16="http://schemas.microsoft.com/office/drawing/2014/main" id="{D9C1DF07-C223-4B40-972B-D6A0173D65BA}"/>
                    </a:ext>
                  </a:extLst>
                </p:cNvPr>
                <p:cNvSpPr/>
                <p:nvPr/>
              </p:nvSpPr>
              <p:spPr bwMode="auto">
                <a:xfrm>
                  <a:off x="3581400" y="5257800"/>
                  <a:ext cx="228600" cy="228600"/>
                </a:xfrm>
                <a:prstGeom prst="ellipse">
                  <a:avLst/>
                </a:prstGeom>
                <a:solidFill>
                  <a:srgbClr val="92D050"/>
                </a:solidFill>
                <a:ln w="12700" cap="flat" cmpd="sng" algn="ctr">
                  <a:solidFill>
                    <a:schemeClr val="tx1"/>
                  </a:solidFill>
                  <a:prstDash val="solid"/>
                  <a:round/>
                  <a:headEnd type="none" w="med" len="med"/>
                  <a:tailEnd type="none" w="med" len="med"/>
                </a:ln>
                <a:effectLst/>
              </p:spPr>
              <p:txBody>
                <a:bodyPr vert="horz" wrap="square" lIns="116616" tIns="58307" rIns="116616" bIns="58307" numCol="1" rtlCol="0" anchor="t" anchorCtr="0" compatLnSpc="1">
                  <a:prstTxWarp prst="textNoShape">
                    <a:avLst/>
                  </a:prstTxWarp>
                </a:bodyPr>
                <a:lstStyle/>
                <a:p>
                  <a:pPr algn="ctr" defTabSz="1166031" fontAlgn="base">
                    <a:spcBef>
                      <a:spcPct val="0"/>
                    </a:spcBef>
                    <a:spcAft>
                      <a:spcPct val="0"/>
                    </a:spcAft>
                  </a:pPr>
                  <a:endParaRPr lang="en-US" sz="3061" b="1">
                    <a:latin typeface="Arial Narrow" charset="0"/>
                  </a:endParaRPr>
                </a:p>
              </p:txBody>
            </p:sp>
            <p:sp>
              <p:nvSpPr>
                <p:cNvPr id="39" name="Oval 38">
                  <a:extLst>
                    <a:ext uri="{FF2B5EF4-FFF2-40B4-BE49-F238E27FC236}">
                      <a16:creationId xmlns:a16="http://schemas.microsoft.com/office/drawing/2014/main" id="{5C02EC33-0FDC-1345-BEFC-FDD7A21395AA}"/>
                    </a:ext>
                  </a:extLst>
                </p:cNvPr>
                <p:cNvSpPr/>
                <p:nvPr/>
              </p:nvSpPr>
              <p:spPr bwMode="auto">
                <a:xfrm>
                  <a:off x="4419600" y="5486400"/>
                  <a:ext cx="228600" cy="228600"/>
                </a:xfrm>
                <a:prstGeom prst="ellipse">
                  <a:avLst/>
                </a:prstGeom>
                <a:solidFill>
                  <a:srgbClr val="0070C0"/>
                </a:solidFill>
                <a:ln w="12700" cap="flat" cmpd="sng" algn="ctr">
                  <a:solidFill>
                    <a:schemeClr val="tx1"/>
                  </a:solidFill>
                  <a:prstDash val="solid"/>
                  <a:round/>
                  <a:headEnd type="none" w="med" len="med"/>
                  <a:tailEnd type="none" w="med" len="med"/>
                </a:ln>
                <a:effectLst/>
              </p:spPr>
              <p:txBody>
                <a:bodyPr vert="horz" wrap="square" lIns="116616" tIns="58307" rIns="116616" bIns="58307" numCol="1" rtlCol="0" anchor="t" anchorCtr="0" compatLnSpc="1">
                  <a:prstTxWarp prst="textNoShape">
                    <a:avLst/>
                  </a:prstTxWarp>
                </a:bodyPr>
                <a:lstStyle/>
                <a:p>
                  <a:pPr algn="ctr" defTabSz="1166031" fontAlgn="base">
                    <a:spcBef>
                      <a:spcPct val="0"/>
                    </a:spcBef>
                    <a:spcAft>
                      <a:spcPct val="0"/>
                    </a:spcAft>
                  </a:pPr>
                  <a:endParaRPr lang="en-US" sz="3061" b="1">
                    <a:latin typeface="Arial Narrow" charset="0"/>
                  </a:endParaRPr>
                </a:p>
              </p:txBody>
            </p:sp>
            <p:sp>
              <p:nvSpPr>
                <p:cNvPr id="40" name="Oval 39">
                  <a:extLst>
                    <a:ext uri="{FF2B5EF4-FFF2-40B4-BE49-F238E27FC236}">
                      <a16:creationId xmlns:a16="http://schemas.microsoft.com/office/drawing/2014/main" id="{5D1BE071-C182-5244-A972-E5DC77B526E8}"/>
                    </a:ext>
                  </a:extLst>
                </p:cNvPr>
                <p:cNvSpPr/>
                <p:nvPr/>
              </p:nvSpPr>
              <p:spPr bwMode="auto">
                <a:xfrm>
                  <a:off x="3505200" y="4572000"/>
                  <a:ext cx="228600" cy="228600"/>
                </a:xfrm>
                <a:prstGeom prst="ellipse">
                  <a:avLst/>
                </a:prstGeom>
                <a:solidFill>
                  <a:schemeClr val="bg1">
                    <a:lumMod val="65000"/>
                  </a:schemeClr>
                </a:solidFill>
                <a:ln w="12700" cap="flat" cmpd="sng" algn="ctr">
                  <a:solidFill>
                    <a:schemeClr val="tx1"/>
                  </a:solidFill>
                  <a:prstDash val="solid"/>
                  <a:round/>
                  <a:headEnd type="none" w="med" len="med"/>
                  <a:tailEnd type="none" w="med" len="med"/>
                </a:ln>
                <a:effectLst/>
              </p:spPr>
              <p:txBody>
                <a:bodyPr vert="horz" wrap="square" lIns="116616" tIns="58307" rIns="116616" bIns="58307" numCol="1" rtlCol="0" anchor="t" anchorCtr="0" compatLnSpc="1">
                  <a:prstTxWarp prst="textNoShape">
                    <a:avLst/>
                  </a:prstTxWarp>
                </a:bodyPr>
                <a:lstStyle/>
                <a:p>
                  <a:pPr algn="ctr" defTabSz="1166031" fontAlgn="base">
                    <a:spcBef>
                      <a:spcPct val="0"/>
                    </a:spcBef>
                    <a:spcAft>
                      <a:spcPct val="0"/>
                    </a:spcAft>
                  </a:pPr>
                  <a:endParaRPr lang="en-US" sz="3061" b="1">
                    <a:latin typeface="Arial Narrow" charset="0"/>
                  </a:endParaRPr>
                </a:p>
              </p:txBody>
            </p:sp>
            <p:sp>
              <p:nvSpPr>
                <p:cNvPr id="41" name="Oval 40">
                  <a:extLst>
                    <a:ext uri="{FF2B5EF4-FFF2-40B4-BE49-F238E27FC236}">
                      <a16:creationId xmlns:a16="http://schemas.microsoft.com/office/drawing/2014/main" id="{8A45FF4A-49BA-2647-B656-E971B2D65FC6}"/>
                    </a:ext>
                  </a:extLst>
                </p:cNvPr>
                <p:cNvSpPr/>
                <p:nvPr/>
              </p:nvSpPr>
              <p:spPr bwMode="auto">
                <a:xfrm>
                  <a:off x="4953000" y="5334000"/>
                  <a:ext cx="228600" cy="228600"/>
                </a:xfrm>
                <a:prstGeom prst="ellipse">
                  <a:avLst/>
                </a:prstGeom>
                <a:solidFill>
                  <a:srgbClr val="00B050"/>
                </a:solidFill>
                <a:ln w="12700" cap="flat" cmpd="sng" algn="ctr">
                  <a:solidFill>
                    <a:schemeClr val="tx1"/>
                  </a:solidFill>
                  <a:prstDash val="solid"/>
                  <a:round/>
                  <a:headEnd type="none" w="med" len="med"/>
                  <a:tailEnd type="none" w="med" len="med"/>
                </a:ln>
                <a:effectLst/>
              </p:spPr>
              <p:txBody>
                <a:bodyPr vert="horz" wrap="square" lIns="116616" tIns="58307" rIns="116616" bIns="58307" numCol="1" rtlCol="0" anchor="t" anchorCtr="0" compatLnSpc="1">
                  <a:prstTxWarp prst="textNoShape">
                    <a:avLst/>
                  </a:prstTxWarp>
                </a:bodyPr>
                <a:lstStyle/>
                <a:p>
                  <a:pPr algn="ctr" defTabSz="1166031" fontAlgn="base">
                    <a:spcBef>
                      <a:spcPct val="0"/>
                    </a:spcBef>
                    <a:spcAft>
                      <a:spcPct val="0"/>
                    </a:spcAft>
                  </a:pPr>
                  <a:endParaRPr lang="en-US" sz="3061" b="1">
                    <a:latin typeface="Arial Narrow" charset="0"/>
                  </a:endParaRPr>
                </a:p>
              </p:txBody>
            </p:sp>
            <p:cxnSp>
              <p:nvCxnSpPr>
                <p:cNvPr id="42" name="Straight Arrow Connector 41">
                  <a:extLst>
                    <a:ext uri="{FF2B5EF4-FFF2-40B4-BE49-F238E27FC236}">
                      <a16:creationId xmlns:a16="http://schemas.microsoft.com/office/drawing/2014/main" id="{D4322963-50BD-D34B-AC40-34BD772EC306}"/>
                    </a:ext>
                  </a:extLst>
                </p:cNvPr>
                <p:cNvCxnSpPr>
                  <a:stCxn id="40" idx="7"/>
                  <a:endCxn id="33" idx="2"/>
                </p:cNvCxnSpPr>
                <p:nvPr/>
              </p:nvCxnSpPr>
              <p:spPr>
                <a:xfrm flipV="1">
                  <a:off x="3700322" y="4381500"/>
                  <a:ext cx="490678" cy="223978"/>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3" name="Straight Arrow Connector 42">
                  <a:extLst>
                    <a:ext uri="{FF2B5EF4-FFF2-40B4-BE49-F238E27FC236}">
                      <a16:creationId xmlns:a16="http://schemas.microsoft.com/office/drawing/2014/main" id="{5A60BEE8-BD4B-7B4A-8A5B-6A6E66289433}"/>
                    </a:ext>
                  </a:extLst>
                </p:cNvPr>
                <p:cNvCxnSpPr>
                  <a:stCxn id="33" idx="6"/>
                  <a:endCxn id="36" idx="2"/>
                </p:cNvCxnSpPr>
                <p:nvPr/>
              </p:nvCxnSpPr>
              <p:spPr>
                <a:xfrm>
                  <a:off x="4419600" y="4381500"/>
                  <a:ext cx="304800" cy="228600"/>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4" name="Straight Arrow Connector 43">
                  <a:extLst>
                    <a:ext uri="{FF2B5EF4-FFF2-40B4-BE49-F238E27FC236}">
                      <a16:creationId xmlns:a16="http://schemas.microsoft.com/office/drawing/2014/main" id="{2C15FBD1-AA37-1345-AEFB-2E28804F9E0D}"/>
                    </a:ext>
                  </a:extLst>
                </p:cNvPr>
                <p:cNvCxnSpPr>
                  <a:stCxn id="36" idx="3"/>
                  <a:endCxn id="37" idx="0"/>
                </p:cNvCxnSpPr>
                <p:nvPr/>
              </p:nvCxnSpPr>
              <p:spPr>
                <a:xfrm>
                  <a:off x="4757878" y="4690922"/>
                  <a:ext cx="4622" cy="262078"/>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5" name="Straight Arrow Connector 44">
                  <a:extLst>
                    <a:ext uri="{FF2B5EF4-FFF2-40B4-BE49-F238E27FC236}">
                      <a16:creationId xmlns:a16="http://schemas.microsoft.com/office/drawing/2014/main" id="{10D1EC65-A0E6-8441-A908-08FCB6136B89}"/>
                    </a:ext>
                  </a:extLst>
                </p:cNvPr>
                <p:cNvCxnSpPr>
                  <a:stCxn id="37" idx="5"/>
                  <a:endCxn id="41" idx="1"/>
                </p:cNvCxnSpPr>
                <p:nvPr/>
              </p:nvCxnSpPr>
              <p:spPr>
                <a:xfrm>
                  <a:off x="4843322" y="5148122"/>
                  <a:ext cx="143156" cy="219356"/>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6" name="Straight Arrow Connector 45">
                  <a:extLst>
                    <a:ext uri="{FF2B5EF4-FFF2-40B4-BE49-F238E27FC236}">
                      <a16:creationId xmlns:a16="http://schemas.microsoft.com/office/drawing/2014/main" id="{BEE0E3EA-938A-6C45-A7E3-10CD08316D48}"/>
                    </a:ext>
                  </a:extLst>
                </p:cNvPr>
                <p:cNvCxnSpPr>
                  <a:stCxn id="41" idx="2"/>
                  <a:endCxn id="39" idx="6"/>
                </p:cNvCxnSpPr>
                <p:nvPr/>
              </p:nvCxnSpPr>
              <p:spPr>
                <a:xfrm flipH="1">
                  <a:off x="4648200" y="5448300"/>
                  <a:ext cx="304800" cy="152400"/>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7" name="Straight Arrow Connector 46">
                  <a:extLst>
                    <a:ext uri="{FF2B5EF4-FFF2-40B4-BE49-F238E27FC236}">
                      <a16:creationId xmlns:a16="http://schemas.microsoft.com/office/drawing/2014/main" id="{7A407DA4-3230-4246-8425-FB235272B20F}"/>
                    </a:ext>
                  </a:extLst>
                </p:cNvPr>
                <p:cNvCxnSpPr>
                  <a:endCxn id="35" idx="5"/>
                </p:cNvCxnSpPr>
                <p:nvPr/>
              </p:nvCxnSpPr>
              <p:spPr>
                <a:xfrm flipH="1" flipV="1">
                  <a:off x="4386122" y="5300522"/>
                  <a:ext cx="105056" cy="219356"/>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8" name="Straight Arrow Connector 47">
                  <a:extLst>
                    <a:ext uri="{FF2B5EF4-FFF2-40B4-BE49-F238E27FC236}">
                      <a16:creationId xmlns:a16="http://schemas.microsoft.com/office/drawing/2014/main" id="{F7BEF746-2022-D74E-8C02-82102C77F009}"/>
                    </a:ext>
                  </a:extLst>
                </p:cNvPr>
                <p:cNvCxnSpPr>
                  <a:stCxn id="35" idx="1"/>
                  <a:endCxn id="34" idx="5"/>
                </p:cNvCxnSpPr>
                <p:nvPr/>
              </p:nvCxnSpPr>
              <p:spPr>
                <a:xfrm flipH="1" flipV="1">
                  <a:off x="4081322" y="4919522"/>
                  <a:ext cx="143156" cy="219356"/>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9" name="Straight Arrow Connector 48">
                  <a:extLst>
                    <a:ext uri="{FF2B5EF4-FFF2-40B4-BE49-F238E27FC236}">
                      <a16:creationId xmlns:a16="http://schemas.microsoft.com/office/drawing/2014/main" id="{C227A865-432A-2646-A349-EA0E223C570C}"/>
                    </a:ext>
                  </a:extLst>
                </p:cNvPr>
                <p:cNvCxnSpPr>
                  <a:stCxn id="34" idx="3"/>
                  <a:endCxn id="38" idx="7"/>
                </p:cNvCxnSpPr>
                <p:nvPr/>
              </p:nvCxnSpPr>
              <p:spPr>
                <a:xfrm flipH="1">
                  <a:off x="3776522" y="4919522"/>
                  <a:ext cx="143156" cy="371756"/>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0" name="Straight Arrow Connector 49">
                  <a:extLst>
                    <a:ext uri="{FF2B5EF4-FFF2-40B4-BE49-F238E27FC236}">
                      <a16:creationId xmlns:a16="http://schemas.microsoft.com/office/drawing/2014/main" id="{F9753CAD-F453-844B-8914-86FAA95EBF75}"/>
                    </a:ext>
                  </a:extLst>
                </p:cNvPr>
                <p:cNvCxnSpPr>
                  <a:stCxn id="40" idx="4"/>
                  <a:endCxn id="38" idx="1"/>
                </p:cNvCxnSpPr>
                <p:nvPr/>
              </p:nvCxnSpPr>
              <p:spPr>
                <a:xfrm flipH="1">
                  <a:off x="3614878" y="4800600"/>
                  <a:ext cx="4622" cy="490678"/>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1" name="Straight Arrow Connector 50">
                  <a:extLst>
                    <a:ext uri="{FF2B5EF4-FFF2-40B4-BE49-F238E27FC236}">
                      <a16:creationId xmlns:a16="http://schemas.microsoft.com/office/drawing/2014/main" id="{270C5531-5FF7-D54B-B804-FCC3BDD14B6D}"/>
                    </a:ext>
                  </a:extLst>
                </p:cNvPr>
                <p:cNvCxnSpPr>
                  <a:stCxn id="35" idx="7"/>
                  <a:endCxn id="33" idx="4"/>
                </p:cNvCxnSpPr>
                <p:nvPr/>
              </p:nvCxnSpPr>
              <p:spPr>
                <a:xfrm flipH="1" flipV="1">
                  <a:off x="4305300" y="4495800"/>
                  <a:ext cx="80822" cy="643078"/>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2" name="Straight Arrow Connector 51">
                  <a:extLst>
                    <a:ext uri="{FF2B5EF4-FFF2-40B4-BE49-F238E27FC236}">
                      <a16:creationId xmlns:a16="http://schemas.microsoft.com/office/drawing/2014/main" id="{B4792C0B-3C6A-3E48-8F67-82B94A494523}"/>
                    </a:ext>
                  </a:extLst>
                </p:cNvPr>
                <p:cNvCxnSpPr>
                  <a:stCxn id="35" idx="3"/>
                  <a:endCxn id="38" idx="6"/>
                </p:cNvCxnSpPr>
                <p:nvPr/>
              </p:nvCxnSpPr>
              <p:spPr>
                <a:xfrm flipH="1">
                  <a:off x="3810000" y="5300522"/>
                  <a:ext cx="414478" cy="71578"/>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53" name="Oval 52">
                  <a:extLst>
                    <a:ext uri="{FF2B5EF4-FFF2-40B4-BE49-F238E27FC236}">
                      <a16:creationId xmlns:a16="http://schemas.microsoft.com/office/drawing/2014/main" id="{BEEBA854-0F2B-7948-8C8E-C38EA809F54C}"/>
                    </a:ext>
                  </a:extLst>
                </p:cNvPr>
                <p:cNvSpPr/>
                <p:nvPr/>
              </p:nvSpPr>
              <p:spPr bwMode="auto">
                <a:xfrm>
                  <a:off x="3962400" y="5638800"/>
                  <a:ext cx="228600" cy="228600"/>
                </a:xfrm>
                <a:prstGeom prst="ellipse">
                  <a:avLst/>
                </a:prstGeom>
                <a:solidFill>
                  <a:srgbClr val="336699"/>
                </a:solidFill>
                <a:ln w="12700" cap="flat" cmpd="sng" algn="ctr">
                  <a:solidFill>
                    <a:schemeClr val="tx1"/>
                  </a:solidFill>
                  <a:prstDash val="solid"/>
                  <a:round/>
                  <a:headEnd type="none" w="med" len="med"/>
                  <a:tailEnd type="none" w="med" len="med"/>
                </a:ln>
                <a:effectLst/>
              </p:spPr>
              <p:txBody>
                <a:bodyPr vert="horz" wrap="square" lIns="116616" tIns="58307" rIns="116616" bIns="58307" numCol="1" rtlCol="0" anchor="t" anchorCtr="0" compatLnSpc="1">
                  <a:prstTxWarp prst="textNoShape">
                    <a:avLst/>
                  </a:prstTxWarp>
                </a:bodyPr>
                <a:lstStyle/>
                <a:p>
                  <a:pPr algn="ctr" defTabSz="1166031" fontAlgn="base">
                    <a:spcBef>
                      <a:spcPct val="0"/>
                    </a:spcBef>
                    <a:spcAft>
                      <a:spcPct val="0"/>
                    </a:spcAft>
                  </a:pPr>
                  <a:endParaRPr lang="en-US" sz="3061" b="1">
                    <a:latin typeface="Arial Narrow" charset="0"/>
                  </a:endParaRPr>
                </a:p>
              </p:txBody>
            </p:sp>
            <p:cxnSp>
              <p:nvCxnSpPr>
                <p:cNvPr id="54" name="Straight Arrow Connector 53">
                  <a:extLst>
                    <a:ext uri="{FF2B5EF4-FFF2-40B4-BE49-F238E27FC236}">
                      <a16:creationId xmlns:a16="http://schemas.microsoft.com/office/drawing/2014/main" id="{F9466B44-EBC1-8E44-8F8C-D28BD70E2B93}"/>
                    </a:ext>
                  </a:extLst>
                </p:cNvPr>
                <p:cNvCxnSpPr>
                  <a:stCxn id="53" idx="7"/>
                  <a:endCxn id="35" idx="4"/>
                </p:cNvCxnSpPr>
                <p:nvPr/>
              </p:nvCxnSpPr>
              <p:spPr>
                <a:xfrm flipV="1">
                  <a:off x="4157522" y="5334000"/>
                  <a:ext cx="147778" cy="338278"/>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grpSp>
        <p:sp>
          <p:nvSpPr>
            <p:cNvPr id="58" name="TextBox 57">
              <a:extLst>
                <a:ext uri="{FF2B5EF4-FFF2-40B4-BE49-F238E27FC236}">
                  <a16:creationId xmlns:a16="http://schemas.microsoft.com/office/drawing/2014/main" id="{6992F48A-36F2-AE4E-80E7-3D1675B103B6}"/>
                </a:ext>
              </a:extLst>
            </p:cNvPr>
            <p:cNvSpPr txBox="1"/>
            <p:nvPr/>
          </p:nvSpPr>
          <p:spPr>
            <a:xfrm>
              <a:off x="225179" y="4532400"/>
              <a:ext cx="1174054" cy="272802"/>
            </a:xfrm>
            <a:prstGeom prst="rect">
              <a:avLst/>
            </a:prstGeom>
            <a:noFill/>
          </p:spPr>
          <p:txBody>
            <a:bodyPr wrap="none" rtlCol="0">
              <a:spAutoFit/>
            </a:bodyPr>
            <a:lstStyle/>
            <a:p>
              <a:r>
                <a:rPr lang="en-US" sz="2000" b="1" dirty="0"/>
                <a:t>3) Graph Era</a:t>
              </a:r>
            </a:p>
          </p:txBody>
        </p:sp>
        <p:sp>
          <p:nvSpPr>
            <p:cNvPr id="59" name="TextBox 58">
              <a:extLst>
                <a:ext uri="{FF2B5EF4-FFF2-40B4-BE49-F238E27FC236}">
                  <a16:creationId xmlns:a16="http://schemas.microsoft.com/office/drawing/2014/main" id="{51DA3704-3214-E146-B567-BFC31A7FD806}"/>
                </a:ext>
              </a:extLst>
            </p:cNvPr>
            <p:cNvSpPr txBox="1"/>
            <p:nvPr/>
          </p:nvSpPr>
          <p:spPr>
            <a:xfrm>
              <a:off x="2927280" y="4901112"/>
              <a:ext cx="569649" cy="314772"/>
            </a:xfrm>
            <a:prstGeom prst="rect">
              <a:avLst/>
            </a:prstGeom>
            <a:noFill/>
          </p:spPr>
          <p:txBody>
            <a:bodyPr wrap="none" rtlCol="0">
              <a:spAutoFit/>
            </a:bodyPr>
            <a:lstStyle/>
            <a:p>
              <a:r>
                <a:rPr lang="en-US" sz="2400" dirty="0"/>
                <a:t>Data</a:t>
              </a:r>
            </a:p>
          </p:txBody>
        </p:sp>
        <p:cxnSp>
          <p:nvCxnSpPr>
            <p:cNvPr id="60" name="Straight Arrow Connector 59">
              <a:extLst>
                <a:ext uri="{FF2B5EF4-FFF2-40B4-BE49-F238E27FC236}">
                  <a16:creationId xmlns:a16="http://schemas.microsoft.com/office/drawing/2014/main" id="{94D102E3-FDD4-3B46-BAA4-5880EBF56C7A}"/>
                </a:ext>
              </a:extLst>
            </p:cNvPr>
            <p:cNvCxnSpPr/>
            <p:nvPr/>
          </p:nvCxnSpPr>
          <p:spPr>
            <a:xfrm flipV="1">
              <a:off x="5329980" y="5037775"/>
              <a:ext cx="758892" cy="9715"/>
            </a:xfrm>
            <a:prstGeom prst="straightConnector1">
              <a:avLst/>
            </a:prstGeom>
            <a:ln w="57150">
              <a:solidFill>
                <a:schemeClr val="tx1"/>
              </a:solidFill>
              <a:tailEnd type="triangle"/>
            </a:ln>
          </p:spPr>
          <p:style>
            <a:lnRef idx="1">
              <a:schemeClr val="accent1"/>
            </a:lnRef>
            <a:fillRef idx="0">
              <a:schemeClr val="accent1"/>
            </a:fillRef>
            <a:effectRef idx="0">
              <a:schemeClr val="accent1"/>
            </a:effectRef>
            <a:fontRef idx="minor">
              <a:schemeClr val="tx1"/>
            </a:fontRef>
          </p:style>
        </p:cxnSp>
        <p:pic>
          <p:nvPicPr>
            <p:cNvPr id="61" name="Picture 60">
              <a:extLst>
                <a:ext uri="{FF2B5EF4-FFF2-40B4-BE49-F238E27FC236}">
                  <a16:creationId xmlns:a16="http://schemas.microsoft.com/office/drawing/2014/main" id="{BB0877B2-358B-684C-A8BA-71792B78246C}"/>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3585404" y="4876994"/>
              <a:ext cx="1763684" cy="359885"/>
            </a:xfrm>
            <a:prstGeom prst="rect">
              <a:avLst/>
            </a:prstGeom>
          </p:spPr>
        </p:pic>
        <p:cxnSp>
          <p:nvCxnSpPr>
            <p:cNvPr id="62" name="Straight Arrow Connector 61">
              <a:extLst>
                <a:ext uri="{FF2B5EF4-FFF2-40B4-BE49-F238E27FC236}">
                  <a16:creationId xmlns:a16="http://schemas.microsoft.com/office/drawing/2014/main" id="{4DDC70FB-765C-AF4B-9837-19EAC323A326}"/>
                </a:ext>
              </a:extLst>
            </p:cNvPr>
            <p:cNvCxnSpPr>
              <a:cxnSpLocks/>
            </p:cNvCxnSpPr>
            <p:nvPr/>
          </p:nvCxnSpPr>
          <p:spPr>
            <a:xfrm>
              <a:off x="7888409" y="5544657"/>
              <a:ext cx="758892" cy="0"/>
            </a:xfrm>
            <a:prstGeom prst="straightConnector1">
              <a:avLst/>
            </a:prstGeom>
            <a:ln w="571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3" name="Straight Arrow Connector 62">
              <a:extLst>
                <a:ext uri="{FF2B5EF4-FFF2-40B4-BE49-F238E27FC236}">
                  <a16:creationId xmlns:a16="http://schemas.microsoft.com/office/drawing/2014/main" id="{378CBE09-C03C-F94F-8BD3-973E638ABCAB}"/>
                </a:ext>
              </a:extLst>
            </p:cNvPr>
            <p:cNvCxnSpPr>
              <a:cxnSpLocks/>
            </p:cNvCxnSpPr>
            <p:nvPr/>
          </p:nvCxnSpPr>
          <p:spPr>
            <a:xfrm>
              <a:off x="7866209" y="6055743"/>
              <a:ext cx="758892" cy="0"/>
            </a:xfrm>
            <a:prstGeom prst="straightConnector1">
              <a:avLst/>
            </a:prstGeom>
            <a:ln w="571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64" name="TextBox 63">
              <a:extLst>
                <a:ext uri="{FF2B5EF4-FFF2-40B4-BE49-F238E27FC236}">
                  <a16:creationId xmlns:a16="http://schemas.microsoft.com/office/drawing/2014/main" id="{2123AE6E-D812-0E47-A318-1C23DE79A2D6}"/>
                </a:ext>
              </a:extLst>
            </p:cNvPr>
            <p:cNvSpPr txBox="1"/>
            <p:nvPr/>
          </p:nvSpPr>
          <p:spPr>
            <a:xfrm>
              <a:off x="8648542" y="5372029"/>
              <a:ext cx="1418877" cy="435215"/>
            </a:xfrm>
            <a:prstGeom prst="rect">
              <a:avLst/>
            </a:prstGeom>
            <a:solidFill>
              <a:schemeClr val="accent6">
                <a:lumMod val="75000"/>
              </a:schemeClr>
            </a:solidFill>
          </p:spPr>
          <p:txBody>
            <a:bodyPr wrap="none" rtlCol="0">
              <a:spAutoFit/>
            </a:bodyPr>
            <a:lstStyle/>
            <a:p>
              <a:r>
                <a:rPr lang="en-US" sz="3548" b="1" dirty="0">
                  <a:solidFill>
                    <a:schemeClr val="bg1"/>
                  </a:solidFill>
                </a:rPr>
                <a:t>Answers</a:t>
              </a:r>
            </a:p>
          </p:txBody>
        </p:sp>
        <p:sp>
          <p:nvSpPr>
            <p:cNvPr id="65" name="TextBox 64">
              <a:extLst>
                <a:ext uri="{FF2B5EF4-FFF2-40B4-BE49-F238E27FC236}">
                  <a16:creationId xmlns:a16="http://schemas.microsoft.com/office/drawing/2014/main" id="{A3A1BBB2-D5B7-F541-85DB-8744DE464F84}"/>
                </a:ext>
              </a:extLst>
            </p:cNvPr>
            <p:cNvSpPr txBox="1"/>
            <p:nvPr/>
          </p:nvSpPr>
          <p:spPr>
            <a:xfrm>
              <a:off x="8599350" y="5889202"/>
              <a:ext cx="2817861" cy="435215"/>
            </a:xfrm>
            <a:prstGeom prst="rect">
              <a:avLst/>
            </a:prstGeom>
            <a:noFill/>
          </p:spPr>
          <p:txBody>
            <a:bodyPr wrap="none" rtlCol="0">
              <a:spAutoFit/>
            </a:bodyPr>
            <a:lstStyle/>
            <a:p>
              <a:r>
                <a:rPr lang="en-US" sz="3548" dirty="0"/>
                <a:t>Explanations (Why)</a:t>
              </a:r>
            </a:p>
          </p:txBody>
        </p:sp>
        <p:cxnSp>
          <p:nvCxnSpPr>
            <p:cNvPr id="67" name="Straight Arrow Connector 66">
              <a:extLst>
                <a:ext uri="{FF2B5EF4-FFF2-40B4-BE49-F238E27FC236}">
                  <a16:creationId xmlns:a16="http://schemas.microsoft.com/office/drawing/2014/main" id="{DCEE6F73-5A1B-7F4D-A057-719D1C1FF353}"/>
                </a:ext>
              </a:extLst>
            </p:cNvPr>
            <p:cNvCxnSpPr>
              <a:cxnSpLocks/>
            </p:cNvCxnSpPr>
            <p:nvPr/>
          </p:nvCxnSpPr>
          <p:spPr>
            <a:xfrm>
              <a:off x="7888409" y="5078414"/>
              <a:ext cx="758892" cy="0"/>
            </a:xfrm>
            <a:prstGeom prst="straightConnector1">
              <a:avLst/>
            </a:prstGeom>
            <a:ln w="571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68" name="TextBox 67">
              <a:extLst>
                <a:ext uri="{FF2B5EF4-FFF2-40B4-BE49-F238E27FC236}">
                  <a16:creationId xmlns:a16="http://schemas.microsoft.com/office/drawing/2014/main" id="{94C551B8-9EB6-1342-8D67-F8F53F921644}"/>
                </a:ext>
              </a:extLst>
            </p:cNvPr>
            <p:cNvSpPr txBox="1"/>
            <p:nvPr/>
          </p:nvSpPr>
          <p:spPr>
            <a:xfrm>
              <a:off x="8664118" y="4867547"/>
              <a:ext cx="1779552" cy="435215"/>
            </a:xfrm>
            <a:prstGeom prst="rect">
              <a:avLst/>
            </a:prstGeom>
            <a:solidFill>
              <a:schemeClr val="accent6">
                <a:lumMod val="75000"/>
              </a:schemeClr>
            </a:solidFill>
          </p:spPr>
          <p:txBody>
            <a:bodyPr wrap="none" rtlCol="0">
              <a:spAutoFit/>
            </a:bodyPr>
            <a:lstStyle/>
            <a:p>
              <a:r>
                <a:rPr lang="en-US" sz="3548" b="1" dirty="0">
                  <a:solidFill>
                    <a:schemeClr val="bg1"/>
                  </a:solidFill>
                </a:rPr>
                <a:t>Knowledge</a:t>
              </a:r>
            </a:p>
          </p:txBody>
        </p:sp>
        <p:sp>
          <p:nvSpPr>
            <p:cNvPr id="69" name="Rectangle 68">
              <a:extLst>
                <a:ext uri="{FF2B5EF4-FFF2-40B4-BE49-F238E27FC236}">
                  <a16:creationId xmlns:a16="http://schemas.microsoft.com/office/drawing/2014/main" id="{65ADD647-B2C6-604D-B3E0-276398AC5263}"/>
                </a:ext>
              </a:extLst>
            </p:cNvPr>
            <p:cNvSpPr/>
            <p:nvPr/>
          </p:nvSpPr>
          <p:spPr>
            <a:xfrm>
              <a:off x="4253283" y="5599721"/>
              <a:ext cx="1107646" cy="587620"/>
            </a:xfrm>
            <a:prstGeom prst="rect">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a:t>Machine</a:t>
              </a:r>
            </a:p>
            <a:p>
              <a:pPr algn="ctr"/>
              <a:r>
                <a:rPr lang="en-US" sz="2400" dirty="0"/>
                <a:t>Learning</a:t>
              </a:r>
            </a:p>
          </p:txBody>
        </p:sp>
        <p:cxnSp>
          <p:nvCxnSpPr>
            <p:cNvPr id="70" name="Straight Arrow Connector 69">
              <a:extLst>
                <a:ext uri="{FF2B5EF4-FFF2-40B4-BE49-F238E27FC236}">
                  <a16:creationId xmlns:a16="http://schemas.microsoft.com/office/drawing/2014/main" id="{4A3A98E6-C693-0C47-A468-53AD67F6419E}"/>
                </a:ext>
              </a:extLst>
            </p:cNvPr>
            <p:cNvCxnSpPr>
              <a:cxnSpLocks/>
            </p:cNvCxnSpPr>
            <p:nvPr/>
          </p:nvCxnSpPr>
          <p:spPr>
            <a:xfrm>
              <a:off x="5343354" y="6001681"/>
              <a:ext cx="736167" cy="0"/>
            </a:xfrm>
            <a:prstGeom prst="straightConnector1">
              <a:avLst/>
            </a:prstGeom>
            <a:ln w="571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3" name="Straight Arrow Connector 72">
              <a:extLst>
                <a:ext uri="{FF2B5EF4-FFF2-40B4-BE49-F238E27FC236}">
                  <a16:creationId xmlns:a16="http://schemas.microsoft.com/office/drawing/2014/main" id="{7AA34428-371E-2B44-920B-17C722E5C823}"/>
                </a:ext>
              </a:extLst>
            </p:cNvPr>
            <p:cNvCxnSpPr>
              <a:cxnSpLocks/>
            </p:cNvCxnSpPr>
            <p:nvPr/>
          </p:nvCxnSpPr>
          <p:spPr>
            <a:xfrm flipH="1">
              <a:off x="5360930" y="5763646"/>
              <a:ext cx="706482" cy="1"/>
            </a:xfrm>
            <a:prstGeom prst="straightConnector1">
              <a:avLst/>
            </a:prstGeom>
            <a:ln w="571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9" name="Straight Connector 78">
              <a:extLst>
                <a:ext uri="{FF2B5EF4-FFF2-40B4-BE49-F238E27FC236}">
                  <a16:creationId xmlns:a16="http://schemas.microsoft.com/office/drawing/2014/main" id="{F17FFC17-B42E-0040-9DC5-460EABAB508D}"/>
                </a:ext>
              </a:extLst>
            </p:cNvPr>
            <p:cNvCxnSpPr/>
            <p:nvPr/>
          </p:nvCxnSpPr>
          <p:spPr>
            <a:xfrm>
              <a:off x="225179" y="4426449"/>
              <a:ext cx="11600376"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81" name="Straight Arrow Connector 80">
              <a:extLst>
                <a:ext uri="{FF2B5EF4-FFF2-40B4-BE49-F238E27FC236}">
                  <a16:creationId xmlns:a16="http://schemas.microsoft.com/office/drawing/2014/main" id="{C93F89ED-29EF-A842-9D0A-568CF7472F68}"/>
                </a:ext>
              </a:extLst>
            </p:cNvPr>
            <p:cNvCxnSpPr>
              <a:cxnSpLocks/>
              <a:endCxn id="69" idx="0"/>
            </p:cNvCxnSpPr>
            <p:nvPr/>
          </p:nvCxnSpPr>
          <p:spPr>
            <a:xfrm>
              <a:off x="4807106" y="5276533"/>
              <a:ext cx="0" cy="323188"/>
            </a:xfrm>
            <a:prstGeom prst="straightConnector1">
              <a:avLst/>
            </a:prstGeom>
            <a:ln w="57150">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57795229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7C65E355-E670-A54F-A5B3-2945E1F78CDE}"/>
              </a:ext>
            </a:extLst>
          </p:cNvPr>
          <p:cNvPicPr>
            <a:picLocks noChangeAspect="1"/>
          </p:cNvPicPr>
          <p:nvPr/>
        </p:nvPicPr>
        <p:blipFill>
          <a:blip r:embed="rId3"/>
          <a:stretch>
            <a:fillRect/>
          </a:stretch>
        </p:blipFill>
        <p:spPr>
          <a:xfrm>
            <a:off x="1774233" y="1900371"/>
            <a:ext cx="14870552" cy="6794177"/>
          </a:xfrm>
          <a:prstGeom prst="rect">
            <a:avLst/>
          </a:prstGeom>
        </p:spPr>
      </p:pic>
      <p:sp>
        <p:nvSpPr>
          <p:cNvPr id="2" name="Title 1"/>
          <p:cNvSpPr>
            <a:spLocks noGrp="1"/>
          </p:cNvSpPr>
          <p:nvPr>
            <p:ph type="title"/>
          </p:nvPr>
        </p:nvSpPr>
        <p:spPr/>
        <p:txBody>
          <a:bodyPr/>
          <a:lstStyle/>
          <a:p>
            <a:r>
              <a:rPr lang="en-US" dirty="0"/>
              <a:t>Graph Databases are </a:t>
            </a:r>
            <a:r>
              <a:rPr lang="en-US" dirty="0">
                <a:solidFill>
                  <a:srgbClr val="FF0000"/>
                </a:solidFill>
              </a:rPr>
              <a:t>HOT!</a:t>
            </a:r>
          </a:p>
        </p:txBody>
      </p:sp>
      <p:sp>
        <p:nvSpPr>
          <p:cNvPr id="4" name="Slide Number Placeholder 3"/>
          <p:cNvSpPr>
            <a:spLocks noGrp="1"/>
          </p:cNvSpPr>
          <p:nvPr>
            <p:ph type="sldNum" idx="12"/>
          </p:nvPr>
        </p:nvSpPr>
        <p:spPr/>
        <p:txBody>
          <a:bodyPr/>
          <a:lstStyle/>
          <a:p>
            <a:fld id="{00000000-1234-1234-1234-123412341234}" type="slidenum">
              <a:rPr lang="en" smtClean="0"/>
              <a:pPr/>
              <a:t>4</a:t>
            </a:fld>
            <a:endParaRPr lang="en"/>
          </a:p>
        </p:txBody>
      </p:sp>
      <p:sp>
        <p:nvSpPr>
          <p:cNvPr id="6" name="TextBox 5"/>
          <p:cNvSpPr txBox="1"/>
          <p:nvPr/>
        </p:nvSpPr>
        <p:spPr>
          <a:xfrm>
            <a:off x="10813724" y="9018130"/>
            <a:ext cx="4852610" cy="369332"/>
          </a:xfrm>
          <a:prstGeom prst="rect">
            <a:avLst/>
          </a:prstGeom>
          <a:noFill/>
        </p:spPr>
        <p:txBody>
          <a:bodyPr wrap="none" rtlCol="0">
            <a:spAutoFit/>
          </a:bodyPr>
          <a:lstStyle/>
          <a:p>
            <a:r>
              <a:rPr lang="en-US" sz="1800" dirty="0">
                <a:solidFill>
                  <a:schemeClr val="bg1">
                    <a:lumMod val="50000"/>
                  </a:schemeClr>
                </a:solidFill>
              </a:rPr>
              <a:t>https://db-engines.com/en/ranking_categories</a:t>
            </a:r>
          </a:p>
        </p:txBody>
      </p:sp>
      <p:sp>
        <p:nvSpPr>
          <p:cNvPr id="10" name="TextBox 9"/>
          <p:cNvSpPr txBox="1"/>
          <p:nvPr/>
        </p:nvSpPr>
        <p:spPr>
          <a:xfrm rot="19956513" flipH="1">
            <a:off x="10110914" y="2717033"/>
            <a:ext cx="3692690" cy="584775"/>
          </a:xfrm>
          <a:prstGeom prst="rect">
            <a:avLst/>
          </a:prstGeom>
          <a:noFill/>
        </p:spPr>
        <p:txBody>
          <a:bodyPr wrap="square" rtlCol="0">
            <a:spAutoFit/>
          </a:bodyPr>
          <a:lstStyle/>
          <a:p>
            <a:r>
              <a:rPr lang="en-US" sz="3200" b="1" dirty="0">
                <a:solidFill>
                  <a:srgbClr val="739600"/>
                </a:solidFill>
              </a:rPr>
              <a:t>Graph Databases</a:t>
            </a:r>
          </a:p>
        </p:txBody>
      </p:sp>
    </p:spTree>
    <p:extLst>
      <p:ext uri="{BB962C8B-B14F-4D97-AF65-F5344CB8AC3E}">
        <p14:creationId xmlns:p14="http://schemas.microsoft.com/office/powerpoint/2010/main" val="694506838"/>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507FF321-BC61-9140-B751-B5E553705890}"/>
              </a:ext>
            </a:extLst>
          </p:cNvPr>
          <p:cNvSpPr>
            <a:spLocks noGrp="1"/>
          </p:cNvSpPr>
          <p:nvPr>
            <p:ph type="title"/>
          </p:nvPr>
        </p:nvSpPr>
        <p:spPr/>
        <p:txBody>
          <a:bodyPr/>
          <a:lstStyle/>
          <a:p>
            <a:r>
              <a:rPr lang="en-US" dirty="0"/>
              <a:t>Summary</a:t>
            </a:r>
          </a:p>
        </p:txBody>
      </p:sp>
      <p:sp>
        <p:nvSpPr>
          <p:cNvPr id="9" name="Content Placeholder 8">
            <a:extLst>
              <a:ext uri="{FF2B5EF4-FFF2-40B4-BE49-F238E27FC236}">
                <a16:creationId xmlns:a16="http://schemas.microsoft.com/office/drawing/2014/main" id="{AC8E8500-8E96-7540-9DEC-C8697E5857AE}"/>
              </a:ext>
            </a:extLst>
          </p:cNvPr>
          <p:cNvSpPr>
            <a:spLocks noGrp="1"/>
          </p:cNvSpPr>
          <p:nvPr>
            <p:ph idx="1"/>
          </p:nvPr>
        </p:nvSpPr>
        <p:spPr/>
        <p:txBody>
          <a:bodyPr/>
          <a:lstStyle/>
          <a:p>
            <a:r>
              <a:rPr lang="en-US" dirty="0"/>
              <a:t>Many enterprise-scale knowledge graphs today are limited by:</a:t>
            </a:r>
          </a:p>
          <a:p>
            <a:pPr lvl="1"/>
            <a:r>
              <a:rPr lang="en-US" dirty="0"/>
              <a:t>Lack of distributed graph databases</a:t>
            </a:r>
          </a:p>
          <a:p>
            <a:pPr lvl="1"/>
            <a:r>
              <a:rPr lang="en-US" dirty="0"/>
              <a:t>Using CPUs that were not designed for fast pointer hopping</a:t>
            </a:r>
          </a:p>
          <a:p>
            <a:pPr lvl="1"/>
            <a:r>
              <a:rPr lang="en-US" dirty="0"/>
              <a:t>Using memory designs that are not suited for graph traversal</a:t>
            </a:r>
          </a:p>
          <a:p>
            <a:r>
              <a:rPr lang="en-US" dirty="0"/>
              <a:t>By taking a Systems Thinking approach we can</a:t>
            </a:r>
          </a:p>
          <a:p>
            <a:pPr lvl="1"/>
            <a:r>
              <a:rPr lang="en-US" dirty="0"/>
              <a:t>Gain a 1,000x improvement over relational database JOINs</a:t>
            </a:r>
          </a:p>
          <a:p>
            <a:pPr lvl="1"/>
            <a:r>
              <a:rPr lang="en-US" dirty="0"/>
              <a:t>Gain a 100x improvement using distributed graphs</a:t>
            </a:r>
          </a:p>
          <a:p>
            <a:pPr lvl="1"/>
            <a:r>
              <a:rPr lang="en-US" dirty="0"/>
              <a:t>Gain another 1,000x improvement using custom graph hardware</a:t>
            </a:r>
          </a:p>
          <a:p>
            <a:r>
              <a:rPr lang="en-US" dirty="0"/>
              <a:t>Machine learning when combined with graph hardware will enable explainable predictions in trillion vertex scale graphs</a:t>
            </a:r>
          </a:p>
        </p:txBody>
      </p:sp>
      <p:sp>
        <p:nvSpPr>
          <p:cNvPr id="5" name="Slide Number Placeholder 4">
            <a:extLst>
              <a:ext uri="{FF2B5EF4-FFF2-40B4-BE49-F238E27FC236}">
                <a16:creationId xmlns:a16="http://schemas.microsoft.com/office/drawing/2014/main" id="{8D3D0A55-CFDF-364D-A451-200CBD49D468}"/>
              </a:ext>
            </a:extLst>
          </p:cNvPr>
          <p:cNvSpPr>
            <a:spLocks noGrp="1"/>
          </p:cNvSpPr>
          <p:nvPr>
            <p:ph type="sldNum" sz="quarter" idx="12"/>
          </p:nvPr>
        </p:nvSpPr>
        <p:spPr/>
        <p:txBody>
          <a:bodyPr/>
          <a:lstStyle/>
          <a:p>
            <a:fld id="{3310D8EA-3107-4873-B9AB-DD7D3E79053A}" type="slidenum">
              <a:rPr lang="en-US" smtClean="0"/>
              <a:t>40</a:t>
            </a:fld>
            <a:endParaRPr lang="en-US"/>
          </a:p>
        </p:txBody>
      </p:sp>
    </p:spTree>
    <p:extLst>
      <p:ext uri="{BB962C8B-B14F-4D97-AF65-F5344CB8AC3E}">
        <p14:creationId xmlns:p14="http://schemas.microsoft.com/office/powerpoint/2010/main" val="743205298"/>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D7FFEAE1-D8C7-2842-B2B8-F69C4243ABB8}"/>
              </a:ext>
            </a:extLst>
          </p:cNvPr>
          <p:cNvSpPr>
            <a:spLocks noGrp="1"/>
          </p:cNvSpPr>
          <p:nvPr>
            <p:ph type="body" idx="4294967295"/>
          </p:nvPr>
        </p:nvSpPr>
        <p:spPr>
          <a:xfrm>
            <a:off x="769620" y="4877792"/>
            <a:ext cx="10528058" cy="710794"/>
          </a:xfrm>
        </p:spPr>
        <p:txBody>
          <a:bodyPr/>
          <a:lstStyle/>
          <a:p>
            <a:pPr marL="0" indent="0">
              <a:buNone/>
            </a:pPr>
            <a:r>
              <a:rPr lang="en-US" sz="3600" dirty="0"/>
              <a:t>Dan.McCreary@optum.com</a:t>
            </a:r>
          </a:p>
        </p:txBody>
      </p:sp>
      <p:pic>
        <p:nvPicPr>
          <p:cNvPr id="2" name="Picture 1">
            <a:extLst>
              <a:ext uri="{FF2B5EF4-FFF2-40B4-BE49-F238E27FC236}">
                <a16:creationId xmlns:a16="http://schemas.microsoft.com/office/drawing/2014/main" id="{D4335F7E-A537-F548-B541-86ACCBBFFE79}"/>
              </a:ext>
            </a:extLst>
          </p:cNvPr>
          <p:cNvPicPr>
            <a:picLocks noChangeAspect="1"/>
          </p:cNvPicPr>
          <p:nvPr/>
        </p:nvPicPr>
        <p:blipFill>
          <a:blip r:embed="rId2"/>
          <a:stretch>
            <a:fillRect/>
          </a:stretch>
        </p:blipFill>
        <p:spPr>
          <a:xfrm>
            <a:off x="769620" y="6741793"/>
            <a:ext cx="1897380" cy="556973"/>
          </a:xfrm>
          <a:prstGeom prst="rect">
            <a:avLst/>
          </a:prstGeom>
        </p:spPr>
      </p:pic>
      <p:sp>
        <p:nvSpPr>
          <p:cNvPr id="4" name="Rectangle 3">
            <a:extLst>
              <a:ext uri="{FF2B5EF4-FFF2-40B4-BE49-F238E27FC236}">
                <a16:creationId xmlns:a16="http://schemas.microsoft.com/office/drawing/2014/main" id="{D5614825-294B-0A42-8747-377526AF679F}"/>
              </a:ext>
            </a:extLst>
          </p:cNvPr>
          <p:cNvSpPr/>
          <p:nvPr/>
        </p:nvSpPr>
        <p:spPr>
          <a:xfrm>
            <a:off x="2834969" y="6741793"/>
            <a:ext cx="6780446" cy="523220"/>
          </a:xfrm>
          <a:prstGeom prst="rect">
            <a:avLst/>
          </a:prstGeom>
        </p:spPr>
        <p:txBody>
          <a:bodyPr wrap="none">
            <a:spAutoFit/>
          </a:bodyPr>
          <a:lstStyle/>
          <a:p>
            <a:r>
              <a:rPr lang="en-US" sz="2800" dirty="0"/>
              <a:t>https://www.linkedin.com/in/</a:t>
            </a:r>
            <a:r>
              <a:rPr lang="en-US" sz="2800" dirty="0" err="1"/>
              <a:t>danmccreary</a:t>
            </a:r>
            <a:endParaRPr lang="en-US" sz="2800" dirty="0"/>
          </a:p>
        </p:txBody>
      </p:sp>
      <p:pic>
        <p:nvPicPr>
          <p:cNvPr id="5" name="Picture 4">
            <a:extLst>
              <a:ext uri="{FF2B5EF4-FFF2-40B4-BE49-F238E27FC236}">
                <a16:creationId xmlns:a16="http://schemas.microsoft.com/office/drawing/2014/main" id="{42350C05-C0CC-E948-BDB1-2BC0D0F86595}"/>
              </a:ext>
            </a:extLst>
          </p:cNvPr>
          <p:cNvPicPr>
            <a:picLocks noChangeAspect="1"/>
          </p:cNvPicPr>
          <p:nvPr/>
        </p:nvPicPr>
        <p:blipFill>
          <a:blip r:embed="rId3"/>
          <a:stretch>
            <a:fillRect/>
          </a:stretch>
        </p:blipFill>
        <p:spPr>
          <a:xfrm>
            <a:off x="1870710" y="7657212"/>
            <a:ext cx="882650" cy="781050"/>
          </a:xfrm>
          <a:prstGeom prst="rect">
            <a:avLst/>
          </a:prstGeom>
        </p:spPr>
      </p:pic>
      <p:sp>
        <p:nvSpPr>
          <p:cNvPr id="6" name="TextBox 5">
            <a:extLst>
              <a:ext uri="{FF2B5EF4-FFF2-40B4-BE49-F238E27FC236}">
                <a16:creationId xmlns:a16="http://schemas.microsoft.com/office/drawing/2014/main" id="{1AF16F70-BBFD-8440-A986-B39749EA9B9E}"/>
              </a:ext>
            </a:extLst>
          </p:cNvPr>
          <p:cNvSpPr txBox="1"/>
          <p:nvPr/>
        </p:nvSpPr>
        <p:spPr>
          <a:xfrm>
            <a:off x="2834969" y="7657212"/>
            <a:ext cx="1947969" cy="464614"/>
          </a:xfrm>
          <a:prstGeom prst="rect">
            <a:avLst/>
          </a:prstGeom>
          <a:noFill/>
        </p:spPr>
        <p:txBody>
          <a:bodyPr wrap="none" rtlCol="0">
            <a:spAutoFit/>
          </a:bodyPr>
          <a:lstStyle/>
          <a:p>
            <a:r>
              <a:rPr lang="en-US" dirty="0"/>
              <a:t>@dmccreary</a:t>
            </a:r>
          </a:p>
        </p:txBody>
      </p:sp>
      <p:pic>
        <p:nvPicPr>
          <p:cNvPr id="8" name="Picture 7">
            <a:extLst>
              <a:ext uri="{FF2B5EF4-FFF2-40B4-BE49-F238E27FC236}">
                <a16:creationId xmlns:a16="http://schemas.microsoft.com/office/drawing/2014/main" id="{745B7BA3-DE47-044D-90E8-C0461DE04F40}"/>
              </a:ext>
            </a:extLst>
          </p:cNvPr>
          <p:cNvPicPr>
            <a:picLocks noChangeAspect="1"/>
          </p:cNvPicPr>
          <p:nvPr/>
        </p:nvPicPr>
        <p:blipFill>
          <a:blip r:embed="rId4"/>
          <a:stretch>
            <a:fillRect/>
          </a:stretch>
        </p:blipFill>
        <p:spPr>
          <a:xfrm>
            <a:off x="1870710" y="5739994"/>
            <a:ext cx="796290" cy="844760"/>
          </a:xfrm>
          <a:prstGeom prst="rect">
            <a:avLst/>
          </a:prstGeom>
        </p:spPr>
      </p:pic>
      <p:sp>
        <p:nvSpPr>
          <p:cNvPr id="9" name="TextBox 8">
            <a:extLst>
              <a:ext uri="{FF2B5EF4-FFF2-40B4-BE49-F238E27FC236}">
                <a16:creationId xmlns:a16="http://schemas.microsoft.com/office/drawing/2014/main" id="{B071017D-3B3B-4D43-B792-FE8DC0D360E1}"/>
              </a:ext>
            </a:extLst>
          </p:cNvPr>
          <p:cNvSpPr txBox="1"/>
          <p:nvPr/>
        </p:nvSpPr>
        <p:spPr>
          <a:xfrm>
            <a:off x="2834970" y="5784685"/>
            <a:ext cx="6780445" cy="584775"/>
          </a:xfrm>
          <a:prstGeom prst="rect">
            <a:avLst/>
          </a:prstGeom>
          <a:noFill/>
        </p:spPr>
        <p:txBody>
          <a:bodyPr wrap="square" rtlCol="0">
            <a:spAutoFit/>
          </a:bodyPr>
          <a:lstStyle/>
          <a:p>
            <a:r>
              <a:rPr lang="en-US" sz="3200" dirty="0"/>
              <a:t>https://dmccreary.medium.com</a:t>
            </a:r>
          </a:p>
        </p:txBody>
      </p:sp>
    </p:spTree>
    <p:extLst>
      <p:ext uri="{BB962C8B-B14F-4D97-AF65-F5344CB8AC3E}">
        <p14:creationId xmlns:p14="http://schemas.microsoft.com/office/powerpoint/2010/main" val="170649519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727041" y="312496"/>
            <a:ext cx="14427518" cy="961173"/>
          </a:xfrm>
        </p:spPr>
        <p:txBody>
          <a:bodyPr/>
          <a:lstStyle/>
          <a:p>
            <a:r>
              <a:rPr lang="en-US" sz="4591" dirty="0"/>
              <a:t>The World is “Not Only SQL” (a.k.a. NoSQL)</a:t>
            </a:r>
          </a:p>
        </p:txBody>
      </p:sp>
      <p:sp>
        <p:nvSpPr>
          <p:cNvPr id="143" name="Text Placeholder 7"/>
          <p:cNvSpPr txBox="1">
            <a:spLocks/>
          </p:cNvSpPr>
          <p:nvPr/>
        </p:nvSpPr>
        <p:spPr>
          <a:xfrm>
            <a:off x="1816100" y="2290473"/>
            <a:ext cx="2849880" cy="621548"/>
          </a:xfrm>
          <a:prstGeom prst="rect">
            <a:avLst/>
          </a:prstGeom>
        </p:spPr>
        <p:txBody>
          <a:bodyPr anchor="ctr"/>
          <a:lstStyle/>
          <a:p>
            <a:pPr marL="437263" indent="-437263" algn="ctr" defTabSz="1166036" eaLnBrk="0" fontAlgn="base" hangingPunct="0">
              <a:spcBef>
                <a:spcPct val="20000"/>
              </a:spcBef>
              <a:spcAft>
                <a:spcPct val="0"/>
              </a:spcAft>
              <a:defRPr/>
            </a:pPr>
            <a:r>
              <a:rPr lang="en-US" sz="3571" b="1" kern="0" dirty="0">
                <a:latin typeface="Arial Narrow" pitchFamily="34" charset="0"/>
                <a:ea typeface="Arial" charset="0"/>
                <a:cs typeface="Arial"/>
              </a:rPr>
              <a:t>Relational</a:t>
            </a:r>
          </a:p>
        </p:txBody>
      </p:sp>
      <p:grpSp>
        <p:nvGrpSpPr>
          <p:cNvPr id="4" name="Group 143"/>
          <p:cNvGrpSpPr/>
          <p:nvPr/>
        </p:nvGrpSpPr>
        <p:grpSpPr>
          <a:xfrm>
            <a:off x="1945641" y="2970735"/>
            <a:ext cx="2461260" cy="1846426"/>
            <a:chOff x="533400" y="1905000"/>
            <a:chExt cx="1447800" cy="1447800"/>
          </a:xfrm>
        </p:grpSpPr>
        <p:sp>
          <p:nvSpPr>
            <p:cNvPr id="145" name="Rectangle 144"/>
            <p:cNvSpPr/>
            <p:nvPr/>
          </p:nvSpPr>
          <p:spPr bwMode="auto">
            <a:xfrm>
              <a:off x="533402" y="1905000"/>
              <a:ext cx="344714" cy="180975"/>
            </a:xfrm>
            <a:prstGeom prst="rect">
              <a:avLst/>
            </a:prstGeom>
            <a:solidFill>
              <a:srgbClr val="BFBFBF"/>
            </a:solidFill>
            <a:ln w="12700" cap="flat" cmpd="sng" algn="ctr">
              <a:solidFill>
                <a:schemeClr val="tx1"/>
              </a:solidFill>
              <a:prstDash val="solid"/>
              <a:round/>
              <a:headEnd type="none" w="med" len="med"/>
              <a:tailEnd type="none" w="med" len="med"/>
            </a:ln>
            <a:effectLst/>
          </p:spPr>
        </p:sp>
        <p:sp>
          <p:nvSpPr>
            <p:cNvPr id="146" name="Rectangle 145"/>
            <p:cNvSpPr/>
            <p:nvPr/>
          </p:nvSpPr>
          <p:spPr bwMode="auto">
            <a:xfrm>
              <a:off x="533402" y="2085975"/>
              <a:ext cx="344714" cy="180975"/>
            </a:xfrm>
            <a:prstGeom prst="rect">
              <a:avLst/>
            </a:prstGeom>
            <a:solidFill>
              <a:srgbClr val="BFBFBF"/>
            </a:solidFill>
            <a:ln w="12700" cap="flat" cmpd="sng" algn="ctr">
              <a:solidFill>
                <a:schemeClr val="tx1"/>
              </a:solidFill>
              <a:prstDash val="solid"/>
              <a:round/>
              <a:headEnd type="none" w="med" len="med"/>
              <a:tailEnd type="none" w="med" len="med"/>
            </a:ln>
            <a:effectLst/>
          </p:spPr>
        </p:sp>
        <p:sp>
          <p:nvSpPr>
            <p:cNvPr id="147" name="Rectangle 146"/>
            <p:cNvSpPr/>
            <p:nvPr/>
          </p:nvSpPr>
          <p:spPr bwMode="auto">
            <a:xfrm>
              <a:off x="533401" y="2266950"/>
              <a:ext cx="344714" cy="180975"/>
            </a:xfrm>
            <a:prstGeom prst="rect">
              <a:avLst/>
            </a:prstGeom>
            <a:solidFill>
              <a:srgbClr val="BFBFBF"/>
            </a:solidFill>
            <a:ln w="12700" cap="flat" cmpd="sng" algn="ctr">
              <a:solidFill>
                <a:schemeClr val="tx1"/>
              </a:solidFill>
              <a:prstDash val="solid"/>
              <a:round/>
              <a:headEnd type="none" w="med" len="med"/>
              <a:tailEnd type="none" w="med" len="med"/>
            </a:ln>
            <a:effectLst/>
          </p:spPr>
        </p:sp>
        <p:sp>
          <p:nvSpPr>
            <p:cNvPr id="148" name="Rectangle 147"/>
            <p:cNvSpPr/>
            <p:nvPr/>
          </p:nvSpPr>
          <p:spPr bwMode="auto">
            <a:xfrm>
              <a:off x="533401" y="2447925"/>
              <a:ext cx="344714" cy="180975"/>
            </a:xfrm>
            <a:prstGeom prst="rect">
              <a:avLst/>
            </a:prstGeom>
            <a:solidFill>
              <a:srgbClr val="BFBFBF"/>
            </a:solidFill>
            <a:ln w="12700" cap="flat" cmpd="sng" algn="ctr">
              <a:solidFill>
                <a:schemeClr val="tx1"/>
              </a:solidFill>
              <a:prstDash val="solid"/>
              <a:round/>
              <a:headEnd type="none" w="med" len="med"/>
              <a:tailEnd type="none" w="med" len="med"/>
            </a:ln>
            <a:effectLst/>
          </p:spPr>
        </p:sp>
        <p:sp>
          <p:nvSpPr>
            <p:cNvPr id="149" name="Rectangle 148"/>
            <p:cNvSpPr/>
            <p:nvPr/>
          </p:nvSpPr>
          <p:spPr bwMode="auto">
            <a:xfrm>
              <a:off x="533401" y="2628900"/>
              <a:ext cx="344714" cy="180975"/>
            </a:xfrm>
            <a:prstGeom prst="rect">
              <a:avLst/>
            </a:prstGeom>
            <a:solidFill>
              <a:srgbClr val="BFBFBF"/>
            </a:solidFill>
            <a:ln w="12700" cap="flat" cmpd="sng" algn="ctr">
              <a:solidFill>
                <a:schemeClr val="tx1"/>
              </a:solidFill>
              <a:prstDash val="solid"/>
              <a:round/>
              <a:headEnd type="none" w="med" len="med"/>
              <a:tailEnd type="none" w="med" len="med"/>
            </a:ln>
            <a:effectLst/>
          </p:spPr>
        </p:sp>
        <p:sp>
          <p:nvSpPr>
            <p:cNvPr id="150" name="Rectangle 149"/>
            <p:cNvSpPr/>
            <p:nvPr/>
          </p:nvSpPr>
          <p:spPr bwMode="auto">
            <a:xfrm>
              <a:off x="533401" y="2809875"/>
              <a:ext cx="344714" cy="180975"/>
            </a:xfrm>
            <a:prstGeom prst="rect">
              <a:avLst/>
            </a:prstGeom>
            <a:solidFill>
              <a:srgbClr val="BFBFBF"/>
            </a:solidFill>
            <a:ln w="12700" cap="flat" cmpd="sng" algn="ctr">
              <a:solidFill>
                <a:schemeClr val="tx1"/>
              </a:solidFill>
              <a:prstDash val="solid"/>
              <a:round/>
              <a:headEnd type="none" w="med" len="med"/>
              <a:tailEnd type="none" w="med" len="med"/>
            </a:ln>
            <a:effectLst/>
          </p:spPr>
        </p:sp>
        <p:sp>
          <p:nvSpPr>
            <p:cNvPr id="151" name="Rectangle 150"/>
            <p:cNvSpPr/>
            <p:nvPr/>
          </p:nvSpPr>
          <p:spPr bwMode="auto">
            <a:xfrm>
              <a:off x="533400" y="2990850"/>
              <a:ext cx="344714" cy="180975"/>
            </a:xfrm>
            <a:prstGeom prst="rect">
              <a:avLst/>
            </a:prstGeom>
            <a:solidFill>
              <a:srgbClr val="BFBFBF"/>
            </a:solidFill>
            <a:ln w="12700" cap="flat" cmpd="sng" algn="ctr">
              <a:solidFill>
                <a:schemeClr val="tx1"/>
              </a:solidFill>
              <a:prstDash val="solid"/>
              <a:round/>
              <a:headEnd type="none" w="med" len="med"/>
              <a:tailEnd type="none" w="med" len="med"/>
            </a:ln>
            <a:effectLst/>
          </p:spPr>
        </p:sp>
        <p:sp>
          <p:nvSpPr>
            <p:cNvPr id="152" name="Rectangle 151"/>
            <p:cNvSpPr/>
            <p:nvPr/>
          </p:nvSpPr>
          <p:spPr bwMode="auto">
            <a:xfrm>
              <a:off x="533400" y="3171825"/>
              <a:ext cx="344714" cy="180975"/>
            </a:xfrm>
            <a:prstGeom prst="rect">
              <a:avLst/>
            </a:prstGeom>
            <a:solidFill>
              <a:srgbClr val="BFBFBF"/>
            </a:solidFill>
            <a:ln w="12700" cap="flat" cmpd="sng" algn="ctr">
              <a:solidFill>
                <a:schemeClr val="tx1"/>
              </a:solidFill>
              <a:prstDash val="solid"/>
              <a:round/>
              <a:headEnd type="none" w="med" len="med"/>
              <a:tailEnd type="none" w="med" len="med"/>
            </a:ln>
            <a:effectLst/>
          </p:spPr>
        </p:sp>
        <p:sp>
          <p:nvSpPr>
            <p:cNvPr id="153" name="Rectangle 152"/>
            <p:cNvSpPr/>
            <p:nvPr/>
          </p:nvSpPr>
          <p:spPr bwMode="auto">
            <a:xfrm>
              <a:off x="878114" y="1905000"/>
              <a:ext cx="551543" cy="180975"/>
            </a:xfrm>
            <a:prstGeom prst="rect">
              <a:avLst/>
            </a:prstGeom>
            <a:solidFill>
              <a:srgbClr val="92D050"/>
            </a:solidFill>
            <a:ln w="12700" cap="flat" cmpd="sng" algn="ctr">
              <a:solidFill>
                <a:schemeClr val="tx1"/>
              </a:solidFill>
              <a:prstDash val="solid"/>
              <a:round/>
              <a:headEnd type="none" w="med" len="med"/>
              <a:tailEnd type="none" w="med" len="med"/>
            </a:ln>
            <a:effectLst/>
          </p:spPr>
        </p:sp>
        <p:sp>
          <p:nvSpPr>
            <p:cNvPr id="154" name="Rectangle 153"/>
            <p:cNvSpPr/>
            <p:nvPr/>
          </p:nvSpPr>
          <p:spPr bwMode="auto">
            <a:xfrm>
              <a:off x="878114" y="2085975"/>
              <a:ext cx="551543" cy="180975"/>
            </a:xfrm>
            <a:prstGeom prst="rect">
              <a:avLst/>
            </a:prstGeom>
            <a:solidFill>
              <a:srgbClr val="92D050"/>
            </a:solidFill>
            <a:ln w="12700" cap="flat" cmpd="sng" algn="ctr">
              <a:solidFill>
                <a:schemeClr val="tx1"/>
              </a:solidFill>
              <a:prstDash val="solid"/>
              <a:round/>
              <a:headEnd type="none" w="med" len="med"/>
              <a:tailEnd type="none" w="med" len="med"/>
            </a:ln>
            <a:effectLst/>
          </p:spPr>
        </p:sp>
        <p:sp>
          <p:nvSpPr>
            <p:cNvPr id="155" name="Rectangle 154"/>
            <p:cNvSpPr/>
            <p:nvPr/>
          </p:nvSpPr>
          <p:spPr bwMode="auto">
            <a:xfrm>
              <a:off x="878113" y="2266950"/>
              <a:ext cx="551543" cy="180975"/>
            </a:xfrm>
            <a:prstGeom prst="rect">
              <a:avLst/>
            </a:prstGeom>
            <a:solidFill>
              <a:srgbClr val="92D050"/>
            </a:solidFill>
            <a:ln w="12700" cap="flat" cmpd="sng" algn="ctr">
              <a:solidFill>
                <a:schemeClr val="tx1"/>
              </a:solidFill>
              <a:prstDash val="solid"/>
              <a:round/>
              <a:headEnd type="none" w="med" len="med"/>
              <a:tailEnd type="none" w="med" len="med"/>
            </a:ln>
            <a:effectLst/>
          </p:spPr>
        </p:sp>
        <p:sp>
          <p:nvSpPr>
            <p:cNvPr id="156" name="Rectangle 155"/>
            <p:cNvSpPr/>
            <p:nvPr/>
          </p:nvSpPr>
          <p:spPr bwMode="auto">
            <a:xfrm>
              <a:off x="878113" y="2447925"/>
              <a:ext cx="551543" cy="180975"/>
            </a:xfrm>
            <a:prstGeom prst="rect">
              <a:avLst/>
            </a:prstGeom>
            <a:solidFill>
              <a:srgbClr val="92D050"/>
            </a:solidFill>
            <a:ln w="12700" cap="flat" cmpd="sng" algn="ctr">
              <a:solidFill>
                <a:schemeClr val="tx1"/>
              </a:solidFill>
              <a:prstDash val="solid"/>
              <a:round/>
              <a:headEnd type="none" w="med" len="med"/>
              <a:tailEnd type="none" w="med" len="med"/>
            </a:ln>
            <a:effectLst/>
          </p:spPr>
        </p:sp>
        <p:sp>
          <p:nvSpPr>
            <p:cNvPr id="157" name="Rectangle 156"/>
            <p:cNvSpPr/>
            <p:nvPr/>
          </p:nvSpPr>
          <p:spPr bwMode="auto">
            <a:xfrm>
              <a:off x="878113" y="2628900"/>
              <a:ext cx="551543" cy="180975"/>
            </a:xfrm>
            <a:prstGeom prst="rect">
              <a:avLst/>
            </a:prstGeom>
            <a:solidFill>
              <a:srgbClr val="92D050"/>
            </a:solidFill>
            <a:ln w="12700" cap="flat" cmpd="sng" algn="ctr">
              <a:solidFill>
                <a:schemeClr val="tx1"/>
              </a:solidFill>
              <a:prstDash val="solid"/>
              <a:round/>
              <a:headEnd type="none" w="med" len="med"/>
              <a:tailEnd type="none" w="med" len="med"/>
            </a:ln>
            <a:effectLst/>
          </p:spPr>
        </p:sp>
        <p:sp>
          <p:nvSpPr>
            <p:cNvPr id="158" name="Rectangle 157"/>
            <p:cNvSpPr/>
            <p:nvPr/>
          </p:nvSpPr>
          <p:spPr bwMode="auto">
            <a:xfrm>
              <a:off x="878113" y="2809875"/>
              <a:ext cx="551543" cy="180975"/>
            </a:xfrm>
            <a:prstGeom prst="rect">
              <a:avLst/>
            </a:prstGeom>
            <a:solidFill>
              <a:srgbClr val="92D050"/>
            </a:solidFill>
            <a:ln w="12700" cap="flat" cmpd="sng" algn="ctr">
              <a:solidFill>
                <a:schemeClr val="tx1"/>
              </a:solidFill>
              <a:prstDash val="solid"/>
              <a:round/>
              <a:headEnd type="none" w="med" len="med"/>
              <a:tailEnd type="none" w="med" len="med"/>
            </a:ln>
            <a:effectLst/>
          </p:spPr>
        </p:sp>
        <p:sp>
          <p:nvSpPr>
            <p:cNvPr id="159" name="Rectangle 158"/>
            <p:cNvSpPr/>
            <p:nvPr/>
          </p:nvSpPr>
          <p:spPr bwMode="auto">
            <a:xfrm>
              <a:off x="878112" y="2990850"/>
              <a:ext cx="551543" cy="180975"/>
            </a:xfrm>
            <a:prstGeom prst="rect">
              <a:avLst/>
            </a:prstGeom>
            <a:solidFill>
              <a:srgbClr val="92D050"/>
            </a:solidFill>
            <a:ln w="12700" cap="flat" cmpd="sng" algn="ctr">
              <a:solidFill>
                <a:schemeClr val="tx1"/>
              </a:solidFill>
              <a:prstDash val="solid"/>
              <a:round/>
              <a:headEnd type="none" w="med" len="med"/>
              <a:tailEnd type="none" w="med" len="med"/>
            </a:ln>
            <a:effectLst/>
          </p:spPr>
        </p:sp>
        <p:sp>
          <p:nvSpPr>
            <p:cNvPr id="160" name="Rectangle 159"/>
            <p:cNvSpPr/>
            <p:nvPr/>
          </p:nvSpPr>
          <p:spPr bwMode="auto">
            <a:xfrm>
              <a:off x="878112" y="3171825"/>
              <a:ext cx="551543" cy="180975"/>
            </a:xfrm>
            <a:prstGeom prst="rect">
              <a:avLst/>
            </a:prstGeom>
            <a:solidFill>
              <a:srgbClr val="92D050"/>
            </a:solidFill>
            <a:ln w="12700" cap="flat" cmpd="sng" algn="ctr">
              <a:solidFill>
                <a:schemeClr val="tx1"/>
              </a:solidFill>
              <a:prstDash val="solid"/>
              <a:round/>
              <a:headEnd type="none" w="med" len="med"/>
              <a:tailEnd type="none" w="med" len="med"/>
            </a:ln>
            <a:effectLst/>
          </p:spPr>
        </p:sp>
        <p:sp>
          <p:nvSpPr>
            <p:cNvPr id="161" name="Rectangle 160"/>
            <p:cNvSpPr/>
            <p:nvPr/>
          </p:nvSpPr>
          <p:spPr bwMode="auto">
            <a:xfrm>
              <a:off x="1429658" y="1905000"/>
              <a:ext cx="275771" cy="180975"/>
            </a:xfrm>
            <a:prstGeom prst="rect">
              <a:avLst/>
            </a:prstGeom>
            <a:solidFill>
              <a:srgbClr val="FFC000"/>
            </a:solidFill>
            <a:ln w="12700" cap="flat" cmpd="sng" algn="ctr">
              <a:solidFill>
                <a:schemeClr val="tx1"/>
              </a:solidFill>
              <a:prstDash val="solid"/>
              <a:round/>
              <a:headEnd type="none" w="med" len="med"/>
              <a:tailEnd type="none" w="med" len="med"/>
            </a:ln>
            <a:effectLst/>
          </p:spPr>
        </p:sp>
        <p:sp>
          <p:nvSpPr>
            <p:cNvPr id="162" name="Rectangle 161"/>
            <p:cNvSpPr/>
            <p:nvPr/>
          </p:nvSpPr>
          <p:spPr bwMode="auto">
            <a:xfrm>
              <a:off x="1429658" y="2085975"/>
              <a:ext cx="275771" cy="180975"/>
            </a:xfrm>
            <a:prstGeom prst="rect">
              <a:avLst/>
            </a:prstGeom>
            <a:solidFill>
              <a:srgbClr val="FFC000"/>
            </a:solidFill>
            <a:ln w="12700" cap="flat" cmpd="sng" algn="ctr">
              <a:solidFill>
                <a:schemeClr val="tx1"/>
              </a:solidFill>
              <a:prstDash val="solid"/>
              <a:round/>
              <a:headEnd type="none" w="med" len="med"/>
              <a:tailEnd type="none" w="med" len="med"/>
            </a:ln>
            <a:effectLst/>
          </p:spPr>
        </p:sp>
        <p:sp>
          <p:nvSpPr>
            <p:cNvPr id="163" name="Rectangle 162"/>
            <p:cNvSpPr/>
            <p:nvPr/>
          </p:nvSpPr>
          <p:spPr bwMode="auto">
            <a:xfrm>
              <a:off x="1429657" y="2266950"/>
              <a:ext cx="275771" cy="180975"/>
            </a:xfrm>
            <a:prstGeom prst="rect">
              <a:avLst/>
            </a:prstGeom>
            <a:solidFill>
              <a:srgbClr val="FFC000"/>
            </a:solidFill>
            <a:ln w="12700" cap="flat" cmpd="sng" algn="ctr">
              <a:solidFill>
                <a:schemeClr val="tx1"/>
              </a:solidFill>
              <a:prstDash val="solid"/>
              <a:round/>
              <a:headEnd type="none" w="med" len="med"/>
              <a:tailEnd type="none" w="med" len="med"/>
            </a:ln>
            <a:effectLst/>
          </p:spPr>
        </p:sp>
        <p:sp>
          <p:nvSpPr>
            <p:cNvPr id="164" name="Rectangle 163"/>
            <p:cNvSpPr/>
            <p:nvPr/>
          </p:nvSpPr>
          <p:spPr bwMode="auto">
            <a:xfrm>
              <a:off x="1429657" y="2447925"/>
              <a:ext cx="275771" cy="180975"/>
            </a:xfrm>
            <a:prstGeom prst="rect">
              <a:avLst/>
            </a:prstGeom>
            <a:solidFill>
              <a:srgbClr val="FFC000"/>
            </a:solidFill>
            <a:ln w="12700" cap="flat" cmpd="sng" algn="ctr">
              <a:solidFill>
                <a:schemeClr val="tx1"/>
              </a:solidFill>
              <a:prstDash val="solid"/>
              <a:round/>
              <a:headEnd type="none" w="med" len="med"/>
              <a:tailEnd type="none" w="med" len="med"/>
            </a:ln>
            <a:effectLst/>
          </p:spPr>
        </p:sp>
        <p:sp>
          <p:nvSpPr>
            <p:cNvPr id="165" name="Rectangle 164"/>
            <p:cNvSpPr/>
            <p:nvPr/>
          </p:nvSpPr>
          <p:spPr bwMode="auto">
            <a:xfrm>
              <a:off x="1429657" y="2628900"/>
              <a:ext cx="275771" cy="180975"/>
            </a:xfrm>
            <a:prstGeom prst="rect">
              <a:avLst/>
            </a:prstGeom>
            <a:solidFill>
              <a:srgbClr val="FFC000"/>
            </a:solidFill>
            <a:ln w="12700" cap="flat" cmpd="sng" algn="ctr">
              <a:solidFill>
                <a:schemeClr val="tx1"/>
              </a:solidFill>
              <a:prstDash val="solid"/>
              <a:round/>
              <a:headEnd type="none" w="med" len="med"/>
              <a:tailEnd type="none" w="med" len="med"/>
            </a:ln>
            <a:effectLst/>
          </p:spPr>
        </p:sp>
        <p:sp>
          <p:nvSpPr>
            <p:cNvPr id="166" name="Rectangle 165"/>
            <p:cNvSpPr/>
            <p:nvPr/>
          </p:nvSpPr>
          <p:spPr bwMode="auto">
            <a:xfrm>
              <a:off x="1429657" y="2809875"/>
              <a:ext cx="275771" cy="180975"/>
            </a:xfrm>
            <a:prstGeom prst="rect">
              <a:avLst/>
            </a:prstGeom>
            <a:solidFill>
              <a:srgbClr val="FFC000"/>
            </a:solidFill>
            <a:ln w="12700" cap="flat" cmpd="sng" algn="ctr">
              <a:solidFill>
                <a:schemeClr val="tx1"/>
              </a:solidFill>
              <a:prstDash val="solid"/>
              <a:round/>
              <a:headEnd type="none" w="med" len="med"/>
              <a:tailEnd type="none" w="med" len="med"/>
            </a:ln>
            <a:effectLst/>
          </p:spPr>
        </p:sp>
        <p:sp>
          <p:nvSpPr>
            <p:cNvPr id="167" name="Rectangle 166"/>
            <p:cNvSpPr/>
            <p:nvPr/>
          </p:nvSpPr>
          <p:spPr bwMode="auto">
            <a:xfrm>
              <a:off x="1429657" y="2990850"/>
              <a:ext cx="275771" cy="180975"/>
            </a:xfrm>
            <a:prstGeom prst="rect">
              <a:avLst/>
            </a:prstGeom>
            <a:solidFill>
              <a:srgbClr val="FFC000"/>
            </a:solidFill>
            <a:ln w="12700" cap="flat" cmpd="sng" algn="ctr">
              <a:solidFill>
                <a:schemeClr val="tx1"/>
              </a:solidFill>
              <a:prstDash val="solid"/>
              <a:round/>
              <a:headEnd type="none" w="med" len="med"/>
              <a:tailEnd type="none" w="med" len="med"/>
            </a:ln>
            <a:effectLst/>
          </p:spPr>
        </p:sp>
        <p:sp>
          <p:nvSpPr>
            <p:cNvPr id="168" name="Rectangle 167"/>
            <p:cNvSpPr/>
            <p:nvPr/>
          </p:nvSpPr>
          <p:spPr bwMode="auto">
            <a:xfrm>
              <a:off x="1429657" y="3171825"/>
              <a:ext cx="275771" cy="180975"/>
            </a:xfrm>
            <a:prstGeom prst="rect">
              <a:avLst/>
            </a:prstGeom>
            <a:solidFill>
              <a:srgbClr val="FFC000"/>
            </a:solidFill>
            <a:ln w="12700" cap="flat" cmpd="sng" algn="ctr">
              <a:solidFill>
                <a:schemeClr val="tx1"/>
              </a:solidFill>
              <a:prstDash val="solid"/>
              <a:round/>
              <a:headEnd type="none" w="med" len="med"/>
              <a:tailEnd type="none" w="med" len="med"/>
            </a:ln>
            <a:effectLst/>
          </p:spPr>
        </p:sp>
        <p:sp>
          <p:nvSpPr>
            <p:cNvPr id="169" name="Rectangle 168"/>
            <p:cNvSpPr/>
            <p:nvPr/>
          </p:nvSpPr>
          <p:spPr bwMode="auto">
            <a:xfrm>
              <a:off x="1705429" y="1905000"/>
              <a:ext cx="275771" cy="180975"/>
            </a:xfrm>
            <a:prstGeom prst="rect">
              <a:avLst/>
            </a:prstGeom>
            <a:solidFill>
              <a:schemeClr val="tx2">
                <a:lumMod val="40000"/>
                <a:lumOff val="60000"/>
              </a:schemeClr>
            </a:solidFill>
            <a:ln w="12700" cap="flat" cmpd="sng" algn="ctr">
              <a:solidFill>
                <a:schemeClr val="tx1"/>
              </a:solidFill>
              <a:prstDash val="solid"/>
              <a:round/>
              <a:headEnd type="none" w="med" len="med"/>
              <a:tailEnd type="none" w="med" len="med"/>
            </a:ln>
            <a:effectLst/>
          </p:spPr>
        </p:sp>
        <p:sp>
          <p:nvSpPr>
            <p:cNvPr id="170" name="Rectangle 169"/>
            <p:cNvSpPr/>
            <p:nvPr/>
          </p:nvSpPr>
          <p:spPr bwMode="auto">
            <a:xfrm>
              <a:off x="1705429" y="2085975"/>
              <a:ext cx="275771" cy="180975"/>
            </a:xfrm>
            <a:prstGeom prst="rect">
              <a:avLst/>
            </a:prstGeom>
            <a:solidFill>
              <a:schemeClr val="tx2">
                <a:lumMod val="40000"/>
                <a:lumOff val="60000"/>
              </a:schemeClr>
            </a:solidFill>
            <a:ln w="12700" cap="flat" cmpd="sng" algn="ctr">
              <a:solidFill>
                <a:schemeClr val="tx1"/>
              </a:solidFill>
              <a:prstDash val="solid"/>
              <a:round/>
              <a:headEnd type="none" w="med" len="med"/>
              <a:tailEnd type="none" w="med" len="med"/>
            </a:ln>
            <a:effectLst/>
          </p:spPr>
        </p:sp>
        <p:sp>
          <p:nvSpPr>
            <p:cNvPr id="171" name="Rectangle 170"/>
            <p:cNvSpPr/>
            <p:nvPr/>
          </p:nvSpPr>
          <p:spPr bwMode="auto">
            <a:xfrm>
              <a:off x="1705428" y="2266950"/>
              <a:ext cx="275771" cy="180975"/>
            </a:xfrm>
            <a:prstGeom prst="rect">
              <a:avLst/>
            </a:prstGeom>
            <a:solidFill>
              <a:schemeClr val="tx2">
                <a:lumMod val="40000"/>
                <a:lumOff val="60000"/>
              </a:schemeClr>
            </a:solidFill>
            <a:ln w="12700" cap="flat" cmpd="sng" algn="ctr">
              <a:solidFill>
                <a:schemeClr val="tx1"/>
              </a:solidFill>
              <a:prstDash val="solid"/>
              <a:round/>
              <a:headEnd type="none" w="med" len="med"/>
              <a:tailEnd type="none" w="med" len="med"/>
            </a:ln>
            <a:effectLst/>
          </p:spPr>
        </p:sp>
        <p:sp>
          <p:nvSpPr>
            <p:cNvPr id="172" name="Rectangle 171"/>
            <p:cNvSpPr/>
            <p:nvPr/>
          </p:nvSpPr>
          <p:spPr bwMode="auto">
            <a:xfrm>
              <a:off x="1705428" y="2447925"/>
              <a:ext cx="275771" cy="180975"/>
            </a:xfrm>
            <a:prstGeom prst="rect">
              <a:avLst/>
            </a:prstGeom>
            <a:solidFill>
              <a:schemeClr val="tx2">
                <a:lumMod val="40000"/>
                <a:lumOff val="60000"/>
              </a:schemeClr>
            </a:solidFill>
            <a:ln w="12700" cap="flat" cmpd="sng" algn="ctr">
              <a:solidFill>
                <a:schemeClr val="tx1"/>
              </a:solidFill>
              <a:prstDash val="solid"/>
              <a:round/>
              <a:headEnd type="none" w="med" len="med"/>
              <a:tailEnd type="none" w="med" len="med"/>
            </a:ln>
            <a:effectLst/>
          </p:spPr>
        </p:sp>
        <p:sp>
          <p:nvSpPr>
            <p:cNvPr id="173" name="Rectangle 172"/>
            <p:cNvSpPr/>
            <p:nvPr/>
          </p:nvSpPr>
          <p:spPr bwMode="auto">
            <a:xfrm>
              <a:off x="1705428" y="2628900"/>
              <a:ext cx="275771" cy="180975"/>
            </a:xfrm>
            <a:prstGeom prst="rect">
              <a:avLst/>
            </a:prstGeom>
            <a:solidFill>
              <a:schemeClr val="tx2">
                <a:lumMod val="40000"/>
                <a:lumOff val="60000"/>
              </a:schemeClr>
            </a:solidFill>
            <a:ln w="12700" cap="flat" cmpd="sng" algn="ctr">
              <a:solidFill>
                <a:schemeClr val="tx1"/>
              </a:solidFill>
              <a:prstDash val="solid"/>
              <a:round/>
              <a:headEnd type="none" w="med" len="med"/>
              <a:tailEnd type="none" w="med" len="med"/>
            </a:ln>
            <a:effectLst/>
          </p:spPr>
        </p:sp>
        <p:sp>
          <p:nvSpPr>
            <p:cNvPr id="174" name="Rectangle 173"/>
            <p:cNvSpPr/>
            <p:nvPr/>
          </p:nvSpPr>
          <p:spPr bwMode="auto">
            <a:xfrm>
              <a:off x="1705428" y="2809875"/>
              <a:ext cx="275771" cy="180975"/>
            </a:xfrm>
            <a:prstGeom prst="rect">
              <a:avLst/>
            </a:prstGeom>
            <a:solidFill>
              <a:schemeClr val="tx2">
                <a:lumMod val="40000"/>
                <a:lumOff val="60000"/>
              </a:schemeClr>
            </a:solidFill>
            <a:ln w="12700" cap="flat" cmpd="sng" algn="ctr">
              <a:solidFill>
                <a:schemeClr val="tx1"/>
              </a:solidFill>
              <a:prstDash val="solid"/>
              <a:round/>
              <a:headEnd type="none" w="med" len="med"/>
              <a:tailEnd type="none" w="med" len="med"/>
            </a:ln>
            <a:effectLst/>
          </p:spPr>
        </p:sp>
        <p:sp>
          <p:nvSpPr>
            <p:cNvPr id="175" name="Rectangle 174"/>
            <p:cNvSpPr/>
            <p:nvPr/>
          </p:nvSpPr>
          <p:spPr bwMode="auto">
            <a:xfrm>
              <a:off x="1705427" y="2990850"/>
              <a:ext cx="275771" cy="180975"/>
            </a:xfrm>
            <a:prstGeom prst="rect">
              <a:avLst/>
            </a:prstGeom>
            <a:solidFill>
              <a:schemeClr val="tx2">
                <a:lumMod val="40000"/>
                <a:lumOff val="60000"/>
              </a:schemeClr>
            </a:solidFill>
            <a:ln w="12700" cap="flat" cmpd="sng" algn="ctr">
              <a:solidFill>
                <a:schemeClr val="tx1"/>
              </a:solidFill>
              <a:prstDash val="solid"/>
              <a:round/>
              <a:headEnd type="none" w="med" len="med"/>
              <a:tailEnd type="none" w="med" len="med"/>
            </a:ln>
            <a:effectLst/>
          </p:spPr>
        </p:sp>
        <p:sp>
          <p:nvSpPr>
            <p:cNvPr id="176" name="Rectangle 175"/>
            <p:cNvSpPr/>
            <p:nvPr/>
          </p:nvSpPr>
          <p:spPr bwMode="auto">
            <a:xfrm>
              <a:off x="1705427" y="3171825"/>
              <a:ext cx="275771" cy="180975"/>
            </a:xfrm>
            <a:prstGeom prst="rect">
              <a:avLst/>
            </a:prstGeom>
            <a:solidFill>
              <a:schemeClr val="tx2">
                <a:lumMod val="40000"/>
                <a:lumOff val="60000"/>
              </a:schemeClr>
            </a:solidFill>
            <a:ln w="12700" cap="flat" cmpd="sng" algn="ctr">
              <a:solidFill>
                <a:schemeClr val="tx1"/>
              </a:solidFill>
              <a:prstDash val="solid"/>
              <a:round/>
              <a:headEnd type="none" w="med" len="med"/>
              <a:tailEnd type="none" w="med" len="med"/>
            </a:ln>
            <a:effectLst/>
          </p:spPr>
        </p:sp>
      </p:grpSp>
      <p:sp>
        <p:nvSpPr>
          <p:cNvPr id="177" name="Text Placeholder 7"/>
          <p:cNvSpPr txBox="1">
            <a:spLocks/>
          </p:cNvSpPr>
          <p:nvPr/>
        </p:nvSpPr>
        <p:spPr>
          <a:xfrm>
            <a:off x="6220461" y="2290473"/>
            <a:ext cx="4663441" cy="621548"/>
          </a:xfrm>
          <a:prstGeom prst="rect">
            <a:avLst/>
          </a:prstGeom>
        </p:spPr>
        <p:txBody>
          <a:bodyPr anchor="ctr"/>
          <a:lstStyle/>
          <a:p>
            <a:pPr marL="437263" indent="-437263" algn="ctr" defTabSz="1166036" eaLnBrk="0" fontAlgn="base" hangingPunct="0">
              <a:spcBef>
                <a:spcPct val="20000"/>
              </a:spcBef>
              <a:spcAft>
                <a:spcPct val="0"/>
              </a:spcAft>
              <a:defRPr/>
            </a:pPr>
            <a:r>
              <a:rPr lang="en-US" sz="3571" b="1" kern="0" dirty="0">
                <a:latin typeface="Arial Narrow" pitchFamily="34" charset="0"/>
                <a:ea typeface="Arial" charset="0"/>
                <a:cs typeface="Arial"/>
              </a:rPr>
              <a:t>Analytical (OLAP)</a:t>
            </a:r>
          </a:p>
        </p:txBody>
      </p:sp>
      <p:sp>
        <p:nvSpPr>
          <p:cNvPr id="178" name="Text Placeholder 7"/>
          <p:cNvSpPr txBox="1">
            <a:spLocks/>
          </p:cNvSpPr>
          <p:nvPr/>
        </p:nvSpPr>
        <p:spPr>
          <a:xfrm>
            <a:off x="12438381" y="2290473"/>
            <a:ext cx="3108960" cy="621548"/>
          </a:xfrm>
          <a:prstGeom prst="rect">
            <a:avLst/>
          </a:prstGeom>
        </p:spPr>
        <p:txBody>
          <a:bodyPr anchor="ctr"/>
          <a:lstStyle/>
          <a:p>
            <a:pPr marL="437263" indent="-437263" algn="ctr" defTabSz="1166036" eaLnBrk="0" fontAlgn="base" hangingPunct="0">
              <a:spcBef>
                <a:spcPct val="20000"/>
              </a:spcBef>
              <a:spcAft>
                <a:spcPct val="0"/>
              </a:spcAft>
              <a:defRPr/>
            </a:pPr>
            <a:r>
              <a:rPr lang="en-US" sz="3571" b="1" kern="0" dirty="0">
                <a:latin typeface="Arial Narrow" pitchFamily="34" charset="0"/>
                <a:ea typeface="Arial" charset="0"/>
                <a:cs typeface="Arial"/>
              </a:rPr>
              <a:t>Key-Value</a:t>
            </a:r>
          </a:p>
        </p:txBody>
      </p:sp>
      <p:sp>
        <p:nvSpPr>
          <p:cNvPr id="179" name="Text Placeholder 7"/>
          <p:cNvSpPr txBox="1">
            <a:spLocks/>
          </p:cNvSpPr>
          <p:nvPr/>
        </p:nvSpPr>
        <p:spPr>
          <a:xfrm>
            <a:off x="1557021" y="5108702"/>
            <a:ext cx="4274820" cy="621548"/>
          </a:xfrm>
          <a:prstGeom prst="rect">
            <a:avLst/>
          </a:prstGeom>
        </p:spPr>
        <p:txBody>
          <a:bodyPr anchor="ctr"/>
          <a:lstStyle/>
          <a:p>
            <a:pPr marL="437263" indent="-437263" algn="ctr" defTabSz="1166036" eaLnBrk="0" fontAlgn="base" hangingPunct="0">
              <a:spcBef>
                <a:spcPct val="20000"/>
              </a:spcBef>
              <a:spcAft>
                <a:spcPct val="0"/>
              </a:spcAft>
              <a:defRPr/>
            </a:pPr>
            <a:r>
              <a:rPr lang="en-US" sz="3571" b="1" kern="0" dirty="0">
                <a:latin typeface="Arial Narrow" pitchFamily="34" charset="0"/>
                <a:ea typeface="Arial" charset="0"/>
                <a:cs typeface="Arial"/>
              </a:rPr>
              <a:t>Column-Family</a:t>
            </a:r>
          </a:p>
        </p:txBody>
      </p:sp>
      <p:sp>
        <p:nvSpPr>
          <p:cNvPr id="180" name="Text Placeholder 7"/>
          <p:cNvSpPr txBox="1">
            <a:spLocks/>
          </p:cNvSpPr>
          <p:nvPr/>
        </p:nvSpPr>
        <p:spPr>
          <a:xfrm>
            <a:off x="11920221" y="5108702"/>
            <a:ext cx="3497580" cy="621548"/>
          </a:xfrm>
          <a:prstGeom prst="rect">
            <a:avLst/>
          </a:prstGeom>
        </p:spPr>
        <p:txBody>
          <a:bodyPr anchor="ctr"/>
          <a:lstStyle/>
          <a:p>
            <a:pPr marL="437263" indent="-437263" algn="ctr" defTabSz="1166036" eaLnBrk="0" fontAlgn="base" hangingPunct="0">
              <a:spcBef>
                <a:spcPct val="20000"/>
              </a:spcBef>
              <a:spcAft>
                <a:spcPct val="0"/>
              </a:spcAft>
              <a:defRPr/>
            </a:pPr>
            <a:r>
              <a:rPr lang="en-US" sz="3571" b="1" kern="0" dirty="0">
                <a:latin typeface="Arial Narrow" pitchFamily="34" charset="0"/>
                <a:ea typeface="Arial" charset="0"/>
                <a:cs typeface="Arial"/>
              </a:rPr>
              <a:t>Document</a:t>
            </a:r>
          </a:p>
        </p:txBody>
      </p:sp>
      <p:sp>
        <p:nvSpPr>
          <p:cNvPr id="181" name="Text Placeholder 7"/>
          <p:cNvSpPr txBox="1">
            <a:spLocks/>
          </p:cNvSpPr>
          <p:nvPr/>
        </p:nvSpPr>
        <p:spPr>
          <a:xfrm>
            <a:off x="6285230" y="5108702"/>
            <a:ext cx="4274820" cy="621548"/>
          </a:xfrm>
          <a:prstGeom prst="rect">
            <a:avLst/>
          </a:prstGeom>
        </p:spPr>
        <p:txBody>
          <a:bodyPr anchor="ctr"/>
          <a:lstStyle/>
          <a:p>
            <a:pPr marL="437263" indent="-437263" algn="ctr" defTabSz="1166036" eaLnBrk="0" fontAlgn="base" hangingPunct="0">
              <a:spcBef>
                <a:spcPct val="20000"/>
              </a:spcBef>
              <a:spcAft>
                <a:spcPct val="0"/>
              </a:spcAft>
              <a:defRPr/>
            </a:pPr>
            <a:r>
              <a:rPr lang="en-US" sz="3571" b="1" kern="0" dirty="0">
                <a:latin typeface="Arial Narrow" pitchFamily="34" charset="0"/>
                <a:ea typeface="Arial" charset="0"/>
                <a:cs typeface="Arial"/>
              </a:rPr>
              <a:t>Graph</a:t>
            </a:r>
          </a:p>
        </p:txBody>
      </p:sp>
      <p:grpSp>
        <p:nvGrpSpPr>
          <p:cNvPr id="5" name="Group 42"/>
          <p:cNvGrpSpPr/>
          <p:nvPr/>
        </p:nvGrpSpPr>
        <p:grpSpPr>
          <a:xfrm>
            <a:off x="11920221" y="5886144"/>
            <a:ext cx="3627120" cy="2429508"/>
            <a:chOff x="5791200" y="1447800"/>
            <a:chExt cx="2133600" cy="1905000"/>
          </a:xfrm>
        </p:grpSpPr>
        <p:sp>
          <p:nvSpPr>
            <p:cNvPr id="183" name="Oval 182"/>
            <p:cNvSpPr/>
            <p:nvPr/>
          </p:nvSpPr>
          <p:spPr bwMode="auto">
            <a:xfrm>
              <a:off x="6705600" y="1447800"/>
              <a:ext cx="304800" cy="304800"/>
            </a:xfrm>
            <a:prstGeom prst="ellipse">
              <a:avLst/>
            </a:prstGeom>
            <a:solidFill>
              <a:srgbClr val="FF0000"/>
            </a:solidFill>
            <a:ln w="12700" cap="flat" cmpd="sng" algn="ctr">
              <a:solidFill>
                <a:schemeClr val="tx1"/>
              </a:solidFill>
              <a:prstDash val="solid"/>
              <a:round/>
              <a:headEnd type="none" w="med" len="med"/>
              <a:tailEnd type="none" w="med" len="med"/>
            </a:ln>
            <a:effectLst/>
          </p:spPr>
          <p:txBody>
            <a:bodyPr vert="horz" wrap="square" lIns="116616" tIns="58308" rIns="116616" bIns="58308" numCol="1" rtlCol="0" anchor="t" anchorCtr="0" compatLnSpc="1">
              <a:prstTxWarp prst="textNoShape">
                <a:avLst/>
              </a:prstTxWarp>
            </a:bodyPr>
            <a:lstStyle/>
            <a:p>
              <a:pPr algn="ctr" defTabSz="1166036" fontAlgn="base">
                <a:spcBef>
                  <a:spcPct val="0"/>
                </a:spcBef>
                <a:spcAft>
                  <a:spcPct val="0"/>
                </a:spcAft>
              </a:pPr>
              <a:endParaRPr lang="en-US" sz="3061" b="1">
                <a:latin typeface="Arial Narrow" charset="0"/>
              </a:endParaRPr>
            </a:p>
          </p:txBody>
        </p:sp>
        <p:sp>
          <p:nvSpPr>
            <p:cNvPr id="184" name="Oval 183"/>
            <p:cNvSpPr/>
            <p:nvPr/>
          </p:nvSpPr>
          <p:spPr bwMode="auto">
            <a:xfrm>
              <a:off x="6400800" y="1981200"/>
              <a:ext cx="304800" cy="304800"/>
            </a:xfrm>
            <a:prstGeom prst="ellipse">
              <a:avLst/>
            </a:prstGeom>
            <a:solidFill>
              <a:srgbClr val="FFC000"/>
            </a:solidFill>
            <a:ln w="12700" cap="flat" cmpd="sng" algn="ctr">
              <a:solidFill>
                <a:schemeClr val="tx1"/>
              </a:solidFill>
              <a:prstDash val="solid"/>
              <a:round/>
              <a:headEnd type="none" w="med" len="med"/>
              <a:tailEnd type="none" w="med" len="med"/>
            </a:ln>
            <a:effectLst/>
          </p:spPr>
          <p:txBody>
            <a:bodyPr vert="horz" wrap="square" lIns="116616" tIns="58308" rIns="116616" bIns="58308" numCol="1" rtlCol="0" anchor="t" anchorCtr="0" compatLnSpc="1">
              <a:prstTxWarp prst="textNoShape">
                <a:avLst/>
              </a:prstTxWarp>
            </a:bodyPr>
            <a:lstStyle/>
            <a:p>
              <a:pPr algn="ctr" defTabSz="1166036" fontAlgn="base">
                <a:spcBef>
                  <a:spcPct val="0"/>
                </a:spcBef>
                <a:spcAft>
                  <a:spcPct val="0"/>
                </a:spcAft>
              </a:pPr>
              <a:endParaRPr lang="en-US" sz="3061" b="1">
                <a:latin typeface="Arial Narrow" charset="0"/>
              </a:endParaRPr>
            </a:p>
          </p:txBody>
        </p:sp>
        <p:sp>
          <p:nvSpPr>
            <p:cNvPr id="185" name="Oval 184"/>
            <p:cNvSpPr/>
            <p:nvPr/>
          </p:nvSpPr>
          <p:spPr bwMode="auto">
            <a:xfrm>
              <a:off x="7010400" y="1981200"/>
              <a:ext cx="304800" cy="304800"/>
            </a:xfrm>
            <a:prstGeom prst="ellipse">
              <a:avLst/>
            </a:prstGeom>
            <a:solidFill>
              <a:srgbClr val="FFFF00"/>
            </a:solidFill>
            <a:ln w="12700" cap="flat" cmpd="sng" algn="ctr">
              <a:solidFill>
                <a:schemeClr val="tx1"/>
              </a:solidFill>
              <a:prstDash val="solid"/>
              <a:round/>
              <a:headEnd type="none" w="med" len="med"/>
              <a:tailEnd type="none" w="med" len="med"/>
            </a:ln>
            <a:effectLst/>
          </p:spPr>
          <p:txBody>
            <a:bodyPr vert="horz" wrap="square" lIns="116616" tIns="58308" rIns="116616" bIns="58308" numCol="1" rtlCol="0" anchor="t" anchorCtr="0" compatLnSpc="1">
              <a:prstTxWarp prst="textNoShape">
                <a:avLst/>
              </a:prstTxWarp>
            </a:bodyPr>
            <a:lstStyle/>
            <a:p>
              <a:pPr algn="ctr" defTabSz="1166036" fontAlgn="base">
                <a:spcBef>
                  <a:spcPct val="0"/>
                </a:spcBef>
                <a:spcAft>
                  <a:spcPct val="0"/>
                </a:spcAft>
              </a:pPr>
              <a:endParaRPr lang="en-US" sz="3061" b="1">
                <a:latin typeface="Arial Narrow" charset="0"/>
              </a:endParaRPr>
            </a:p>
          </p:txBody>
        </p:sp>
        <p:sp>
          <p:nvSpPr>
            <p:cNvPr id="186" name="Oval 185"/>
            <p:cNvSpPr/>
            <p:nvPr/>
          </p:nvSpPr>
          <p:spPr bwMode="auto">
            <a:xfrm>
              <a:off x="6096000" y="2514600"/>
              <a:ext cx="304800" cy="304800"/>
            </a:xfrm>
            <a:prstGeom prst="ellipse">
              <a:avLst/>
            </a:prstGeom>
            <a:solidFill>
              <a:srgbClr val="00B050"/>
            </a:solidFill>
            <a:ln w="12700" cap="flat" cmpd="sng" algn="ctr">
              <a:solidFill>
                <a:schemeClr val="tx1"/>
              </a:solidFill>
              <a:prstDash val="solid"/>
              <a:round/>
              <a:headEnd type="none" w="med" len="med"/>
              <a:tailEnd type="none" w="med" len="med"/>
            </a:ln>
            <a:effectLst/>
          </p:spPr>
          <p:txBody>
            <a:bodyPr vert="horz" wrap="square" lIns="116616" tIns="58308" rIns="116616" bIns="58308" numCol="1" rtlCol="0" anchor="t" anchorCtr="0" compatLnSpc="1">
              <a:prstTxWarp prst="textNoShape">
                <a:avLst/>
              </a:prstTxWarp>
            </a:bodyPr>
            <a:lstStyle/>
            <a:p>
              <a:pPr algn="ctr" defTabSz="1166036" fontAlgn="base">
                <a:spcBef>
                  <a:spcPct val="0"/>
                </a:spcBef>
                <a:spcAft>
                  <a:spcPct val="0"/>
                </a:spcAft>
              </a:pPr>
              <a:endParaRPr lang="en-US" sz="3061" b="1">
                <a:latin typeface="Arial Narrow" charset="0"/>
              </a:endParaRPr>
            </a:p>
          </p:txBody>
        </p:sp>
        <p:sp>
          <p:nvSpPr>
            <p:cNvPr id="187" name="Oval 186"/>
            <p:cNvSpPr/>
            <p:nvPr/>
          </p:nvSpPr>
          <p:spPr bwMode="auto">
            <a:xfrm>
              <a:off x="6705600" y="2514600"/>
              <a:ext cx="304800" cy="304800"/>
            </a:xfrm>
            <a:prstGeom prst="ellipse">
              <a:avLst/>
            </a:prstGeom>
            <a:solidFill>
              <a:schemeClr val="tx2"/>
            </a:solidFill>
            <a:ln w="12700" cap="flat" cmpd="sng" algn="ctr">
              <a:solidFill>
                <a:schemeClr val="tx1"/>
              </a:solidFill>
              <a:prstDash val="solid"/>
              <a:round/>
              <a:headEnd type="none" w="med" len="med"/>
              <a:tailEnd type="none" w="med" len="med"/>
            </a:ln>
            <a:effectLst/>
          </p:spPr>
          <p:txBody>
            <a:bodyPr vert="horz" wrap="square" lIns="116616" tIns="58308" rIns="116616" bIns="58308" numCol="1" rtlCol="0" anchor="t" anchorCtr="0" compatLnSpc="1">
              <a:prstTxWarp prst="textNoShape">
                <a:avLst/>
              </a:prstTxWarp>
            </a:bodyPr>
            <a:lstStyle/>
            <a:p>
              <a:pPr algn="ctr" defTabSz="1166036" fontAlgn="base">
                <a:spcBef>
                  <a:spcPct val="0"/>
                </a:spcBef>
                <a:spcAft>
                  <a:spcPct val="0"/>
                </a:spcAft>
              </a:pPr>
              <a:endParaRPr lang="en-US" sz="3061" b="1">
                <a:latin typeface="Arial Narrow" charset="0"/>
              </a:endParaRPr>
            </a:p>
          </p:txBody>
        </p:sp>
        <p:sp>
          <p:nvSpPr>
            <p:cNvPr id="188" name="Oval 187"/>
            <p:cNvSpPr/>
            <p:nvPr/>
          </p:nvSpPr>
          <p:spPr bwMode="auto">
            <a:xfrm>
              <a:off x="7315200" y="2514600"/>
              <a:ext cx="304800" cy="304800"/>
            </a:xfrm>
            <a:prstGeom prst="ellipse">
              <a:avLst/>
            </a:prstGeom>
            <a:solidFill>
              <a:srgbClr val="7030A0"/>
            </a:solidFill>
            <a:ln w="12700" cap="flat" cmpd="sng" algn="ctr">
              <a:solidFill>
                <a:schemeClr val="tx1"/>
              </a:solidFill>
              <a:prstDash val="solid"/>
              <a:round/>
              <a:headEnd type="none" w="med" len="med"/>
              <a:tailEnd type="none" w="med" len="med"/>
            </a:ln>
            <a:effectLst/>
          </p:spPr>
          <p:txBody>
            <a:bodyPr vert="horz" wrap="square" lIns="116616" tIns="58308" rIns="116616" bIns="58308" numCol="1" rtlCol="0" anchor="t" anchorCtr="0" compatLnSpc="1">
              <a:prstTxWarp prst="textNoShape">
                <a:avLst/>
              </a:prstTxWarp>
            </a:bodyPr>
            <a:lstStyle/>
            <a:p>
              <a:pPr algn="ctr" defTabSz="1166036" fontAlgn="base">
                <a:spcBef>
                  <a:spcPct val="0"/>
                </a:spcBef>
                <a:spcAft>
                  <a:spcPct val="0"/>
                </a:spcAft>
              </a:pPr>
              <a:endParaRPr lang="en-US" sz="3061" b="1">
                <a:latin typeface="Arial Narrow" charset="0"/>
              </a:endParaRPr>
            </a:p>
          </p:txBody>
        </p:sp>
        <p:cxnSp>
          <p:nvCxnSpPr>
            <p:cNvPr id="189" name="Straight Connector 188"/>
            <p:cNvCxnSpPr>
              <a:stCxn id="183" idx="4"/>
              <a:endCxn id="184" idx="0"/>
            </p:cNvCxnSpPr>
            <p:nvPr/>
          </p:nvCxnSpPr>
          <p:spPr bwMode="auto">
            <a:xfrm rot="5400000">
              <a:off x="6591300" y="1714500"/>
              <a:ext cx="228600" cy="304800"/>
            </a:xfrm>
            <a:prstGeom prst="line">
              <a:avLst/>
            </a:prstGeom>
            <a:solidFill>
              <a:srgbClr val="3399FF"/>
            </a:solidFill>
            <a:ln w="9525" cap="flat" cmpd="sng" algn="ctr">
              <a:solidFill>
                <a:schemeClr val="tx1"/>
              </a:solidFill>
              <a:prstDash val="solid"/>
              <a:round/>
              <a:headEnd type="none" w="med" len="med"/>
              <a:tailEnd type="none" w="med" len="med"/>
            </a:ln>
            <a:effectLst/>
          </p:spPr>
        </p:cxnSp>
        <p:cxnSp>
          <p:nvCxnSpPr>
            <p:cNvPr id="190" name="Straight Connector 189"/>
            <p:cNvCxnSpPr>
              <a:stCxn id="183" idx="4"/>
              <a:endCxn id="185" idx="0"/>
            </p:cNvCxnSpPr>
            <p:nvPr/>
          </p:nvCxnSpPr>
          <p:spPr bwMode="auto">
            <a:xfrm rot="16200000" flipH="1">
              <a:off x="6896100" y="1714500"/>
              <a:ext cx="228600" cy="304800"/>
            </a:xfrm>
            <a:prstGeom prst="line">
              <a:avLst/>
            </a:prstGeom>
            <a:solidFill>
              <a:srgbClr val="3399FF"/>
            </a:solidFill>
            <a:ln w="9525" cap="flat" cmpd="sng" algn="ctr">
              <a:solidFill>
                <a:schemeClr val="tx1"/>
              </a:solidFill>
              <a:prstDash val="solid"/>
              <a:round/>
              <a:headEnd type="none" w="med" len="med"/>
              <a:tailEnd type="none" w="med" len="med"/>
            </a:ln>
            <a:effectLst/>
          </p:spPr>
        </p:cxnSp>
        <p:cxnSp>
          <p:nvCxnSpPr>
            <p:cNvPr id="191" name="Straight Connector 190"/>
            <p:cNvCxnSpPr/>
            <p:nvPr/>
          </p:nvCxnSpPr>
          <p:spPr bwMode="auto">
            <a:xfrm rot="5400000">
              <a:off x="6286500" y="2247900"/>
              <a:ext cx="228600" cy="304800"/>
            </a:xfrm>
            <a:prstGeom prst="line">
              <a:avLst/>
            </a:prstGeom>
            <a:solidFill>
              <a:srgbClr val="3399FF"/>
            </a:solidFill>
            <a:ln w="9525" cap="flat" cmpd="sng" algn="ctr">
              <a:solidFill>
                <a:schemeClr val="tx1"/>
              </a:solidFill>
              <a:prstDash val="solid"/>
              <a:round/>
              <a:headEnd type="none" w="med" len="med"/>
              <a:tailEnd type="none" w="med" len="med"/>
            </a:ln>
            <a:effectLst/>
          </p:spPr>
        </p:cxnSp>
        <p:cxnSp>
          <p:nvCxnSpPr>
            <p:cNvPr id="192" name="Straight Connector 191"/>
            <p:cNvCxnSpPr/>
            <p:nvPr/>
          </p:nvCxnSpPr>
          <p:spPr bwMode="auto">
            <a:xfrm rot="16200000" flipH="1">
              <a:off x="6591300" y="2247900"/>
              <a:ext cx="228600" cy="304800"/>
            </a:xfrm>
            <a:prstGeom prst="line">
              <a:avLst/>
            </a:prstGeom>
            <a:solidFill>
              <a:srgbClr val="3399FF"/>
            </a:solidFill>
            <a:ln w="9525" cap="flat" cmpd="sng" algn="ctr">
              <a:solidFill>
                <a:schemeClr val="tx1"/>
              </a:solidFill>
              <a:prstDash val="solid"/>
              <a:round/>
              <a:headEnd type="none" w="med" len="med"/>
              <a:tailEnd type="none" w="med" len="med"/>
            </a:ln>
            <a:effectLst/>
          </p:spPr>
        </p:cxnSp>
        <p:cxnSp>
          <p:nvCxnSpPr>
            <p:cNvPr id="193" name="Straight Connector 192"/>
            <p:cNvCxnSpPr/>
            <p:nvPr/>
          </p:nvCxnSpPr>
          <p:spPr bwMode="auto">
            <a:xfrm rot="16200000" flipH="1">
              <a:off x="7200900" y="2247900"/>
              <a:ext cx="228600" cy="304800"/>
            </a:xfrm>
            <a:prstGeom prst="line">
              <a:avLst/>
            </a:prstGeom>
            <a:solidFill>
              <a:srgbClr val="3399FF"/>
            </a:solidFill>
            <a:ln w="9525" cap="flat" cmpd="sng" algn="ctr">
              <a:solidFill>
                <a:schemeClr val="tx1"/>
              </a:solidFill>
              <a:prstDash val="solid"/>
              <a:round/>
              <a:headEnd type="none" w="med" len="med"/>
              <a:tailEnd type="none" w="med" len="med"/>
            </a:ln>
            <a:effectLst/>
          </p:spPr>
        </p:cxnSp>
        <p:sp>
          <p:nvSpPr>
            <p:cNvPr id="194" name="Oval 193"/>
            <p:cNvSpPr/>
            <p:nvPr/>
          </p:nvSpPr>
          <p:spPr bwMode="auto">
            <a:xfrm>
              <a:off x="5791200" y="3048000"/>
              <a:ext cx="304800" cy="304800"/>
            </a:xfrm>
            <a:prstGeom prst="ellipse">
              <a:avLst/>
            </a:prstGeom>
            <a:solidFill>
              <a:srgbClr val="FF00FF"/>
            </a:solidFill>
            <a:ln w="12700" cap="flat" cmpd="sng" algn="ctr">
              <a:solidFill>
                <a:schemeClr val="tx1"/>
              </a:solidFill>
              <a:prstDash val="solid"/>
              <a:round/>
              <a:headEnd type="none" w="med" len="med"/>
              <a:tailEnd type="none" w="med" len="med"/>
            </a:ln>
            <a:effectLst/>
          </p:spPr>
          <p:txBody>
            <a:bodyPr vert="horz" wrap="square" lIns="116616" tIns="58308" rIns="116616" bIns="58308" numCol="1" rtlCol="0" anchor="t" anchorCtr="0" compatLnSpc="1">
              <a:prstTxWarp prst="textNoShape">
                <a:avLst/>
              </a:prstTxWarp>
            </a:bodyPr>
            <a:lstStyle/>
            <a:p>
              <a:pPr algn="ctr" defTabSz="1166036" fontAlgn="base">
                <a:spcBef>
                  <a:spcPct val="0"/>
                </a:spcBef>
                <a:spcAft>
                  <a:spcPct val="0"/>
                </a:spcAft>
              </a:pPr>
              <a:endParaRPr lang="en-US" sz="3061" b="1">
                <a:latin typeface="Arial Narrow" charset="0"/>
              </a:endParaRPr>
            </a:p>
          </p:txBody>
        </p:sp>
        <p:sp>
          <p:nvSpPr>
            <p:cNvPr id="195" name="Oval 194"/>
            <p:cNvSpPr/>
            <p:nvPr/>
          </p:nvSpPr>
          <p:spPr bwMode="auto">
            <a:xfrm>
              <a:off x="6400800" y="3048000"/>
              <a:ext cx="304800" cy="304800"/>
            </a:xfrm>
            <a:prstGeom prst="ellipse">
              <a:avLst/>
            </a:prstGeom>
            <a:solidFill>
              <a:srgbClr val="00FFFF"/>
            </a:solidFill>
            <a:ln w="12700" cap="flat" cmpd="sng" algn="ctr">
              <a:solidFill>
                <a:schemeClr val="tx1"/>
              </a:solidFill>
              <a:prstDash val="solid"/>
              <a:round/>
              <a:headEnd type="none" w="med" len="med"/>
              <a:tailEnd type="none" w="med" len="med"/>
            </a:ln>
            <a:effectLst/>
          </p:spPr>
          <p:txBody>
            <a:bodyPr vert="horz" wrap="square" lIns="116616" tIns="58308" rIns="116616" bIns="58308" numCol="1" rtlCol="0" anchor="t" anchorCtr="0" compatLnSpc="1">
              <a:prstTxWarp prst="textNoShape">
                <a:avLst/>
              </a:prstTxWarp>
            </a:bodyPr>
            <a:lstStyle/>
            <a:p>
              <a:pPr algn="ctr" defTabSz="1166036" fontAlgn="base">
                <a:spcBef>
                  <a:spcPct val="0"/>
                </a:spcBef>
                <a:spcAft>
                  <a:spcPct val="0"/>
                </a:spcAft>
              </a:pPr>
              <a:endParaRPr lang="en-US" sz="3061" b="1">
                <a:latin typeface="Arial Narrow" charset="0"/>
              </a:endParaRPr>
            </a:p>
          </p:txBody>
        </p:sp>
        <p:cxnSp>
          <p:nvCxnSpPr>
            <p:cNvPr id="196" name="Straight Connector 195"/>
            <p:cNvCxnSpPr/>
            <p:nvPr/>
          </p:nvCxnSpPr>
          <p:spPr bwMode="auto">
            <a:xfrm rot="5400000">
              <a:off x="5981700" y="2781300"/>
              <a:ext cx="228600" cy="304800"/>
            </a:xfrm>
            <a:prstGeom prst="line">
              <a:avLst/>
            </a:prstGeom>
            <a:solidFill>
              <a:srgbClr val="3399FF"/>
            </a:solidFill>
            <a:ln w="9525" cap="flat" cmpd="sng" algn="ctr">
              <a:solidFill>
                <a:schemeClr val="tx1"/>
              </a:solidFill>
              <a:prstDash val="solid"/>
              <a:round/>
              <a:headEnd type="none" w="med" len="med"/>
              <a:tailEnd type="none" w="med" len="med"/>
            </a:ln>
            <a:effectLst/>
          </p:spPr>
        </p:cxnSp>
        <p:cxnSp>
          <p:nvCxnSpPr>
            <p:cNvPr id="197" name="Straight Connector 196"/>
            <p:cNvCxnSpPr/>
            <p:nvPr/>
          </p:nvCxnSpPr>
          <p:spPr bwMode="auto">
            <a:xfrm rot="16200000" flipH="1">
              <a:off x="6286500" y="2781300"/>
              <a:ext cx="228600" cy="304800"/>
            </a:xfrm>
            <a:prstGeom prst="line">
              <a:avLst/>
            </a:prstGeom>
            <a:solidFill>
              <a:srgbClr val="3399FF"/>
            </a:solidFill>
            <a:ln w="9525" cap="flat" cmpd="sng" algn="ctr">
              <a:solidFill>
                <a:schemeClr val="tx1"/>
              </a:solidFill>
              <a:prstDash val="solid"/>
              <a:round/>
              <a:headEnd type="none" w="med" len="med"/>
              <a:tailEnd type="none" w="med" len="med"/>
            </a:ln>
            <a:effectLst/>
          </p:spPr>
        </p:cxnSp>
        <p:sp>
          <p:nvSpPr>
            <p:cNvPr id="198" name="Oval 197"/>
            <p:cNvSpPr/>
            <p:nvPr/>
          </p:nvSpPr>
          <p:spPr bwMode="auto">
            <a:xfrm>
              <a:off x="7010400" y="3048000"/>
              <a:ext cx="304800" cy="304800"/>
            </a:xfrm>
            <a:prstGeom prst="ellipse">
              <a:avLst/>
            </a:prstGeom>
            <a:solidFill>
              <a:srgbClr val="996633"/>
            </a:solidFill>
            <a:ln w="12700" cap="flat" cmpd="sng" algn="ctr">
              <a:solidFill>
                <a:schemeClr val="tx1"/>
              </a:solidFill>
              <a:prstDash val="solid"/>
              <a:round/>
              <a:headEnd type="none" w="med" len="med"/>
              <a:tailEnd type="none" w="med" len="med"/>
            </a:ln>
            <a:effectLst/>
          </p:spPr>
          <p:txBody>
            <a:bodyPr vert="horz" wrap="square" lIns="116616" tIns="58308" rIns="116616" bIns="58308" numCol="1" rtlCol="0" anchor="t" anchorCtr="0" compatLnSpc="1">
              <a:prstTxWarp prst="textNoShape">
                <a:avLst/>
              </a:prstTxWarp>
            </a:bodyPr>
            <a:lstStyle/>
            <a:p>
              <a:pPr algn="ctr" defTabSz="1166036" fontAlgn="base">
                <a:spcBef>
                  <a:spcPct val="0"/>
                </a:spcBef>
                <a:spcAft>
                  <a:spcPct val="0"/>
                </a:spcAft>
              </a:pPr>
              <a:endParaRPr lang="en-US" sz="3061" b="1">
                <a:latin typeface="Arial Narrow" charset="0"/>
              </a:endParaRPr>
            </a:p>
          </p:txBody>
        </p:sp>
        <p:sp>
          <p:nvSpPr>
            <p:cNvPr id="199" name="Oval 198"/>
            <p:cNvSpPr/>
            <p:nvPr/>
          </p:nvSpPr>
          <p:spPr bwMode="auto">
            <a:xfrm>
              <a:off x="7620000" y="3048000"/>
              <a:ext cx="304800" cy="304800"/>
            </a:xfrm>
            <a:prstGeom prst="ellipse">
              <a:avLst/>
            </a:prstGeom>
            <a:solidFill>
              <a:schemeClr val="bg1">
                <a:lumMod val="75000"/>
              </a:schemeClr>
            </a:solidFill>
            <a:ln w="12700" cap="flat" cmpd="sng" algn="ctr">
              <a:solidFill>
                <a:schemeClr val="tx1"/>
              </a:solidFill>
              <a:prstDash val="solid"/>
              <a:round/>
              <a:headEnd type="none" w="med" len="med"/>
              <a:tailEnd type="none" w="med" len="med"/>
            </a:ln>
            <a:effectLst/>
          </p:spPr>
          <p:txBody>
            <a:bodyPr vert="horz" wrap="square" lIns="116616" tIns="58308" rIns="116616" bIns="58308" numCol="1" rtlCol="0" anchor="t" anchorCtr="0" compatLnSpc="1">
              <a:prstTxWarp prst="textNoShape">
                <a:avLst/>
              </a:prstTxWarp>
            </a:bodyPr>
            <a:lstStyle/>
            <a:p>
              <a:pPr algn="ctr" defTabSz="1166036" fontAlgn="base">
                <a:spcBef>
                  <a:spcPct val="0"/>
                </a:spcBef>
                <a:spcAft>
                  <a:spcPct val="0"/>
                </a:spcAft>
              </a:pPr>
              <a:endParaRPr lang="en-US" sz="3061" b="1">
                <a:latin typeface="Arial Narrow" charset="0"/>
              </a:endParaRPr>
            </a:p>
          </p:txBody>
        </p:sp>
        <p:cxnSp>
          <p:nvCxnSpPr>
            <p:cNvPr id="200" name="Straight Connector 199"/>
            <p:cNvCxnSpPr/>
            <p:nvPr/>
          </p:nvCxnSpPr>
          <p:spPr bwMode="auto">
            <a:xfrm rot="5400000">
              <a:off x="7200900" y="2781300"/>
              <a:ext cx="228600" cy="304800"/>
            </a:xfrm>
            <a:prstGeom prst="line">
              <a:avLst/>
            </a:prstGeom>
            <a:solidFill>
              <a:srgbClr val="3399FF"/>
            </a:solidFill>
            <a:ln w="9525" cap="flat" cmpd="sng" algn="ctr">
              <a:solidFill>
                <a:schemeClr val="tx1"/>
              </a:solidFill>
              <a:prstDash val="solid"/>
              <a:round/>
              <a:headEnd type="none" w="med" len="med"/>
              <a:tailEnd type="none" w="med" len="med"/>
            </a:ln>
            <a:effectLst/>
          </p:spPr>
        </p:cxnSp>
        <p:cxnSp>
          <p:nvCxnSpPr>
            <p:cNvPr id="201" name="Straight Connector 200"/>
            <p:cNvCxnSpPr/>
            <p:nvPr/>
          </p:nvCxnSpPr>
          <p:spPr bwMode="auto">
            <a:xfrm rot="16200000" flipH="1">
              <a:off x="7505700" y="2781300"/>
              <a:ext cx="228600" cy="304800"/>
            </a:xfrm>
            <a:prstGeom prst="line">
              <a:avLst/>
            </a:prstGeom>
            <a:solidFill>
              <a:srgbClr val="3399FF"/>
            </a:solidFill>
            <a:ln w="9525" cap="flat" cmpd="sng" algn="ctr">
              <a:solidFill>
                <a:schemeClr val="tx1"/>
              </a:solidFill>
              <a:prstDash val="solid"/>
              <a:round/>
              <a:headEnd type="none" w="med" len="med"/>
              <a:tailEnd type="none" w="med" len="med"/>
            </a:ln>
            <a:effectLst/>
          </p:spPr>
        </p:cxnSp>
      </p:grpSp>
      <p:grpSp>
        <p:nvGrpSpPr>
          <p:cNvPr id="6" name="Group 232"/>
          <p:cNvGrpSpPr/>
          <p:nvPr/>
        </p:nvGrpSpPr>
        <p:grpSpPr>
          <a:xfrm>
            <a:off x="7515861" y="2970735"/>
            <a:ext cx="1943100" cy="1943606"/>
            <a:chOff x="3581400" y="1828800"/>
            <a:chExt cx="1143000" cy="1524000"/>
          </a:xfrm>
        </p:grpSpPr>
        <p:sp>
          <p:nvSpPr>
            <p:cNvPr id="234" name="Rectangle 233"/>
            <p:cNvSpPr/>
            <p:nvPr/>
          </p:nvSpPr>
          <p:spPr bwMode="auto">
            <a:xfrm>
              <a:off x="4038600" y="1828800"/>
              <a:ext cx="228600" cy="1524000"/>
            </a:xfrm>
            <a:prstGeom prst="rect">
              <a:avLst/>
            </a:prstGeom>
            <a:solidFill>
              <a:srgbClr val="FFC000"/>
            </a:solidFill>
            <a:ln w="12700" cap="flat" cmpd="sng" algn="ctr">
              <a:solidFill>
                <a:schemeClr val="tx1"/>
              </a:solidFill>
              <a:prstDash val="solid"/>
              <a:round/>
              <a:headEnd type="none" w="med" len="med"/>
              <a:tailEnd type="none" w="med" len="med"/>
            </a:ln>
            <a:effectLst/>
          </p:spPr>
        </p:sp>
        <p:sp>
          <p:nvSpPr>
            <p:cNvPr id="235" name="Rectangle 234"/>
            <p:cNvSpPr/>
            <p:nvPr/>
          </p:nvSpPr>
          <p:spPr bwMode="auto">
            <a:xfrm>
              <a:off x="3581400" y="1905000"/>
              <a:ext cx="228600" cy="457200"/>
            </a:xfrm>
            <a:prstGeom prst="rect">
              <a:avLst/>
            </a:prstGeom>
            <a:solidFill>
              <a:srgbClr val="BFBFBF"/>
            </a:solidFill>
            <a:ln w="12700" cap="flat" cmpd="sng" algn="ctr">
              <a:solidFill>
                <a:schemeClr val="tx1"/>
              </a:solidFill>
              <a:prstDash val="solid"/>
              <a:round/>
              <a:headEnd type="none" w="med" len="med"/>
              <a:tailEnd type="none" w="med" len="med"/>
            </a:ln>
            <a:effectLst/>
          </p:spPr>
        </p:sp>
        <p:sp>
          <p:nvSpPr>
            <p:cNvPr id="236" name="Rectangle 235"/>
            <p:cNvSpPr/>
            <p:nvPr/>
          </p:nvSpPr>
          <p:spPr bwMode="auto">
            <a:xfrm>
              <a:off x="3581400" y="2514600"/>
              <a:ext cx="228600" cy="457200"/>
            </a:xfrm>
            <a:prstGeom prst="rect">
              <a:avLst/>
            </a:prstGeom>
            <a:solidFill>
              <a:srgbClr val="BFBFBF"/>
            </a:solidFill>
            <a:ln w="12700" cap="flat" cmpd="sng" algn="ctr">
              <a:solidFill>
                <a:schemeClr val="tx1"/>
              </a:solidFill>
              <a:prstDash val="solid"/>
              <a:round/>
              <a:headEnd type="none" w="med" len="med"/>
              <a:tailEnd type="none" w="med" len="med"/>
            </a:ln>
            <a:effectLst/>
          </p:spPr>
        </p:sp>
        <p:sp>
          <p:nvSpPr>
            <p:cNvPr id="237" name="Rectangle 236"/>
            <p:cNvSpPr/>
            <p:nvPr/>
          </p:nvSpPr>
          <p:spPr bwMode="auto">
            <a:xfrm>
              <a:off x="4495800" y="1905000"/>
              <a:ext cx="228600" cy="457200"/>
            </a:xfrm>
            <a:prstGeom prst="rect">
              <a:avLst/>
            </a:prstGeom>
            <a:solidFill>
              <a:srgbClr val="BFBFBF"/>
            </a:solidFill>
            <a:ln w="12700" cap="flat" cmpd="sng" algn="ctr">
              <a:solidFill>
                <a:schemeClr val="tx1"/>
              </a:solidFill>
              <a:prstDash val="solid"/>
              <a:round/>
              <a:headEnd type="none" w="med" len="med"/>
              <a:tailEnd type="none" w="med" len="med"/>
            </a:ln>
            <a:effectLst/>
          </p:spPr>
        </p:sp>
        <p:sp>
          <p:nvSpPr>
            <p:cNvPr id="238" name="Rectangle 237"/>
            <p:cNvSpPr/>
            <p:nvPr/>
          </p:nvSpPr>
          <p:spPr bwMode="auto">
            <a:xfrm>
              <a:off x="4495800" y="2514600"/>
              <a:ext cx="228600" cy="457200"/>
            </a:xfrm>
            <a:prstGeom prst="rect">
              <a:avLst/>
            </a:prstGeom>
            <a:solidFill>
              <a:srgbClr val="BFBFBF"/>
            </a:solidFill>
            <a:ln w="12700" cap="flat" cmpd="sng" algn="ctr">
              <a:solidFill>
                <a:schemeClr val="tx1"/>
              </a:solidFill>
              <a:prstDash val="solid"/>
              <a:round/>
              <a:headEnd type="none" w="med" len="med"/>
              <a:tailEnd type="none" w="med" len="med"/>
            </a:ln>
            <a:effectLst/>
          </p:spPr>
        </p:sp>
        <p:cxnSp>
          <p:nvCxnSpPr>
            <p:cNvPr id="239" name="Straight Arrow Connector 238"/>
            <p:cNvCxnSpPr/>
            <p:nvPr/>
          </p:nvCxnSpPr>
          <p:spPr>
            <a:xfrm>
              <a:off x="3810000" y="2128978"/>
              <a:ext cx="228600" cy="4622"/>
            </a:xfrm>
            <a:prstGeom prst="straightConnector1">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40" name="Straight Arrow Connector 239"/>
            <p:cNvCxnSpPr/>
            <p:nvPr/>
          </p:nvCxnSpPr>
          <p:spPr>
            <a:xfrm>
              <a:off x="3810000" y="2743200"/>
              <a:ext cx="228600" cy="4622"/>
            </a:xfrm>
            <a:prstGeom prst="straightConnector1">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41" name="Straight Arrow Connector 240"/>
            <p:cNvCxnSpPr/>
            <p:nvPr/>
          </p:nvCxnSpPr>
          <p:spPr>
            <a:xfrm>
              <a:off x="4267200" y="2133600"/>
              <a:ext cx="228600" cy="4622"/>
            </a:xfrm>
            <a:prstGeom prst="straightConnector1">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42" name="Straight Arrow Connector 241"/>
            <p:cNvCxnSpPr/>
            <p:nvPr/>
          </p:nvCxnSpPr>
          <p:spPr>
            <a:xfrm>
              <a:off x="4267200" y="2743200"/>
              <a:ext cx="228600" cy="4622"/>
            </a:xfrm>
            <a:prstGeom prst="straightConnector1">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7" name="Group 242"/>
          <p:cNvGrpSpPr/>
          <p:nvPr/>
        </p:nvGrpSpPr>
        <p:grpSpPr>
          <a:xfrm>
            <a:off x="6997700" y="5983325"/>
            <a:ext cx="2849880" cy="2040786"/>
            <a:chOff x="3505200" y="4267200"/>
            <a:chExt cx="1676400" cy="1600200"/>
          </a:xfrm>
        </p:grpSpPr>
        <p:sp>
          <p:nvSpPr>
            <p:cNvPr id="244" name="Oval 243"/>
            <p:cNvSpPr/>
            <p:nvPr/>
          </p:nvSpPr>
          <p:spPr bwMode="auto">
            <a:xfrm>
              <a:off x="4191000" y="4267200"/>
              <a:ext cx="228600" cy="228600"/>
            </a:xfrm>
            <a:prstGeom prst="ellipse">
              <a:avLst/>
            </a:prstGeom>
            <a:solidFill>
              <a:srgbClr val="FF0000"/>
            </a:solidFill>
            <a:ln w="12700" cap="flat" cmpd="sng" algn="ctr">
              <a:solidFill>
                <a:schemeClr val="tx1"/>
              </a:solidFill>
              <a:prstDash val="solid"/>
              <a:round/>
              <a:headEnd type="none" w="med" len="med"/>
              <a:tailEnd type="none" w="med" len="med"/>
            </a:ln>
            <a:effectLst/>
          </p:spPr>
          <p:txBody>
            <a:bodyPr vert="horz" wrap="square" lIns="116616" tIns="58308" rIns="116616" bIns="58308" numCol="1" rtlCol="0" anchor="t" anchorCtr="0" compatLnSpc="1">
              <a:prstTxWarp prst="textNoShape">
                <a:avLst/>
              </a:prstTxWarp>
            </a:bodyPr>
            <a:lstStyle/>
            <a:p>
              <a:pPr algn="ctr" defTabSz="1166036" fontAlgn="base">
                <a:spcBef>
                  <a:spcPct val="0"/>
                </a:spcBef>
                <a:spcAft>
                  <a:spcPct val="0"/>
                </a:spcAft>
              </a:pPr>
              <a:endParaRPr lang="en-US" sz="3061" b="1">
                <a:latin typeface="Arial Narrow" charset="0"/>
              </a:endParaRPr>
            </a:p>
          </p:txBody>
        </p:sp>
        <p:sp>
          <p:nvSpPr>
            <p:cNvPr id="245" name="Oval 244"/>
            <p:cNvSpPr/>
            <p:nvPr/>
          </p:nvSpPr>
          <p:spPr bwMode="auto">
            <a:xfrm>
              <a:off x="3886200" y="4724400"/>
              <a:ext cx="228600" cy="228600"/>
            </a:xfrm>
            <a:prstGeom prst="ellipse">
              <a:avLst/>
            </a:prstGeom>
            <a:solidFill>
              <a:srgbClr val="996633"/>
            </a:solidFill>
            <a:ln w="12700" cap="flat" cmpd="sng" algn="ctr">
              <a:solidFill>
                <a:schemeClr val="tx1"/>
              </a:solidFill>
              <a:prstDash val="solid"/>
              <a:round/>
              <a:headEnd type="none" w="med" len="med"/>
              <a:tailEnd type="none" w="med" len="med"/>
            </a:ln>
            <a:effectLst/>
          </p:spPr>
          <p:txBody>
            <a:bodyPr vert="horz" wrap="square" lIns="116616" tIns="58308" rIns="116616" bIns="58308" numCol="1" rtlCol="0" anchor="t" anchorCtr="0" compatLnSpc="1">
              <a:prstTxWarp prst="textNoShape">
                <a:avLst/>
              </a:prstTxWarp>
            </a:bodyPr>
            <a:lstStyle/>
            <a:p>
              <a:pPr algn="ctr" defTabSz="1166036" fontAlgn="base">
                <a:spcBef>
                  <a:spcPct val="0"/>
                </a:spcBef>
                <a:spcAft>
                  <a:spcPct val="0"/>
                </a:spcAft>
              </a:pPr>
              <a:endParaRPr lang="en-US" sz="3061" b="1">
                <a:latin typeface="Arial Narrow" charset="0"/>
              </a:endParaRPr>
            </a:p>
          </p:txBody>
        </p:sp>
        <p:sp>
          <p:nvSpPr>
            <p:cNvPr id="246" name="Oval 245"/>
            <p:cNvSpPr/>
            <p:nvPr/>
          </p:nvSpPr>
          <p:spPr bwMode="auto">
            <a:xfrm>
              <a:off x="4191000" y="5105400"/>
              <a:ext cx="228600" cy="228600"/>
            </a:xfrm>
            <a:prstGeom prst="ellipse">
              <a:avLst/>
            </a:prstGeom>
            <a:solidFill>
              <a:srgbClr val="7030A0"/>
            </a:solidFill>
            <a:ln w="12700" cap="flat" cmpd="sng" algn="ctr">
              <a:solidFill>
                <a:schemeClr val="tx1"/>
              </a:solidFill>
              <a:prstDash val="solid"/>
              <a:round/>
              <a:headEnd type="none" w="med" len="med"/>
              <a:tailEnd type="none" w="med" len="med"/>
            </a:ln>
            <a:effectLst/>
          </p:spPr>
          <p:txBody>
            <a:bodyPr vert="horz" wrap="square" lIns="116616" tIns="58308" rIns="116616" bIns="58308" numCol="1" rtlCol="0" anchor="t" anchorCtr="0" compatLnSpc="1">
              <a:prstTxWarp prst="textNoShape">
                <a:avLst/>
              </a:prstTxWarp>
            </a:bodyPr>
            <a:lstStyle/>
            <a:p>
              <a:pPr algn="ctr" defTabSz="1166036" fontAlgn="base">
                <a:spcBef>
                  <a:spcPct val="0"/>
                </a:spcBef>
                <a:spcAft>
                  <a:spcPct val="0"/>
                </a:spcAft>
              </a:pPr>
              <a:endParaRPr lang="en-US" sz="3061" b="1">
                <a:latin typeface="Arial Narrow" charset="0"/>
              </a:endParaRPr>
            </a:p>
          </p:txBody>
        </p:sp>
        <p:sp>
          <p:nvSpPr>
            <p:cNvPr id="247" name="Oval 246"/>
            <p:cNvSpPr/>
            <p:nvPr/>
          </p:nvSpPr>
          <p:spPr bwMode="auto">
            <a:xfrm>
              <a:off x="4724400" y="4495800"/>
              <a:ext cx="228600" cy="228600"/>
            </a:xfrm>
            <a:prstGeom prst="ellipse">
              <a:avLst/>
            </a:prstGeom>
            <a:solidFill>
              <a:schemeClr val="accent6"/>
            </a:solidFill>
            <a:ln w="12700" cap="flat" cmpd="sng" algn="ctr">
              <a:solidFill>
                <a:schemeClr val="tx1"/>
              </a:solidFill>
              <a:prstDash val="solid"/>
              <a:round/>
              <a:headEnd type="none" w="med" len="med"/>
              <a:tailEnd type="none" w="med" len="med"/>
            </a:ln>
            <a:effectLst/>
          </p:spPr>
          <p:txBody>
            <a:bodyPr vert="horz" wrap="square" lIns="116616" tIns="58308" rIns="116616" bIns="58308" numCol="1" rtlCol="0" anchor="t" anchorCtr="0" compatLnSpc="1">
              <a:prstTxWarp prst="textNoShape">
                <a:avLst/>
              </a:prstTxWarp>
            </a:bodyPr>
            <a:lstStyle/>
            <a:p>
              <a:pPr algn="ctr" defTabSz="1166036" fontAlgn="base">
                <a:spcBef>
                  <a:spcPct val="0"/>
                </a:spcBef>
                <a:spcAft>
                  <a:spcPct val="0"/>
                </a:spcAft>
              </a:pPr>
              <a:endParaRPr lang="en-US" sz="3061" b="1">
                <a:latin typeface="Arial Narrow" charset="0"/>
              </a:endParaRPr>
            </a:p>
          </p:txBody>
        </p:sp>
        <p:sp>
          <p:nvSpPr>
            <p:cNvPr id="248" name="Oval 247"/>
            <p:cNvSpPr/>
            <p:nvPr/>
          </p:nvSpPr>
          <p:spPr bwMode="auto">
            <a:xfrm>
              <a:off x="4648200" y="4953000"/>
              <a:ext cx="228600" cy="228600"/>
            </a:xfrm>
            <a:prstGeom prst="ellipse">
              <a:avLst/>
            </a:prstGeom>
            <a:solidFill>
              <a:srgbClr val="FFFF00"/>
            </a:solidFill>
            <a:ln w="12700" cap="flat" cmpd="sng" algn="ctr">
              <a:solidFill>
                <a:schemeClr val="tx1"/>
              </a:solidFill>
              <a:prstDash val="solid"/>
              <a:round/>
              <a:headEnd type="none" w="med" len="med"/>
              <a:tailEnd type="none" w="med" len="med"/>
            </a:ln>
            <a:effectLst/>
          </p:spPr>
          <p:txBody>
            <a:bodyPr vert="horz" wrap="square" lIns="116616" tIns="58308" rIns="116616" bIns="58308" numCol="1" rtlCol="0" anchor="t" anchorCtr="0" compatLnSpc="1">
              <a:prstTxWarp prst="textNoShape">
                <a:avLst/>
              </a:prstTxWarp>
            </a:bodyPr>
            <a:lstStyle/>
            <a:p>
              <a:pPr algn="ctr" defTabSz="1166036" fontAlgn="base">
                <a:spcBef>
                  <a:spcPct val="0"/>
                </a:spcBef>
                <a:spcAft>
                  <a:spcPct val="0"/>
                </a:spcAft>
              </a:pPr>
              <a:endParaRPr lang="en-US" sz="3061" b="1">
                <a:latin typeface="Arial Narrow" charset="0"/>
              </a:endParaRPr>
            </a:p>
          </p:txBody>
        </p:sp>
        <p:sp>
          <p:nvSpPr>
            <p:cNvPr id="249" name="Oval 248"/>
            <p:cNvSpPr/>
            <p:nvPr/>
          </p:nvSpPr>
          <p:spPr bwMode="auto">
            <a:xfrm>
              <a:off x="3581400" y="5257800"/>
              <a:ext cx="228600" cy="228600"/>
            </a:xfrm>
            <a:prstGeom prst="ellipse">
              <a:avLst/>
            </a:prstGeom>
            <a:solidFill>
              <a:srgbClr val="92D050"/>
            </a:solidFill>
            <a:ln w="12700" cap="flat" cmpd="sng" algn="ctr">
              <a:solidFill>
                <a:schemeClr val="tx1"/>
              </a:solidFill>
              <a:prstDash val="solid"/>
              <a:round/>
              <a:headEnd type="none" w="med" len="med"/>
              <a:tailEnd type="none" w="med" len="med"/>
            </a:ln>
            <a:effectLst/>
          </p:spPr>
          <p:txBody>
            <a:bodyPr vert="horz" wrap="square" lIns="116616" tIns="58308" rIns="116616" bIns="58308" numCol="1" rtlCol="0" anchor="t" anchorCtr="0" compatLnSpc="1">
              <a:prstTxWarp prst="textNoShape">
                <a:avLst/>
              </a:prstTxWarp>
            </a:bodyPr>
            <a:lstStyle/>
            <a:p>
              <a:pPr algn="ctr" defTabSz="1166036" fontAlgn="base">
                <a:spcBef>
                  <a:spcPct val="0"/>
                </a:spcBef>
                <a:spcAft>
                  <a:spcPct val="0"/>
                </a:spcAft>
              </a:pPr>
              <a:endParaRPr lang="en-US" sz="3061" b="1">
                <a:latin typeface="Arial Narrow" charset="0"/>
              </a:endParaRPr>
            </a:p>
          </p:txBody>
        </p:sp>
        <p:sp>
          <p:nvSpPr>
            <p:cNvPr id="250" name="Oval 249"/>
            <p:cNvSpPr/>
            <p:nvPr/>
          </p:nvSpPr>
          <p:spPr bwMode="auto">
            <a:xfrm>
              <a:off x="4419600" y="5486400"/>
              <a:ext cx="228600" cy="228600"/>
            </a:xfrm>
            <a:prstGeom prst="ellipse">
              <a:avLst/>
            </a:prstGeom>
            <a:solidFill>
              <a:srgbClr val="0070C0"/>
            </a:solidFill>
            <a:ln w="12700" cap="flat" cmpd="sng" algn="ctr">
              <a:solidFill>
                <a:schemeClr val="tx1"/>
              </a:solidFill>
              <a:prstDash val="solid"/>
              <a:round/>
              <a:headEnd type="none" w="med" len="med"/>
              <a:tailEnd type="none" w="med" len="med"/>
            </a:ln>
            <a:effectLst/>
          </p:spPr>
          <p:txBody>
            <a:bodyPr vert="horz" wrap="square" lIns="116616" tIns="58308" rIns="116616" bIns="58308" numCol="1" rtlCol="0" anchor="t" anchorCtr="0" compatLnSpc="1">
              <a:prstTxWarp prst="textNoShape">
                <a:avLst/>
              </a:prstTxWarp>
            </a:bodyPr>
            <a:lstStyle/>
            <a:p>
              <a:pPr algn="ctr" defTabSz="1166036" fontAlgn="base">
                <a:spcBef>
                  <a:spcPct val="0"/>
                </a:spcBef>
                <a:spcAft>
                  <a:spcPct val="0"/>
                </a:spcAft>
              </a:pPr>
              <a:endParaRPr lang="en-US" sz="3061" b="1">
                <a:latin typeface="Arial Narrow" charset="0"/>
              </a:endParaRPr>
            </a:p>
          </p:txBody>
        </p:sp>
        <p:sp>
          <p:nvSpPr>
            <p:cNvPr id="251" name="Oval 250"/>
            <p:cNvSpPr/>
            <p:nvPr/>
          </p:nvSpPr>
          <p:spPr bwMode="auto">
            <a:xfrm>
              <a:off x="3505200" y="4572000"/>
              <a:ext cx="228600" cy="228600"/>
            </a:xfrm>
            <a:prstGeom prst="ellipse">
              <a:avLst/>
            </a:prstGeom>
            <a:solidFill>
              <a:schemeClr val="bg1">
                <a:lumMod val="65000"/>
              </a:schemeClr>
            </a:solidFill>
            <a:ln w="12700" cap="flat" cmpd="sng" algn="ctr">
              <a:solidFill>
                <a:schemeClr val="tx1"/>
              </a:solidFill>
              <a:prstDash val="solid"/>
              <a:round/>
              <a:headEnd type="none" w="med" len="med"/>
              <a:tailEnd type="none" w="med" len="med"/>
            </a:ln>
            <a:effectLst/>
          </p:spPr>
          <p:txBody>
            <a:bodyPr vert="horz" wrap="square" lIns="116616" tIns="58308" rIns="116616" bIns="58308" numCol="1" rtlCol="0" anchor="t" anchorCtr="0" compatLnSpc="1">
              <a:prstTxWarp prst="textNoShape">
                <a:avLst/>
              </a:prstTxWarp>
            </a:bodyPr>
            <a:lstStyle/>
            <a:p>
              <a:pPr algn="ctr" defTabSz="1166036" fontAlgn="base">
                <a:spcBef>
                  <a:spcPct val="0"/>
                </a:spcBef>
                <a:spcAft>
                  <a:spcPct val="0"/>
                </a:spcAft>
              </a:pPr>
              <a:endParaRPr lang="en-US" sz="3061" b="1">
                <a:latin typeface="Arial Narrow" charset="0"/>
              </a:endParaRPr>
            </a:p>
          </p:txBody>
        </p:sp>
        <p:sp>
          <p:nvSpPr>
            <p:cNvPr id="252" name="Oval 251"/>
            <p:cNvSpPr/>
            <p:nvPr/>
          </p:nvSpPr>
          <p:spPr bwMode="auto">
            <a:xfrm>
              <a:off x="4953000" y="5334000"/>
              <a:ext cx="228600" cy="228600"/>
            </a:xfrm>
            <a:prstGeom prst="ellipse">
              <a:avLst/>
            </a:prstGeom>
            <a:solidFill>
              <a:srgbClr val="00B050"/>
            </a:solidFill>
            <a:ln w="12700" cap="flat" cmpd="sng" algn="ctr">
              <a:solidFill>
                <a:schemeClr val="tx1"/>
              </a:solidFill>
              <a:prstDash val="solid"/>
              <a:round/>
              <a:headEnd type="none" w="med" len="med"/>
              <a:tailEnd type="none" w="med" len="med"/>
            </a:ln>
            <a:effectLst/>
          </p:spPr>
          <p:txBody>
            <a:bodyPr vert="horz" wrap="square" lIns="116616" tIns="58308" rIns="116616" bIns="58308" numCol="1" rtlCol="0" anchor="t" anchorCtr="0" compatLnSpc="1">
              <a:prstTxWarp prst="textNoShape">
                <a:avLst/>
              </a:prstTxWarp>
            </a:bodyPr>
            <a:lstStyle/>
            <a:p>
              <a:pPr algn="ctr" defTabSz="1166036" fontAlgn="base">
                <a:spcBef>
                  <a:spcPct val="0"/>
                </a:spcBef>
                <a:spcAft>
                  <a:spcPct val="0"/>
                </a:spcAft>
              </a:pPr>
              <a:endParaRPr lang="en-US" sz="3061" b="1">
                <a:latin typeface="Arial Narrow" charset="0"/>
              </a:endParaRPr>
            </a:p>
          </p:txBody>
        </p:sp>
        <p:cxnSp>
          <p:nvCxnSpPr>
            <p:cNvPr id="253" name="Straight Arrow Connector 252"/>
            <p:cNvCxnSpPr>
              <a:stCxn id="251" idx="7"/>
              <a:endCxn id="244" idx="2"/>
            </p:cNvCxnSpPr>
            <p:nvPr/>
          </p:nvCxnSpPr>
          <p:spPr>
            <a:xfrm flipV="1">
              <a:off x="3700322" y="4381500"/>
              <a:ext cx="490678" cy="223978"/>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54" name="Straight Arrow Connector 253"/>
            <p:cNvCxnSpPr>
              <a:stCxn id="244" idx="6"/>
              <a:endCxn id="247" idx="2"/>
            </p:cNvCxnSpPr>
            <p:nvPr/>
          </p:nvCxnSpPr>
          <p:spPr>
            <a:xfrm>
              <a:off x="4419600" y="4381500"/>
              <a:ext cx="304800" cy="228600"/>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55" name="Straight Arrow Connector 254"/>
            <p:cNvCxnSpPr>
              <a:stCxn id="247" idx="3"/>
              <a:endCxn id="248" idx="0"/>
            </p:cNvCxnSpPr>
            <p:nvPr/>
          </p:nvCxnSpPr>
          <p:spPr>
            <a:xfrm>
              <a:off x="4757878" y="4690922"/>
              <a:ext cx="4622" cy="262078"/>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56" name="Straight Arrow Connector 255"/>
            <p:cNvCxnSpPr>
              <a:stCxn id="248" idx="5"/>
              <a:endCxn id="252" idx="1"/>
            </p:cNvCxnSpPr>
            <p:nvPr/>
          </p:nvCxnSpPr>
          <p:spPr>
            <a:xfrm>
              <a:off x="4843322" y="5148122"/>
              <a:ext cx="143156" cy="219356"/>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57" name="Straight Arrow Connector 256"/>
            <p:cNvCxnSpPr>
              <a:stCxn id="252" idx="2"/>
              <a:endCxn id="250" idx="6"/>
            </p:cNvCxnSpPr>
            <p:nvPr/>
          </p:nvCxnSpPr>
          <p:spPr>
            <a:xfrm flipH="1">
              <a:off x="4648200" y="5448300"/>
              <a:ext cx="304800" cy="152400"/>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58" name="Straight Arrow Connector 257"/>
            <p:cNvCxnSpPr>
              <a:endCxn id="246" idx="5"/>
            </p:cNvCxnSpPr>
            <p:nvPr/>
          </p:nvCxnSpPr>
          <p:spPr>
            <a:xfrm flipH="1" flipV="1">
              <a:off x="4386122" y="5300522"/>
              <a:ext cx="105056" cy="219356"/>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59" name="Straight Arrow Connector 258"/>
            <p:cNvCxnSpPr>
              <a:stCxn id="246" idx="1"/>
              <a:endCxn id="245" idx="5"/>
            </p:cNvCxnSpPr>
            <p:nvPr/>
          </p:nvCxnSpPr>
          <p:spPr>
            <a:xfrm flipH="1" flipV="1">
              <a:off x="4081322" y="4919522"/>
              <a:ext cx="143156" cy="219356"/>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60" name="Straight Arrow Connector 259"/>
            <p:cNvCxnSpPr>
              <a:stCxn id="245" idx="3"/>
              <a:endCxn id="249" idx="7"/>
            </p:cNvCxnSpPr>
            <p:nvPr/>
          </p:nvCxnSpPr>
          <p:spPr>
            <a:xfrm flipH="1">
              <a:off x="3776522" y="4919522"/>
              <a:ext cx="143156" cy="371756"/>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61" name="Straight Arrow Connector 260"/>
            <p:cNvCxnSpPr>
              <a:stCxn id="251" idx="4"/>
              <a:endCxn id="249" idx="1"/>
            </p:cNvCxnSpPr>
            <p:nvPr/>
          </p:nvCxnSpPr>
          <p:spPr>
            <a:xfrm flipH="1">
              <a:off x="3614878" y="4800600"/>
              <a:ext cx="4622" cy="490678"/>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62" name="Straight Arrow Connector 261"/>
            <p:cNvCxnSpPr>
              <a:stCxn id="246" idx="7"/>
              <a:endCxn id="244" idx="4"/>
            </p:cNvCxnSpPr>
            <p:nvPr/>
          </p:nvCxnSpPr>
          <p:spPr>
            <a:xfrm flipH="1" flipV="1">
              <a:off x="4305300" y="4495800"/>
              <a:ext cx="80822" cy="643078"/>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63" name="Straight Arrow Connector 262"/>
            <p:cNvCxnSpPr>
              <a:stCxn id="246" idx="3"/>
              <a:endCxn id="249" idx="6"/>
            </p:cNvCxnSpPr>
            <p:nvPr/>
          </p:nvCxnSpPr>
          <p:spPr>
            <a:xfrm flipH="1">
              <a:off x="3810000" y="5300522"/>
              <a:ext cx="414478" cy="71578"/>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264" name="Oval 263"/>
            <p:cNvSpPr/>
            <p:nvPr/>
          </p:nvSpPr>
          <p:spPr bwMode="auto">
            <a:xfrm>
              <a:off x="3962400" y="5638800"/>
              <a:ext cx="228600" cy="228600"/>
            </a:xfrm>
            <a:prstGeom prst="ellipse">
              <a:avLst/>
            </a:prstGeom>
            <a:solidFill>
              <a:srgbClr val="336699"/>
            </a:solidFill>
            <a:ln w="12700" cap="flat" cmpd="sng" algn="ctr">
              <a:solidFill>
                <a:schemeClr val="tx1"/>
              </a:solidFill>
              <a:prstDash val="solid"/>
              <a:round/>
              <a:headEnd type="none" w="med" len="med"/>
              <a:tailEnd type="none" w="med" len="med"/>
            </a:ln>
            <a:effectLst/>
          </p:spPr>
          <p:txBody>
            <a:bodyPr vert="horz" wrap="square" lIns="116616" tIns="58308" rIns="116616" bIns="58308" numCol="1" rtlCol="0" anchor="t" anchorCtr="0" compatLnSpc="1">
              <a:prstTxWarp prst="textNoShape">
                <a:avLst/>
              </a:prstTxWarp>
            </a:bodyPr>
            <a:lstStyle/>
            <a:p>
              <a:pPr algn="ctr" defTabSz="1166036" fontAlgn="base">
                <a:spcBef>
                  <a:spcPct val="0"/>
                </a:spcBef>
                <a:spcAft>
                  <a:spcPct val="0"/>
                </a:spcAft>
              </a:pPr>
              <a:endParaRPr lang="en-US" sz="3061" b="1">
                <a:latin typeface="Arial Narrow" charset="0"/>
              </a:endParaRPr>
            </a:p>
          </p:txBody>
        </p:sp>
        <p:cxnSp>
          <p:nvCxnSpPr>
            <p:cNvPr id="265" name="Straight Arrow Connector 264"/>
            <p:cNvCxnSpPr>
              <a:stCxn id="264" idx="7"/>
              <a:endCxn id="246" idx="4"/>
            </p:cNvCxnSpPr>
            <p:nvPr/>
          </p:nvCxnSpPr>
          <p:spPr>
            <a:xfrm flipV="1">
              <a:off x="4157522" y="5334000"/>
              <a:ext cx="147778" cy="338278"/>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grpSp>
        <p:nvGrpSpPr>
          <p:cNvPr id="8" name="Group 265"/>
          <p:cNvGrpSpPr/>
          <p:nvPr/>
        </p:nvGrpSpPr>
        <p:grpSpPr>
          <a:xfrm>
            <a:off x="12567920" y="3067915"/>
            <a:ext cx="2720340" cy="1846426"/>
            <a:chOff x="6781800" y="2057400"/>
            <a:chExt cx="1600200" cy="1447800"/>
          </a:xfrm>
        </p:grpSpPr>
        <p:sp>
          <p:nvSpPr>
            <p:cNvPr id="267" name="Rectangle 266"/>
            <p:cNvSpPr/>
            <p:nvPr/>
          </p:nvSpPr>
          <p:spPr>
            <a:xfrm>
              <a:off x="6781800" y="2057400"/>
              <a:ext cx="381000" cy="304800"/>
            </a:xfrm>
            <a:prstGeom prst="rect">
              <a:avLst/>
            </a:prstGeom>
            <a:solidFill>
              <a:schemeClr val="accent2">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1662" tIns="11662" rIns="11662" rtlCol="0" anchor="ctr"/>
            <a:lstStyle/>
            <a:p>
              <a:pPr algn="ctr"/>
              <a:r>
                <a:rPr lang="en-US" sz="2040" dirty="0">
                  <a:solidFill>
                    <a:schemeClr val="tx1"/>
                  </a:solidFill>
                  <a:latin typeface="Arial Narrow" pitchFamily="34" charset="0"/>
                </a:rPr>
                <a:t>key</a:t>
              </a:r>
            </a:p>
          </p:txBody>
        </p:sp>
        <p:sp>
          <p:nvSpPr>
            <p:cNvPr id="268" name="Oval 267"/>
            <p:cNvSpPr/>
            <p:nvPr/>
          </p:nvSpPr>
          <p:spPr>
            <a:xfrm>
              <a:off x="7467600" y="2057400"/>
              <a:ext cx="914400" cy="30480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40" dirty="0">
                  <a:latin typeface="Arial Narrow" pitchFamily="34" charset="0"/>
                </a:rPr>
                <a:t>value</a:t>
              </a:r>
            </a:p>
          </p:txBody>
        </p:sp>
        <p:cxnSp>
          <p:nvCxnSpPr>
            <p:cNvPr id="269" name="Straight Arrow Connector 268"/>
            <p:cNvCxnSpPr>
              <a:stCxn id="267" idx="3"/>
              <a:endCxn id="268" idx="2"/>
            </p:cNvCxnSpPr>
            <p:nvPr/>
          </p:nvCxnSpPr>
          <p:spPr>
            <a:xfrm>
              <a:off x="7162800" y="2209800"/>
              <a:ext cx="304800" cy="0"/>
            </a:xfrm>
            <a:prstGeom prst="straightConnector1">
              <a:avLst/>
            </a:prstGeom>
            <a:ln w="1905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9" name="Group 155"/>
            <p:cNvGrpSpPr/>
            <p:nvPr/>
          </p:nvGrpSpPr>
          <p:grpSpPr>
            <a:xfrm>
              <a:off x="6781800" y="2438400"/>
              <a:ext cx="1600200" cy="304800"/>
              <a:chOff x="6781800" y="2438400"/>
              <a:chExt cx="1600200" cy="304800"/>
            </a:xfrm>
          </p:grpSpPr>
          <p:sp>
            <p:nvSpPr>
              <p:cNvPr id="279" name="Rectangle 278"/>
              <p:cNvSpPr/>
              <p:nvPr/>
            </p:nvSpPr>
            <p:spPr>
              <a:xfrm>
                <a:off x="6781800" y="2438400"/>
                <a:ext cx="381000" cy="304800"/>
              </a:xfrm>
              <a:prstGeom prst="rect">
                <a:avLst/>
              </a:prstGeom>
              <a:solidFill>
                <a:srgbClr val="FFCC66"/>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1662" tIns="11662" rIns="11662" rtlCol="0" anchor="ctr"/>
              <a:lstStyle/>
              <a:p>
                <a:pPr algn="ctr"/>
                <a:r>
                  <a:rPr lang="en-US" sz="2040" dirty="0">
                    <a:solidFill>
                      <a:schemeClr val="tx1"/>
                    </a:solidFill>
                    <a:latin typeface="Arial Narrow" pitchFamily="34" charset="0"/>
                  </a:rPr>
                  <a:t>key</a:t>
                </a:r>
              </a:p>
            </p:txBody>
          </p:sp>
          <p:sp>
            <p:nvSpPr>
              <p:cNvPr id="280" name="Oval 279"/>
              <p:cNvSpPr/>
              <p:nvPr/>
            </p:nvSpPr>
            <p:spPr>
              <a:xfrm>
                <a:off x="7467600" y="2438400"/>
                <a:ext cx="914400" cy="30480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40" dirty="0">
                    <a:latin typeface="Arial Narrow" pitchFamily="34" charset="0"/>
                  </a:rPr>
                  <a:t>value</a:t>
                </a:r>
              </a:p>
            </p:txBody>
          </p:sp>
          <p:cxnSp>
            <p:nvCxnSpPr>
              <p:cNvPr id="281" name="Straight Arrow Connector 280"/>
              <p:cNvCxnSpPr>
                <a:stCxn id="279" idx="3"/>
                <a:endCxn id="280" idx="2"/>
              </p:cNvCxnSpPr>
              <p:nvPr/>
            </p:nvCxnSpPr>
            <p:spPr>
              <a:xfrm>
                <a:off x="7162800" y="2590800"/>
                <a:ext cx="304800" cy="0"/>
              </a:xfrm>
              <a:prstGeom prst="straightConnector1">
                <a:avLst/>
              </a:prstGeom>
              <a:ln w="1905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grpSp>
          <p:nvGrpSpPr>
            <p:cNvPr id="10" name="Group 156"/>
            <p:cNvGrpSpPr/>
            <p:nvPr/>
          </p:nvGrpSpPr>
          <p:grpSpPr>
            <a:xfrm>
              <a:off x="6781800" y="2819400"/>
              <a:ext cx="1600200" cy="304800"/>
              <a:chOff x="6781800" y="2438400"/>
              <a:chExt cx="1600200" cy="304800"/>
            </a:xfrm>
          </p:grpSpPr>
          <p:sp>
            <p:nvSpPr>
              <p:cNvPr id="276" name="Rectangle 275"/>
              <p:cNvSpPr/>
              <p:nvPr/>
            </p:nvSpPr>
            <p:spPr>
              <a:xfrm>
                <a:off x="6781800" y="2438400"/>
                <a:ext cx="381000" cy="304800"/>
              </a:xfrm>
              <a:prstGeom prst="rect">
                <a:avLst/>
              </a:prstGeom>
              <a:solidFill>
                <a:srgbClr val="FFFF00"/>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1662" tIns="11662" rIns="11662" rtlCol="0" anchor="ctr"/>
              <a:lstStyle/>
              <a:p>
                <a:pPr algn="ctr"/>
                <a:r>
                  <a:rPr lang="en-US" sz="2040" dirty="0">
                    <a:solidFill>
                      <a:schemeClr val="tx1"/>
                    </a:solidFill>
                    <a:latin typeface="Arial Narrow" pitchFamily="34" charset="0"/>
                  </a:rPr>
                  <a:t>key</a:t>
                </a:r>
              </a:p>
            </p:txBody>
          </p:sp>
          <p:sp>
            <p:nvSpPr>
              <p:cNvPr id="277" name="Oval 276"/>
              <p:cNvSpPr/>
              <p:nvPr/>
            </p:nvSpPr>
            <p:spPr>
              <a:xfrm>
                <a:off x="7467600" y="2438400"/>
                <a:ext cx="914400" cy="30480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40" dirty="0">
                    <a:latin typeface="Arial Narrow" pitchFamily="34" charset="0"/>
                  </a:rPr>
                  <a:t>value</a:t>
                </a:r>
              </a:p>
            </p:txBody>
          </p:sp>
          <p:cxnSp>
            <p:nvCxnSpPr>
              <p:cNvPr id="278" name="Straight Arrow Connector 277"/>
              <p:cNvCxnSpPr>
                <a:stCxn id="276" idx="3"/>
                <a:endCxn id="277" idx="2"/>
              </p:cNvCxnSpPr>
              <p:nvPr/>
            </p:nvCxnSpPr>
            <p:spPr>
              <a:xfrm>
                <a:off x="7162800" y="2590800"/>
                <a:ext cx="304800" cy="0"/>
              </a:xfrm>
              <a:prstGeom prst="straightConnector1">
                <a:avLst/>
              </a:prstGeom>
              <a:ln w="1905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grpSp>
          <p:nvGrpSpPr>
            <p:cNvPr id="11" name="Group 169"/>
            <p:cNvGrpSpPr/>
            <p:nvPr/>
          </p:nvGrpSpPr>
          <p:grpSpPr>
            <a:xfrm>
              <a:off x="6781800" y="3200400"/>
              <a:ext cx="1600200" cy="304800"/>
              <a:chOff x="6781800" y="2438400"/>
              <a:chExt cx="1600200" cy="304800"/>
            </a:xfrm>
          </p:grpSpPr>
          <p:sp>
            <p:nvSpPr>
              <p:cNvPr id="273" name="Rectangle 272"/>
              <p:cNvSpPr/>
              <p:nvPr/>
            </p:nvSpPr>
            <p:spPr>
              <a:xfrm>
                <a:off x="6781800" y="2438400"/>
                <a:ext cx="381000" cy="304800"/>
              </a:xfrm>
              <a:prstGeom prst="rect">
                <a:avLst/>
              </a:prstGeom>
              <a:solidFill>
                <a:schemeClr val="accent3">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1662" tIns="11662" rIns="11662" rtlCol="0" anchor="ctr"/>
              <a:lstStyle/>
              <a:p>
                <a:pPr algn="ctr"/>
                <a:r>
                  <a:rPr lang="en-US" sz="2040" dirty="0">
                    <a:solidFill>
                      <a:schemeClr val="tx1"/>
                    </a:solidFill>
                    <a:latin typeface="Arial Narrow" pitchFamily="34" charset="0"/>
                  </a:rPr>
                  <a:t>key</a:t>
                </a:r>
              </a:p>
            </p:txBody>
          </p:sp>
          <p:sp>
            <p:nvSpPr>
              <p:cNvPr id="274" name="Oval 273"/>
              <p:cNvSpPr/>
              <p:nvPr/>
            </p:nvSpPr>
            <p:spPr>
              <a:xfrm>
                <a:off x="7467600" y="2438400"/>
                <a:ext cx="914400" cy="30480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40" dirty="0">
                    <a:latin typeface="Arial Narrow" pitchFamily="34" charset="0"/>
                  </a:rPr>
                  <a:t>value</a:t>
                </a:r>
              </a:p>
            </p:txBody>
          </p:sp>
          <p:cxnSp>
            <p:nvCxnSpPr>
              <p:cNvPr id="275" name="Straight Arrow Connector 274"/>
              <p:cNvCxnSpPr>
                <a:stCxn id="273" idx="3"/>
                <a:endCxn id="274" idx="2"/>
              </p:cNvCxnSpPr>
              <p:nvPr/>
            </p:nvCxnSpPr>
            <p:spPr>
              <a:xfrm>
                <a:off x="7162800" y="2590800"/>
                <a:ext cx="304800" cy="0"/>
              </a:xfrm>
              <a:prstGeom prst="straightConnector1">
                <a:avLst/>
              </a:prstGeom>
              <a:ln w="1905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grpSp>
      <p:grpSp>
        <p:nvGrpSpPr>
          <p:cNvPr id="12" name="Group 141"/>
          <p:cNvGrpSpPr/>
          <p:nvPr/>
        </p:nvGrpSpPr>
        <p:grpSpPr>
          <a:xfrm>
            <a:off x="1945642" y="5983324"/>
            <a:ext cx="2849881" cy="1846426"/>
            <a:chOff x="457200" y="4495800"/>
            <a:chExt cx="1676401" cy="1447800"/>
          </a:xfrm>
        </p:grpSpPr>
        <p:sp>
          <p:nvSpPr>
            <p:cNvPr id="226" name="Rectangle 225"/>
            <p:cNvSpPr/>
            <p:nvPr/>
          </p:nvSpPr>
          <p:spPr>
            <a:xfrm>
              <a:off x="914400" y="5403056"/>
              <a:ext cx="150019" cy="173829"/>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085" dirty="0">
                <a:latin typeface="Arial Narrow" pitchFamily="34" charset="0"/>
              </a:endParaRPr>
            </a:p>
          </p:txBody>
        </p:sp>
        <p:sp>
          <p:nvSpPr>
            <p:cNvPr id="221" name="Rectangle 220"/>
            <p:cNvSpPr/>
            <p:nvPr/>
          </p:nvSpPr>
          <p:spPr>
            <a:xfrm>
              <a:off x="459581" y="4498181"/>
              <a:ext cx="150019" cy="173829"/>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085" dirty="0">
                <a:latin typeface="Arial Narrow" pitchFamily="34" charset="0"/>
              </a:endParaRPr>
            </a:p>
          </p:txBody>
        </p:sp>
        <p:sp>
          <p:nvSpPr>
            <p:cNvPr id="231" name="Rectangle 230"/>
            <p:cNvSpPr/>
            <p:nvPr/>
          </p:nvSpPr>
          <p:spPr>
            <a:xfrm>
              <a:off x="1828800" y="4862513"/>
              <a:ext cx="150020" cy="173829"/>
            </a:xfrm>
            <a:prstGeom prst="rect">
              <a:avLst/>
            </a:prstGeom>
            <a:solidFill>
              <a:srgbClr val="FF00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085" dirty="0">
                <a:latin typeface="Arial Narrow" pitchFamily="34" charset="0"/>
              </a:endParaRPr>
            </a:p>
          </p:txBody>
        </p:sp>
        <p:sp>
          <p:nvSpPr>
            <p:cNvPr id="227" name="Rectangle 226"/>
            <p:cNvSpPr/>
            <p:nvPr/>
          </p:nvSpPr>
          <p:spPr>
            <a:xfrm>
              <a:off x="1676400" y="5586414"/>
              <a:ext cx="150019" cy="178590"/>
            </a:xfrm>
            <a:prstGeom prst="rect">
              <a:avLst/>
            </a:prstGeom>
            <a:solidFill>
              <a:srgbClr val="00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085" dirty="0">
                <a:latin typeface="Arial Narrow" pitchFamily="34" charset="0"/>
              </a:endParaRPr>
            </a:p>
          </p:txBody>
        </p:sp>
        <p:sp>
          <p:nvSpPr>
            <p:cNvPr id="229" name="Rectangle 228"/>
            <p:cNvSpPr/>
            <p:nvPr/>
          </p:nvSpPr>
          <p:spPr>
            <a:xfrm>
              <a:off x="1371600" y="4495801"/>
              <a:ext cx="147638" cy="178593"/>
            </a:xfrm>
            <a:prstGeom prst="rect">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085" dirty="0">
                <a:latin typeface="Arial Narrow" pitchFamily="34" charset="0"/>
              </a:endParaRPr>
            </a:p>
          </p:txBody>
        </p:sp>
        <p:sp>
          <p:nvSpPr>
            <p:cNvPr id="203" name="Rectangle 202"/>
            <p:cNvSpPr/>
            <p:nvPr/>
          </p:nvSpPr>
          <p:spPr bwMode="auto">
            <a:xfrm>
              <a:off x="457202" y="4495800"/>
              <a:ext cx="1676399" cy="180975"/>
            </a:xfrm>
            <a:prstGeom prst="rect">
              <a:avLst/>
            </a:prstGeom>
            <a:noFill/>
            <a:ln w="12700" cap="flat" cmpd="sng" algn="ctr">
              <a:solidFill>
                <a:schemeClr val="tx1"/>
              </a:solidFill>
              <a:prstDash val="solid"/>
              <a:round/>
              <a:headEnd type="none" w="med" len="med"/>
              <a:tailEnd type="none" w="med" len="med"/>
            </a:ln>
            <a:effectLst/>
          </p:spPr>
        </p:sp>
        <p:cxnSp>
          <p:nvCxnSpPr>
            <p:cNvPr id="211" name="Straight Connector 210"/>
            <p:cNvCxnSpPr/>
            <p:nvPr/>
          </p:nvCxnSpPr>
          <p:spPr>
            <a:xfrm>
              <a:off x="609600" y="4495800"/>
              <a:ext cx="0" cy="1447800"/>
            </a:xfrm>
            <a:prstGeom prst="line">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12" name="Straight Connector 211"/>
            <p:cNvCxnSpPr/>
            <p:nvPr/>
          </p:nvCxnSpPr>
          <p:spPr>
            <a:xfrm>
              <a:off x="762000" y="4495800"/>
              <a:ext cx="0" cy="1447800"/>
            </a:xfrm>
            <a:prstGeom prst="line">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13" name="Straight Connector 212"/>
            <p:cNvCxnSpPr/>
            <p:nvPr/>
          </p:nvCxnSpPr>
          <p:spPr>
            <a:xfrm>
              <a:off x="914400" y="4495800"/>
              <a:ext cx="0" cy="1447800"/>
            </a:xfrm>
            <a:prstGeom prst="line">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14" name="Straight Connector 213"/>
            <p:cNvCxnSpPr/>
            <p:nvPr/>
          </p:nvCxnSpPr>
          <p:spPr>
            <a:xfrm>
              <a:off x="1066800" y="4495800"/>
              <a:ext cx="0" cy="1447800"/>
            </a:xfrm>
            <a:prstGeom prst="line">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15" name="Straight Connector 214"/>
            <p:cNvCxnSpPr/>
            <p:nvPr/>
          </p:nvCxnSpPr>
          <p:spPr>
            <a:xfrm>
              <a:off x="1219200" y="4495800"/>
              <a:ext cx="0" cy="1447800"/>
            </a:xfrm>
            <a:prstGeom prst="line">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16" name="Straight Connector 215"/>
            <p:cNvCxnSpPr/>
            <p:nvPr/>
          </p:nvCxnSpPr>
          <p:spPr>
            <a:xfrm>
              <a:off x="1371600" y="4495800"/>
              <a:ext cx="0" cy="1447800"/>
            </a:xfrm>
            <a:prstGeom prst="line">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17" name="Straight Connector 216"/>
            <p:cNvCxnSpPr/>
            <p:nvPr/>
          </p:nvCxnSpPr>
          <p:spPr>
            <a:xfrm>
              <a:off x="1524000" y="4495800"/>
              <a:ext cx="0" cy="1447800"/>
            </a:xfrm>
            <a:prstGeom prst="line">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18" name="Straight Connector 217"/>
            <p:cNvCxnSpPr/>
            <p:nvPr/>
          </p:nvCxnSpPr>
          <p:spPr>
            <a:xfrm>
              <a:off x="1676400" y="4495800"/>
              <a:ext cx="0" cy="1447800"/>
            </a:xfrm>
            <a:prstGeom prst="line">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19" name="Straight Connector 218"/>
            <p:cNvCxnSpPr/>
            <p:nvPr/>
          </p:nvCxnSpPr>
          <p:spPr>
            <a:xfrm>
              <a:off x="1828800" y="4495800"/>
              <a:ext cx="0" cy="1447800"/>
            </a:xfrm>
            <a:prstGeom prst="line">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20" name="Straight Connector 219"/>
            <p:cNvCxnSpPr/>
            <p:nvPr/>
          </p:nvCxnSpPr>
          <p:spPr>
            <a:xfrm>
              <a:off x="1981200" y="4495800"/>
              <a:ext cx="0" cy="1447800"/>
            </a:xfrm>
            <a:prstGeom prst="line">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22" name="Rectangle 221"/>
            <p:cNvSpPr/>
            <p:nvPr/>
          </p:nvSpPr>
          <p:spPr>
            <a:xfrm>
              <a:off x="614362" y="4683919"/>
              <a:ext cx="142875" cy="173829"/>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085" dirty="0">
                <a:latin typeface="Arial Narrow" pitchFamily="34" charset="0"/>
              </a:endParaRPr>
            </a:p>
          </p:txBody>
        </p:sp>
        <p:sp>
          <p:nvSpPr>
            <p:cNvPr id="223" name="Rectangle 222"/>
            <p:cNvSpPr/>
            <p:nvPr/>
          </p:nvSpPr>
          <p:spPr>
            <a:xfrm>
              <a:off x="766762" y="4862512"/>
              <a:ext cx="142875" cy="173829"/>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085" dirty="0">
                <a:latin typeface="Arial Narrow" pitchFamily="34" charset="0"/>
              </a:endParaRPr>
            </a:p>
          </p:txBody>
        </p:sp>
        <p:sp>
          <p:nvSpPr>
            <p:cNvPr id="224" name="Rectangle 223"/>
            <p:cNvSpPr/>
            <p:nvPr/>
          </p:nvSpPr>
          <p:spPr>
            <a:xfrm>
              <a:off x="919163" y="5041106"/>
              <a:ext cx="142875" cy="173829"/>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085" dirty="0">
                <a:latin typeface="Arial Narrow" pitchFamily="34" charset="0"/>
              </a:endParaRPr>
            </a:p>
          </p:txBody>
        </p:sp>
        <p:sp>
          <p:nvSpPr>
            <p:cNvPr id="225" name="Rectangle 224"/>
            <p:cNvSpPr/>
            <p:nvPr/>
          </p:nvSpPr>
          <p:spPr>
            <a:xfrm>
              <a:off x="1071563" y="5222081"/>
              <a:ext cx="142875" cy="173829"/>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085" dirty="0">
                <a:latin typeface="Arial Narrow" pitchFamily="34" charset="0"/>
              </a:endParaRPr>
            </a:p>
          </p:txBody>
        </p:sp>
        <p:sp>
          <p:nvSpPr>
            <p:cNvPr id="228" name="Rectangle 227"/>
            <p:cNvSpPr/>
            <p:nvPr/>
          </p:nvSpPr>
          <p:spPr>
            <a:xfrm>
              <a:off x="1223963" y="5765005"/>
              <a:ext cx="142875" cy="173829"/>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085" dirty="0">
                <a:latin typeface="Arial Narrow" pitchFamily="34" charset="0"/>
              </a:endParaRPr>
            </a:p>
          </p:txBody>
        </p:sp>
        <p:sp>
          <p:nvSpPr>
            <p:cNvPr id="230" name="Rectangle 229"/>
            <p:cNvSpPr/>
            <p:nvPr/>
          </p:nvSpPr>
          <p:spPr>
            <a:xfrm>
              <a:off x="1526381" y="5224463"/>
              <a:ext cx="145257" cy="178591"/>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085" dirty="0">
                <a:latin typeface="Arial Narrow" pitchFamily="34" charset="0"/>
              </a:endParaRPr>
            </a:p>
          </p:txBody>
        </p:sp>
        <p:sp>
          <p:nvSpPr>
            <p:cNvPr id="232" name="Rectangle 231"/>
            <p:cNvSpPr/>
            <p:nvPr/>
          </p:nvSpPr>
          <p:spPr>
            <a:xfrm>
              <a:off x="1985962" y="5224463"/>
              <a:ext cx="142875" cy="173829"/>
            </a:xfrm>
            <a:prstGeom prst="rect">
              <a:avLst/>
            </a:prstGeom>
            <a:solidFill>
              <a:srgbClr val="FF99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085" dirty="0">
                <a:latin typeface="Arial Narrow" pitchFamily="34" charset="0"/>
              </a:endParaRPr>
            </a:p>
          </p:txBody>
        </p:sp>
        <p:sp>
          <p:nvSpPr>
            <p:cNvPr id="210" name="Rectangle 209"/>
            <p:cNvSpPr/>
            <p:nvPr/>
          </p:nvSpPr>
          <p:spPr bwMode="auto">
            <a:xfrm>
              <a:off x="457200" y="5762625"/>
              <a:ext cx="1676399" cy="180975"/>
            </a:xfrm>
            <a:prstGeom prst="rect">
              <a:avLst/>
            </a:prstGeom>
            <a:noFill/>
            <a:ln w="12700" cap="flat" cmpd="sng" algn="ctr">
              <a:solidFill>
                <a:schemeClr val="tx1"/>
              </a:solidFill>
              <a:prstDash val="solid"/>
              <a:round/>
              <a:headEnd type="none" w="med" len="med"/>
              <a:tailEnd type="none" w="med" len="med"/>
            </a:ln>
            <a:effectLst/>
          </p:spPr>
        </p:sp>
        <p:sp>
          <p:nvSpPr>
            <p:cNvPr id="209" name="Rectangle 208"/>
            <p:cNvSpPr/>
            <p:nvPr/>
          </p:nvSpPr>
          <p:spPr bwMode="auto">
            <a:xfrm>
              <a:off x="457200" y="5581650"/>
              <a:ext cx="1676399" cy="180975"/>
            </a:xfrm>
            <a:prstGeom prst="rect">
              <a:avLst/>
            </a:prstGeom>
            <a:noFill/>
            <a:ln w="12700" cap="flat" cmpd="sng" algn="ctr">
              <a:solidFill>
                <a:schemeClr val="tx1"/>
              </a:solidFill>
              <a:prstDash val="solid"/>
              <a:round/>
              <a:headEnd type="none" w="med" len="med"/>
              <a:tailEnd type="none" w="med" len="med"/>
            </a:ln>
            <a:effectLst/>
          </p:spPr>
        </p:sp>
        <p:sp>
          <p:nvSpPr>
            <p:cNvPr id="204" name="Rectangle 203"/>
            <p:cNvSpPr/>
            <p:nvPr/>
          </p:nvSpPr>
          <p:spPr bwMode="auto">
            <a:xfrm>
              <a:off x="457202" y="4676775"/>
              <a:ext cx="1676399" cy="180975"/>
            </a:xfrm>
            <a:prstGeom prst="rect">
              <a:avLst/>
            </a:prstGeom>
            <a:noFill/>
            <a:ln w="12700" cap="flat" cmpd="sng" algn="ctr">
              <a:solidFill>
                <a:schemeClr val="tx1"/>
              </a:solidFill>
              <a:prstDash val="solid"/>
              <a:round/>
              <a:headEnd type="none" w="med" len="med"/>
              <a:tailEnd type="none" w="med" len="med"/>
            </a:ln>
            <a:effectLst/>
          </p:spPr>
        </p:sp>
        <p:sp>
          <p:nvSpPr>
            <p:cNvPr id="205" name="Rectangle 204"/>
            <p:cNvSpPr/>
            <p:nvPr/>
          </p:nvSpPr>
          <p:spPr bwMode="auto">
            <a:xfrm>
              <a:off x="457201" y="4857750"/>
              <a:ext cx="1676399" cy="180975"/>
            </a:xfrm>
            <a:prstGeom prst="rect">
              <a:avLst/>
            </a:prstGeom>
            <a:noFill/>
            <a:ln w="12700" cap="flat" cmpd="sng" algn="ctr">
              <a:solidFill>
                <a:schemeClr val="tx1"/>
              </a:solidFill>
              <a:prstDash val="solid"/>
              <a:round/>
              <a:headEnd type="none" w="med" len="med"/>
              <a:tailEnd type="none" w="med" len="med"/>
            </a:ln>
            <a:effectLst/>
          </p:spPr>
        </p:sp>
        <p:sp>
          <p:nvSpPr>
            <p:cNvPr id="206" name="Rectangle 205"/>
            <p:cNvSpPr/>
            <p:nvPr/>
          </p:nvSpPr>
          <p:spPr bwMode="auto">
            <a:xfrm>
              <a:off x="457201" y="5038725"/>
              <a:ext cx="1676399" cy="180975"/>
            </a:xfrm>
            <a:prstGeom prst="rect">
              <a:avLst/>
            </a:prstGeom>
            <a:noFill/>
            <a:ln w="12700" cap="flat" cmpd="sng" algn="ctr">
              <a:solidFill>
                <a:schemeClr val="tx1"/>
              </a:solidFill>
              <a:prstDash val="solid"/>
              <a:round/>
              <a:headEnd type="none" w="med" len="med"/>
              <a:tailEnd type="none" w="med" len="med"/>
            </a:ln>
            <a:effectLst/>
          </p:spPr>
        </p:sp>
        <p:sp>
          <p:nvSpPr>
            <p:cNvPr id="207" name="Rectangle 206"/>
            <p:cNvSpPr/>
            <p:nvPr/>
          </p:nvSpPr>
          <p:spPr bwMode="auto">
            <a:xfrm>
              <a:off x="457201" y="5219700"/>
              <a:ext cx="1676399" cy="180975"/>
            </a:xfrm>
            <a:prstGeom prst="rect">
              <a:avLst/>
            </a:prstGeom>
            <a:noFill/>
            <a:ln w="12700" cap="flat" cmpd="sng" algn="ctr">
              <a:solidFill>
                <a:schemeClr val="tx1"/>
              </a:solidFill>
              <a:prstDash val="solid"/>
              <a:round/>
              <a:headEnd type="none" w="med" len="med"/>
              <a:tailEnd type="none" w="med" len="med"/>
            </a:ln>
            <a:effectLst/>
          </p:spPr>
        </p:sp>
        <p:sp>
          <p:nvSpPr>
            <p:cNvPr id="208" name="Rectangle 207"/>
            <p:cNvSpPr/>
            <p:nvPr/>
          </p:nvSpPr>
          <p:spPr bwMode="auto">
            <a:xfrm>
              <a:off x="457201" y="5400675"/>
              <a:ext cx="1676399" cy="180975"/>
            </a:xfrm>
            <a:prstGeom prst="rect">
              <a:avLst/>
            </a:prstGeom>
            <a:noFill/>
            <a:ln w="12700" cap="flat" cmpd="sng" algn="ctr">
              <a:solidFill>
                <a:schemeClr val="tx1"/>
              </a:solidFill>
              <a:prstDash val="solid"/>
              <a:round/>
              <a:headEnd type="none" w="med" len="med"/>
              <a:tailEnd type="none" w="med" len="med"/>
            </a:ln>
            <a:effectLst/>
          </p:spPr>
        </p:sp>
      </p:grpSp>
      <p:sp>
        <p:nvSpPr>
          <p:cNvPr id="282" name="Slide Number Placeholder 2"/>
          <p:cNvSpPr txBox="1">
            <a:spLocks/>
          </p:cNvSpPr>
          <p:nvPr/>
        </p:nvSpPr>
        <p:spPr>
          <a:xfrm>
            <a:off x="15547341" y="9276434"/>
            <a:ext cx="777240" cy="388721"/>
          </a:xfrm>
          <a:prstGeom prst="rect">
            <a:avLst/>
          </a:prstGeom>
        </p:spPr>
        <p:txBody>
          <a:bodyPr lIns="116606" tIns="58304" rIns="116606" bIns="58304"/>
          <a:lstStyle/>
          <a:p>
            <a:pPr defTabSz="1166036" fontAlgn="base">
              <a:spcBef>
                <a:spcPct val="0"/>
              </a:spcBef>
              <a:spcAft>
                <a:spcPct val="0"/>
              </a:spcAft>
              <a:defRPr/>
            </a:pPr>
            <a:fld id="{F798B074-17C8-9B4B-AB31-716511C0D839}" type="slidenum">
              <a:rPr lang="en-US" sz="1913">
                <a:latin typeface="Arial" charset="0"/>
              </a:rPr>
              <a:pPr defTabSz="1166036" fontAlgn="base">
                <a:spcBef>
                  <a:spcPct val="0"/>
                </a:spcBef>
                <a:spcAft>
                  <a:spcPct val="0"/>
                </a:spcAft>
                <a:defRPr/>
              </a:pPr>
              <a:t>5</a:t>
            </a:fld>
            <a:endParaRPr lang="en-US" sz="1913" dirty="0">
              <a:latin typeface="Arial" charset="0"/>
            </a:endParaRPr>
          </a:p>
        </p:txBody>
      </p:sp>
      <p:sp>
        <p:nvSpPr>
          <p:cNvPr id="14" name="Rectangle 13"/>
          <p:cNvSpPr/>
          <p:nvPr/>
        </p:nvSpPr>
        <p:spPr>
          <a:xfrm>
            <a:off x="6502400" y="5108702"/>
            <a:ext cx="4057650" cy="3387598"/>
          </a:xfrm>
          <a:prstGeom prst="rect">
            <a:avLst/>
          </a:prstGeom>
          <a:noFill/>
          <a:ln w="76200">
            <a:solidFill>
              <a:srgbClr val="E8772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3" name="TextBox 2"/>
          <p:cNvSpPr txBox="1"/>
          <p:nvPr/>
        </p:nvSpPr>
        <p:spPr>
          <a:xfrm>
            <a:off x="7458947" y="9187035"/>
            <a:ext cx="7507312" cy="369332"/>
          </a:xfrm>
          <a:prstGeom prst="rect">
            <a:avLst/>
          </a:prstGeom>
          <a:noFill/>
        </p:spPr>
        <p:txBody>
          <a:bodyPr wrap="none" rtlCol="0">
            <a:spAutoFit/>
          </a:bodyPr>
          <a:lstStyle/>
          <a:p>
            <a:r>
              <a:rPr lang="en-US" sz="1800"/>
              <a:t>See Chapter 1: </a:t>
            </a:r>
            <a:r>
              <a:rPr lang="en-US" sz="1800" dirty="0"/>
              <a:t>https://</a:t>
            </a:r>
            <a:r>
              <a:rPr lang="en-US" sz="1800" dirty="0" err="1"/>
              <a:t>www.manning.com</a:t>
            </a:r>
            <a:r>
              <a:rPr lang="en-US" sz="1800" dirty="0"/>
              <a:t>/books/making-sense-of-</a:t>
            </a:r>
            <a:r>
              <a:rPr lang="en-US" sz="1800" dirty="0" err="1"/>
              <a:t>nosql</a:t>
            </a:r>
            <a:endParaRPr lang="en-US" sz="1800" dirty="0"/>
          </a:p>
        </p:txBody>
      </p:sp>
    </p:spTree>
    <p:extLst>
      <p:ext uri="{BB962C8B-B14F-4D97-AF65-F5344CB8AC3E}">
        <p14:creationId xmlns:p14="http://schemas.microsoft.com/office/powerpoint/2010/main" val="23037313"/>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grpId="0" nodeType="click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dissolve">
                                      <p:cBhvr>
                                        <p:cTn id="7"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632908" y="554984"/>
            <a:ext cx="14427518" cy="900113"/>
          </a:xfrm>
        </p:spPr>
        <p:txBody>
          <a:bodyPr/>
          <a:lstStyle/>
          <a:p>
            <a:r>
              <a:rPr lang="en-US" dirty="0"/>
              <a:t>Relational vs. Graph</a:t>
            </a:r>
          </a:p>
        </p:txBody>
      </p:sp>
      <p:sp>
        <p:nvSpPr>
          <p:cNvPr id="6" name="Content Placeholder 5"/>
          <p:cNvSpPr>
            <a:spLocks noGrp="1"/>
          </p:cNvSpPr>
          <p:nvPr>
            <p:ph sz="half" idx="1"/>
          </p:nvPr>
        </p:nvSpPr>
        <p:spPr>
          <a:xfrm>
            <a:off x="1421592" y="4981250"/>
            <a:ext cx="7043738" cy="3989388"/>
          </a:xfrm>
        </p:spPr>
        <p:txBody>
          <a:bodyPr/>
          <a:lstStyle/>
          <a:p>
            <a:pPr marL="514350" indent="-514350">
              <a:buFont typeface="+mj-lt"/>
              <a:buAutoNum type="arabicPeriod"/>
            </a:pPr>
            <a:r>
              <a:rPr lang="en-US" sz="2000" dirty="0"/>
              <a:t>Atomic unit of storage is a </a:t>
            </a:r>
            <a:r>
              <a:rPr lang="en-US" sz="2000" b="1" dirty="0"/>
              <a:t>row</a:t>
            </a:r>
            <a:r>
              <a:rPr lang="en-US" sz="2000" dirty="0"/>
              <a:t> of a </a:t>
            </a:r>
            <a:r>
              <a:rPr lang="en-US" sz="2000" b="1" dirty="0"/>
              <a:t>table</a:t>
            </a:r>
            <a:r>
              <a:rPr lang="en-US" sz="2000" dirty="0"/>
              <a:t> and data is appended to a table one row at a time</a:t>
            </a:r>
          </a:p>
          <a:p>
            <a:pPr marL="514350" indent="-514350">
              <a:buFont typeface="+mj-lt"/>
              <a:buAutoNum type="arabicPeriod"/>
            </a:pPr>
            <a:r>
              <a:rPr lang="en-US" sz="2000" dirty="0"/>
              <a:t>All </a:t>
            </a:r>
            <a:r>
              <a:rPr lang="en-US" sz="2000" b="1" dirty="0"/>
              <a:t>columns</a:t>
            </a:r>
            <a:r>
              <a:rPr lang="en-US" sz="2000" dirty="0"/>
              <a:t> within a table must have the same structure and no variations within a column are allowed</a:t>
            </a:r>
          </a:p>
          <a:p>
            <a:pPr marL="514350" indent="-514350">
              <a:buFont typeface="+mj-lt"/>
              <a:buAutoNum type="arabicPeriod"/>
            </a:pPr>
            <a:r>
              <a:rPr lang="en-US" sz="2000" dirty="0"/>
              <a:t>Table structures are </a:t>
            </a:r>
            <a:r>
              <a:rPr lang="en-US" sz="2000" b="1" dirty="0"/>
              <a:t>fixed</a:t>
            </a:r>
            <a:r>
              <a:rPr lang="en-US" sz="2000" dirty="0"/>
              <a:t> after design – all rows have the same structure</a:t>
            </a:r>
          </a:p>
          <a:p>
            <a:pPr marL="514350" indent="-514350">
              <a:buFont typeface="+mj-lt"/>
              <a:buAutoNum type="arabicPeriod"/>
            </a:pPr>
            <a:r>
              <a:rPr lang="en-US" sz="2000" dirty="0"/>
              <a:t>Relationship traversal is done via JOINs at runtime using log(N) search calculated at </a:t>
            </a:r>
            <a:r>
              <a:rPr lang="en-US" sz="2000" b="1" dirty="0"/>
              <a:t>query</a:t>
            </a:r>
            <a:r>
              <a:rPr lang="en-US" sz="2000" dirty="0"/>
              <a:t> time</a:t>
            </a:r>
          </a:p>
          <a:p>
            <a:pPr marL="514350" indent="-514350">
              <a:buFont typeface="+mj-lt"/>
              <a:buAutoNum type="arabicPeriod"/>
            </a:pPr>
            <a:r>
              <a:rPr lang="en-US" sz="2000" dirty="0"/>
              <a:t>It is difficult to distribute an RDBMS over a cluster of 100+ nodes since joins require in-memory comparisons</a:t>
            </a:r>
          </a:p>
          <a:p>
            <a:pPr marL="514350" indent="-514350">
              <a:buFont typeface="+mj-lt"/>
              <a:buAutoNum type="arabicPeriod"/>
            </a:pPr>
            <a:endParaRPr lang="en-US" sz="2000" dirty="0"/>
          </a:p>
        </p:txBody>
      </p:sp>
      <p:sp>
        <p:nvSpPr>
          <p:cNvPr id="7" name="Content Placeholder 6"/>
          <p:cNvSpPr>
            <a:spLocks noGrp="1"/>
          </p:cNvSpPr>
          <p:nvPr>
            <p:ph sz="half" idx="2"/>
          </p:nvPr>
        </p:nvSpPr>
        <p:spPr>
          <a:xfrm>
            <a:off x="9033330" y="4921395"/>
            <a:ext cx="7217229" cy="3989388"/>
          </a:xfrm>
        </p:spPr>
        <p:txBody>
          <a:bodyPr/>
          <a:lstStyle/>
          <a:p>
            <a:pPr marL="514350" indent="-514350">
              <a:buFont typeface="+mj-lt"/>
              <a:buAutoNum type="arabicPeriod"/>
            </a:pPr>
            <a:r>
              <a:rPr lang="en-US" sz="2000" dirty="0"/>
              <a:t>Atomic unit of storage are </a:t>
            </a:r>
            <a:r>
              <a:rPr lang="en-US" sz="2000" b="1" dirty="0"/>
              <a:t>nodes</a:t>
            </a:r>
            <a:r>
              <a:rPr lang="en-US" sz="2000" dirty="0"/>
              <a:t> and </a:t>
            </a:r>
            <a:r>
              <a:rPr lang="en-US" sz="2000" b="1" dirty="0"/>
              <a:t>edges</a:t>
            </a:r>
          </a:p>
          <a:p>
            <a:pPr marL="514350" indent="-514350">
              <a:buFont typeface="+mj-lt"/>
              <a:buAutoNum type="arabicPeriod"/>
            </a:pPr>
            <a:r>
              <a:rPr lang="en-US" sz="2000" dirty="0"/>
              <a:t>Each node and edge may have independent properties that are determined at run time (schema agnostic)</a:t>
            </a:r>
          </a:p>
          <a:p>
            <a:pPr marL="514350" indent="-514350">
              <a:buFont typeface="+mj-lt"/>
              <a:buAutoNum type="arabicPeriod"/>
            </a:pPr>
            <a:r>
              <a:rPr lang="en-US" sz="2000" dirty="0"/>
              <a:t>Joins between nodes and edges are computed at </a:t>
            </a:r>
            <a:r>
              <a:rPr lang="en-US" sz="2000" b="1" dirty="0"/>
              <a:t>load</a:t>
            </a:r>
            <a:r>
              <a:rPr lang="en-US" sz="2000" dirty="0"/>
              <a:t> time and are stored as memory pointers</a:t>
            </a:r>
          </a:p>
          <a:p>
            <a:pPr marL="514350" indent="-514350">
              <a:buFont typeface="+mj-lt"/>
              <a:buAutoNum type="arabicPeriod"/>
            </a:pPr>
            <a:r>
              <a:rPr lang="en-US" sz="2000" dirty="0"/>
              <a:t>Relationship traversal is done using pointer hopping – each core can evaluate </a:t>
            </a:r>
            <a:r>
              <a:rPr lang="en-US" sz="2000" b="1" dirty="0">
                <a:solidFill>
                  <a:schemeClr val="accent1"/>
                </a:solidFill>
              </a:rPr>
              <a:t>2M hops per second</a:t>
            </a:r>
          </a:p>
          <a:p>
            <a:pPr marL="514350" indent="-514350">
              <a:buFont typeface="+mj-lt"/>
              <a:buAutoNum type="arabicPeriod"/>
            </a:pPr>
            <a:r>
              <a:rPr lang="en-US" sz="2000" dirty="0"/>
              <a:t>Distributed graph products are new but offer up to 100-fold increase in relationship traversal performance</a:t>
            </a:r>
          </a:p>
        </p:txBody>
      </p:sp>
      <p:sp>
        <p:nvSpPr>
          <p:cNvPr id="4" name="Slide Number Placeholder 3"/>
          <p:cNvSpPr>
            <a:spLocks noGrp="1"/>
          </p:cNvSpPr>
          <p:nvPr>
            <p:ph type="sldNum" sz="quarter" idx="12"/>
          </p:nvPr>
        </p:nvSpPr>
        <p:spPr/>
        <p:txBody>
          <a:bodyPr/>
          <a:lstStyle/>
          <a:p>
            <a:fld id="{00000000-1234-1234-1234-123412341234}" type="slidenum">
              <a:rPr lang="en" smtClean="0"/>
              <a:pPr/>
              <a:t>6</a:t>
            </a:fld>
            <a:endParaRPr lang="en"/>
          </a:p>
        </p:txBody>
      </p:sp>
      <p:sp>
        <p:nvSpPr>
          <p:cNvPr id="9" name="Text Placeholder 8"/>
          <p:cNvSpPr>
            <a:spLocks noGrp="1"/>
          </p:cNvSpPr>
          <p:nvPr>
            <p:ph type="body" idx="13"/>
          </p:nvPr>
        </p:nvSpPr>
        <p:spPr>
          <a:xfrm>
            <a:off x="3007442" y="1904881"/>
            <a:ext cx="4607238" cy="459455"/>
          </a:xfrm>
          <a:ln>
            <a:noFill/>
          </a:ln>
        </p:spPr>
        <p:txBody>
          <a:bodyPr/>
          <a:lstStyle/>
          <a:p>
            <a:pPr algn="ctr"/>
            <a:r>
              <a:rPr lang="en-US" b="1" dirty="0">
                <a:solidFill>
                  <a:schemeClr val="accent1"/>
                </a:solidFill>
              </a:rPr>
              <a:t>Relational (row store)</a:t>
            </a:r>
          </a:p>
        </p:txBody>
      </p:sp>
      <p:sp>
        <p:nvSpPr>
          <p:cNvPr id="8" name="Text Placeholder 7"/>
          <p:cNvSpPr>
            <a:spLocks noGrp="1"/>
          </p:cNvSpPr>
          <p:nvPr>
            <p:ph type="body" sz="quarter" idx="3"/>
          </p:nvPr>
        </p:nvSpPr>
        <p:spPr>
          <a:xfrm>
            <a:off x="8694162" y="1951056"/>
            <a:ext cx="7189470" cy="721783"/>
          </a:xfrm>
        </p:spPr>
        <p:txBody>
          <a:bodyPr/>
          <a:lstStyle/>
          <a:p>
            <a:pPr algn="ctr"/>
            <a:r>
              <a:rPr lang="en-US" b="1" dirty="0">
                <a:solidFill>
                  <a:schemeClr val="accent1"/>
                </a:solidFill>
              </a:rPr>
              <a:t>Graph</a:t>
            </a:r>
          </a:p>
        </p:txBody>
      </p:sp>
      <p:grpSp>
        <p:nvGrpSpPr>
          <p:cNvPr id="44" name="Group 242"/>
          <p:cNvGrpSpPr/>
          <p:nvPr/>
        </p:nvGrpSpPr>
        <p:grpSpPr>
          <a:xfrm>
            <a:off x="11222375" y="2495963"/>
            <a:ext cx="2234618" cy="1600200"/>
            <a:chOff x="3505200" y="4267200"/>
            <a:chExt cx="1676400" cy="1600200"/>
          </a:xfrm>
        </p:grpSpPr>
        <p:sp>
          <p:nvSpPr>
            <p:cNvPr id="45" name="Oval 44"/>
            <p:cNvSpPr/>
            <p:nvPr/>
          </p:nvSpPr>
          <p:spPr bwMode="auto">
            <a:xfrm>
              <a:off x="4191000" y="4267200"/>
              <a:ext cx="228600" cy="228600"/>
            </a:xfrm>
            <a:prstGeom prst="ellipse">
              <a:avLst/>
            </a:prstGeom>
            <a:solidFill>
              <a:srgbClr val="FF0000"/>
            </a:solidFill>
            <a:ln w="12700"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defTabSz="914323" fontAlgn="base">
                <a:spcBef>
                  <a:spcPct val="0"/>
                </a:spcBef>
                <a:spcAft>
                  <a:spcPct val="0"/>
                </a:spcAft>
              </a:pPr>
              <a:endParaRPr lang="en-US" sz="2400" b="1">
                <a:latin typeface="Arial Narrow" charset="0"/>
              </a:endParaRPr>
            </a:p>
          </p:txBody>
        </p:sp>
        <p:sp>
          <p:nvSpPr>
            <p:cNvPr id="46" name="Oval 45"/>
            <p:cNvSpPr/>
            <p:nvPr/>
          </p:nvSpPr>
          <p:spPr bwMode="auto">
            <a:xfrm>
              <a:off x="3886200" y="4724400"/>
              <a:ext cx="228600" cy="228600"/>
            </a:xfrm>
            <a:prstGeom prst="ellipse">
              <a:avLst/>
            </a:prstGeom>
            <a:solidFill>
              <a:srgbClr val="996633"/>
            </a:solidFill>
            <a:ln w="12700"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defTabSz="914323" fontAlgn="base">
                <a:spcBef>
                  <a:spcPct val="0"/>
                </a:spcBef>
                <a:spcAft>
                  <a:spcPct val="0"/>
                </a:spcAft>
              </a:pPr>
              <a:endParaRPr lang="en-US" sz="2400" b="1">
                <a:latin typeface="Arial Narrow" charset="0"/>
              </a:endParaRPr>
            </a:p>
          </p:txBody>
        </p:sp>
        <p:sp>
          <p:nvSpPr>
            <p:cNvPr id="47" name="Oval 46"/>
            <p:cNvSpPr/>
            <p:nvPr/>
          </p:nvSpPr>
          <p:spPr bwMode="auto">
            <a:xfrm>
              <a:off x="4191000" y="5105400"/>
              <a:ext cx="228600" cy="228600"/>
            </a:xfrm>
            <a:prstGeom prst="ellipse">
              <a:avLst/>
            </a:prstGeom>
            <a:solidFill>
              <a:srgbClr val="7030A0"/>
            </a:solidFill>
            <a:ln w="12700"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defTabSz="914323" fontAlgn="base">
                <a:spcBef>
                  <a:spcPct val="0"/>
                </a:spcBef>
                <a:spcAft>
                  <a:spcPct val="0"/>
                </a:spcAft>
              </a:pPr>
              <a:endParaRPr lang="en-US" sz="2400" b="1">
                <a:latin typeface="Arial Narrow" charset="0"/>
              </a:endParaRPr>
            </a:p>
          </p:txBody>
        </p:sp>
        <p:sp>
          <p:nvSpPr>
            <p:cNvPr id="48" name="Oval 47"/>
            <p:cNvSpPr/>
            <p:nvPr/>
          </p:nvSpPr>
          <p:spPr bwMode="auto">
            <a:xfrm>
              <a:off x="4724400" y="4495800"/>
              <a:ext cx="228600" cy="228600"/>
            </a:xfrm>
            <a:prstGeom prst="ellipse">
              <a:avLst/>
            </a:prstGeom>
            <a:solidFill>
              <a:schemeClr val="accent6"/>
            </a:solidFill>
            <a:ln w="12700"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defTabSz="914323" fontAlgn="base">
                <a:spcBef>
                  <a:spcPct val="0"/>
                </a:spcBef>
                <a:spcAft>
                  <a:spcPct val="0"/>
                </a:spcAft>
              </a:pPr>
              <a:endParaRPr lang="en-US" sz="2400" b="1">
                <a:latin typeface="Arial Narrow" charset="0"/>
              </a:endParaRPr>
            </a:p>
          </p:txBody>
        </p:sp>
        <p:sp>
          <p:nvSpPr>
            <p:cNvPr id="49" name="Oval 48"/>
            <p:cNvSpPr/>
            <p:nvPr/>
          </p:nvSpPr>
          <p:spPr bwMode="auto">
            <a:xfrm>
              <a:off x="4648200" y="4953000"/>
              <a:ext cx="228600" cy="228600"/>
            </a:xfrm>
            <a:prstGeom prst="ellipse">
              <a:avLst/>
            </a:prstGeom>
            <a:solidFill>
              <a:srgbClr val="FFFF00"/>
            </a:solidFill>
            <a:ln w="12700"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defTabSz="914323" fontAlgn="base">
                <a:spcBef>
                  <a:spcPct val="0"/>
                </a:spcBef>
                <a:spcAft>
                  <a:spcPct val="0"/>
                </a:spcAft>
              </a:pPr>
              <a:endParaRPr lang="en-US" sz="2400" b="1">
                <a:latin typeface="Arial Narrow" charset="0"/>
              </a:endParaRPr>
            </a:p>
          </p:txBody>
        </p:sp>
        <p:sp>
          <p:nvSpPr>
            <p:cNvPr id="50" name="Oval 49"/>
            <p:cNvSpPr/>
            <p:nvPr/>
          </p:nvSpPr>
          <p:spPr bwMode="auto">
            <a:xfrm>
              <a:off x="3581400" y="5257800"/>
              <a:ext cx="228600" cy="228600"/>
            </a:xfrm>
            <a:prstGeom prst="ellipse">
              <a:avLst/>
            </a:prstGeom>
            <a:solidFill>
              <a:srgbClr val="92D050"/>
            </a:solidFill>
            <a:ln w="12700"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defTabSz="914323" fontAlgn="base">
                <a:spcBef>
                  <a:spcPct val="0"/>
                </a:spcBef>
                <a:spcAft>
                  <a:spcPct val="0"/>
                </a:spcAft>
              </a:pPr>
              <a:endParaRPr lang="en-US" sz="2400" b="1">
                <a:latin typeface="Arial Narrow" charset="0"/>
              </a:endParaRPr>
            </a:p>
          </p:txBody>
        </p:sp>
        <p:sp>
          <p:nvSpPr>
            <p:cNvPr id="51" name="Oval 50"/>
            <p:cNvSpPr/>
            <p:nvPr/>
          </p:nvSpPr>
          <p:spPr bwMode="auto">
            <a:xfrm>
              <a:off x="4419600" y="5486400"/>
              <a:ext cx="228600" cy="228600"/>
            </a:xfrm>
            <a:prstGeom prst="ellipse">
              <a:avLst/>
            </a:prstGeom>
            <a:solidFill>
              <a:srgbClr val="0070C0"/>
            </a:solidFill>
            <a:ln w="12700"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defTabSz="914323" fontAlgn="base">
                <a:spcBef>
                  <a:spcPct val="0"/>
                </a:spcBef>
                <a:spcAft>
                  <a:spcPct val="0"/>
                </a:spcAft>
              </a:pPr>
              <a:endParaRPr lang="en-US" sz="2400" b="1">
                <a:latin typeface="Arial Narrow" charset="0"/>
              </a:endParaRPr>
            </a:p>
          </p:txBody>
        </p:sp>
        <p:sp>
          <p:nvSpPr>
            <p:cNvPr id="52" name="Oval 51"/>
            <p:cNvSpPr/>
            <p:nvPr/>
          </p:nvSpPr>
          <p:spPr bwMode="auto">
            <a:xfrm>
              <a:off x="3505200" y="4572000"/>
              <a:ext cx="228600" cy="228600"/>
            </a:xfrm>
            <a:prstGeom prst="ellipse">
              <a:avLst/>
            </a:prstGeom>
            <a:solidFill>
              <a:schemeClr val="bg1">
                <a:lumMod val="65000"/>
              </a:schemeClr>
            </a:solidFill>
            <a:ln w="12700"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defTabSz="914323" fontAlgn="base">
                <a:spcBef>
                  <a:spcPct val="0"/>
                </a:spcBef>
                <a:spcAft>
                  <a:spcPct val="0"/>
                </a:spcAft>
              </a:pPr>
              <a:endParaRPr lang="en-US" sz="2400" b="1">
                <a:latin typeface="Arial Narrow" charset="0"/>
              </a:endParaRPr>
            </a:p>
          </p:txBody>
        </p:sp>
        <p:sp>
          <p:nvSpPr>
            <p:cNvPr id="53" name="Oval 52"/>
            <p:cNvSpPr/>
            <p:nvPr/>
          </p:nvSpPr>
          <p:spPr bwMode="auto">
            <a:xfrm>
              <a:off x="4953000" y="5334000"/>
              <a:ext cx="228600" cy="228600"/>
            </a:xfrm>
            <a:prstGeom prst="ellipse">
              <a:avLst/>
            </a:prstGeom>
            <a:solidFill>
              <a:srgbClr val="00B050"/>
            </a:solidFill>
            <a:ln w="12700"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defTabSz="914323" fontAlgn="base">
                <a:spcBef>
                  <a:spcPct val="0"/>
                </a:spcBef>
                <a:spcAft>
                  <a:spcPct val="0"/>
                </a:spcAft>
              </a:pPr>
              <a:endParaRPr lang="en-US" sz="2400" b="1">
                <a:latin typeface="Arial Narrow" charset="0"/>
              </a:endParaRPr>
            </a:p>
          </p:txBody>
        </p:sp>
        <p:cxnSp>
          <p:nvCxnSpPr>
            <p:cNvPr id="54" name="Straight Arrow Connector 53"/>
            <p:cNvCxnSpPr/>
            <p:nvPr/>
          </p:nvCxnSpPr>
          <p:spPr>
            <a:xfrm flipV="1">
              <a:off x="3700322" y="4381500"/>
              <a:ext cx="490678" cy="223978"/>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5" name="Straight Arrow Connector 54"/>
            <p:cNvCxnSpPr/>
            <p:nvPr/>
          </p:nvCxnSpPr>
          <p:spPr>
            <a:xfrm>
              <a:off x="4419600" y="4381500"/>
              <a:ext cx="304800" cy="228600"/>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6" name="Straight Arrow Connector 55"/>
            <p:cNvCxnSpPr/>
            <p:nvPr/>
          </p:nvCxnSpPr>
          <p:spPr>
            <a:xfrm>
              <a:off x="4757878" y="4690922"/>
              <a:ext cx="4622" cy="262078"/>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7" name="Straight Arrow Connector 56"/>
            <p:cNvCxnSpPr/>
            <p:nvPr/>
          </p:nvCxnSpPr>
          <p:spPr>
            <a:xfrm>
              <a:off x="4843322" y="5148122"/>
              <a:ext cx="143156" cy="219356"/>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8" name="Straight Arrow Connector 57"/>
            <p:cNvCxnSpPr/>
            <p:nvPr/>
          </p:nvCxnSpPr>
          <p:spPr>
            <a:xfrm flipH="1">
              <a:off x="4648200" y="5448300"/>
              <a:ext cx="304800" cy="152400"/>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9" name="Straight Arrow Connector 58"/>
            <p:cNvCxnSpPr/>
            <p:nvPr/>
          </p:nvCxnSpPr>
          <p:spPr>
            <a:xfrm flipH="1" flipV="1">
              <a:off x="4386122" y="5300522"/>
              <a:ext cx="105056" cy="219356"/>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60" name="Straight Arrow Connector 59"/>
            <p:cNvCxnSpPr/>
            <p:nvPr/>
          </p:nvCxnSpPr>
          <p:spPr>
            <a:xfrm flipH="1" flipV="1">
              <a:off x="4081322" y="4919522"/>
              <a:ext cx="143156" cy="219356"/>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61" name="Straight Arrow Connector 60"/>
            <p:cNvCxnSpPr/>
            <p:nvPr/>
          </p:nvCxnSpPr>
          <p:spPr>
            <a:xfrm flipH="1">
              <a:off x="3776522" y="4919522"/>
              <a:ext cx="143156" cy="371756"/>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62" name="Straight Arrow Connector 61"/>
            <p:cNvCxnSpPr/>
            <p:nvPr/>
          </p:nvCxnSpPr>
          <p:spPr>
            <a:xfrm flipH="1">
              <a:off x="3614878" y="4800600"/>
              <a:ext cx="4622" cy="490678"/>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63" name="Straight Arrow Connector 62"/>
            <p:cNvCxnSpPr/>
            <p:nvPr/>
          </p:nvCxnSpPr>
          <p:spPr>
            <a:xfrm flipH="1" flipV="1">
              <a:off x="4305300" y="4495800"/>
              <a:ext cx="80822" cy="643078"/>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64" name="Straight Arrow Connector 63"/>
            <p:cNvCxnSpPr/>
            <p:nvPr/>
          </p:nvCxnSpPr>
          <p:spPr>
            <a:xfrm flipH="1">
              <a:off x="3810000" y="5300522"/>
              <a:ext cx="414478" cy="71578"/>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65" name="Oval 64"/>
            <p:cNvSpPr/>
            <p:nvPr/>
          </p:nvSpPr>
          <p:spPr bwMode="auto">
            <a:xfrm>
              <a:off x="3962400" y="5638800"/>
              <a:ext cx="228600" cy="228600"/>
            </a:xfrm>
            <a:prstGeom prst="ellipse">
              <a:avLst/>
            </a:prstGeom>
            <a:solidFill>
              <a:srgbClr val="336699"/>
            </a:solidFill>
            <a:ln w="12700"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defTabSz="914323" fontAlgn="base">
                <a:spcBef>
                  <a:spcPct val="0"/>
                </a:spcBef>
                <a:spcAft>
                  <a:spcPct val="0"/>
                </a:spcAft>
              </a:pPr>
              <a:endParaRPr lang="en-US" sz="2400" b="1">
                <a:latin typeface="Arial Narrow" charset="0"/>
              </a:endParaRPr>
            </a:p>
          </p:txBody>
        </p:sp>
        <p:cxnSp>
          <p:nvCxnSpPr>
            <p:cNvPr id="66" name="Straight Arrow Connector 65"/>
            <p:cNvCxnSpPr/>
            <p:nvPr/>
          </p:nvCxnSpPr>
          <p:spPr>
            <a:xfrm flipV="1">
              <a:off x="4157522" y="5334000"/>
              <a:ext cx="147778" cy="338278"/>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grpSp>
        <p:nvGrpSpPr>
          <p:cNvPr id="3" name="Group 2">
            <a:extLst>
              <a:ext uri="{FF2B5EF4-FFF2-40B4-BE49-F238E27FC236}">
                <a16:creationId xmlns:a16="http://schemas.microsoft.com/office/drawing/2014/main" id="{CACCB474-851E-2745-8BD1-22B19972A245}"/>
              </a:ext>
            </a:extLst>
          </p:cNvPr>
          <p:cNvGrpSpPr/>
          <p:nvPr/>
        </p:nvGrpSpPr>
        <p:grpSpPr>
          <a:xfrm>
            <a:off x="3592016" y="2588262"/>
            <a:ext cx="3397709" cy="2018452"/>
            <a:chOff x="4116365" y="2859233"/>
            <a:chExt cx="2286160" cy="1417432"/>
          </a:xfrm>
        </p:grpSpPr>
        <p:sp>
          <p:nvSpPr>
            <p:cNvPr id="12" name="Rectangle 11"/>
            <p:cNvSpPr/>
            <p:nvPr/>
          </p:nvSpPr>
          <p:spPr bwMode="auto">
            <a:xfrm>
              <a:off x="4116369" y="2859233"/>
              <a:ext cx="459499" cy="143535"/>
            </a:xfrm>
            <a:prstGeom prst="rect">
              <a:avLst/>
            </a:prstGeom>
            <a:solidFill>
              <a:schemeClr val="tx1">
                <a:lumMod val="50000"/>
              </a:schemeClr>
            </a:solidFill>
            <a:ln w="12700" cap="flat" cmpd="sng" algn="ctr">
              <a:solidFill>
                <a:schemeClr val="bg1">
                  <a:lumMod val="50000"/>
                </a:schemeClr>
              </a:solidFill>
              <a:prstDash val="solid"/>
              <a:round/>
              <a:headEnd type="none" w="med" len="med"/>
              <a:tailEnd type="none" w="med" len="med"/>
            </a:ln>
            <a:effectLst/>
          </p:spPr>
          <p:txBody>
            <a:bodyPr tIns="0" bIns="0"/>
            <a:lstStyle/>
            <a:p>
              <a:pPr algn="ctr"/>
              <a:r>
                <a:rPr lang="en-US" sz="1100" dirty="0">
                  <a:solidFill>
                    <a:schemeClr val="bg1"/>
                  </a:solidFill>
                </a:rPr>
                <a:t>ID</a:t>
              </a:r>
            </a:p>
          </p:txBody>
        </p:sp>
        <p:sp>
          <p:nvSpPr>
            <p:cNvPr id="13" name="Rectangle 12"/>
            <p:cNvSpPr/>
            <p:nvPr/>
          </p:nvSpPr>
          <p:spPr bwMode="auto">
            <a:xfrm>
              <a:off x="4116369" y="3002768"/>
              <a:ext cx="459499" cy="180975"/>
            </a:xfrm>
            <a:prstGeom prst="rect">
              <a:avLst/>
            </a:prstGeom>
            <a:solidFill>
              <a:srgbClr val="BFBFBF"/>
            </a:solidFill>
            <a:ln w="12700" cap="flat" cmpd="sng" algn="ctr">
              <a:solidFill>
                <a:schemeClr val="tx1"/>
              </a:solidFill>
              <a:prstDash val="solid"/>
              <a:round/>
              <a:headEnd type="none" w="med" len="med"/>
              <a:tailEnd type="none" w="med" len="med"/>
            </a:ln>
            <a:effectLst/>
          </p:spPr>
        </p:sp>
        <p:sp>
          <p:nvSpPr>
            <p:cNvPr id="14" name="Rectangle 13"/>
            <p:cNvSpPr/>
            <p:nvPr/>
          </p:nvSpPr>
          <p:spPr bwMode="auto">
            <a:xfrm>
              <a:off x="4116367" y="3183743"/>
              <a:ext cx="459499" cy="180975"/>
            </a:xfrm>
            <a:prstGeom prst="rect">
              <a:avLst/>
            </a:prstGeom>
            <a:solidFill>
              <a:srgbClr val="BFBFBF"/>
            </a:solidFill>
            <a:ln w="12700" cap="flat" cmpd="sng" algn="ctr">
              <a:solidFill>
                <a:schemeClr val="tx1"/>
              </a:solidFill>
              <a:prstDash val="solid"/>
              <a:round/>
              <a:headEnd type="none" w="med" len="med"/>
              <a:tailEnd type="none" w="med" len="med"/>
            </a:ln>
            <a:effectLst/>
          </p:spPr>
        </p:sp>
        <p:sp>
          <p:nvSpPr>
            <p:cNvPr id="15" name="Rectangle 14"/>
            <p:cNvSpPr/>
            <p:nvPr/>
          </p:nvSpPr>
          <p:spPr bwMode="auto">
            <a:xfrm>
              <a:off x="4116367" y="3364718"/>
              <a:ext cx="459499" cy="180975"/>
            </a:xfrm>
            <a:prstGeom prst="rect">
              <a:avLst/>
            </a:prstGeom>
            <a:solidFill>
              <a:srgbClr val="BFBFBF"/>
            </a:solidFill>
            <a:ln w="12700" cap="flat" cmpd="sng" algn="ctr">
              <a:solidFill>
                <a:schemeClr val="tx1"/>
              </a:solidFill>
              <a:prstDash val="solid"/>
              <a:round/>
              <a:headEnd type="none" w="med" len="med"/>
              <a:tailEnd type="none" w="med" len="med"/>
            </a:ln>
            <a:effectLst/>
          </p:spPr>
        </p:sp>
        <p:sp>
          <p:nvSpPr>
            <p:cNvPr id="16" name="Rectangle 15"/>
            <p:cNvSpPr/>
            <p:nvPr/>
          </p:nvSpPr>
          <p:spPr bwMode="auto">
            <a:xfrm>
              <a:off x="4116367" y="3545693"/>
              <a:ext cx="459499" cy="180975"/>
            </a:xfrm>
            <a:prstGeom prst="rect">
              <a:avLst/>
            </a:prstGeom>
            <a:solidFill>
              <a:srgbClr val="BFBFBF"/>
            </a:solidFill>
            <a:ln w="12700" cap="flat" cmpd="sng" algn="ctr">
              <a:solidFill>
                <a:schemeClr val="tx1"/>
              </a:solidFill>
              <a:prstDash val="solid"/>
              <a:round/>
              <a:headEnd type="none" w="med" len="med"/>
              <a:tailEnd type="none" w="med" len="med"/>
            </a:ln>
            <a:effectLst/>
          </p:spPr>
        </p:sp>
        <p:sp>
          <p:nvSpPr>
            <p:cNvPr id="17" name="Rectangle 16"/>
            <p:cNvSpPr/>
            <p:nvPr/>
          </p:nvSpPr>
          <p:spPr bwMode="auto">
            <a:xfrm>
              <a:off x="4116367" y="3726668"/>
              <a:ext cx="459499" cy="180975"/>
            </a:xfrm>
            <a:prstGeom prst="rect">
              <a:avLst/>
            </a:prstGeom>
            <a:solidFill>
              <a:srgbClr val="BFBFBF"/>
            </a:solidFill>
            <a:ln w="12700" cap="flat" cmpd="sng" algn="ctr">
              <a:solidFill>
                <a:schemeClr val="tx1"/>
              </a:solidFill>
              <a:prstDash val="solid"/>
              <a:round/>
              <a:headEnd type="none" w="med" len="med"/>
              <a:tailEnd type="none" w="med" len="med"/>
            </a:ln>
            <a:effectLst/>
          </p:spPr>
        </p:sp>
        <p:sp>
          <p:nvSpPr>
            <p:cNvPr id="18" name="Rectangle 17"/>
            <p:cNvSpPr/>
            <p:nvPr/>
          </p:nvSpPr>
          <p:spPr bwMode="auto">
            <a:xfrm>
              <a:off x="4116366" y="3907643"/>
              <a:ext cx="459499" cy="180975"/>
            </a:xfrm>
            <a:prstGeom prst="rect">
              <a:avLst/>
            </a:prstGeom>
            <a:solidFill>
              <a:srgbClr val="BFBFBF"/>
            </a:solidFill>
            <a:ln w="12700" cap="flat" cmpd="sng" algn="ctr">
              <a:solidFill>
                <a:schemeClr val="tx1"/>
              </a:solidFill>
              <a:prstDash val="solid"/>
              <a:round/>
              <a:headEnd type="none" w="med" len="med"/>
              <a:tailEnd type="none" w="med" len="med"/>
            </a:ln>
            <a:effectLst/>
          </p:spPr>
        </p:sp>
        <p:sp>
          <p:nvSpPr>
            <p:cNvPr id="19" name="Rectangle 18"/>
            <p:cNvSpPr/>
            <p:nvPr/>
          </p:nvSpPr>
          <p:spPr bwMode="auto">
            <a:xfrm>
              <a:off x="4116366" y="4088618"/>
              <a:ext cx="459499" cy="180975"/>
            </a:xfrm>
            <a:prstGeom prst="rect">
              <a:avLst/>
            </a:prstGeom>
            <a:solidFill>
              <a:srgbClr val="BFBFBF"/>
            </a:solidFill>
            <a:ln w="12700" cap="flat" cmpd="sng" algn="ctr">
              <a:solidFill>
                <a:schemeClr val="tx1"/>
              </a:solidFill>
              <a:prstDash val="solid"/>
              <a:round/>
              <a:headEnd type="none" w="med" len="med"/>
              <a:tailEnd type="none" w="med" len="med"/>
            </a:ln>
            <a:effectLst/>
          </p:spPr>
        </p:sp>
        <p:sp>
          <p:nvSpPr>
            <p:cNvPr id="20" name="Rectangle 19"/>
            <p:cNvSpPr/>
            <p:nvPr/>
          </p:nvSpPr>
          <p:spPr bwMode="auto">
            <a:xfrm>
              <a:off x="4575865" y="2859233"/>
              <a:ext cx="735199" cy="143535"/>
            </a:xfrm>
            <a:prstGeom prst="rect">
              <a:avLst/>
            </a:prstGeom>
            <a:solidFill>
              <a:schemeClr val="tx1">
                <a:lumMod val="50000"/>
              </a:schemeClr>
            </a:solidFill>
            <a:ln w="12700" cap="flat" cmpd="sng" algn="ctr">
              <a:solidFill>
                <a:schemeClr val="bg1">
                  <a:lumMod val="50000"/>
                </a:schemeClr>
              </a:solidFill>
              <a:prstDash val="solid"/>
              <a:round/>
              <a:headEnd type="none" w="med" len="med"/>
              <a:tailEnd type="none" w="med" len="med"/>
            </a:ln>
            <a:effectLst/>
          </p:spPr>
          <p:txBody>
            <a:bodyPr tIns="0" bIns="0"/>
            <a:lstStyle/>
            <a:p>
              <a:pPr algn="ctr"/>
              <a:r>
                <a:rPr lang="en-US" sz="1100" dirty="0">
                  <a:solidFill>
                    <a:schemeClr val="bg1"/>
                  </a:solidFill>
                </a:rPr>
                <a:t>NAME</a:t>
              </a:r>
            </a:p>
          </p:txBody>
        </p:sp>
        <p:sp>
          <p:nvSpPr>
            <p:cNvPr id="21" name="Rectangle 20"/>
            <p:cNvSpPr/>
            <p:nvPr/>
          </p:nvSpPr>
          <p:spPr bwMode="auto">
            <a:xfrm>
              <a:off x="4575865" y="3002768"/>
              <a:ext cx="735199" cy="180975"/>
            </a:xfrm>
            <a:prstGeom prst="rect">
              <a:avLst/>
            </a:prstGeom>
            <a:solidFill>
              <a:srgbClr val="00B0F0"/>
            </a:solidFill>
            <a:ln w="12700" cap="flat" cmpd="sng" algn="ctr">
              <a:solidFill>
                <a:schemeClr val="tx1"/>
              </a:solidFill>
              <a:prstDash val="solid"/>
              <a:round/>
              <a:headEnd type="none" w="med" len="med"/>
              <a:tailEnd type="none" w="med" len="med"/>
            </a:ln>
            <a:effectLst/>
          </p:spPr>
        </p:sp>
        <p:sp>
          <p:nvSpPr>
            <p:cNvPr id="22" name="Rectangle 21"/>
            <p:cNvSpPr/>
            <p:nvPr/>
          </p:nvSpPr>
          <p:spPr bwMode="auto">
            <a:xfrm>
              <a:off x="4575864" y="3183743"/>
              <a:ext cx="735199" cy="180975"/>
            </a:xfrm>
            <a:prstGeom prst="rect">
              <a:avLst/>
            </a:prstGeom>
            <a:solidFill>
              <a:srgbClr val="00B0F0"/>
            </a:solidFill>
            <a:ln w="12700" cap="flat" cmpd="sng" algn="ctr">
              <a:solidFill>
                <a:schemeClr val="tx1"/>
              </a:solidFill>
              <a:prstDash val="solid"/>
              <a:round/>
              <a:headEnd type="none" w="med" len="med"/>
              <a:tailEnd type="none" w="med" len="med"/>
            </a:ln>
            <a:effectLst/>
          </p:spPr>
        </p:sp>
        <p:sp>
          <p:nvSpPr>
            <p:cNvPr id="23" name="Rectangle 22"/>
            <p:cNvSpPr/>
            <p:nvPr/>
          </p:nvSpPr>
          <p:spPr bwMode="auto">
            <a:xfrm>
              <a:off x="4575864" y="3364718"/>
              <a:ext cx="735199" cy="180975"/>
            </a:xfrm>
            <a:prstGeom prst="rect">
              <a:avLst/>
            </a:prstGeom>
            <a:solidFill>
              <a:srgbClr val="00B0F0"/>
            </a:solidFill>
            <a:ln w="12700" cap="flat" cmpd="sng" algn="ctr">
              <a:solidFill>
                <a:schemeClr val="tx1"/>
              </a:solidFill>
              <a:prstDash val="solid"/>
              <a:round/>
              <a:headEnd type="none" w="med" len="med"/>
              <a:tailEnd type="none" w="med" len="med"/>
            </a:ln>
            <a:effectLst/>
          </p:spPr>
        </p:sp>
        <p:sp>
          <p:nvSpPr>
            <p:cNvPr id="24" name="Rectangle 23"/>
            <p:cNvSpPr/>
            <p:nvPr/>
          </p:nvSpPr>
          <p:spPr bwMode="auto">
            <a:xfrm>
              <a:off x="4575864" y="3545693"/>
              <a:ext cx="735199" cy="180975"/>
            </a:xfrm>
            <a:prstGeom prst="rect">
              <a:avLst/>
            </a:prstGeom>
            <a:solidFill>
              <a:srgbClr val="00B0F0"/>
            </a:solidFill>
            <a:ln w="12700" cap="flat" cmpd="sng" algn="ctr">
              <a:solidFill>
                <a:schemeClr val="tx1"/>
              </a:solidFill>
              <a:prstDash val="solid"/>
              <a:round/>
              <a:headEnd type="none" w="med" len="med"/>
              <a:tailEnd type="none" w="med" len="med"/>
            </a:ln>
            <a:effectLst/>
          </p:spPr>
        </p:sp>
        <p:sp>
          <p:nvSpPr>
            <p:cNvPr id="25" name="Rectangle 24"/>
            <p:cNvSpPr/>
            <p:nvPr/>
          </p:nvSpPr>
          <p:spPr bwMode="auto">
            <a:xfrm>
              <a:off x="4575864" y="3726668"/>
              <a:ext cx="735199" cy="180975"/>
            </a:xfrm>
            <a:prstGeom prst="rect">
              <a:avLst/>
            </a:prstGeom>
            <a:solidFill>
              <a:srgbClr val="00B0F0"/>
            </a:solidFill>
            <a:ln w="12700" cap="flat" cmpd="sng" algn="ctr">
              <a:solidFill>
                <a:schemeClr val="tx1"/>
              </a:solidFill>
              <a:prstDash val="solid"/>
              <a:round/>
              <a:headEnd type="none" w="med" len="med"/>
              <a:tailEnd type="none" w="med" len="med"/>
            </a:ln>
            <a:effectLst/>
          </p:spPr>
        </p:sp>
        <p:sp>
          <p:nvSpPr>
            <p:cNvPr id="26" name="Rectangle 25"/>
            <p:cNvSpPr/>
            <p:nvPr/>
          </p:nvSpPr>
          <p:spPr bwMode="auto">
            <a:xfrm>
              <a:off x="4575862" y="3907643"/>
              <a:ext cx="735199" cy="180975"/>
            </a:xfrm>
            <a:prstGeom prst="rect">
              <a:avLst/>
            </a:prstGeom>
            <a:solidFill>
              <a:srgbClr val="00B0F0"/>
            </a:solidFill>
            <a:ln w="12700" cap="flat" cmpd="sng" algn="ctr">
              <a:solidFill>
                <a:schemeClr val="tx1"/>
              </a:solidFill>
              <a:prstDash val="solid"/>
              <a:round/>
              <a:headEnd type="none" w="med" len="med"/>
              <a:tailEnd type="none" w="med" len="med"/>
            </a:ln>
            <a:effectLst/>
          </p:spPr>
        </p:sp>
        <p:sp>
          <p:nvSpPr>
            <p:cNvPr id="27" name="Rectangle 26"/>
            <p:cNvSpPr/>
            <p:nvPr/>
          </p:nvSpPr>
          <p:spPr bwMode="auto">
            <a:xfrm>
              <a:off x="4575862" y="4088618"/>
              <a:ext cx="735199" cy="180975"/>
            </a:xfrm>
            <a:prstGeom prst="rect">
              <a:avLst/>
            </a:prstGeom>
            <a:solidFill>
              <a:srgbClr val="00B0F0"/>
            </a:solidFill>
            <a:ln w="12700" cap="flat" cmpd="sng" algn="ctr">
              <a:solidFill>
                <a:schemeClr val="tx1"/>
              </a:solidFill>
              <a:prstDash val="solid"/>
              <a:round/>
              <a:headEnd type="none" w="med" len="med"/>
              <a:tailEnd type="none" w="med" len="med"/>
            </a:ln>
            <a:effectLst/>
          </p:spPr>
        </p:sp>
        <p:sp>
          <p:nvSpPr>
            <p:cNvPr id="28" name="Rectangle 27"/>
            <p:cNvSpPr/>
            <p:nvPr/>
          </p:nvSpPr>
          <p:spPr bwMode="auto">
            <a:xfrm>
              <a:off x="5311064" y="2859233"/>
              <a:ext cx="459492" cy="143535"/>
            </a:xfrm>
            <a:prstGeom prst="rect">
              <a:avLst/>
            </a:prstGeom>
            <a:solidFill>
              <a:schemeClr val="tx1">
                <a:lumMod val="50000"/>
              </a:schemeClr>
            </a:solidFill>
            <a:ln w="12700" cap="flat" cmpd="sng" algn="ctr">
              <a:solidFill>
                <a:schemeClr val="bg1">
                  <a:lumMod val="50000"/>
                </a:schemeClr>
              </a:solidFill>
              <a:prstDash val="solid"/>
              <a:round/>
              <a:headEnd type="none" w="med" len="med"/>
              <a:tailEnd type="none" w="med" len="med"/>
            </a:ln>
            <a:effectLst/>
          </p:spPr>
          <p:txBody>
            <a:bodyPr tIns="0" bIns="0"/>
            <a:lstStyle/>
            <a:p>
              <a:pPr algn="ctr"/>
              <a:r>
                <a:rPr lang="en-US" sz="1100" dirty="0">
                  <a:solidFill>
                    <a:schemeClr val="bg1"/>
                  </a:solidFill>
                </a:rPr>
                <a:t>DATE</a:t>
              </a:r>
            </a:p>
          </p:txBody>
        </p:sp>
        <p:sp>
          <p:nvSpPr>
            <p:cNvPr id="29" name="Rectangle 28"/>
            <p:cNvSpPr/>
            <p:nvPr/>
          </p:nvSpPr>
          <p:spPr bwMode="auto">
            <a:xfrm>
              <a:off x="5311064" y="3002768"/>
              <a:ext cx="459492" cy="180975"/>
            </a:xfrm>
            <a:prstGeom prst="rect">
              <a:avLst/>
            </a:prstGeom>
            <a:solidFill>
              <a:srgbClr val="FFC000"/>
            </a:solidFill>
            <a:ln w="12700" cap="flat" cmpd="sng" algn="ctr">
              <a:solidFill>
                <a:schemeClr val="tx1"/>
              </a:solidFill>
              <a:prstDash val="solid"/>
              <a:round/>
              <a:headEnd type="none" w="med" len="med"/>
              <a:tailEnd type="none" w="med" len="med"/>
            </a:ln>
            <a:effectLst/>
          </p:spPr>
        </p:sp>
        <p:sp>
          <p:nvSpPr>
            <p:cNvPr id="30" name="Rectangle 29"/>
            <p:cNvSpPr/>
            <p:nvPr/>
          </p:nvSpPr>
          <p:spPr bwMode="auto">
            <a:xfrm>
              <a:off x="5311063" y="3183743"/>
              <a:ext cx="459492" cy="180975"/>
            </a:xfrm>
            <a:prstGeom prst="rect">
              <a:avLst/>
            </a:prstGeom>
            <a:solidFill>
              <a:srgbClr val="FFC000"/>
            </a:solidFill>
            <a:ln w="12700" cap="flat" cmpd="sng" algn="ctr">
              <a:solidFill>
                <a:schemeClr val="tx1"/>
              </a:solidFill>
              <a:prstDash val="solid"/>
              <a:round/>
              <a:headEnd type="none" w="med" len="med"/>
              <a:tailEnd type="none" w="med" len="med"/>
            </a:ln>
            <a:effectLst/>
          </p:spPr>
        </p:sp>
        <p:sp>
          <p:nvSpPr>
            <p:cNvPr id="31" name="Rectangle 30"/>
            <p:cNvSpPr/>
            <p:nvPr/>
          </p:nvSpPr>
          <p:spPr bwMode="auto">
            <a:xfrm>
              <a:off x="5311063" y="3364718"/>
              <a:ext cx="459492" cy="180975"/>
            </a:xfrm>
            <a:prstGeom prst="rect">
              <a:avLst/>
            </a:prstGeom>
            <a:solidFill>
              <a:srgbClr val="FFC000"/>
            </a:solidFill>
            <a:ln w="12700" cap="flat" cmpd="sng" algn="ctr">
              <a:solidFill>
                <a:schemeClr val="tx1"/>
              </a:solidFill>
              <a:prstDash val="solid"/>
              <a:round/>
              <a:headEnd type="none" w="med" len="med"/>
              <a:tailEnd type="none" w="med" len="med"/>
            </a:ln>
            <a:effectLst/>
          </p:spPr>
        </p:sp>
        <p:sp>
          <p:nvSpPr>
            <p:cNvPr id="32" name="Rectangle 31"/>
            <p:cNvSpPr/>
            <p:nvPr/>
          </p:nvSpPr>
          <p:spPr bwMode="auto">
            <a:xfrm>
              <a:off x="5311063" y="3545693"/>
              <a:ext cx="459492" cy="180975"/>
            </a:xfrm>
            <a:prstGeom prst="rect">
              <a:avLst/>
            </a:prstGeom>
            <a:solidFill>
              <a:srgbClr val="FFC000"/>
            </a:solidFill>
            <a:ln w="12700" cap="flat" cmpd="sng" algn="ctr">
              <a:solidFill>
                <a:schemeClr val="tx1"/>
              </a:solidFill>
              <a:prstDash val="solid"/>
              <a:round/>
              <a:headEnd type="none" w="med" len="med"/>
              <a:tailEnd type="none" w="med" len="med"/>
            </a:ln>
            <a:effectLst/>
          </p:spPr>
        </p:sp>
        <p:sp>
          <p:nvSpPr>
            <p:cNvPr id="33" name="Rectangle 32"/>
            <p:cNvSpPr/>
            <p:nvPr/>
          </p:nvSpPr>
          <p:spPr bwMode="auto">
            <a:xfrm>
              <a:off x="5311063" y="3726668"/>
              <a:ext cx="459492" cy="180975"/>
            </a:xfrm>
            <a:prstGeom prst="rect">
              <a:avLst/>
            </a:prstGeom>
            <a:solidFill>
              <a:srgbClr val="FFC000"/>
            </a:solidFill>
            <a:ln w="12700" cap="flat" cmpd="sng" algn="ctr">
              <a:solidFill>
                <a:schemeClr val="tx1"/>
              </a:solidFill>
              <a:prstDash val="solid"/>
              <a:round/>
              <a:headEnd type="none" w="med" len="med"/>
              <a:tailEnd type="none" w="med" len="med"/>
            </a:ln>
            <a:effectLst/>
          </p:spPr>
        </p:sp>
        <p:sp>
          <p:nvSpPr>
            <p:cNvPr id="34" name="Rectangle 33"/>
            <p:cNvSpPr/>
            <p:nvPr/>
          </p:nvSpPr>
          <p:spPr bwMode="auto">
            <a:xfrm>
              <a:off x="5311063" y="3907643"/>
              <a:ext cx="459492" cy="180975"/>
            </a:xfrm>
            <a:prstGeom prst="rect">
              <a:avLst/>
            </a:prstGeom>
            <a:solidFill>
              <a:srgbClr val="FFC000"/>
            </a:solidFill>
            <a:ln w="12700" cap="flat" cmpd="sng" algn="ctr">
              <a:solidFill>
                <a:schemeClr val="tx1"/>
              </a:solidFill>
              <a:prstDash val="solid"/>
              <a:round/>
              <a:headEnd type="none" w="med" len="med"/>
              <a:tailEnd type="none" w="med" len="med"/>
            </a:ln>
            <a:effectLst/>
          </p:spPr>
        </p:sp>
        <p:sp>
          <p:nvSpPr>
            <p:cNvPr id="35" name="Rectangle 34"/>
            <p:cNvSpPr/>
            <p:nvPr/>
          </p:nvSpPr>
          <p:spPr bwMode="auto">
            <a:xfrm>
              <a:off x="5311063" y="4088618"/>
              <a:ext cx="459492" cy="180975"/>
            </a:xfrm>
            <a:prstGeom prst="rect">
              <a:avLst/>
            </a:prstGeom>
            <a:solidFill>
              <a:srgbClr val="FFC000"/>
            </a:solidFill>
            <a:ln w="12700" cap="flat" cmpd="sng" algn="ctr">
              <a:solidFill>
                <a:schemeClr val="tx1"/>
              </a:solidFill>
              <a:prstDash val="solid"/>
              <a:round/>
              <a:headEnd type="none" w="med" len="med"/>
              <a:tailEnd type="none" w="med" len="med"/>
            </a:ln>
            <a:effectLst/>
          </p:spPr>
        </p:sp>
        <p:sp>
          <p:nvSpPr>
            <p:cNvPr id="36" name="Rectangle 35"/>
            <p:cNvSpPr/>
            <p:nvPr/>
          </p:nvSpPr>
          <p:spPr bwMode="auto">
            <a:xfrm>
              <a:off x="5770558" y="2859233"/>
              <a:ext cx="631967" cy="143535"/>
            </a:xfrm>
            <a:prstGeom prst="rect">
              <a:avLst/>
            </a:prstGeom>
            <a:solidFill>
              <a:schemeClr val="tx1">
                <a:lumMod val="50000"/>
              </a:schemeClr>
            </a:solidFill>
            <a:ln w="12700" cap="flat" cmpd="sng" algn="ctr">
              <a:solidFill>
                <a:schemeClr val="bg1">
                  <a:lumMod val="50000"/>
                </a:schemeClr>
              </a:solidFill>
              <a:prstDash val="solid"/>
              <a:round/>
              <a:headEnd type="none" w="med" len="med"/>
              <a:tailEnd type="none" w="med" len="med"/>
            </a:ln>
            <a:effectLst/>
          </p:spPr>
          <p:txBody>
            <a:bodyPr tIns="0" bIns="0"/>
            <a:lstStyle/>
            <a:p>
              <a:pPr algn="ctr"/>
              <a:r>
                <a:rPr lang="en-US" sz="1100" dirty="0">
                  <a:solidFill>
                    <a:schemeClr val="bg1"/>
                  </a:solidFill>
                </a:rPr>
                <a:t>AMOUNT</a:t>
              </a:r>
            </a:p>
          </p:txBody>
        </p:sp>
        <p:sp>
          <p:nvSpPr>
            <p:cNvPr id="37" name="Rectangle 36"/>
            <p:cNvSpPr/>
            <p:nvPr/>
          </p:nvSpPr>
          <p:spPr bwMode="auto">
            <a:xfrm>
              <a:off x="5770558" y="3002768"/>
              <a:ext cx="631967" cy="180975"/>
            </a:xfrm>
            <a:prstGeom prst="rect">
              <a:avLst/>
            </a:prstGeom>
            <a:solidFill>
              <a:srgbClr val="008770"/>
            </a:solidFill>
            <a:ln w="12700" cap="flat" cmpd="sng" algn="ctr">
              <a:solidFill>
                <a:schemeClr val="tx1"/>
              </a:solidFill>
              <a:prstDash val="solid"/>
              <a:round/>
              <a:headEnd type="none" w="med" len="med"/>
              <a:tailEnd type="none" w="med" len="med"/>
            </a:ln>
            <a:effectLst/>
          </p:spPr>
        </p:sp>
        <p:sp>
          <p:nvSpPr>
            <p:cNvPr id="38" name="Rectangle 37"/>
            <p:cNvSpPr/>
            <p:nvPr/>
          </p:nvSpPr>
          <p:spPr bwMode="auto">
            <a:xfrm>
              <a:off x="5770557" y="3183743"/>
              <a:ext cx="631967" cy="180975"/>
            </a:xfrm>
            <a:prstGeom prst="rect">
              <a:avLst/>
            </a:prstGeom>
            <a:solidFill>
              <a:srgbClr val="008770"/>
            </a:solidFill>
            <a:ln w="12700" cap="flat" cmpd="sng" algn="ctr">
              <a:solidFill>
                <a:schemeClr val="tx1"/>
              </a:solidFill>
              <a:prstDash val="solid"/>
              <a:round/>
              <a:headEnd type="none" w="med" len="med"/>
              <a:tailEnd type="none" w="med" len="med"/>
            </a:ln>
            <a:effectLst/>
          </p:spPr>
        </p:sp>
        <p:sp>
          <p:nvSpPr>
            <p:cNvPr id="39" name="Rectangle 38"/>
            <p:cNvSpPr/>
            <p:nvPr/>
          </p:nvSpPr>
          <p:spPr bwMode="auto">
            <a:xfrm>
              <a:off x="5770557" y="3364718"/>
              <a:ext cx="631967" cy="180975"/>
            </a:xfrm>
            <a:prstGeom prst="rect">
              <a:avLst/>
            </a:prstGeom>
            <a:solidFill>
              <a:srgbClr val="008770"/>
            </a:solidFill>
            <a:ln w="12700" cap="flat" cmpd="sng" algn="ctr">
              <a:solidFill>
                <a:schemeClr val="tx1"/>
              </a:solidFill>
              <a:prstDash val="solid"/>
              <a:round/>
              <a:headEnd type="none" w="med" len="med"/>
              <a:tailEnd type="none" w="med" len="med"/>
            </a:ln>
            <a:effectLst/>
          </p:spPr>
        </p:sp>
        <p:sp>
          <p:nvSpPr>
            <p:cNvPr id="40" name="Rectangle 39"/>
            <p:cNvSpPr/>
            <p:nvPr/>
          </p:nvSpPr>
          <p:spPr bwMode="auto">
            <a:xfrm>
              <a:off x="5770557" y="3545693"/>
              <a:ext cx="631967" cy="180975"/>
            </a:xfrm>
            <a:prstGeom prst="rect">
              <a:avLst/>
            </a:prstGeom>
            <a:solidFill>
              <a:srgbClr val="008770"/>
            </a:solidFill>
            <a:ln w="12700" cap="flat" cmpd="sng" algn="ctr">
              <a:solidFill>
                <a:schemeClr val="tx1"/>
              </a:solidFill>
              <a:prstDash val="solid"/>
              <a:round/>
              <a:headEnd type="none" w="med" len="med"/>
              <a:tailEnd type="none" w="med" len="med"/>
            </a:ln>
            <a:effectLst/>
          </p:spPr>
        </p:sp>
        <p:sp>
          <p:nvSpPr>
            <p:cNvPr id="41" name="Rectangle 40"/>
            <p:cNvSpPr/>
            <p:nvPr/>
          </p:nvSpPr>
          <p:spPr bwMode="auto">
            <a:xfrm>
              <a:off x="5770557" y="3726668"/>
              <a:ext cx="631967" cy="180975"/>
            </a:xfrm>
            <a:prstGeom prst="rect">
              <a:avLst/>
            </a:prstGeom>
            <a:solidFill>
              <a:srgbClr val="008770"/>
            </a:solidFill>
            <a:ln w="12700" cap="flat" cmpd="sng" algn="ctr">
              <a:solidFill>
                <a:schemeClr val="tx1"/>
              </a:solidFill>
              <a:prstDash val="solid"/>
              <a:round/>
              <a:headEnd type="none" w="med" len="med"/>
              <a:tailEnd type="none" w="med" len="med"/>
            </a:ln>
            <a:effectLst/>
          </p:spPr>
        </p:sp>
        <p:sp>
          <p:nvSpPr>
            <p:cNvPr id="42" name="Rectangle 41"/>
            <p:cNvSpPr/>
            <p:nvPr/>
          </p:nvSpPr>
          <p:spPr bwMode="auto">
            <a:xfrm>
              <a:off x="5770555" y="3907643"/>
              <a:ext cx="631967" cy="180975"/>
            </a:xfrm>
            <a:prstGeom prst="rect">
              <a:avLst/>
            </a:prstGeom>
            <a:solidFill>
              <a:srgbClr val="008770"/>
            </a:solidFill>
            <a:ln w="12700" cap="flat" cmpd="sng" algn="ctr">
              <a:solidFill>
                <a:schemeClr val="tx1"/>
              </a:solidFill>
              <a:prstDash val="solid"/>
              <a:round/>
              <a:headEnd type="none" w="med" len="med"/>
              <a:tailEnd type="none" w="med" len="med"/>
            </a:ln>
            <a:effectLst/>
          </p:spPr>
        </p:sp>
        <p:sp>
          <p:nvSpPr>
            <p:cNvPr id="43" name="Rectangle 42"/>
            <p:cNvSpPr/>
            <p:nvPr/>
          </p:nvSpPr>
          <p:spPr bwMode="auto">
            <a:xfrm>
              <a:off x="5770555" y="4088618"/>
              <a:ext cx="631967" cy="180975"/>
            </a:xfrm>
            <a:prstGeom prst="rect">
              <a:avLst/>
            </a:prstGeom>
            <a:solidFill>
              <a:srgbClr val="008770"/>
            </a:solidFill>
            <a:ln w="12700" cap="flat" cmpd="sng" algn="ctr">
              <a:solidFill>
                <a:schemeClr val="tx1"/>
              </a:solidFill>
              <a:prstDash val="solid"/>
              <a:round/>
              <a:headEnd type="none" w="med" len="med"/>
              <a:tailEnd type="none" w="med" len="med"/>
            </a:ln>
            <a:effectLst/>
          </p:spPr>
        </p:sp>
        <p:sp>
          <p:nvSpPr>
            <p:cNvPr id="67" name="Rectangle 66"/>
            <p:cNvSpPr/>
            <p:nvPr/>
          </p:nvSpPr>
          <p:spPr>
            <a:xfrm>
              <a:off x="4116365" y="4081543"/>
              <a:ext cx="2286156" cy="195122"/>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grpSp>
    </p:spTree>
    <p:extLst>
      <p:ext uri="{BB962C8B-B14F-4D97-AF65-F5344CB8AC3E}">
        <p14:creationId xmlns:p14="http://schemas.microsoft.com/office/powerpoint/2010/main" val="174385548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19845EA0-4928-8B4C-848A-9975F83B1157}"/>
              </a:ext>
            </a:extLst>
          </p:cNvPr>
          <p:cNvSpPr>
            <a:spLocks noGrp="1"/>
          </p:cNvSpPr>
          <p:nvPr>
            <p:ph type="title"/>
          </p:nvPr>
        </p:nvSpPr>
        <p:spPr/>
        <p:txBody>
          <a:bodyPr/>
          <a:lstStyle/>
          <a:p>
            <a:r>
              <a:rPr lang="en-US" dirty="0"/>
              <a:t>RDBMS to Graph Summary</a:t>
            </a:r>
          </a:p>
        </p:txBody>
      </p:sp>
      <p:sp>
        <p:nvSpPr>
          <p:cNvPr id="9" name="Content Placeholder 8">
            <a:extLst>
              <a:ext uri="{FF2B5EF4-FFF2-40B4-BE49-F238E27FC236}">
                <a16:creationId xmlns:a16="http://schemas.microsoft.com/office/drawing/2014/main" id="{CF092E03-8AE8-FD44-8420-43A2406B738F}"/>
              </a:ext>
            </a:extLst>
          </p:cNvPr>
          <p:cNvSpPr>
            <a:spLocks noGrp="1"/>
          </p:cNvSpPr>
          <p:nvPr>
            <p:ph idx="1"/>
          </p:nvPr>
        </p:nvSpPr>
        <p:spPr>
          <a:xfrm>
            <a:off x="540701" y="6993441"/>
            <a:ext cx="16596361" cy="1575267"/>
          </a:xfrm>
        </p:spPr>
        <p:txBody>
          <a:bodyPr/>
          <a:lstStyle/>
          <a:p>
            <a:r>
              <a:rPr lang="en-US" dirty="0"/>
              <a:t>Making a shift from </a:t>
            </a:r>
            <a:r>
              <a:rPr lang="en-US" b="1" dirty="0"/>
              <a:t>Relational Databases </a:t>
            </a:r>
            <a:r>
              <a:rPr lang="en-US" dirty="0"/>
              <a:t>to </a:t>
            </a:r>
            <a:r>
              <a:rPr lang="en-US" b="1" dirty="0"/>
              <a:t>Single Node Graph </a:t>
            </a:r>
            <a:r>
              <a:rPr lang="en-US" dirty="0"/>
              <a:t>gives us a 1,000x increase in relational traversal performance</a:t>
            </a:r>
          </a:p>
          <a:p>
            <a:r>
              <a:rPr lang="en-US" dirty="0"/>
              <a:t>GTEPS = Billion Traversed Edges Per Second</a:t>
            </a:r>
          </a:p>
        </p:txBody>
      </p:sp>
      <p:sp>
        <p:nvSpPr>
          <p:cNvPr id="5" name="Slide Number Placeholder 4">
            <a:extLst>
              <a:ext uri="{FF2B5EF4-FFF2-40B4-BE49-F238E27FC236}">
                <a16:creationId xmlns:a16="http://schemas.microsoft.com/office/drawing/2014/main" id="{4EDC8B17-1E84-F841-9005-0A261043E723}"/>
              </a:ext>
            </a:extLst>
          </p:cNvPr>
          <p:cNvSpPr>
            <a:spLocks noGrp="1"/>
          </p:cNvSpPr>
          <p:nvPr>
            <p:ph type="sldNum" sz="quarter" idx="12"/>
          </p:nvPr>
        </p:nvSpPr>
        <p:spPr/>
        <p:txBody>
          <a:bodyPr/>
          <a:lstStyle/>
          <a:p>
            <a:fld id="{3310D8EA-3107-4873-B9AB-DD7D3E79053A}" type="slidenum">
              <a:rPr lang="en-US" smtClean="0"/>
              <a:t>7</a:t>
            </a:fld>
            <a:endParaRPr lang="en-US"/>
          </a:p>
        </p:txBody>
      </p:sp>
      <p:sp>
        <p:nvSpPr>
          <p:cNvPr id="10" name="Oval 9">
            <a:extLst>
              <a:ext uri="{FF2B5EF4-FFF2-40B4-BE49-F238E27FC236}">
                <a16:creationId xmlns:a16="http://schemas.microsoft.com/office/drawing/2014/main" id="{1769D696-2D6B-F34B-A685-5E39EA775539}"/>
              </a:ext>
            </a:extLst>
          </p:cNvPr>
          <p:cNvSpPr/>
          <p:nvPr/>
        </p:nvSpPr>
        <p:spPr>
          <a:xfrm>
            <a:off x="1814513" y="3159368"/>
            <a:ext cx="3271837" cy="1428750"/>
          </a:xfrm>
          <a:prstGeom prst="ellipse">
            <a:avLst/>
          </a:prstGeom>
          <a:solidFill>
            <a:srgbClr val="73FEFF"/>
          </a:solidFill>
          <a:ln>
            <a:solidFill>
              <a:schemeClr val="tx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b="1" dirty="0">
                <a:solidFill>
                  <a:schemeClr val="tx1">
                    <a:lumMod val="50000"/>
                  </a:schemeClr>
                </a:solidFill>
              </a:rPr>
              <a:t>Relational</a:t>
            </a:r>
          </a:p>
          <a:p>
            <a:pPr algn="ctr"/>
            <a:r>
              <a:rPr lang="en-US" b="1" dirty="0">
                <a:solidFill>
                  <a:schemeClr val="tx1">
                    <a:lumMod val="50000"/>
                  </a:schemeClr>
                </a:solidFill>
              </a:rPr>
              <a:t>Databases</a:t>
            </a:r>
          </a:p>
        </p:txBody>
      </p:sp>
      <p:sp>
        <p:nvSpPr>
          <p:cNvPr id="11" name="Oval 10">
            <a:extLst>
              <a:ext uri="{FF2B5EF4-FFF2-40B4-BE49-F238E27FC236}">
                <a16:creationId xmlns:a16="http://schemas.microsoft.com/office/drawing/2014/main" id="{A64D79F5-C393-0844-B9A6-E91DA95855B0}"/>
              </a:ext>
            </a:extLst>
          </p:cNvPr>
          <p:cNvSpPr/>
          <p:nvPr/>
        </p:nvSpPr>
        <p:spPr>
          <a:xfrm>
            <a:off x="7019131" y="3159368"/>
            <a:ext cx="3271837" cy="1428750"/>
          </a:xfrm>
          <a:prstGeom prst="ellipse">
            <a:avLst/>
          </a:prstGeom>
          <a:solidFill>
            <a:schemeClr val="accent1"/>
          </a:solidFill>
          <a:ln w="28575">
            <a:solidFill>
              <a:schemeClr val="tx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sz="2800" b="1" dirty="0">
                <a:solidFill>
                  <a:schemeClr val="bg1"/>
                </a:solidFill>
              </a:rPr>
              <a:t>Single Node</a:t>
            </a:r>
          </a:p>
          <a:p>
            <a:pPr algn="ctr"/>
            <a:r>
              <a:rPr lang="en-US" sz="2800" b="1" dirty="0">
                <a:solidFill>
                  <a:schemeClr val="bg1"/>
                </a:solidFill>
              </a:rPr>
              <a:t>Graph</a:t>
            </a:r>
          </a:p>
        </p:txBody>
      </p:sp>
      <p:cxnSp>
        <p:nvCxnSpPr>
          <p:cNvPr id="13" name="Straight Arrow Connector 12">
            <a:extLst>
              <a:ext uri="{FF2B5EF4-FFF2-40B4-BE49-F238E27FC236}">
                <a16:creationId xmlns:a16="http://schemas.microsoft.com/office/drawing/2014/main" id="{B682E1D1-9E0C-E24A-9280-E65D8942C19C}"/>
              </a:ext>
            </a:extLst>
          </p:cNvPr>
          <p:cNvCxnSpPr>
            <a:stCxn id="10" idx="6"/>
            <a:endCxn id="11" idx="2"/>
          </p:cNvCxnSpPr>
          <p:nvPr/>
        </p:nvCxnSpPr>
        <p:spPr>
          <a:xfrm>
            <a:off x="5086350" y="3873743"/>
            <a:ext cx="1932781" cy="0"/>
          </a:xfrm>
          <a:prstGeom prst="straightConnector1">
            <a:avLst/>
          </a:prstGeom>
          <a:ln w="762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4" name="TextBox 13">
            <a:extLst>
              <a:ext uri="{FF2B5EF4-FFF2-40B4-BE49-F238E27FC236}">
                <a16:creationId xmlns:a16="http://schemas.microsoft.com/office/drawing/2014/main" id="{667B42FD-0E3F-AE43-9E5E-D760692134DE}"/>
              </a:ext>
            </a:extLst>
          </p:cNvPr>
          <p:cNvSpPr txBox="1"/>
          <p:nvPr/>
        </p:nvSpPr>
        <p:spPr>
          <a:xfrm>
            <a:off x="5257802" y="3298671"/>
            <a:ext cx="1471612" cy="464614"/>
          </a:xfrm>
          <a:prstGeom prst="rect">
            <a:avLst/>
          </a:prstGeom>
          <a:noFill/>
        </p:spPr>
        <p:txBody>
          <a:bodyPr wrap="square" rtlCol="0">
            <a:spAutoFit/>
          </a:bodyPr>
          <a:lstStyle/>
          <a:p>
            <a:pPr algn="ctr"/>
            <a:r>
              <a:rPr lang="en-US" b="1" dirty="0"/>
              <a:t>1,000x</a:t>
            </a:r>
          </a:p>
        </p:txBody>
      </p:sp>
      <p:sp>
        <p:nvSpPr>
          <p:cNvPr id="15" name="TextBox 14">
            <a:extLst>
              <a:ext uri="{FF2B5EF4-FFF2-40B4-BE49-F238E27FC236}">
                <a16:creationId xmlns:a16="http://schemas.microsoft.com/office/drawing/2014/main" id="{288C8525-B65E-B743-A9C9-DC17775F0512}"/>
              </a:ext>
            </a:extLst>
          </p:cNvPr>
          <p:cNvSpPr txBox="1"/>
          <p:nvPr/>
        </p:nvSpPr>
        <p:spPr>
          <a:xfrm>
            <a:off x="5316934" y="3984202"/>
            <a:ext cx="1471612" cy="464614"/>
          </a:xfrm>
          <a:prstGeom prst="rect">
            <a:avLst/>
          </a:prstGeom>
          <a:noFill/>
        </p:spPr>
        <p:txBody>
          <a:bodyPr wrap="square" rtlCol="0">
            <a:spAutoFit/>
          </a:bodyPr>
          <a:lstStyle/>
          <a:p>
            <a:pPr algn="ctr"/>
            <a:r>
              <a:rPr lang="en-US" b="1" dirty="0"/>
              <a:t>GTEPS</a:t>
            </a:r>
          </a:p>
        </p:txBody>
      </p:sp>
    </p:spTree>
    <p:extLst>
      <p:ext uri="{BB962C8B-B14F-4D97-AF65-F5344CB8AC3E}">
        <p14:creationId xmlns:p14="http://schemas.microsoft.com/office/powerpoint/2010/main" val="6070298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FF264A3-6A7B-8E4F-9EE7-B0C9B25D518C}"/>
              </a:ext>
            </a:extLst>
          </p:cNvPr>
          <p:cNvSpPr>
            <a:spLocks noGrp="1"/>
          </p:cNvSpPr>
          <p:nvPr>
            <p:ph type="title"/>
          </p:nvPr>
        </p:nvSpPr>
        <p:spPr/>
        <p:txBody>
          <a:bodyPr/>
          <a:lstStyle/>
          <a:p>
            <a:r>
              <a:rPr lang="en-US" dirty="0"/>
              <a:t>Serial vs. Parallel Graph Algorithms</a:t>
            </a:r>
          </a:p>
        </p:txBody>
      </p:sp>
      <p:sp>
        <p:nvSpPr>
          <p:cNvPr id="3" name="Content Placeholder 2">
            <a:extLst>
              <a:ext uri="{FF2B5EF4-FFF2-40B4-BE49-F238E27FC236}">
                <a16:creationId xmlns:a16="http://schemas.microsoft.com/office/drawing/2014/main" id="{A5083E51-1397-1547-8BD2-56AAAF8447D9}"/>
              </a:ext>
            </a:extLst>
          </p:cNvPr>
          <p:cNvSpPr>
            <a:spLocks noGrp="1"/>
          </p:cNvSpPr>
          <p:nvPr>
            <p:ph sz="half" idx="1"/>
          </p:nvPr>
        </p:nvSpPr>
        <p:spPr>
          <a:xfrm>
            <a:off x="726439" y="5720316"/>
            <a:ext cx="8102601" cy="2941086"/>
          </a:xfrm>
        </p:spPr>
        <p:txBody>
          <a:bodyPr/>
          <a:lstStyle/>
          <a:p>
            <a:r>
              <a:rPr lang="en-US" dirty="0"/>
              <a:t>One task cannot begin before the prior task is complete</a:t>
            </a:r>
          </a:p>
          <a:p>
            <a:r>
              <a:rPr lang="en-US" dirty="0"/>
              <a:t>Task order is important</a:t>
            </a:r>
          </a:p>
          <a:p>
            <a:r>
              <a:rPr lang="en-US" dirty="0"/>
              <a:t>Serial algorithms work well on traditional CPUs</a:t>
            </a:r>
          </a:p>
        </p:txBody>
      </p:sp>
      <p:sp>
        <p:nvSpPr>
          <p:cNvPr id="4" name="Content Placeholder 3">
            <a:extLst>
              <a:ext uri="{FF2B5EF4-FFF2-40B4-BE49-F238E27FC236}">
                <a16:creationId xmlns:a16="http://schemas.microsoft.com/office/drawing/2014/main" id="{BD7E99E6-D4BF-384C-B659-05C6067B7139}"/>
              </a:ext>
            </a:extLst>
          </p:cNvPr>
          <p:cNvSpPr>
            <a:spLocks noGrp="1"/>
          </p:cNvSpPr>
          <p:nvPr>
            <p:ph sz="half" idx="2"/>
          </p:nvPr>
        </p:nvSpPr>
        <p:spPr>
          <a:xfrm>
            <a:off x="9052561" y="5875030"/>
            <a:ext cx="8302172" cy="2786372"/>
          </a:xfrm>
        </p:spPr>
        <p:txBody>
          <a:bodyPr/>
          <a:lstStyle/>
          <a:p>
            <a:r>
              <a:rPr lang="en-US" dirty="0"/>
              <a:t>Many tasks can be done independently</a:t>
            </a:r>
          </a:p>
          <a:p>
            <a:r>
              <a:rPr lang="en-US" dirty="0"/>
              <a:t>Task order in not relevent</a:t>
            </a:r>
          </a:p>
          <a:p>
            <a:r>
              <a:rPr lang="en-US" dirty="0"/>
              <a:t>Tasks can usually be done faster on parallel hardware such as an FPGA</a:t>
            </a:r>
          </a:p>
          <a:p>
            <a:endParaRPr lang="en-US" dirty="0"/>
          </a:p>
        </p:txBody>
      </p:sp>
      <p:sp>
        <p:nvSpPr>
          <p:cNvPr id="6" name="Slide Number Placeholder 5">
            <a:extLst>
              <a:ext uri="{FF2B5EF4-FFF2-40B4-BE49-F238E27FC236}">
                <a16:creationId xmlns:a16="http://schemas.microsoft.com/office/drawing/2014/main" id="{C5F07428-F0C6-2748-B6A0-977456D67E13}"/>
              </a:ext>
            </a:extLst>
          </p:cNvPr>
          <p:cNvSpPr>
            <a:spLocks noGrp="1"/>
          </p:cNvSpPr>
          <p:nvPr>
            <p:ph type="sldNum" sz="quarter" idx="12"/>
          </p:nvPr>
        </p:nvSpPr>
        <p:spPr/>
        <p:txBody>
          <a:bodyPr/>
          <a:lstStyle/>
          <a:p>
            <a:fld id="{3310D8EA-3107-4873-B9AB-DD7D3E79053A}" type="slidenum">
              <a:rPr lang="en-US" smtClean="0"/>
              <a:t>8</a:t>
            </a:fld>
            <a:endParaRPr lang="en-US"/>
          </a:p>
        </p:txBody>
      </p:sp>
      <p:sp>
        <p:nvSpPr>
          <p:cNvPr id="7" name="Text Placeholder 6">
            <a:extLst>
              <a:ext uri="{FF2B5EF4-FFF2-40B4-BE49-F238E27FC236}">
                <a16:creationId xmlns:a16="http://schemas.microsoft.com/office/drawing/2014/main" id="{15DA7808-35AB-8A4A-A29D-5F8F28F91D69}"/>
              </a:ext>
            </a:extLst>
          </p:cNvPr>
          <p:cNvSpPr>
            <a:spLocks noGrp="1"/>
          </p:cNvSpPr>
          <p:nvPr>
            <p:ph type="body" idx="13"/>
          </p:nvPr>
        </p:nvSpPr>
        <p:spPr>
          <a:xfrm>
            <a:off x="2013143" y="2233972"/>
            <a:ext cx="5277766" cy="721783"/>
          </a:xfrm>
        </p:spPr>
        <p:txBody>
          <a:bodyPr/>
          <a:lstStyle/>
          <a:p>
            <a:pPr algn="ctr"/>
            <a:r>
              <a:rPr lang="en-US" b="1" dirty="0">
                <a:solidFill>
                  <a:schemeClr val="tx1">
                    <a:lumMod val="50000"/>
                  </a:schemeClr>
                </a:solidFill>
              </a:rPr>
              <a:t>Serial Graph Algorithms</a:t>
            </a:r>
          </a:p>
        </p:txBody>
      </p:sp>
      <p:sp>
        <p:nvSpPr>
          <p:cNvPr id="8" name="Text Placeholder 7">
            <a:extLst>
              <a:ext uri="{FF2B5EF4-FFF2-40B4-BE49-F238E27FC236}">
                <a16:creationId xmlns:a16="http://schemas.microsoft.com/office/drawing/2014/main" id="{3C4126D3-11DE-DF47-80CC-F47C71949161}"/>
              </a:ext>
            </a:extLst>
          </p:cNvPr>
          <p:cNvSpPr>
            <a:spLocks noGrp="1"/>
          </p:cNvSpPr>
          <p:nvPr>
            <p:ph type="body" sz="quarter" idx="3"/>
          </p:nvPr>
        </p:nvSpPr>
        <p:spPr>
          <a:xfrm>
            <a:off x="8966600" y="2233972"/>
            <a:ext cx="8270240" cy="721783"/>
          </a:xfrm>
        </p:spPr>
        <p:txBody>
          <a:bodyPr/>
          <a:lstStyle/>
          <a:p>
            <a:pPr algn="ctr"/>
            <a:r>
              <a:rPr lang="en-US" b="1" dirty="0">
                <a:solidFill>
                  <a:schemeClr val="tx1">
                    <a:lumMod val="50000"/>
                  </a:schemeClr>
                </a:solidFill>
              </a:rPr>
              <a:t>Parallel Graph Algorithms</a:t>
            </a:r>
          </a:p>
        </p:txBody>
      </p:sp>
      <p:sp>
        <p:nvSpPr>
          <p:cNvPr id="9" name="Rectangle 8">
            <a:extLst>
              <a:ext uri="{FF2B5EF4-FFF2-40B4-BE49-F238E27FC236}">
                <a16:creationId xmlns:a16="http://schemas.microsoft.com/office/drawing/2014/main" id="{FDCE0AE2-0EDC-5A41-9D84-31D1C69F081F}"/>
              </a:ext>
            </a:extLst>
          </p:cNvPr>
          <p:cNvSpPr/>
          <p:nvPr/>
        </p:nvSpPr>
        <p:spPr>
          <a:xfrm>
            <a:off x="2356807" y="3798666"/>
            <a:ext cx="1133559" cy="636449"/>
          </a:xfrm>
          <a:prstGeom prst="rect">
            <a:avLst/>
          </a:prstGeom>
          <a:solidFill>
            <a:schemeClr val="accent1"/>
          </a:solidFill>
          <a:ln w="38100">
            <a:solidFill>
              <a:schemeClr val="tx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t>Task</a:t>
            </a:r>
          </a:p>
        </p:txBody>
      </p:sp>
      <p:sp>
        <p:nvSpPr>
          <p:cNvPr id="10" name="Rectangle 9">
            <a:extLst>
              <a:ext uri="{FF2B5EF4-FFF2-40B4-BE49-F238E27FC236}">
                <a16:creationId xmlns:a16="http://schemas.microsoft.com/office/drawing/2014/main" id="{268314C8-A7B5-2E47-A3D6-C517AF61972B}"/>
              </a:ext>
            </a:extLst>
          </p:cNvPr>
          <p:cNvSpPr/>
          <p:nvPr/>
        </p:nvSpPr>
        <p:spPr>
          <a:xfrm>
            <a:off x="4000131" y="3798666"/>
            <a:ext cx="1133559" cy="636449"/>
          </a:xfrm>
          <a:prstGeom prst="rect">
            <a:avLst/>
          </a:prstGeom>
          <a:solidFill>
            <a:schemeClr val="accent1"/>
          </a:solidFill>
          <a:ln w="38100">
            <a:solidFill>
              <a:schemeClr val="tx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t>Task</a:t>
            </a:r>
          </a:p>
        </p:txBody>
      </p:sp>
      <p:cxnSp>
        <p:nvCxnSpPr>
          <p:cNvPr id="12" name="Straight Arrow Connector 11">
            <a:extLst>
              <a:ext uri="{FF2B5EF4-FFF2-40B4-BE49-F238E27FC236}">
                <a16:creationId xmlns:a16="http://schemas.microsoft.com/office/drawing/2014/main" id="{D5CACBF4-71C9-544A-8B90-E531B47C3763}"/>
              </a:ext>
            </a:extLst>
          </p:cNvPr>
          <p:cNvCxnSpPr>
            <a:stCxn id="9" idx="3"/>
            <a:endCxn id="10" idx="1"/>
          </p:cNvCxnSpPr>
          <p:nvPr/>
        </p:nvCxnSpPr>
        <p:spPr>
          <a:xfrm>
            <a:off x="3490366" y="4116891"/>
            <a:ext cx="509765" cy="0"/>
          </a:xfrm>
          <a:prstGeom prst="straightConnector1">
            <a:avLst/>
          </a:prstGeom>
          <a:ln w="5715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3" name="Rectangle 12">
            <a:extLst>
              <a:ext uri="{FF2B5EF4-FFF2-40B4-BE49-F238E27FC236}">
                <a16:creationId xmlns:a16="http://schemas.microsoft.com/office/drawing/2014/main" id="{FE5DB5EA-1FFA-1646-ACA7-2EF260476548}"/>
              </a:ext>
            </a:extLst>
          </p:cNvPr>
          <p:cNvSpPr/>
          <p:nvPr/>
        </p:nvSpPr>
        <p:spPr>
          <a:xfrm>
            <a:off x="5632755" y="3802971"/>
            <a:ext cx="1133559" cy="636449"/>
          </a:xfrm>
          <a:prstGeom prst="rect">
            <a:avLst/>
          </a:prstGeom>
          <a:solidFill>
            <a:schemeClr val="accent1"/>
          </a:solidFill>
          <a:ln w="38100">
            <a:solidFill>
              <a:schemeClr val="tx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t>Task</a:t>
            </a:r>
          </a:p>
        </p:txBody>
      </p:sp>
      <p:cxnSp>
        <p:nvCxnSpPr>
          <p:cNvPr id="14" name="Straight Arrow Connector 13">
            <a:extLst>
              <a:ext uri="{FF2B5EF4-FFF2-40B4-BE49-F238E27FC236}">
                <a16:creationId xmlns:a16="http://schemas.microsoft.com/office/drawing/2014/main" id="{11C9D017-45FB-3D4F-8A8D-EB62872A5AC9}"/>
              </a:ext>
            </a:extLst>
          </p:cNvPr>
          <p:cNvCxnSpPr>
            <a:cxnSpLocks/>
            <a:stCxn id="10" idx="3"/>
            <a:endCxn id="13" idx="1"/>
          </p:cNvCxnSpPr>
          <p:nvPr/>
        </p:nvCxnSpPr>
        <p:spPr>
          <a:xfrm>
            <a:off x="5133690" y="4116891"/>
            <a:ext cx="499065" cy="4305"/>
          </a:xfrm>
          <a:prstGeom prst="straightConnector1">
            <a:avLst/>
          </a:prstGeom>
          <a:ln w="5715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6" name="Oval 15">
            <a:extLst>
              <a:ext uri="{FF2B5EF4-FFF2-40B4-BE49-F238E27FC236}">
                <a16:creationId xmlns:a16="http://schemas.microsoft.com/office/drawing/2014/main" id="{01EA669F-7938-F640-AEE4-691AD352C823}"/>
              </a:ext>
            </a:extLst>
          </p:cNvPr>
          <p:cNvSpPr/>
          <p:nvPr/>
        </p:nvSpPr>
        <p:spPr>
          <a:xfrm>
            <a:off x="683882" y="3798666"/>
            <a:ext cx="1214159" cy="636449"/>
          </a:xfrm>
          <a:prstGeom prst="ellipse">
            <a:avLst/>
          </a:prstGeom>
          <a:solidFill>
            <a:srgbClr val="008770"/>
          </a:solidFill>
          <a:ln w="38100">
            <a:solidFill>
              <a:schemeClr val="tx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t>Start</a:t>
            </a:r>
          </a:p>
        </p:txBody>
      </p:sp>
      <p:cxnSp>
        <p:nvCxnSpPr>
          <p:cNvPr id="17" name="Straight Arrow Connector 16">
            <a:extLst>
              <a:ext uri="{FF2B5EF4-FFF2-40B4-BE49-F238E27FC236}">
                <a16:creationId xmlns:a16="http://schemas.microsoft.com/office/drawing/2014/main" id="{765F1BA7-2C00-064B-8013-5E5BD74BF668}"/>
              </a:ext>
            </a:extLst>
          </p:cNvPr>
          <p:cNvCxnSpPr>
            <a:cxnSpLocks/>
            <a:stCxn id="16" idx="6"/>
            <a:endCxn id="9" idx="1"/>
          </p:cNvCxnSpPr>
          <p:nvPr/>
        </p:nvCxnSpPr>
        <p:spPr>
          <a:xfrm>
            <a:off x="1898041" y="4116891"/>
            <a:ext cx="458766" cy="0"/>
          </a:xfrm>
          <a:prstGeom prst="straightConnector1">
            <a:avLst/>
          </a:prstGeom>
          <a:ln w="5715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9" name="Oval 18">
            <a:extLst>
              <a:ext uri="{FF2B5EF4-FFF2-40B4-BE49-F238E27FC236}">
                <a16:creationId xmlns:a16="http://schemas.microsoft.com/office/drawing/2014/main" id="{DBB92231-63F0-5F4C-ABBA-BBEDA483F730}"/>
              </a:ext>
            </a:extLst>
          </p:cNvPr>
          <p:cNvSpPr/>
          <p:nvPr/>
        </p:nvSpPr>
        <p:spPr>
          <a:xfrm>
            <a:off x="7248352" y="3819931"/>
            <a:ext cx="1214159" cy="636449"/>
          </a:xfrm>
          <a:prstGeom prst="ellipse">
            <a:avLst/>
          </a:prstGeom>
          <a:solidFill>
            <a:srgbClr val="008770"/>
          </a:solidFill>
          <a:ln w="38100">
            <a:solidFill>
              <a:schemeClr val="tx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t>End</a:t>
            </a:r>
          </a:p>
        </p:txBody>
      </p:sp>
      <p:cxnSp>
        <p:nvCxnSpPr>
          <p:cNvPr id="20" name="Straight Arrow Connector 19">
            <a:extLst>
              <a:ext uri="{FF2B5EF4-FFF2-40B4-BE49-F238E27FC236}">
                <a16:creationId xmlns:a16="http://schemas.microsoft.com/office/drawing/2014/main" id="{5BCB58DD-51BE-3047-958A-A9C6B32F9C01}"/>
              </a:ext>
            </a:extLst>
          </p:cNvPr>
          <p:cNvCxnSpPr>
            <a:cxnSpLocks/>
            <a:stCxn id="13" idx="3"/>
            <a:endCxn id="19" idx="2"/>
          </p:cNvCxnSpPr>
          <p:nvPr/>
        </p:nvCxnSpPr>
        <p:spPr>
          <a:xfrm>
            <a:off x="6766314" y="4121196"/>
            <a:ext cx="482038" cy="16960"/>
          </a:xfrm>
          <a:prstGeom prst="straightConnector1">
            <a:avLst/>
          </a:prstGeom>
          <a:ln w="5715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1" name="Rectangle 30">
            <a:extLst>
              <a:ext uri="{FF2B5EF4-FFF2-40B4-BE49-F238E27FC236}">
                <a16:creationId xmlns:a16="http://schemas.microsoft.com/office/drawing/2014/main" id="{B6ACF5D5-F045-4541-A9FB-CAB8E5B6E042}"/>
              </a:ext>
            </a:extLst>
          </p:cNvPr>
          <p:cNvSpPr/>
          <p:nvPr/>
        </p:nvSpPr>
        <p:spPr>
          <a:xfrm>
            <a:off x="12343739" y="2968535"/>
            <a:ext cx="1133559" cy="636449"/>
          </a:xfrm>
          <a:prstGeom prst="rect">
            <a:avLst/>
          </a:prstGeom>
          <a:solidFill>
            <a:schemeClr val="accent1"/>
          </a:solidFill>
          <a:ln w="38100">
            <a:solidFill>
              <a:schemeClr val="tx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t>Task</a:t>
            </a:r>
          </a:p>
        </p:txBody>
      </p:sp>
      <p:sp>
        <p:nvSpPr>
          <p:cNvPr id="32" name="Rectangle 31">
            <a:extLst>
              <a:ext uri="{FF2B5EF4-FFF2-40B4-BE49-F238E27FC236}">
                <a16:creationId xmlns:a16="http://schemas.microsoft.com/office/drawing/2014/main" id="{136E940B-183C-774D-A300-DEE25431CDB8}"/>
              </a:ext>
            </a:extLst>
          </p:cNvPr>
          <p:cNvSpPr/>
          <p:nvPr/>
        </p:nvSpPr>
        <p:spPr>
          <a:xfrm>
            <a:off x="12343738" y="3821376"/>
            <a:ext cx="1133559" cy="636449"/>
          </a:xfrm>
          <a:prstGeom prst="rect">
            <a:avLst/>
          </a:prstGeom>
          <a:solidFill>
            <a:schemeClr val="accent1"/>
          </a:solidFill>
          <a:ln w="38100">
            <a:solidFill>
              <a:schemeClr val="tx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t>Task</a:t>
            </a:r>
          </a:p>
        </p:txBody>
      </p:sp>
      <p:cxnSp>
        <p:nvCxnSpPr>
          <p:cNvPr id="33" name="Straight Arrow Connector 32">
            <a:extLst>
              <a:ext uri="{FF2B5EF4-FFF2-40B4-BE49-F238E27FC236}">
                <a16:creationId xmlns:a16="http://schemas.microsoft.com/office/drawing/2014/main" id="{C9490982-1E65-1941-A8D6-D2C683AFE9B7}"/>
              </a:ext>
            </a:extLst>
          </p:cNvPr>
          <p:cNvCxnSpPr>
            <a:cxnSpLocks/>
            <a:stCxn id="34" idx="3"/>
            <a:endCxn id="38" idx="2"/>
          </p:cNvCxnSpPr>
          <p:nvPr/>
        </p:nvCxnSpPr>
        <p:spPr>
          <a:xfrm flipV="1">
            <a:off x="13477296" y="4116891"/>
            <a:ext cx="1373832" cy="875549"/>
          </a:xfrm>
          <a:prstGeom prst="straightConnector1">
            <a:avLst/>
          </a:prstGeom>
          <a:ln w="5715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4" name="Rectangle 33">
            <a:extLst>
              <a:ext uri="{FF2B5EF4-FFF2-40B4-BE49-F238E27FC236}">
                <a16:creationId xmlns:a16="http://schemas.microsoft.com/office/drawing/2014/main" id="{CDE9E198-8ACF-8B46-9A1E-BC44BB4F4DB0}"/>
              </a:ext>
            </a:extLst>
          </p:cNvPr>
          <p:cNvSpPr/>
          <p:nvPr/>
        </p:nvSpPr>
        <p:spPr>
          <a:xfrm>
            <a:off x="12343737" y="4674215"/>
            <a:ext cx="1133559" cy="636449"/>
          </a:xfrm>
          <a:prstGeom prst="rect">
            <a:avLst/>
          </a:prstGeom>
          <a:solidFill>
            <a:schemeClr val="accent1"/>
          </a:solidFill>
          <a:ln w="38100">
            <a:solidFill>
              <a:schemeClr val="tx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t>Task</a:t>
            </a:r>
          </a:p>
        </p:txBody>
      </p:sp>
      <p:cxnSp>
        <p:nvCxnSpPr>
          <p:cNvPr id="35" name="Straight Arrow Connector 34">
            <a:extLst>
              <a:ext uri="{FF2B5EF4-FFF2-40B4-BE49-F238E27FC236}">
                <a16:creationId xmlns:a16="http://schemas.microsoft.com/office/drawing/2014/main" id="{A32EAFF6-74D3-A14A-A1BA-EAEF58128A6C}"/>
              </a:ext>
            </a:extLst>
          </p:cNvPr>
          <p:cNvCxnSpPr>
            <a:cxnSpLocks/>
            <a:stCxn id="32" idx="3"/>
            <a:endCxn id="38" idx="2"/>
          </p:cNvCxnSpPr>
          <p:nvPr/>
        </p:nvCxnSpPr>
        <p:spPr>
          <a:xfrm flipV="1">
            <a:off x="13477297" y="4116891"/>
            <a:ext cx="1373831" cy="22710"/>
          </a:xfrm>
          <a:prstGeom prst="straightConnector1">
            <a:avLst/>
          </a:prstGeom>
          <a:ln w="5715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6" name="Oval 35">
            <a:extLst>
              <a:ext uri="{FF2B5EF4-FFF2-40B4-BE49-F238E27FC236}">
                <a16:creationId xmlns:a16="http://schemas.microsoft.com/office/drawing/2014/main" id="{9E1FB3F5-28A0-0641-B73E-773BA43F4E19}"/>
              </a:ext>
            </a:extLst>
          </p:cNvPr>
          <p:cNvSpPr/>
          <p:nvPr/>
        </p:nvSpPr>
        <p:spPr>
          <a:xfrm>
            <a:off x="9796045" y="3821376"/>
            <a:ext cx="1214159" cy="636449"/>
          </a:xfrm>
          <a:prstGeom prst="ellipse">
            <a:avLst/>
          </a:prstGeom>
          <a:solidFill>
            <a:srgbClr val="008770"/>
          </a:solidFill>
          <a:ln w="38100">
            <a:solidFill>
              <a:schemeClr val="tx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t>Start</a:t>
            </a:r>
          </a:p>
        </p:txBody>
      </p:sp>
      <p:cxnSp>
        <p:nvCxnSpPr>
          <p:cNvPr id="37" name="Straight Arrow Connector 36">
            <a:extLst>
              <a:ext uri="{FF2B5EF4-FFF2-40B4-BE49-F238E27FC236}">
                <a16:creationId xmlns:a16="http://schemas.microsoft.com/office/drawing/2014/main" id="{F6638674-4068-F342-8103-B1869FD0033D}"/>
              </a:ext>
            </a:extLst>
          </p:cNvPr>
          <p:cNvCxnSpPr>
            <a:cxnSpLocks/>
            <a:stCxn id="36" idx="6"/>
            <a:endCxn id="31" idx="1"/>
          </p:cNvCxnSpPr>
          <p:nvPr/>
        </p:nvCxnSpPr>
        <p:spPr>
          <a:xfrm flipV="1">
            <a:off x="11010204" y="3286760"/>
            <a:ext cx="1333535" cy="852841"/>
          </a:xfrm>
          <a:prstGeom prst="straightConnector1">
            <a:avLst/>
          </a:prstGeom>
          <a:ln w="5715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8" name="Oval 37">
            <a:extLst>
              <a:ext uri="{FF2B5EF4-FFF2-40B4-BE49-F238E27FC236}">
                <a16:creationId xmlns:a16="http://schemas.microsoft.com/office/drawing/2014/main" id="{B933158D-EB54-A240-A364-C96F742AE271}"/>
              </a:ext>
            </a:extLst>
          </p:cNvPr>
          <p:cNvSpPr/>
          <p:nvPr/>
        </p:nvSpPr>
        <p:spPr>
          <a:xfrm>
            <a:off x="14851128" y="3798666"/>
            <a:ext cx="1214159" cy="636449"/>
          </a:xfrm>
          <a:prstGeom prst="ellipse">
            <a:avLst/>
          </a:prstGeom>
          <a:solidFill>
            <a:srgbClr val="008770"/>
          </a:solidFill>
          <a:ln w="38100">
            <a:solidFill>
              <a:schemeClr val="tx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t>End</a:t>
            </a:r>
          </a:p>
        </p:txBody>
      </p:sp>
      <p:cxnSp>
        <p:nvCxnSpPr>
          <p:cNvPr id="39" name="Straight Arrow Connector 38">
            <a:extLst>
              <a:ext uri="{FF2B5EF4-FFF2-40B4-BE49-F238E27FC236}">
                <a16:creationId xmlns:a16="http://schemas.microsoft.com/office/drawing/2014/main" id="{D17E6CA6-5F9E-5E4C-BF60-EF11D951C440}"/>
              </a:ext>
            </a:extLst>
          </p:cNvPr>
          <p:cNvCxnSpPr>
            <a:cxnSpLocks/>
            <a:stCxn id="31" idx="3"/>
            <a:endCxn id="38" idx="2"/>
          </p:cNvCxnSpPr>
          <p:nvPr/>
        </p:nvCxnSpPr>
        <p:spPr>
          <a:xfrm>
            <a:off x="13477298" y="3286760"/>
            <a:ext cx="1373830" cy="830131"/>
          </a:xfrm>
          <a:prstGeom prst="straightConnector1">
            <a:avLst/>
          </a:prstGeom>
          <a:ln w="5715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9" name="Straight Arrow Connector 48">
            <a:extLst>
              <a:ext uri="{FF2B5EF4-FFF2-40B4-BE49-F238E27FC236}">
                <a16:creationId xmlns:a16="http://schemas.microsoft.com/office/drawing/2014/main" id="{1B5D4DEE-ADCD-7C42-82D8-D17EDA6D672D}"/>
              </a:ext>
            </a:extLst>
          </p:cNvPr>
          <p:cNvCxnSpPr>
            <a:cxnSpLocks/>
            <a:stCxn id="36" idx="6"/>
            <a:endCxn id="32" idx="1"/>
          </p:cNvCxnSpPr>
          <p:nvPr/>
        </p:nvCxnSpPr>
        <p:spPr>
          <a:xfrm>
            <a:off x="11010204" y="4139601"/>
            <a:ext cx="1333534" cy="0"/>
          </a:xfrm>
          <a:prstGeom prst="straightConnector1">
            <a:avLst/>
          </a:prstGeom>
          <a:ln w="5715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52" name="Straight Arrow Connector 51">
            <a:extLst>
              <a:ext uri="{FF2B5EF4-FFF2-40B4-BE49-F238E27FC236}">
                <a16:creationId xmlns:a16="http://schemas.microsoft.com/office/drawing/2014/main" id="{CEE78FB0-AE72-044C-824A-C813B76E078A}"/>
              </a:ext>
            </a:extLst>
          </p:cNvPr>
          <p:cNvCxnSpPr>
            <a:cxnSpLocks/>
            <a:stCxn id="36" idx="6"/>
            <a:endCxn id="34" idx="1"/>
          </p:cNvCxnSpPr>
          <p:nvPr/>
        </p:nvCxnSpPr>
        <p:spPr>
          <a:xfrm>
            <a:off x="11010204" y="4139601"/>
            <a:ext cx="1333533" cy="852839"/>
          </a:xfrm>
          <a:prstGeom prst="straightConnector1">
            <a:avLst/>
          </a:prstGeom>
          <a:ln w="5715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1996631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FE217C0-1F88-8E49-9E50-D9B3B1DE72B2}"/>
              </a:ext>
            </a:extLst>
          </p:cNvPr>
          <p:cNvSpPr>
            <a:spLocks noGrp="1"/>
          </p:cNvSpPr>
          <p:nvPr>
            <p:ph type="title"/>
          </p:nvPr>
        </p:nvSpPr>
        <p:spPr/>
        <p:txBody>
          <a:bodyPr/>
          <a:lstStyle/>
          <a:p>
            <a:r>
              <a:rPr lang="en-US" dirty="0"/>
              <a:t>Distributed Graph</a:t>
            </a:r>
          </a:p>
        </p:txBody>
      </p:sp>
      <p:sp>
        <p:nvSpPr>
          <p:cNvPr id="4" name="Oval 3">
            <a:extLst>
              <a:ext uri="{FF2B5EF4-FFF2-40B4-BE49-F238E27FC236}">
                <a16:creationId xmlns:a16="http://schemas.microsoft.com/office/drawing/2014/main" id="{B8B64A8F-DFE1-DD4C-893F-FB673CA85118}"/>
              </a:ext>
            </a:extLst>
          </p:cNvPr>
          <p:cNvSpPr/>
          <p:nvPr/>
        </p:nvSpPr>
        <p:spPr>
          <a:xfrm>
            <a:off x="3271385" y="2641513"/>
            <a:ext cx="4449993" cy="4259187"/>
          </a:xfrm>
          <a:prstGeom prst="ellipse">
            <a:avLst/>
          </a:prstGeom>
          <a:no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4112" tIns="67056" rIns="134112" bIns="67056" numCol="1" spcCol="0" rtlCol="0" fromWordArt="0" anchor="ctr" anchorCtr="0" forceAA="0" compatLnSpc="1">
            <a:prstTxWarp prst="textNoShape">
              <a:avLst/>
            </a:prstTxWarp>
            <a:noAutofit/>
          </a:bodyPr>
          <a:lstStyle/>
          <a:p>
            <a:pPr algn="ctr" defTabSz="1341150"/>
            <a:endParaRPr lang="en-US" sz="2640" dirty="0" err="1">
              <a:solidFill>
                <a:prstClr val="white"/>
              </a:solidFill>
              <a:latin typeface="Calibri" panose="020F0502020204030204"/>
            </a:endParaRPr>
          </a:p>
        </p:txBody>
      </p:sp>
      <p:sp>
        <p:nvSpPr>
          <p:cNvPr id="5" name="Oval 4">
            <a:extLst>
              <a:ext uri="{FF2B5EF4-FFF2-40B4-BE49-F238E27FC236}">
                <a16:creationId xmlns:a16="http://schemas.microsoft.com/office/drawing/2014/main" id="{F5F493E0-636A-F141-A4A1-E0906F2280B7}"/>
              </a:ext>
            </a:extLst>
          </p:cNvPr>
          <p:cNvSpPr/>
          <p:nvPr/>
        </p:nvSpPr>
        <p:spPr>
          <a:xfrm>
            <a:off x="3252475" y="3576666"/>
            <a:ext cx="462455" cy="416209"/>
          </a:xfrm>
          <a:prstGeom prst="ellipse">
            <a:avLst/>
          </a:prstGeom>
          <a:solidFill>
            <a:schemeClr val="accent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4112" tIns="67056" rIns="134112" bIns="67056" numCol="1" spcCol="0" rtlCol="0" fromWordArt="0" anchor="ctr" anchorCtr="0" forceAA="0" compatLnSpc="1">
            <a:prstTxWarp prst="textNoShape">
              <a:avLst/>
            </a:prstTxWarp>
            <a:noAutofit/>
          </a:bodyPr>
          <a:lstStyle/>
          <a:p>
            <a:pPr algn="ctr" defTabSz="1341150"/>
            <a:endParaRPr lang="en-US" sz="2640" dirty="0" err="1">
              <a:solidFill>
                <a:prstClr val="white"/>
              </a:solidFill>
              <a:latin typeface="Calibri" panose="020F0502020204030204"/>
            </a:endParaRPr>
          </a:p>
        </p:txBody>
      </p:sp>
      <p:sp>
        <p:nvSpPr>
          <p:cNvPr id="6" name="Oval 5">
            <a:extLst>
              <a:ext uri="{FF2B5EF4-FFF2-40B4-BE49-F238E27FC236}">
                <a16:creationId xmlns:a16="http://schemas.microsoft.com/office/drawing/2014/main" id="{7EA40764-C920-6E44-A081-F97F2529E43F}"/>
              </a:ext>
            </a:extLst>
          </p:cNvPr>
          <p:cNvSpPr/>
          <p:nvPr/>
        </p:nvSpPr>
        <p:spPr>
          <a:xfrm>
            <a:off x="6740666" y="2902904"/>
            <a:ext cx="462455" cy="416209"/>
          </a:xfrm>
          <a:prstGeom prst="ellipse">
            <a:avLst/>
          </a:prstGeom>
          <a:solidFill>
            <a:schemeClr val="accent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4112" tIns="67056" rIns="134112" bIns="67056" numCol="1" spcCol="0" rtlCol="0" fromWordArt="0" anchor="ctr" anchorCtr="0" forceAA="0" compatLnSpc="1">
            <a:prstTxWarp prst="textNoShape">
              <a:avLst/>
            </a:prstTxWarp>
            <a:noAutofit/>
          </a:bodyPr>
          <a:lstStyle/>
          <a:p>
            <a:pPr algn="ctr" defTabSz="1341150"/>
            <a:endParaRPr lang="en-US" sz="2640" dirty="0" err="1">
              <a:solidFill>
                <a:prstClr val="white"/>
              </a:solidFill>
              <a:latin typeface="Calibri" panose="020F0502020204030204"/>
            </a:endParaRPr>
          </a:p>
        </p:txBody>
      </p:sp>
      <p:sp>
        <p:nvSpPr>
          <p:cNvPr id="7" name="Oval 6">
            <a:extLst>
              <a:ext uri="{FF2B5EF4-FFF2-40B4-BE49-F238E27FC236}">
                <a16:creationId xmlns:a16="http://schemas.microsoft.com/office/drawing/2014/main" id="{C8427506-A131-F141-A2F8-324EFCFBE1AC}"/>
              </a:ext>
            </a:extLst>
          </p:cNvPr>
          <p:cNvSpPr/>
          <p:nvPr/>
        </p:nvSpPr>
        <p:spPr>
          <a:xfrm>
            <a:off x="3624663" y="3068790"/>
            <a:ext cx="462455" cy="416209"/>
          </a:xfrm>
          <a:prstGeom prst="ellipse">
            <a:avLst/>
          </a:prstGeom>
          <a:solidFill>
            <a:schemeClr val="accent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4112" tIns="67056" rIns="134112" bIns="67056" numCol="1" spcCol="0" rtlCol="0" fromWordArt="0" anchor="ctr" anchorCtr="0" forceAA="0" compatLnSpc="1">
            <a:prstTxWarp prst="textNoShape">
              <a:avLst/>
            </a:prstTxWarp>
            <a:noAutofit/>
          </a:bodyPr>
          <a:lstStyle/>
          <a:p>
            <a:pPr algn="ctr" defTabSz="1341150"/>
            <a:endParaRPr lang="en-US" sz="2640" dirty="0" err="1">
              <a:solidFill>
                <a:prstClr val="white"/>
              </a:solidFill>
              <a:latin typeface="Calibri" panose="020F0502020204030204"/>
            </a:endParaRPr>
          </a:p>
        </p:txBody>
      </p:sp>
      <p:sp>
        <p:nvSpPr>
          <p:cNvPr id="8" name="Oval 7">
            <a:extLst>
              <a:ext uri="{FF2B5EF4-FFF2-40B4-BE49-F238E27FC236}">
                <a16:creationId xmlns:a16="http://schemas.microsoft.com/office/drawing/2014/main" id="{C6014468-CCB2-F941-AE3D-C5EC9688682D}"/>
              </a:ext>
            </a:extLst>
          </p:cNvPr>
          <p:cNvSpPr/>
          <p:nvPr/>
        </p:nvSpPr>
        <p:spPr>
          <a:xfrm>
            <a:off x="4122078" y="2694799"/>
            <a:ext cx="462455" cy="416209"/>
          </a:xfrm>
          <a:prstGeom prst="ellipse">
            <a:avLst/>
          </a:prstGeom>
          <a:solidFill>
            <a:schemeClr val="accent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4112" tIns="67056" rIns="134112" bIns="67056" numCol="1" spcCol="0" rtlCol="0" fromWordArt="0" anchor="ctr" anchorCtr="0" forceAA="0" compatLnSpc="1">
            <a:prstTxWarp prst="textNoShape">
              <a:avLst/>
            </a:prstTxWarp>
            <a:noAutofit/>
          </a:bodyPr>
          <a:lstStyle/>
          <a:p>
            <a:pPr algn="ctr" defTabSz="1341150"/>
            <a:endParaRPr lang="en-US" sz="2640" dirty="0" err="1">
              <a:solidFill>
                <a:prstClr val="white"/>
              </a:solidFill>
              <a:latin typeface="Calibri" panose="020F0502020204030204"/>
            </a:endParaRPr>
          </a:p>
        </p:txBody>
      </p:sp>
      <p:sp>
        <p:nvSpPr>
          <p:cNvPr id="9" name="Oval 8">
            <a:extLst>
              <a:ext uri="{FF2B5EF4-FFF2-40B4-BE49-F238E27FC236}">
                <a16:creationId xmlns:a16="http://schemas.microsoft.com/office/drawing/2014/main" id="{F6D8704B-F58D-3744-A59C-4C42330E35A4}"/>
              </a:ext>
            </a:extLst>
          </p:cNvPr>
          <p:cNvSpPr/>
          <p:nvPr/>
        </p:nvSpPr>
        <p:spPr>
          <a:xfrm>
            <a:off x="4683712" y="2459797"/>
            <a:ext cx="462455" cy="416209"/>
          </a:xfrm>
          <a:prstGeom prst="ellipse">
            <a:avLst/>
          </a:prstGeom>
          <a:solidFill>
            <a:schemeClr val="accent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4112" tIns="67056" rIns="134112" bIns="67056" numCol="1" spcCol="0" rtlCol="0" fromWordArt="0" anchor="ctr" anchorCtr="0" forceAA="0" compatLnSpc="1">
            <a:prstTxWarp prst="textNoShape">
              <a:avLst/>
            </a:prstTxWarp>
            <a:noAutofit/>
          </a:bodyPr>
          <a:lstStyle/>
          <a:p>
            <a:pPr algn="ctr" defTabSz="1341150"/>
            <a:endParaRPr lang="en-US" sz="2640" dirty="0" err="1">
              <a:solidFill>
                <a:prstClr val="white"/>
              </a:solidFill>
              <a:latin typeface="Calibri" panose="020F0502020204030204"/>
            </a:endParaRPr>
          </a:p>
        </p:txBody>
      </p:sp>
      <p:sp>
        <p:nvSpPr>
          <p:cNvPr id="10" name="Oval 9">
            <a:extLst>
              <a:ext uri="{FF2B5EF4-FFF2-40B4-BE49-F238E27FC236}">
                <a16:creationId xmlns:a16="http://schemas.microsoft.com/office/drawing/2014/main" id="{6C8A93CE-0C31-8A45-AE79-121EC0B122D0}"/>
              </a:ext>
            </a:extLst>
          </p:cNvPr>
          <p:cNvSpPr/>
          <p:nvPr/>
        </p:nvSpPr>
        <p:spPr>
          <a:xfrm>
            <a:off x="5381121" y="2403576"/>
            <a:ext cx="462455" cy="416209"/>
          </a:xfrm>
          <a:prstGeom prst="ellipse">
            <a:avLst/>
          </a:prstGeom>
          <a:solidFill>
            <a:schemeClr val="accent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4112" tIns="67056" rIns="134112" bIns="67056" numCol="1" spcCol="0" rtlCol="0" fromWordArt="0" anchor="ctr" anchorCtr="0" forceAA="0" compatLnSpc="1">
            <a:prstTxWarp prst="textNoShape">
              <a:avLst/>
            </a:prstTxWarp>
            <a:noAutofit/>
          </a:bodyPr>
          <a:lstStyle/>
          <a:p>
            <a:pPr algn="ctr" defTabSz="1341150"/>
            <a:endParaRPr lang="en-US" sz="2640" dirty="0" err="1">
              <a:solidFill>
                <a:prstClr val="white"/>
              </a:solidFill>
              <a:latin typeface="Calibri" panose="020F0502020204030204"/>
            </a:endParaRPr>
          </a:p>
        </p:txBody>
      </p:sp>
      <p:sp>
        <p:nvSpPr>
          <p:cNvPr id="11" name="Oval 10">
            <a:extLst>
              <a:ext uri="{FF2B5EF4-FFF2-40B4-BE49-F238E27FC236}">
                <a16:creationId xmlns:a16="http://schemas.microsoft.com/office/drawing/2014/main" id="{CDCED36B-DA1D-1B42-A72A-EC7F4E341441}"/>
              </a:ext>
            </a:extLst>
          </p:cNvPr>
          <p:cNvSpPr/>
          <p:nvPr/>
        </p:nvSpPr>
        <p:spPr>
          <a:xfrm>
            <a:off x="6094557" y="2519145"/>
            <a:ext cx="462455" cy="416209"/>
          </a:xfrm>
          <a:prstGeom prst="ellipse">
            <a:avLst/>
          </a:prstGeom>
          <a:solidFill>
            <a:schemeClr val="accent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4112" tIns="67056" rIns="134112" bIns="67056" numCol="1" spcCol="0" rtlCol="0" fromWordArt="0" anchor="ctr" anchorCtr="0" forceAA="0" compatLnSpc="1">
            <a:prstTxWarp prst="textNoShape">
              <a:avLst/>
            </a:prstTxWarp>
            <a:noAutofit/>
          </a:bodyPr>
          <a:lstStyle/>
          <a:p>
            <a:pPr algn="ctr" defTabSz="1341150"/>
            <a:endParaRPr lang="en-US" sz="2640" dirty="0" err="1">
              <a:solidFill>
                <a:prstClr val="white"/>
              </a:solidFill>
              <a:latin typeface="Calibri" panose="020F0502020204030204"/>
            </a:endParaRPr>
          </a:p>
        </p:txBody>
      </p:sp>
      <p:sp>
        <p:nvSpPr>
          <p:cNvPr id="12" name="Oval 11">
            <a:extLst>
              <a:ext uri="{FF2B5EF4-FFF2-40B4-BE49-F238E27FC236}">
                <a16:creationId xmlns:a16="http://schemas.microsoft.com/office/drawing/2014/main" id="{E7AA9E3D-B27E-964E-AB60-F60C933B55B2}"/>
              </a:ext>
            </a:extLst>
          </p:cNvPr>
          <p:cNvSpPr/>
          <p:nvPr/>
        </p:nvSpPr>
        <p:spPr>
          <a:xfrm>
            <a:off x="7198211" y="3478212"/>
            <a:ext cx="462455" cy="416209"/>
          </a:xfrm>
          <a:prstGeom prst="ellipse">
            <a:avLst/>
          </a:prstGeom>
          <a:solidFill>
            <a:schemeClr val="accent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4112" tIns="67056" rIns="134112" bIns="67056" numCol="1" spcCol="0" rtlCol="0" fromWordArt="0" anchor="ctr" anchorCtr="0" forceAA="0" compatLnSpc="1">
            <a:prstTxWarp prst="textNoShape">
              <a:avLst/>
            </a:prstTxWarp>
            <a:noAutofit/>
          </a:bodyPr>
          <a:lstStyle/>
          <a:p>
            <a:pPr algn="ctr" defTabSz="1341150"/>
            <a:endParaRPr lang="en-US" sz="2640" dirty="0" err="1">
              <a:solidFill>
                <a:prstClr val="white"/>
              </a:solidFill>
              <a:latin typeface="Calibri" panose="020F0502020204030204"/>
            </a:endParaRPr>
          </a:p>
        </p:txBody>
      </p:sp>
      <p:sp>
        <p:nvSpPr>
          <p:cNvPr id="13" name="Oval 12">
            <a:extLst>
              <a:ext uri="{FF2B5EF4-FFF2-40B4-BE49-F238E27FC236}">
                <a16:creationId xmlns:a16="http://schemas.microsoft.com/office/drawing/2014/main" id="{9A92F5EC-83C5-C84F-9659-2E8C4FAC4DB2}"/>
              </a:ext>
            </a:extLst>
          </p:cNvPr>
          <p:cNvSpPr/>
          <p:nvPr/>
        </p:nvSpPr>
        <p:spPr>
          <a:xfrm>
            <a:off x="3045900" y="4738395"/>
            <a:ext cx="462455" cy="416209"/>
          </a:xfrm>
          <a:prstGeom prst="ellipse">
            <a:avLst/>
          </a:prstGeom>
          <a:solidFill>
            <a:schemeClr val="accent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4112" tIns="67056" rIns="134112" bIns="67056" numCol="1" spcCol="0" rtlCol="0" fromWordArt="0" anchor="ctr" anchorCtr="0" forceAA="0" compatLnSpc="1">
            <a:prstTxWarp prst="textNoShape">
              <a:avLst/>
            </a:prstTxWarp>
            <a:noAutofit/>
          </a:bodyPr>
          <a:lstStyle/>
          <a:p>
            <a:pPr algn="ctr" defTabSz="1341150"/>
            <a:endParaRPr lang="en-US" sz="2640" dirty="0" err="1">
              <a:solidFill>
                <a:prstClr val="white"/>
              </a:solidFill>
              <a:latin typeface="Calibri" panose="020F0502020204030204"/>
            </a:endParaRPr>
          </a:p>
        </p:txBody>
      </p:sp>
      <p:sp>
        <p:nvSpPr>
          <p:cNvPr id="15" name="Oval 14">
            <a:extLst>
              <a:ext uri="{FF2B5EF4-FFF2-40B4-BE49-F238E27FC236}">
                <a16:creationId xmlns:a16="http://schemas.microsoft.com/office/drawing/2014/main" id="{A3755A77-5CC2-164F-B6D5-D4FFCC8D7969}"/>
              </a:ext>
            </a:extLst>
          </p:cNvPr>
          <p:cNvSpPr/>
          <p:nvPr/>
        </p:nvSpPr>
        <p:spPr>
          <a:xfrm rot="10800000">
            <a:off x="3204342" y="5408694"/>
            <a:ext cx="510588" cy="416209"/>
          </a:xfrm>
          <a:prstGeom prst="ellipse">
            <a:avLst/>
          </a:prstGeom>
          <a:solidFill>
            <a:schemeClr val="accent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4112" tIns="67056" rIns="134112" bIns="67056" numCol="1" spcCol="0" rtlCol="0" fromWordArt="0" anchor="ctr" anchorCtr="0" forceAA="0" compatLnSpc="1">
            <a:prstTxWarp prst="textNoShape">
              <a:avLst/>
            </a:prstTxWarp>
            <a:noAutofit/>
          </a:bodyPr>
          <a:lstStyle/>
          <a:p>
            <a:pPr algn="ctr" defTabSz="1341150"/>
            <a:endParaRPr lang="en-US" sz="2640" dirty="0" err="1">
              <a:solidFill>
                <a:prstClr val="white"/>
              </a:solidFill>
              <a:latin typeface="Calibri" panose="020F0502020204030204"/>
            </a:endParaRPr>
          </a:p>
        </p:txBody>
      </p:sp>
      <p:sp>
        <p:nvSpPr>
          <p:cNvPr id="16" name="Oval 15">
            <a:extLst>
              <a:ext uri="{FF2B5EF4-FFF2-40B4-BE49-F238E27FC236}">
                <a16:creationId xmlns:a16="http://schemas.microsoft.com/office/drawing/2014/main" id="{AF5EDDB9-CF79-084B-AD9B-A22FEA24761B}"/>
              </a:ext>
            </a:extLst>
          </p:cNvPr>
          <p:cNvSpPr/>
          <p:nvPr/>
        </p:nvSpPr>
        <p:spPr>
          <a:xfrm rot="10800000">
            <a:off x="6310541" y="6461117"/>
            <a:ext cx="510588" cy="416209"/>
          </a:xfrm>
          <a:prstGeom prst="ellipse">
            <a:avLst/>
          </a:prstGeom>
          <a:solidFill>
            <a:schemeClr val="accent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4112" tIns="67056" rIns="134112" bIns="67056" numCol="1" spcCol="0" rtlCol="0" fromWordArt="0" anchor="ctr" anchorCtr="0" forceAA="0" compatLnSpc="1">
            <a:prstTxWarp prst="textNoShape">
              <a:avLst/>
            </a:prstTxWarp>
            <a:noAutofit/>
          </a:bodyPr>
          <a:lstStyle/>
          <a:p>
            <a:pPr algn="ctr" defTabSz="1341150"/>
            <a:endParaRPr lang="en-US" sz="2640" dirty="0" err="1">
              <a:solidFill>
                <a:prstClr val="white"/>
              </a:solidFill>
              <a:latin typeface="Calibri" panose="020F0502020204030204"/>
            </a:endParaRPr>
          </a:p>
        </p:txBody>
      </p:sp>
      <p:sp>
        <p:nvSpPr>
          <p:cNvPr id="17" name="Oval 16">
            <a:extLst>
              <a:ext uri="{FF2B5EF4-FFF2-40B4-BE49-F238E27FC236}">
                <a16:creationId xmlns:a16="http://schemas.microsoft.com/office/drawing/2014/main" id="{7E6B60ED-C7F0-EB46-86E4-EDB793150012}"/>
              </a:ext>
            </a:extLst>
          </p:cNvPr>
          <p:cNvSpPr/>
          <p:nvPr/>
        </p:nvSpPr>
        <p:spPr>
          <a:xfrm rot="10800000">
            <a:off x="5564553" y="6678884"/>
            <a:ext cx="510588" cy="416209"/>
          </a:xfrm>
          <a:prstGeom prst="ellipse">
            <a:avLst/>
          </a:prstGeom>
          <a:solidFill>
            <a:schemeClr val="accent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4112" tIns="67056" rIns="134112" bIns="67056" numCol="1" spcCol="0" rtlCol="0" fromWordArt="0" anchor="ctr" anchorCtr="0" forceAA="0" compatLnSpc="1">
            <a:prstTxWarp prst="textNoShape">
              <a:avLst/>
            </a:prstTxWarp>
            <a:noAutofit/>
          </a:bodyPr>
          <a:lstStyle/>
          <a:p>
            <a:pPr algn="ctr" defTabSz="1341150"/>
            <a:endParaRPr lang="en-US" sz="2640" dirty="0" err="1">
              <a:solidFill>
                <a:prstClr val="white"/>
              </a:solidFill>
              <a:latin typeface="Calibri" panose="020F0502020204030204"/>
            </a:endParaRPr>
          </a:p>
        </p:txBody>
      </p:sp>
      <p:sp>
        <p:nvSpPr>
          <p:cNvPr id="18" name="Oval 17">
            <a:extLst>
              <a:ext uri="{FF2B5EF4-FFF2-40B4-BE49-F238E27FC236}">
                <a16:creationId xmlns:a16="http://schemas.microsoft.com/office/drawing/2014/main" id="{C209CC9D-C65B-8F42-A0B8-0DB036BB55FD}"/>
              </a:ext>
            </a:extLst>
          </p:cNvPr>
          <p:cNvSpPr/>
          <p:nvPr/>
        </p:nvSpPr>
        <p:spPr>
          <a:xfrm rot="10800000">
            <a:off x="4818564" y="6634723"/>
            <a:ext cx="510588" cy="416209"/>
          </a:xfrm>
          <a:prstGeom prst="ellipse">
            <a:avLst/>
          </a:prstGeom>
          <a:solidFill>
            <a:schemeClr val="accent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4112" tIns="67056" rIns="134112" bIns="67056" numCol="1" spcCol="0" rtlCol="0" fromWordArt="0" anchor="ctr" anchorCtr="0" forceAA="0" compatLnSpc="1">
            <a:prstTxWarp prst="textNoShape">
              <a:avLst/>
            </a:prstTxWarp>
            <a:noAutofit/>
          </a:bodyPr>
          <a:lstStyle/>
          <a:p>
            <a:pPr algn="ctr" defTabSz="1341150"/>
            <a:endParaRPr lang="en-US" sz="2640" dirty="0" err="1">
              <a:solidFill>
                <a:prstClr val="white"/>
              </a:solidFill>
              <a:latin typeface="Calibri" panose="020F0502020204030204"/>
            </a:endParaRPr>
          </a:p>
        </p:txBody>
      </p:sp>
      <p:sp>
        <p:nvSpPr>
          <p:cNvPr id="19" name="Oval 18">
            <a:extLst>
              <a:ext uri="{FF2B5EF4-FFF2-40B4-BE49-F238E27FC236}">
                <a16:creationId xmlns:a16="http://schemas.microsoft.com/office/drawing/2014/main" id="{5C8045D7-719F-7142-91E5-4C402031142A}"/>
              </a:ext>
            </a:extLst>
          </p:cNvPr>
          <p:cNvSpPr/>
          <p:nvPr/>
        </p:nvSpPr>
        <p:spPr>
          <a:xfrm rot="10800000">
            <a:off x="4140267" y="6368582"/>
            <a:ext cx="510588" cy="416209"/>
          </a:xfrm>
          <a:prstGeom prst="ellipse">
            <a:avLst/>
          </a:prstGeom>
          <a:solidFill>
            <a:schemeClr val="accent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4112" tIns="67056" rIns="134112" bIns="67056" numCol="1" spcCol="0" rtlCol="0" fromWordArt="0" anchor="ctr" anchorCtr="0" forceAA="0" compatLnSpc="1">
            <a:prstTxWarp prst="textNoShape">
              <a:avLst/>
            </a:prstTxWarp>
            <a:noAutofit/>
          </a:bodyPr>
          <a:lstStyle/>
          <a:p>
            <a:pPr algn="ctr" defTabSz="1341150"/>
            <a:endParaRPr lang="en-US" sz="2640" dirty="0" err="1">
              <a:solidFill>
                <a:prstClr val="white"/>
              </a:solidFill>
              <a:latin typeface="Calibri" panose="020F0502020204030204"/>
            </a:endParaRPr>
          </a:p>
        </p:txBody>
      </p:sp>
      <p:sp>
        <p:nvSpPr>
          <p:cNvPr id="20" name="Oval 19">
            <a:extLst>
              <a:ext uri="{FF2B5EF4-FFF2-40B4-BE49-F238E27FC236}">
                <a16:creationId xmlns:a16="http://schemas.microsoft.com/office/drawing/2014/main" id="{9FDBA5B1-7C96-4843-833C-D154C4575583}"/>
              </a:ext>
            </a:extLst>
          </p:cNvPr>
          <p:cNvSpPr/>
          <p:nvPr/>
        </p:nvSpPr>
        <p:spPr>
          <a:xfrm rot="10800000">
            <a:off x="3583263" y="5916570"/>
            <a:ext cx="510588" cy="416209"/>
          </a:xfrm>
          <a:prstGeom prst="ellipse">
            <a:avLst/>
          </a:prstGeom>
          <a:solidFill>
            <a:schemeClr val="accent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4112" tIns="67056" rIns="134112" bIns="67056" numCol="1" spcCol="0" rtlCol="0" fromWordArt="0" anchor="ctr" anchorCtr="0" forceAA="0" compatLnSpc="1">
            <a:prstTxWarp prst="textNoShape">
              <a:avLst/>
            </a:prstTxWarp>
            <a:noAutofit/>
          </a:bodyPr>
          <a:lstStyle/>
          <a:p>
            <a:pPr algn="ctr" defTabSz="1341150"/>
            <a:endParaRPr lang="en-US" sz="2640" dirty="0" err="1">
              <a:solidFill>
                <a:prstClr val="white"/>
              </a:solidFill>
              <a:latin typeface="Calibri" panose="020F0502020204030204"/>
            </a:endParaRPr>
          </a:p>
        </p:txBody>
      </p:sp>
      <p:sp>
        <p:nvSpPr>
          <p:cNvPr id="22" name="Oval 21">
            <a:extLst>
              <a:ext uri="{FF2B5EF4-FFF2-40B4-BE49-F238E27FC236}">
                <a16:creationId xmlns:a16="http://schemas.microsoft.com/office/drawing/2014/main" id="{C1FAEA26-8144-6D42-83B0-DDC073961D49}"/>
              </a:ext>
            </a:extLst>
          </p:cNvPr>
          <p:cNvSpPr/>
          <p:nvPr/>
        </p:nvSpPr>
        <p:spPr>
          <a:xfrm rot="10800000">
            <a:off x="6918851" y="6017629"/>
            <a:ext cx="510588" cy="416209"/>
          </a:xfrm>
          <a:prstGeom prst="ellipse">
            <a:avLst/>
          </a:prstGeom>
          <a:solidFill>
            <a:schemeClr val="accent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4112" tIns="67056" rIns="134112" bIns="67056" numCol="1" spcCol="0" rtlCol="0" fromWordArt="0" anchor="ctr" anchorCtr="0" forceAA="0" compatLnSpc="1">
            <a:prstTxWarp prst="textNoShape">
              <a:avLst/>
            </a:prstTxWarp>
            <a:noAutofit/>
          </a:bodyPr>
          <a:lstStyle/>
          <a:p>
            <a:pPr algn="ctr" defTabSz="1341150"/>
            <a:endParaRPr lang="en-US" sz="2640" dirty="0" err="1">
              <a:solidFill>
                <a:prstClr val="white"/>
              </a:solidFill>
              <a:latin typeface="Calibri" panose="020F0502020204030204"/>
            </a:endParaRPr>
          </a:p>
        </p:txBody>
      </p:sp>
      <p:sp>
        <p:nvSpPr>
          <p:cNvPr id="23" name="Rectangle 22">
            <a:extLst>
              <a:ext uri="{FF2B5EF4-FFF2-40B4-BE49-F238E27FC236}">
                <a16:creationId xmlns:a16="http://schemas.microsoft.com/office/drawing/2014/main" id="{C4029AC4-F5E3-5F4D-8621-E8D57EB8E648}"/>
              </a:ext>
            </a:extLst>
          </p:cNvPr>
          <p:cNvSpPr/>
          <p:nvPr/>
        </p:nvSpPr>
        <p:spPr>
          <a:xfrm>
            <a:off x="700784" y="4714992"/>
            <a:ext cx="1356535" cy="54827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4112" tIns="67056" rIns="134112" bIns="67056" numCol="1" spcCol="0" rtlCol="0" fromWordArt="0" anchor="ctr" anchorCtr="0" forceAA="0" compatLnSpc="1">
            <a:prstTxWarp prst="textNoShape">
              <a:avLst/>
            </a:prstTxWarp>
            <a:noAutofit/>
          </a:bodyPr>
          <a:lstStyle/>
          <a:p>
            <a:pPr algn="ctr" defTabSz="1341150"/>
            <a:r>
              <a:rPr lang="en-US" sz="2640" dirty="0">
                <a:solidFill>
                  <a:prstClr val="white"/>
                </a:solidFill>
                <a:latin typeface="Calibri" panose="020F0502020204030204"/>
              </a:rPr>
              <a:t>Query</a:t>
            </a:r>
          </a:p>
        </p:txBody>
      </p:sp>
      <p:cxnSp>
        <p:nvCxnSpPr>
          <p:cNvPr id="24" name="Straight Arrow Connector 23">
            <a:extLst>
              <a:ext uri="{FF2B5EF4-FFF2-40B4-BE49-F238E27FC236}">
                <a16:creationId xmlns:a16="http://schemas.microsoft.com/office/drawing/2014/main" id="{B2D4F753-A740-1A4D-9F3B-924A44B2AF45}"/>
              </a:ext>
            </a:extLst>
          </p:cNvPr>
          <p:cNvCxnSpPr>
            <a:cxnSpLocks/>
            <a:endCxn id="13" idx="2"/>
          </p:cNvCxnSpPr>
          <p:nvPr/>
        </p:nvCxnSpPr>
        <p:spPr>
          <a:xfrm flipV="1">
            <a:off x="2100786" y="4946500"/>
            <a:ext cx="945114" cy="42630"/>
          </a:xfrm>
          <a:prstGeom prst="straightConnector1">
            <a:avLst/>
          </a:prstGeom>
          <a:ln w="38100" cap="rnd">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25" name="TextBox 24">
            <a:extLst>
              <a:ext uri="{FF2B5EF4-FFF2-40B4-BE49-F238E27FC236}">
                <a16:creationId xmlns:a16="http://schemas.microsoft.com/office/drawing/2014/main" id="{EC1D7070-BAA6-F145-B55A-4674CDC051BC}"/>
              </a:ext>
            </a:extLst>
          </p:cNvPr>
          <p:cNvSpPr txBox="1"/>
          <p:nvPr/>
        </p:nvSpPr>
        <p:spPr>
          <a:xfrm>
            <a:off x="4118794" y="4146724"/>
            <a:ext cx="2785570" cy="1311128"/>
          </a:xfrm>
          <a:prstGeom prst="rect">
            <a:avLst/>
          </a:prstGeom>
          <a:noFill/>
        </p:spPr>
        <p:txBody>
          <a:bodyPr wrap="none" rtlCol="0">
            <a:spAutoFit/>
          </a:bodyPr>
          <a:lstStyle/>
          <a:p>
            <a:pPr algn="ctr" defTabSz="1341150"/>
            <a:r>
              <a:rPr lang="en-US" sz="2640" b="1" dirty="0">
                <a:solidFill>
                  <a:prstClr val="black"/>
                </a:solidFill>
                <a:latin typeface="Calibri" panose="020F0502020204030204"/>
              </a:rPr>
              <a:t>Production Cluster</a:t>
            </a:r>
          </a:p>
          <a:p>
            <a:pPr algn="ctr" defTabSz="1341150"/>
            <a:r>
              <a:rPr lang="en-US" sz="2640" dirty="0">
                <a:solidFill>
                  <a:prstClr val="black"/>
                </a:solidFill>
                <a:latin typeface="Calibri" panose="020F0502020204030204"/>
              </a:rPr>
              <a:t>20 Servers</a:t>
            </a:r>
          </a:p>
          <a:p>
            <a:pPr algn="ctr" defTabSz="1341150"/>
            <a:r>
              <a:rPr lang="en-US" sz="2640" dirty="0">
                <a:solidFill>
                  <a:prstClr val="black"/>
                </a:solidFill>
                <a:latin typeface="Calibri" panose="020F0502020204030204"/>
              </a:rPr>
              <a:t>SLA, HA</a:t>
            </a:r>
          </a:p>
        </p:txBody>
      </p:sp>
      <p:sp>
        <p:nvSpPr>
          <p:cNvPr id="26" name="TextBox 25">
            <a:extLst>
              <a:ext uri="{FF2B5EF4-FFF2-40B4-BE49-F238E27FC236}">
                <a16:creationId xmlns:a16="http://schemas.microsoft.com/office/drawing/2014/main" id="{A440318A-92AE-5248-87CB-18508FEA10FD}"/>
              </a:ext>
            </a:extLst>
          </p:cNvPr>
          <p:cNvSpPr txBox="1"/>
          <p:nvPr/>
        </p:nvSpPr>
        <p:spPr>
          <a:xfrm>
            <a:off x="9194332" y="2208336"/>
            <a:ext cx="7829900" cy="2529923"/>
          </a:xfrm>
          <a:prstGeom prst="rect">
            <a:avLst/>
          </a:prstGeom>
          <a:noFill/>
        </p:spPr>
        <p:txBody>
          <a:bodyPr wrap="none" rtlCol="0">
            <a:spAutoFit/>
          </a:bodyPr>
          <a:lstStyle/>
          <a:p>
            <a:pPr marL="457200" indent="-457200" defTabSz="1341150">
              <a:buFont typeface="Arial" panose="020B0604020202020204" pitchFamily="34" charset="0"/>
              <a:buChar char="•"/>
            </a:pPr>
            <a:r>
              <a:rPr lang="en-US" sz="2640" dirty="0">
                <a:solidFill>
                  <a:prstClr val="black"/>
                </a:solidFill>
                <a:latin typeface="Calibri" panose="020F0502020204030204"/>
              </a:rPr>
              <a:t>Each server has 1 TB RAM and 128 cores</a:t>
            </a:r>
          </a:p>
          <a:p>
            <a:pPr marL="457200" indent="-457200" defTabSz="1341150">
              <a:buFont typeface="Arial" panose="020B0604020202020204" pitchFamily="34" charset="0"/>
              <a:buChar char="•"/>
            </a:pPr>
            <a:r>
              <a:rPr lang="en-US" sz="2640" dirty="0">
                <a:solidFill>
                  <a:prstClr val="black"/>
                </a:solidFill>
                <a:latin typeface="Calibri" panose="020F0502020204030204"/>
              </a:rPr>
              <a:t>Each core can traverse 2 million edges per second</a:t>
            </a:r>
          </a:p>
          <a:p>
            <a:pPr marL="457200" indent="-457200" defTabSz="1341150">
              <a:buFont typeface="Arial" panose="020B0604020202020204" pitchFamily="34" charset="0"/>
              <a:buChar char="•"/>
            </a:pPr>
            <a:r>
              <a:rPr lang="en-US" sz="2640" dirty="0">
                <a:solidFill>
                  <a:prstClr val="black"/>
                </a:solidFill>
                <a:latin typeface="Calibri" panose="020F0502020204030204"/>
              </a:rPr>
              <a:t>256 million edges per second per server (1/4 GTEPS)</a:t>
            </a:r>
          </a:p>
          <a:p>
            <a:pPr marL="457200" indent="-457200" defTabSz="1341150">
              <a:buFont typeface="Arial" panose="020B0604020202020204" pitchFamily="34" charset="0"/>
              <a:buChar char="•"/>
            </a:pPr>
            <a:r>
              <a:rPr lang="en-US" sz="2640" dirty="0">
                <a:solidFill>
                  <a:prstClr val="black"/>
                </a:solidFill>
                <a:latin typeface="Calibri" panose="020F0502020204030204"/>
              </a:rPr>
              <a:t>Replication</a:t>
            </a:r>
          </a:p>
          <a:p>
            <a:pPr marL="457200" indent="-457200" defTabSz="1341150">
              <a:buFont typeface="Arial" panose="020B0604020202020204" pitchFamily="34" charset="0"/>
              <a:buChar char="•"/>
            </a:pPr>
            <a:r>
              <a:rPr lang="en-US" sz="2640" dirty="0">
                <a:solidFill>
                  <a:prstClr val="black"/>
                </a:solidFill>
                <a:latin typeface="Calibri" panose="020F0502020204030204"/>
              </a:rPr>
              <a:t>Automatic rebalancing when new servers added</a:t>
            </a:r>
          </a:p>
          <a:p>
            <a:pPr defTabSz="1341150"/>
            <a:endParaRPr lang="en-US" sz="2640" dirty="0">
              <a:solidFill>
                <a:prstClr val="black"/>
              </a:solidFill>
              <a:latin typeface="Calibri" panose="020F0502020204030204"/>
            </a:endParaRPr>
          </a:p>
        </p:txBody>
      </p:sp>
      <p:sp>
        <p:nvSpPr>
          <p:cNvPr id="27" name="Oval 26">
            <a:extLst>
              <a:ext uri="{FF2B5EF4-FFF2-40B4-BE49-F238E27FC236}">
                <a16:creationId xmlns:a16="http://schemas.microsoft.com/office/drawing/2014/main" id="{7C3B979B-F247-C043-91B5-CB820B4F3969}"/>
              </a:ext>
            </a:extLst>
          </p:cNvPr>
          <p:cNvSpPr/>
          <p:nvPr/>
        </p:nvSpPr>
        <p:spPr>
          <a:xfrm rot="10800000">
            <a:off x="7466084" y="4737956"/>
            <a:ext cx="510588" cy="416209"/>
          </a:xfrm>
          <a:prstGeom prst="ellipse">
            <a:avLst/>
          </a:prstGeom>
          <a:solidFill>
            <a:schemeClr val="accent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4112" tIns="67056" rIns="134112" bIns="67056" numCol="1" spcCol="0" rtlCol="0" fromWordArt="0" anchor="ctr" anchorCtr="0" forceAA="0" compatLnSpc="1">
            <a:prstTxWarp prst="textNoShape">
              <a:avLst/>
            </a:prstTxWarp>
            <a:noAutofit/>
          </a:bodyPr>
          <a:lstStyle/>
          <a:p>
            <a:pPr algn="ctr" defTabSz="1341150"/>
            <a:endParaRPr lang="en-US" sz="2640" dirty="0" err="1">
              <a:solidFill>
                <a:prstClr val="white"/>
              </a:solidFill>
              <a:latin typeface="Calibri" panose="020F0502020204030204"/>
            </a:endParaRPr>
          </a:p>
        </p:txBody>
      </p:sp>
      <p:sp>
        <p:nvSpPr>
          <p:cNvPr id="49" name="TextBox 48">
            <a:extLst>
              <a:ext uri="{FF2B5EF4-FFF2-40B4-BE49-F238E27FC236}">
                <a16:creationId xmlns:a16="http://schemas.microsoft.com/office/drawing/2014/main" id="{62E0BB5A-0A04-6F4B-ACDD-2219889901E2}"/>
              </a:ext>
            </a:extLst>
          </p:cNvPr>
          <p:cNvSpPr txBox="1"/>
          <p:nvPr/>
        </p:nvSpPr>
        <p:spPr>
          <a:xfrm>
            <a:off x="447521" y="4120018"/>
            <a:ext cx="1868268" cy="498598"/>
          </a:xfrm>
          <a:prstGeom prst="rect">
            <a:avLst/>
          </a:prstGeom>
          <a:noFill/>
        </p:spPr>
        <p:txBody>
          <a:bodyPr wrap="none" rtlCol="0">
            <a:spAutoFit/>
          </a:bodyPr>
          <a:lstStyle/>
          <a:p>
            <a:pPr algn="ctr" defTabSz="1341150"/>
            <a:r>
              <a:rPr lang="en-US" sz="2640" dirty="0">
                <a:solidFill>
                  <a:prstClr val="black"/>
                </a:solidFill>
                <a:latin typeface="Calibri" panose="020F0502020204030204"/>
              </a:rPr>
              <a:t>Applications</a:t>
            </a:r>
          </a:p>
        </p:txBody>
      </p:sp>
      <p:cxnSp>
        <p:nvCxnSpPr>
          <p:cNvPr id="54" name="Straight Arrow Connector 53">
            <a:extLst>
              <a:ext uri="{FF2B5EF4-FFF2-40B4-BE49-F238E27FC236}">
                <a16:creationId xmlns:a16="http://schemas.microsoft.com/office/drawing/2014/main" id="{193FA921-5BD8-6642-81AD-124B922A5794}"/>
              </a:ext>
            </a:extLst>
          </p:cNvPr>
          <p:cNvCxnSpPr>
            <a:cxnSpLocks/>
          </p:cNvCxnSpPr>
          <p:nvPr/>
        </p:nvCxnSpPr>
        <p:spPr>
          <a:xfrm flipH="1">
            <a:off x="7714864" y="3319113"/>
            <a:ext cx="1225936" cy="183933"/>
          </a:xfrm>
          <a:prstGeom prst="straightConnector1">
            <a:avLst/>
          </a:prstGeom>
          <a:ln w="57150">
            <a:solidFill>
              <a:schemeClr val="accent4"/>
            </a:solidFill>
            <a:tailEnd type="triangle"/>
          </a:ln>
        </p:spPr>
        <p:style>
          <a:lnRef idx="1">
            <a:schemeClr val="accent1"/>
          </a:lnRef>
          <a:fillRef idx="0">
            <a:schemeClr val="accent1"/>
          </a:fillRef>
          <a:effectRef idx="0">
            <a:schemeClr val="accent1"/>
          </a:effectRef>
          <a:fontRef idx="minor">
            <a:schemeClr val="tx1"/>
          </a:fontRef>
        </p:style>
      </p:cxnSp>
      <p:sp>
        <p:nvSpPr>
          <p:cNvPr id="36" name="TextBox 35">
            <a:extLst>
              <a:ext uri="{FF2B5EF4-FFF2-40B4-BE49-F238E27FC236}">
                <a16:creationId xmlns:a16="http://schemas.microsoft.com/office/drawing/2014/main" id="{AC061E60-FA61-7E49-9AB8-AAFE3034686E}"/>
              </a:ext>
            </a:extLst>
          </p:cNvPr>
          <p:cNvSpPr txBox="1"/>
          <p:nvPr/>
        </p:nvSpPr>
        <p:spPr>
          <a:xfrm>
            <a:off x="9194332" y="4854741"/>
            <a:ext cx="7829900" cy="2123658"/>
          </a:xfrm>
          <a:prstGeom prst="rect">
            <a:avLst/>
          </a:prstGeom>
          <a:noFill/>
        </p:spPr>
        <p:txBody>
          <a:bodyPr wrap="square" rtlCol="0">
            <a:spAutoFit/>
          </a:bodyPr>
          <a:lstStyle/>
          <a:p>
            <a:pPr defTabSz="1341150"/>
            <a:r>
              <a:rPr lang="en-US" sz="2640" b="1" dirty="0">
                <a:solidFill>
                  <a:prstClr val="black"/>
                </a:solidFill>
                <a:latin typeface="Calibri" panose="020F0502020204030204"/>
              </a:rPr>
              <a:t>Aggregate Performance: </a:t>
            </a:r>
            <a:r>
              <a:rPr lang="en-US" sz="2640" dirty="0">
                <a:solidFill>
                  <a:prstClr val="black"/>
                </a:solidFill>
                <a:latin typeface="Calibri" panose="020F0502020204030204"/>
              </a:rPr>
              <a:t>20 X 256M = 5.12 GTEPS</a:t>
            </a:r>
          </a:p>
          <a:p>
            <a:pPr marL="457200" indent="-457200" defTabSz="1341150">
              <a:buFont typeface="Arial" panose="020B0604020202020204" pitchFamily="34" charset="0"/>
              <a:buChar char="•"/>
            </a:pPr>
            <a:r>
              <a:rPr lang="en-US" sz="2640" dirty="0">
                <a:solidFill>
                  <a:prstClr val="black"/>
                </a:solidFill>
                <a:latin typeface="Calibri" panose="020F0502020204030204"/>
              </a:rPr>
              <a:t>Under 100 millisecond response time for 10K users running singleton queries</a:t>
            </a:r>
          </a:p>
          <a:p>
            <a:pPr marL="457200" indent="-457200" defTabSz="1341150">
              <a:buFont typeface="Arial" panose="020B0604020202020204" pitchFamily="34" charset="0"/>
              <a:buChar char="•"/>
            </a:pPr>
            <a:r>
              <a:rPr lang="en-US" sz="2640" dirty="0">
                <a:solidFill>
                  <a:prstClr val="black"/>
                </a:solidFill>
                <a:latin typeface="Calibri" panose="020F0502020204030204"/>
              </a:rPr>
              <a:t>99.999% uptime</a:t>
            </a:r>
          </a:p>
          <a:p>
            <a:pPr marL="457200" indent="-457200" defTabSz="1341150">
              <a:buFont typeface="Arial" panose="020B0604020202020204" pitchFamily="34" charset="0"/>
              <a:buChar char="•"/>
            </a:pPr>
            <a:r>
              <a:rPr lang="en-US" sz="2640" dirty="0">
                <a:solidFill>
                  <a:prstClr val="black"/>
                </a:solidFill>
                <a:latin typeface="Calibri" panose="020F0502020204030204"/>
              </a:rPr>
              <a:t>High levels of service Availability</a:t>
            </a:r>
          </a:p>
        </p:txBody>
      </p:sp>
      <p:sp>
        <p:nvSpPr>
          <p:cNvPr id="39" name="TextBox 38">
            <a:extLst>
              <a:ext uri="{FF2B5EF4-FFF2-40B4-BE49-F238E27FC236}">
                <a16:creationId xmlns:a16="http://schemas.microsoft.com/office/drawing/2014/main" id="{4A9BEC3D-9926-FA43-A5ED-41BC8970891A}"/>
              </a:ext>
            </a:extLst>
          </p:cNvPr>
          <p:cNvSpPr txBox="1"/>
          <p:nvPr/>
        </p:nvSpPr>
        <p:spPr>
          <a:xfrm>
            <a:off x="8793919" y="7766930"/>
            <a:ext cx="7600194" cy="498598"/>
          </a:xfrm>
          <a:prstGeom prst="rect">
            <a:avLst/>
          </a:prstGeom>
          <a:noFill/>
        </p:spPr>
        <p:txBody>
          <a:bodyPr wrap="square" rtlCol="0">
            <a:spAutoFit/>
          </a:bodyPr>
          <a:lstStyle/>
          <a:p>
            <a:pPr defTabSz="1341150"/>
            <a:r>
              <a:rPr lang="en-US" sz="2640" dirty="0">
                <a:solidFill>
                  <a:prstClr val="black"/>
                </a:solidFill>
                <a:latin typeface="Calibri" panose="020F0502020204030204"/>
              </a:rPr>
              <a:t>GTEPS = 1 Billion (Giga) Traversed Edges Per Second</a:t>
            </a:r>
          </a:p>
        </p:txBody>
      </p:sp>
      <p:sp>
        <p:nvSpPr>
          <p:cNvPr id="55" name="Oval 54">
            <a:extLst>
              <a:ext uri="{FF2B5EF4-FFF2-40B4-BE49-F238E27FC236}">
                <a16:creationId xmlns:a16="http://schemas.microsoft.com/office/drawing/2014/main" id="{F975FA64-E2EE-8741-AA25-A09FDD736140}"/>
              </a:ext>
            </a:extLst>
          </p:cNvPr>
          <p:cNvSpPr/>
          <p:nvPr/>
        </p:nvSpPr>
        <p:spPr>
          <a:xfrm rot="10800000">
            <a:off x="7277834" y="5381874"/>
            <a:ext cx="510588" cy="416209"/>
          </a:xfrm>
          <a:prstGeom prst="ellipse">
            <a:avLst/>
          </a:prstGeom>
          <a:solidFill>
            <a:schemeClr val="accent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4112" tIns="67056" rIns="134112" bIns="67056" numCol="1" spcCol="0" rtlCol="0" fromWordArt="0" anchor="ctr" anchorCtr="0" forceAA="0" compatLnSpc="1">
            <a:prstTxWarp prst="textNoShape">
              <a:avLst/>
            </a:prstTxWarp>
            <a:noAutofit/>
          </a:bodyPr>
          <a:lstStyle/>
          <a:p>
            <a:pPr algn="ctr" defTabSz="1341150"/>
            <a:endParaRPr lang="en-US" sz="2640" dirty="0" err="1">
              <a:solidFill>
                <a:prstClr val="white"/>
              </a:solidFill>
              <a:latin typeface="Calibri" panose="020F0502020204030204"/>
            </a:endParaRPr>
          </a:p>
        </p:txBody>
      </p:sp>
      <p:sp>
        <p:nvSpPr>
          <p:cNvPr id="56" name="Oval 55">
            <a:extLst>
              <a:ext uri="{FF2B5EF4-FFF2-40B4-BE49-F238E27FC236}">
                <a16:creationId xmlns:a16="http://schemas.microsoft.com/office/drawing/2014/main" id="{121F6ECB-B81B-EA4F-B76D-FB28EA16657F}"/>
              </a:ext>
            </a:extLst>
          </p:cNvPr>
          <p:cNvSpPr/>
          <p:nvPr/>
        </p:nvSpPr>
        <p:spPr>
          <a:xfrm>
            <a:off x="3057966" y="4120018"/>
            <a:ext cx="462455" cy="416209"/>
          </a:xfrm>
          <a:prstGeom prst="ellipse">
            <a:avLst/>
          </a:prstGeom>
          <a:solidFill>
            <a:schemeClr val="accent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4112" tIns="67056" rIns="134112" bIns="67056" numCol="1" spcCol="0" rtlCol="0" fromWordArt="0" anchor="ctr" anchorCtr="0" forceAA="0" compatLnSpc="1">
            <a:prstTxWarp prst="textNoShape">
              <a:avLst/>
            </a:prstTxWarp>
            <a:noAutofit/>
          </a:bodyPr>
          <a:lstStyle/>
          <a:p>
            <a:pPr algn="ctr" defTabSz="1341150"/>
            <a:endParaRPr lang="en-US" sz="2640" dirty="0" err="1">
              <a:solidFill>
                <a:prstClr val="white"/>
              </a:solidFill>
              <a:latin typeface="Calibri" panose="020F0502020204030204"/>
            </a:endParaRPr>
          </a:p>
        </p:txBody>
      </p:sp>
      <p:sp>
        <p:nvSpPr>
          <p:cNvPr id="57" name="Oval 56">
            <a:extLst>
              <a:ext uri="{FF2B5EF4-FFF2-40B4-BE49-F238E27FC236}">
                <a16:creationId xmlns:a16="http://schemas.microsoft.com/office/drawing/2014/main" id="{D5B1DCF5-5159-B34C-B704-AA1493F8E070}"/>
              </a:ext>
            </a:extLst>
          </p:cNvPr>
          <p:cNvSpPr/>
          <p:nvPr/>
        </p:nvSpPr>
        <p:spPr>
          <a:xfrm>
            <a:off x="7459296" y="4088815"/>
            <a:ext cx="462455" cy="416209"/>
          </a:xfrm>
          <a:prstGeom prst="ellipse">
            <a:avLst/>
          </a:prstGeom>
          <a:solidFill>
            <a:schemeClr val="accent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4112" tIns="67056" rIns="134112" bIns="67056" numCol="1" spcCol="0" rtlCol="0" fromWordArt="0" anchor="ctr" anchorCtr="0" forceAA="0" compatLnSpc="1">
            <a:prstTxWarp prst="textNoShape">
              <a:avLst/>
            </a:prstTxWarp>
            <a:noAutofit/>
          </a:bodyPr>
          <a:lstStyle/>
          <a:p>
            <a:pPr algn="ctr" defTabSz="1341150"/>
            <a:endParaRPr lang="en-US" sz="2640" dirty="0" err="1">
              <a:solidFill>
                <a:prstClr val="white"/>
              </a:solidFill>
              <a:latin typeface="Calibri" panose="020F0502020204030204"/>
            </a:endParaRPr>
          </a:p>
        </p:txBody>
      </p:sp>
    </p:spTree>
    <p:extLst>
      <p:ext uri="{BB962C8B-B14F-4D97-AF65-F5344CB8AC3E}">
        <p14:creationId xmlns:p14="http://schemas.microsoft.com/office/powerpoint/2010/main" val="528278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ptum WIdescreen 2017">
  <a:themeElements>
    <a:clrScheme name="Optum May 2017">
      <a:dk1>
        <a:srgbClr val="55565A"/>
      </a:dk1>
      <a:lt1>
        <a:srgbClr val="FFFFFF"/>
      </a:lt1>
      <a:dk2>
        <a:srgbClr val="55565A"/>
      </a:dk2>
      <a:lt2>
        <a:srgbClr val="FFFFFF"/>
      </a:lt2>
      <a:accent1>
        <a:srgbClr val="E87722"/>
      </a:accent1>
      <a:accent2>
        <a:srgbClr val="EAAA00"/>
      </a:accent2>
      <a:accent3>
        <a:srgbClr val="63666A"/>
      </a:accent3>
      <a:accent4>
        <a:srgbClr val="888B8D"/>
      </a:accent4>
      <a:accent5>
        <a:srgbClr val="B1B3B3"/>
      </a:accent5>
      <a:accent6>
        <a:srgbClr val="D0D0CE"/>
      </a:accent6>
      <a:hlink>
        <a:srgbClr val="E87722"/>
      </a:hlink>
      <a:folHlink>
        <a:srgbClr val="888B8D"/>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3"/>
        </a:solidFill>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cap="rnd">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defRPr dirty="0" smtClean="0"/>
        </a:defPPr>
      </a:lstStyle>
    </a:txDef>
  </a:objectDefaults>
  <a:extraClrSchemeLst/>
  <a:custClrLst>
    <a:custClr name="Custom Color 1">
      <a:srgbClr val="E87722"/>
    </a:custClr>
    <a:custClr name="Custom Color 2">
      <a:srgbClr val="888B8D"/>
    </a:custClr>
    <a:custClr name="Custom Color 3">
      <a:srgbClr val="739600"/>
    </a:custClr>
    <a:custClr name="Custom Color 4">
      <a:srgbClr val="008770"/>
    </a:custClr>
    <a:custClr name="Custom Color 5">
      <a:srgbClr val="00549F"/>
    </a:custClr>
    <a:custClr name="Custom Color 6">
      <a:srgbClr val="3B0083"/>
    </a:custClr>
    <a:custClr name="Custom Color 7">
      <a:srgbClr val="A22B38"/>
    </a:custClr>
  </a:custClrLst>
  <a:extLst>
    <a:ext uri="{05A4C25C-085E-4340-85A3-A5531E510DB2}">
      <thm15:themeFamily xmlns:thm15="http://schemas.microsoft.com/office/thememl/2012/main" name="Optum Template Widescreen - 2017 - 06.27.17.potx" id="{14CCB6DF-C717-4413-BCDA-15B71AA5CDD8}" vid="{817E4C5E-750D-4B97-8ADE-F637BD8C075E}"/>
    </a:ext>
  </a:extLst>
</a:theme>
</file>

<file path=ppt/theme/theme2.xml><?xml version="1.0" encoding="utf-8"?>
<a:theme xmlns:a="http://schemas.openxmlformats.org/drawingml/2006/main" name="1_Optum WIdescreen 2017">
  <a:themeElements>
    <a:clrScheme name="Optum May 2017">
      <a:dk1>
        <a:srgbClr val="55565A"/>
      </a:dk1>
      <a:lt1>
        <a:srgbClr val="FFFFFF"/>
      </a:lt1>
      <a:dk2>
        <a:srgbClr val="55565A"/>
      </a:dk2>
      <a:lt2>
        <a:srgbClr val="FFFFFF"/>
      </a:lt2>
      <a:accent1>
        <a:srgbClr val="E87722"/>
      </a:accent1>
      <a:accent2>
        <a:srgbClr val="EAAA00"/>
      </a:accent2>
      <a:accent3>
        <a:srgbClr val="63666A"/>
      </a:accent3>
      <a:accent4>
        <a:srgbClr val="888B8D"/>
      </a:accent4>
      <a:accent5>
        <a:srgbClr val="B1B3B3"/>
      </a:accent5>
      <a:accent6>
        <a:srgbClr val="D0D0CE"/>
      </a:accent6>
      <a:hlink>
        <a:srgbClr val="E87722"/>
      </a:hlink>
      <a:folHlink>
        <a:srgbClr val="888B8D"/>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3"/>
        </a:solidFill>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cap="rnd">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defRPr dirty="0" smtClean="0"/>
        </a:defPPr>
      </a:lstStyle>
    </a:txDef>
  </a:objectDefaults>
  <a:extraClrSchemeLst/>
  <a:custClrLst>
    <a:custClr name="Custom Color 1">
      <a:srgbClr val="E87722"/>
    </a:custClr>
    <a:custClr name="Custom Color 2">
      <a:srgbClr val="888B8D"/>
    </a:custClr>
    <a:custClr name="Custom Color 3">
      <a:srgbClr val="739600"/>
    </a:custClr>
    <a:custClr name="Custom Color 4">
      <a:srgbClr val="008770"/>
    </a:custClr>
    <a:custClr name="Custom Color 5">
      <a:srgbClr val="00549F"/>
    </a:custClr>
    <a:custClr name="Custom Color 6">
      <a:srgbClr val="3B0083"/>
    </a:custClr>
    <a:custClr name="Custom Color 7">
      <a:srgbClr val="A22B38"/>
    </a:custClr>
  </a:custClrLst>
  <a:extLst>
    <a:ext uri="{05A4C25C-085E-4340-85A3-A5531E510DB2}">
      <thm15:themeFamily xmlns:thm15="http://schemas.microsoft.com/office/thememl/2012/main" name="Optum Template Widescreen - 2017 - 06.27.17.potx" id="{14CCB6DF-C717-4413-BCDA-15B71AA5CDD8}" vid="{817E4C5E-750D-4B97-8ADE-F637BD8C075E}"/>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148E6CAA81EF3A44BA4646087124E6A2" ma:contentTypeVersion="1" ma:contentTypeDescription="Create a new document." ma:contentTypeScope="" ma:versionID="672be685ca0a56a5272b13b223a2a581">
  <xsd:schema xmlns:xsd="http://www.w3.org/2001/XMLSchema" xmlns:xs="http://www.w3.org/2001/XMLSchema" xmlns:p="http://schemas.microsoft.com/office/2006/metadata/properties" xmlns:ns1="http://schemas.microsoft.com/sharepoint/v3" targetNamespace="http://schemas.microsoft.com/office/2006/metadata/properties" ma:root="true" ma:fieldsID="48c5b5cd9b8d25ff6dd15848836f4270" ns1:_="">
    <xsd:import namespace="http://schemas.microsoft.com/sharepoint/v3"/>
    <xsd:element name="properties">
      <xsd:complexType>
        <xsd:sequence>
          <xsd:element name="documentManagement">
            <xsd:complexType>
              <xsd:all>
                <xsd:element ref="ns1:PublishingStartDate" minOccurs="0"/>
                <xsd:element ref="ns1:PublishingExpirationDat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PublishingStartDate" ma:index="8" nillable="true" ma:displayName="Scheduling Start Date" ma:description="Scheduling Start Date is a site column created by the Publishing feature. It is used to specify the date and time on which this page will first appear to site visitors." ma:hidden="true" ma:internalName="PublishingStartDate">
      <xsd:simpleType>
        <xsd:restriction base="dms:Unknown"/>
      </xsd:simpleType>
    </xsd:element>
    <xsd:element name="PublishingExpirationDate" ma:index="9" nillable="true" ma:displayName="Scheduling End Date" ma:description="Scheduling End Date is a site column created by the Publishing feature. It is used to specify the date and time on which this page will no longer appear to site visitors." ma:hidden="true" ma:internalName="PublishingExpirationDate">
      <xsd:simpleType>
        <xsd:restriction base="dms:Unknow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ublishingExpirationDate xmlns="http://schemas.microsoft.com/sharepoint/v3" xsi:nil="true"/>
    <PublishingStartDate xmlns="http://schemas.microsoft.com/sharepoint/v3" xsi:nil="true"/>
  </documentManagement>
</p:properties>
</file>

<file path=customXml/itemProps1.xml><?xml version="1.0" encoding="utf-8"?>
<ds:datastoreItem xmlns:ds="http://schemas.openxmlformats.org/officeDocument/2006/customXml" ds:itemID="{430297D7-6120-4AEC-BD90-27546ED06F72}">
  <ds:schemaRefs>
    <ds:schemaRef ds:uri="http://schemas.microsoft.com/sharepoint/v3/contenttype/forms"/>
  </ds:schemaRefs>
</ds:datastoreItem>
</file>

<file path=customXml/itemProps2.xml><?xml version="1.0" encoding="utf-8"?>
<ds:datastoreItem xmlns:ds="http://schemas.openxmlformats.org/officeDocument/2006/customXml" ds:itemID="{D2EBEF4A-1F8A-41DB-8676-6076FF11132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2572DBA8-2504-4AD1-BD72-3562DB5094EB}">
  <ds:schemaRefs>
    <ds:schemaRef ds:uri="http://schemas.microsoft.com/office/2006/metadata/properties"/>
    <ds:schemaRef ds:uri="http://schemas.microsoft.com/office/infopath/2007/PartnerControls"/>
    <ds:schemaRef ds:uri="http://schemas.microsoft.com/sharepoint/v3"/>
  </ds:schemaRefs>
</ds:datastoreItem>
</file>

<file path=docProps/app.xml><?xml version="1.0" encoding="utf-8"?>
<Properties xmlns="http://schemas.openxmlformats.org/officeDocument/2006/extended-properties" xmlns:vt="http://schemas.openxmlformats.org/officeDocument/2006/docPropsVTypes">
  <Template>Optum Template Widescreen - 2017 - 06.27.17</Template>
  <TotalTime>156233</TotalTime>
  <Words>4509</Words>
  <Application>Microsoft Macintosh PowerPoint</Application>
  <PresentationFormat>Custom</PresentationFormat>
  <Paragraphs>679</Paragraphs>
  <Slides>41</Slides>
  <Notes>15</Notes>
  <HiddenSlides>0</HiddenSlides>
  <MMClips>0</MMClips>
  <ScaleCrop>false</ScaleCrop>
  <HeadingPairs>
    <vt:vector size="8" baseType="variant">
      <vt:variant>
        <vt:lpstr>Fonts Used</vt:lpstr>
      </vt:variant>
      <vt:variant>
        <vt:i4>5</vt:i4>
      </vt:variant>
      <vt:variant>
        <vt:lpstr>Theme</vt:lpstr>
      </vt:variant>
      <vt:variant>
        <vt:i4>2</vt:i4>
      </vt:variant>
      <vt:variant>
        <vt:lpstr>Embedded OLE Servers</vt:lpstr>
      </vt:variant>
      <vt:variant>
        <vt:i4>1</vt:i4>
      </vt:variant>
      <vt:variant>
        <vt:lpstr>Slide Titles</vt:lpstr>
      </vt:variant>
      <vt:variant>
        <vt:i4>41</vt:i4>
      </vt:variant>
    </vt:vector>
  </HeadingPairs>
  <TitlesOfParts>
    <vt:vector size="49" baseType="lpstr">
      <vt:lpstr>Apple Chancery</vt:lpstr>
      <vt:lpstr>Arial</vt:lpstr>
      <vt:lpstr>Arial Narrow</vt:lpstr>
      <vt:lpstr>Calibri</vt:lpstr>
      <vt:lpstr>Helvetica Neue Medium</vt:lpstr>
      <vt:lpstr>Optum WIdescreen 2017</vt:lpstr>
      <vt:lpstr>1_Optum WIdescreen 2017</vt:lpstr>
      <vt:lpstr>think-cell Slide</vt:lpstr>
      <vt:lpstr>PowerPoint Presentation</vt:lpstr>
      <vt:lpstr>Talk Description</vt:lpstr>
      <vt:lpstr>Hello, my name is</vt:lpstr>
      <vt:lpstr>Graph Databases are HOT!</vt:lpstr>
      <vt:lpstr>The World is “Not Only SQL” (a.k.a. NoSQL)</vt:lpstr>
      <vt:lpstr>Relational vs. Graph</vt:lpstr>
      <vt:lpstr>RDBMS to Graph Summary</vt:lpstr>
      <vt:lpstr>Serial vs. Parallel Graph Algorithms</vt:lpstr>
      <vt:lpstr>Distributed Graph</vt:lpstr>
      <vt:lpstr>Single Node Graph to Distributed Graph Summary</vt:lpstr>
      <vt:lpstr>Queryability vs Scale Out</vt:lpstr>
      <vt:lpstr>Are Current CPUs Optimized for Fast Graph Traversal?</vt:lpstr>
      <vt:lpstr>Graph Traversal is Memory Pointer Hopping</vt:lpstr>
      <vt:lpstr>Example: Learning Embeddings Via Random Walk</vt:lpstr>
      <vt:lpstr>Graph Embedding</vt:lpstr>
      <vt:lpstr>Compiled Programs versus Graph Applications</vt:lpstr>
      <vt:lpstr>What If We Designed Our Chip Around Graph Traversal?</vt:lpstr>
      <vt:lpstr>Why Are Similarity Calculations Critical?</vt:lpstr>
      <vt:lpstr>Euclidian Geometry</vt:lpstr>
      <vt:lpstr>Insight through Convolutions in Neural Networks</vt:lpstr>
      <vt:lpstr>Non-Euclidian Geometry</vt:lpstr>
      <vt:lpstr>Dense (Image) to Sparse (Clinical) Processing </vt:lpstr>
      <vt:lpstr>Primary Driving Use Case: Real-Time Patient Similarity</vt:lpstr>
      <vt:lpstr>PowerPoint Presentation</vt:lpstr>
      <vt:lpstr>Similarity Score – A scaled measure of “alikeness” for a context</vt:lpstr>
      <vt:lpstr>Graph Representation of Patients – Includes Structure </vt:lpstr>
      <vt:lpstr>From Graph to Vector Space</vt:lpstr>
      <vt:lpstr>“Patients Like Me”</vt:lpstr>
      <vt:lpstr>Driving Use Case: Real-Time Patient Similarity</vt:lpstr>
      <vt:lpstr>Dense (Image) to Sparse (Clinical) Processing </vt:lpstr>
      <vt:lpstr>GPUs and SIMD are Ideal for “Euclidian” Geometry Problems</vt:lpstr>
      <vt:lpstr>Sample Graph Algorithms</vt:lpstr>
      <vt:lpstr>Knowledge Triangle</vt:lpstr>
      <vt:lpstr>From Raw Data to Connected Knowledge</vt:lpstr>
      <vt:lpstr>Data Lakes Today</vt:lpstr>
      <vt:lpstr>From Data Scientist to Knowledge Scientist</vt:lpstr>
      <vt:lpstr>Subgraph and Vertex Embedding</vt:lpstr>
      <vt:lpstr>Product Recommendation</vt:lpstr>
      <vt:lpstr>Three Eras of Computing</vt:lpstr>
      <vt:lpstr>Summary</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Optum PowerPoint template - 2017</dc:title>
  <dc:creator>Sandra Johnson</dc:creator>
  <cp:lastModifiedBy>McCreary, Dan G</cp:lastModifiedBy>
  <cp:revision>654</cp:revision>
  <cp:lastPrinted>2017-10-10T15:38:39Z</cp:lastPrinted>
  <dcterms:created xsi:type="dcterms:W3CDTF">2017-07-17T15:17:37Z</dcterms:created>
  <dcterms:modified xsi:type="dcterms:W3CDTF">2021-04-21T20:48:4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148E6CAA81EF3A44BA4646087124E6A2</vt:lpwstr>
  </property>
</Properties>
</file>